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3.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4.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5.xml" ContentType="application/vnd.openxmlformats-officedocument.theme+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74" r:id="rId3"/>
    <p:sldMasterId id="2147483690" r:id="rId4"/>
    <p:sldMasterId id="2147483705" r:id="rId5"/>
    <p:sldMasterId id="2147483748" r:id="rId6"/>
  </p:sldMasterIdLst>
  <p:notesMasterIdLst>
    <p:notesMasterId r:id="rId33"/>
  </p:notesMasterIdLst>
  <p:sldIdLst>
    <p:sldId id="296" r:id="rId7"/>
    <p:sldId id="4224" r:id="rId8"/>
    <p:sldId id="1447" r:id="rId9"/>
    <p:sldId id="1448" r:id="rId10"/>
    <p:sldId id="485" r:id="rId11"/>
    <p:sldId id="1791" r:id="rId12"/>
    <p:sldId id="282" r:id="rId13"/>
    <p:sldId id="4222" r:id="rId14"/>
    <p:sldId id="4234" r:id="rId15"/>
    <p:sldId id="4225" r:id="rId16"/>
    <p:sldId id="4226" r:id="rId17"/>
    <p:sldId id="4232" r:id="rId18"/>
    <p:sldId id="4228" r:id="rId19"/>
    <p:sldId id="336" r:id="rId20"/>
    <p:sldId id="4235" r:id="rId21"/>
    <p:sldId id="4250" r:id="rId22"/>
    <p:sldId id="4302" r:id="rId23"/>
    <p:sldId id="4262" r:id="rId24"/>
    <p:sldId id="4266" r:id="rId25"/>
    <p:sldId id="4283" r:id="rId26"/>
    <p:sldId id="4284" r:id="rId27"/>
    <p:sldId id="4247" r:id="rId28"/>
    <p:sldId id="271" r:id="rId29"/>
    <p:sldId id="4298" r:id="rId30"/>
    <p:sldId id="4256" r:id="rId31"/>
    <p:sldId id="394" r:id="rId32"/>
  </p:sldIdLst>
  <p:sldSz cx="12192000" cy="6858000"/>
  <p:notesSz cx="6797675" cy="9872663"/>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00"/>
    <a:srgbClr val="CCE9E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91446" autoAdjust="0"/>
  </p:normalViewPr>
  <p:slideViewPr>
    <p:cSldViewPr snapToGrid="0">
      <p:cViewPr varScale="1">
        <p:scale>
          <a:sx n="77" d="100"/>
          <a:sy n="77" d="100"/>
        </p:scale>
        <p:origin x="854" y="48"/>
      </p:cViewPr>
      <p:guideLst/>
    </p:cSldViewPr>
  </p:slideViewPr>
  <p:notesTextViewPr>
    <p:cViewPr>
      <p:scale>
        <a:sx n="1" d="1"/>
        <a:sy n="1" d="1"/>
      </p:scale>
      <p:origin x="0" y="0"/>
    </p:cViewPr>
  </p:notesTextViewPr>
  <p:notesViewPr>
    <p:cSldViewPr snapToGrid="0">
      <p:cViewPr>
        <p:scale>
          <a:sx n="90" d="100"/>
          <a:sy n="90" d="100"/>
        </p:scale>
        <p:origin x="2130" y="-37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slideMaster" Target="slideMasters/slideMaster3.xml"/><Relationship Id="rId21" Type="http://schemas.openxmlformats.org/officeDocument/2006/relationships/slide" Target="slides/slide15.xml"/><Relationship Id="rId34" Type="http://schemas.openxmlformats.org/officeDocument/2006/relationships/presProps" Target="pres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theme" Target="theme/theme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45659" cy="495348"/>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50443" y="0"/>
            <a:ext cx="2945659" cy="495348"/>
          </a:xfrm>
          <a:prstGeom prst="rect">
            <a:avLst/>
          </a:prstGeom>
        </p:spPr>
        <p:txBody>
          <a:bodyPr vert="horz" lIns="91440" tIns="45720" rIns="91440" bIns="45720" rtlCol="0"/>
          <a:lstStyle>
            <a:lvl1pPr algn="r">
              <a:defRPr sz="1200"/>
            </a:lvl1pPr>
          </a:lstStyle>
          <a:p>
            <a:fld id="{9836A064-AD67-4CB5-B60E-EE1BB0B155D1}" type="datetimeFigureOut">
              <a:rPr lang="fr-FR" smtClean="0"/>
              <a:t>15/05/2024</a:t>
            </a:fld>
            <a:endParaRPr lang="fr-FR"/>
          </a:p>
        </p:txBody>
      </p:sp>
      <p:sp>
        <p:nvSpPr>
          <p:cNvPr id="4" name="Espace réservé de l'image des diapositives 3"/>
          <p:cNvSpPr>
            <a:spLocks noGrp="1" noRot="1" noChangeAspect="1"/>
          </p:cNvSpPr>
          <p:nvPr>
            <p:ph type="sldImg" idx="2"/>
          </p:nvPr>
        </p:nvSpPr>
        <p:spPr>
          <a:xfrm>
            <a:off x="438150" y="1233488"/>
            <a:ext cx="5921375" cy="3332162"/>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commentaires 4"/>
          <p:cNvSpPr>
            <a:spLocks noGrp="1"/>
          </p:cNvSpPr>
          <p:nvPr>
            <p:ph type="body" sz="quarter" idx="3"/>
          </p:nvPr>
        </p:nvSpPr>
        <p:spPr>
          <a:xfrm>
            <a:off x="679768" y="4751219"/>
            <a:ext cx="5438140" cy="3887361"/>
          </a:xfrm>
          <a:prstGeom prst="rect">
            <a:avLst/>
          </a:prstGeom>
        </p:spPr>
        <p:txBody>
          <a:bodyPr vert="horz" lIns="91440" tIns="45720" rIns="91440" bIns="45720" rtlCol="0"/>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9377317"/>
            <a:ext cx="2945659" cy="495347"/>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50443" y="9377317"/>
            <a:ext cx="2945659" cy="495347"/>
          </a:xfrm>
          <a:prstGeom prst="rect">
            <a:avLst/>
          </a:prstGeom>
        </p:spPr>
        <p:txBody>
          <a:bodyPr vert="horz" lIns="91440" tIns="45720" rIns="91440" bIns="45720" rtlCol="0" anchor="b"/>
          <a:lstStyle>
            <a:lvl1pPr algn="r">
              <a:defRPr sz="1200"/>
            </a:lvl1pPr>
          </a:lstStyle>
          <a:p>
            <a:fld id="{A2011F37-C1AE-4A38-83BE-F1B8741D1015}" type="slidenum">
              <a:rPr lang="fr-FR" smtClean="0"/>
              <a:t>‹N°›</a:t>
            </a:fld>
            <a:endParaRPr lang="fr-FR"/>
          </a:p>
        </p:txBody>
      </p:sp>
    </p:spTree>
    <p:extLst>
      <p:ext uri="{BB962C8B-B14F-4D97-AF65-F5344CB8AC3E}">
        <p14:creationId xmlns:p14="http://schemas.microsoft.com/office/powerpoint/2010/main" val="163190221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A2011F37-C1AE-4A38-83BE-F1B8741D1015}" type="slidenum">
              <a:rPr lang="fr-FR" smtClean="0"/>
              <a:t>1</a:t>
            </a:fld>
            <a:endParaRPr lang="fr-FR"/>
          </a:p>
        </p:txBody>
      </p:sp>
    </p:spTree>
    <p:extLst>
      <p:ext uri="{BB962C8B-B14F-4D97-AF65-F5344CB8AC3E}">
        <p14:creationId xmlns:p14="http://schemas.microsoft.com/office/powerpoint/2010/main" val="271797634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15401">
              <a:lnSpc>
                <a:spcPct val="90000"/>
              </a:lnSpc>
            </a:pPr>
            <a:endParaRPr lang="fr-FR" sz="900" b="1" spc="24" dirty="0">
              <a:solidFill>
                <a:schemeClr val="bg1"/>
              </a:solidFill>
              <a:latin typeface="Arial" panose="020B0604020202020204" pitchFamily="34" charset="0"/>
              <a:cs typeface="Arial" panose="020B0604020202020204" pitchFamily="34" charset="0"/>
            </a:endParaRPr>
          </a:p>
          <a:p>
            <a:pPr algn="just">
              <a:spcAft>
                <a:spcPts val="600"/>
              </a:spcAft>
            </a:pPr>
            <a:r>
              <a:rPr lang="fr-FR" sz="1800" b="1" dirty="0">
                <a:effectLst/>
                <a:latin typeface="Arial" panose="020B0604020202020204" pitchFamily="34" charset="0"/>
                <a:ea typeface="Times New Roman" panose="02020603050405020304" pitchFamily="18" charset="0"/>
              </a:rPr>
              <a:t>LES INVESTISSEURS</a:t>
            </a:r>
            <a:endParaRPr lang="fr-FR" sz="1800" dirty="0">
              <a:effectLst/>
              <a:latin typeface="Arial" panose="020B0604020202020204" pitchFamily="34" charset="0"/>
              <a:ea typeface="Times New Roman" panose="02020603050405020304" pitchFamily="18" charset="0"/>
            </a:endParaRPr>
          </a:p>
          <a:p>
            <a:pPr algn="just">
              <a:spcAft>
                <a:spcPts val="600"/>
              </a:spcAft>
            </a:pPr>
            <a:r>
              <a:rPr lang="fr-FR" sz="1800" dirty="0">
                <a:effectLst/>
                <a:latin typeface="Arial" panose="020B0604020202020204" pitchFamily="34" charset="0"/>
                <a:ea typeface="Times New Roman" panose="02020603050405020304" pitchFamily="18" charset="0"/>
              </a:rPr>
              <a:t>Après des années d’hyper croissance du marché de bureaux (national et lyonnais), de l’argent « facile », d’un hyper développement… et de ses effets indésirables (pression foncière, course à « l’hyper projet », taux de rentabilité extraordinaires, homogénéisation des produits au détriment des TPE/PME et jeunes entreprises …; le marché est en crise ; et l’immobilier déteste l’instabilité et se « sclérose ». </a:t>
            </a:r>
          </a:p>
          <a:p>
            <a:pPr algn="just">
              <a:spcAft>
                <a:spcPts val="600"/>
              </a:spcAft>
            </a:pPr>
            <a:r>
              <a:rPr lang="fr-FR" sz="1800" dirty="0">
                <a:effectLst/>
                <a:latin typeface="Arial" panose="020B0604020202020204" pitchFamily="34" charset="0"/>
                <a:ea typeface="Times New Roman" panose="02020603050405020304" pitchFamily="18" charset="0"/>
              </a:rPr>
              <a:t> </a:t>
            </a:r>
          </a:p>
          <a:p>
            <a:pPr algn="just">
              <a:spcAft>
                <a:spcPts val="600"/>
              </a:spcAft>
            </a:pPr>
            <a:r>
              <a:rPr lang="fr-FR" sz="1800" dirty="0">
                <a:effectLst/>
                <a:latin typeface="Arial" panose="020B0604020202020204" pitchFamily="34" charset="0"/>
                <a:ea typeface="Times New Roman" panose="02020603050405020304" pitchFamily="18" charset="0"/>
              </a:rPr>
              <a:t>Certains facteurs comme les taux sont conjoncturels (et ne redeviendront jamais comme avant) ; mais d’autres sont structurels et sont des tendances lourdes pour développer de l’immobilier de bureaux : </a:t>
            </a:r>
          </a:p>
          <a:p>
            <a:pPr marL="342900" lvl="0" indent="-342900" algn="just">
              <a:buFont typeface="Arial" panose="020B0604020202020204" pitchFamily="34" charset="0"/>
              <a:buChar char="-"/>
            </a:pPr>
            <a:r>
              <a:rPr lang="fr-FR" sz="1800" dirty="0">
                <a:effectLst/>
                <a:latin typeface="Arial" panose="020B0604020202020204" pitchFamily="34" charset="0"/>
                <a:ea typeface="Times New Roman" panose="02020603050405020304" pitchFamily="18" charset="0"/>
              </a:rPr>
              <a:t>Après 2 ans post Covid, les nouvelles pratiques du travail se stabilisent. La moyenne est à 2 J de TT en moyenne possible, mais 1.2 J de pratiqué – les entreprises sont prises en étaux entre le souhait de réduire leur « facture immobilière » en réduisant les surfaces; mais d’offrir des espaces de bureaux et de convivialité de meilleure qualité, différentes formes de salles de réunion ce qui augmente les surfaces par ailleurs… un chiffre moyen semble se stabiliser à -20 % de m² pris / entreprise</a:t>
            </a:r>
          </a:p>
          <a:p>
            <a:pPr marL="342900" lvl="0" indent="-342900" algn="just">
              <a:buFont typeface="Arial" panose="020B0604020202020204" pitchFamily="34" charset="0"/>
              <a:buChar char="-"/>
            </a:pPr>
            <a:r>
              <a:rPr lang="fr-FR" sz="1800" dirty="0">
                <a:effectLst/>
                <a:latin typeface="Arial" panose="020B0604020202020204" pitchFamily="34" charset="0"/>
                <a:ea typeface="Times New Roman" panose="02020603050405020304" pitchFamily="18" charset="0"/>
              </a:rPr>
              <a:t>Les salariés sont de plus en plus exigeants dans le choix de leur entreprises (valeurs, domaines d’activités, engagements sociaux et climatiques…) et pour l’immobilier &amp; les quartiers d’implantation : le siège et les conditions de travail « reflètent » l’attention portée par l’entreprise à ses salariés et à l’image qu’elle souhaite renvoyer à la société. Les salariés sont attentifs à la qualité de services apportés dans l’immeuble et dans le quartier. Une enquête sur les jeunes cadres indiquait que les salariés étaient prêts à être moins bien rémunérés (jusqu’à 10 %) au bénéfice d’une entreprise mieux implantée géographiquement pour allier temps pro/temps perso et la facilité d’accès (TC, modes doux). L’importance de l’accès en transports en commun et du projet urbain environnant n’ont jamais été aussi prégnante. </a:t>
            </a:r>
          </a:p>
          <a:p>
            <a:pPr marL="342900" lvl="0" indent="-342900" algn="just">
              <a:buFont typeface="Arial" panose="020B0604020202020204" pitchFamily="34" charset="0"/>
              <a:buChar char="-"/>
            </a:pPr>
            <a:r>
              <a:rPr lang="fr-FR" sz="1800" dirty="0">
                <a:effectLst/>
                <a:latin typeface="Arial" panose="020B0604020202020204" pitchFamily="34" charset="0"/>
                <a:ea typeface="Times New Roman" panose="02020603050405020304" pitchFamily="18" charset="0"/>
              </a:rPr>
              <a:t>Une forme de rapport de force s’est installé entre les directions immobilières et financières et les directions RH </a:t>
            </a:r>
          </a:p>
          <a:p>
            <a:pPr marL="342900" lvl="0" indent="-342900" algn="just">
              <a:buFont typeface="Arial" panose="020B0604020202020204" pitchFamily="34" charset="0"/>
              <a:buChar char="-"/>
            </a:pPr>
            <a:r>
              <a:rPr lang="fr-FR" sz="1800" dirty="0">
                <a:effectLst/>
                <a:latin typeface="Arial" panose="020B0604020202020204" pitchFamily="34" charset="0"/>
                <a:ea typeface="Times New Roman" panose="02020603050405020304" pitchFamily="18" charset="0"/>
              </a:rPr>
              <a:t>L’immobilier, un poids lourd dans les stratégies RSE des entreprises, notamment tertiaires, c’est un levier important pour réduire l’impact carbone direct émis par l’entreprise =&gt; recherche de performance</a:t>
            </a:r>
          </a:p>
          <a:p>
            <a:pPr marL="342900" lvl="0" indent="-342900" algn="just">
              <a:spcAft>
                <a:spcPts val="600"/>
              </a:spcAft>
              <a:buFont typeface="Arial" panose="020B0604020202020204" pitchFamily="34" charset="0"/>
              <a:buChar char="-"/>
            </a:pPr>
            <a:r>
              <a:rPr lang="fr-FR" sz="1800" dirty="0">
                <a:effectLst/>
                <a:latin typeface="Arial" panose="020B0604020202020204" pitchFamily="34" charset="0"/>
                <a:ea typeface="Times New Roman" panose="02020603050405020304" pitchFamily="18" charset="0"/>
              </a:rPr>
              <a:t>Investisseurs et promoteurs doivent obligatoirement tendre vers une stratégie de groupe de réduction de l’empreinte carbone au sens large ; même pour les plus « réfractaires », la règlementation FR et UE les obligeront (ex : </a:t>
            </a:r>
            <a:r>
              <a:rPr lang="fr-FR" sz="1800" dirty="0" err="1">
                <a:effectLst/>
                <a:latin typeface="Arial" panose="020B0604020202020204" pitchFamily="34" charset="0"/>
                <a:ea typeface="Times New Roman" panose="02020603050405020304" pitchFamily="18" charset="0"/>
              </a:rPr>
              <a:t>Decret</a:t>
            </a:r>
            <a:r>
              <a:rPr lang="fr-FR" sz="1800" dirty="0">
                <a:effectLst/>
                <a:latin typeface="Arial" panose="020B0604020202020204" pitchFamily="34" charset="0"/>
                <a:ea typeface="Times New Roman" panose="02020603050405020304" pitchFamily="18" charset="0"/>
              </a:rPr>
              <a:t> tertiaire, nouvelle règlementation </a:t>
            </a:r>
            <a:r>
              <a:rPr lang="fr-FR" sz="1800" dirty="0" err="1">
                <a:effectLst/>
                <a:latin typeface="Arial" panose="020B0604020202020204" pitchFamily="34" charset="0"/>
                <a:ea typeface="Times New Roman" panose="02020603050405020304" pitchFamily="18" charset="0"/>
              </a:rPr>
              <a:t>Corporate</a:t>
            </a:r>
            <a:r>
              <a:rPr lang="fr-FR" sz="1800" dirty="0">
                <a:effectLst/>
                <a:latin typeface="Arial" panose="020B0604020202020204" pitchFamily="34" charset="0"/>
                <a:ea typeface="Times New Roman" panose="02020603050405020304" pitchFamily="18" charset="0"/>
              </a:rPr>
              <a:t> </a:t>
            </a:r>
            <a:r>
              <a:rPr lang="fr-FR" sz="1800" dirty="0" err="1">
                <a:effectLst/>
                <a:latin typeface="Arial" panose="020B0604020202020204" pitchFamily="34" charset="0"/>
                <a:ea typeface="Times New Roman" panose="02020603050405020304" pitchFamily="18" charset="0"/>
              </a:rPr>
              <a:t>Sustainability</a:t>
            </a:r>
            <a:r>
              <a:rPr lang="fr-FR" sz="1800" dirty="0">
                <a:effectLst/>
                <a:latin typeface="Arial" panose="020B0604020202020204" pitchFamily="34" charset="0"/>
                <a:ea typeface="Times New Roman" panose="02020603050405020304" pitchFamily="18" charset="0"/>
              </a:rPr>
              <a:t> </a:t>
            </a:r>
            <a:r>
              <a:rPr lang="fr-FR" sz="1800" dirty="0" err="1">
                <a:effectLst/>
                <a:latin typeface="Arial" panose="020B0604020202020204" pitchFamily="34" charset="0"/>
                <a:ea typeface="Times New Roman" panose="02020603050405020304" pitchFamily="18" charset="0"/>
              </a:rPr>
              <a:t>Reporting</a:t>
            </a:r>
            <a:r>
              <a:rPr lang="fr-FR" sz="1800" dirty="0">
                <a:effectLst/>
                <a:latin typeface="Arial" panose="020B0604020202020204" pitchFamily="34" charset="0"/>
                <a:ea typeface="Times New Roman" panose="02020603050405020304" pitchFamily="18" charset="0"/>
              </a:rPr>
              <a:t> Directive CRSD…) </a:t>
            </a:r>
            <a:r>
              <a:rPr lang="fr-FR" sz="1800" dirty="0">
                <a:effectLst/>
                <a:latin typeface="Arial" panose="020B0604020202020204" pitchFamily="34" charset="0"/>
                <a:ea typeface="Times New Roman" panose="02020603050405020304" pitchFamily="18" charset="0"/>
                <a:sym typeface="Wingdings" pitchFamily="2" charset="2"/>
              </a:rPr>
              <a:t></a:t>
            </a:r>
            <a:r>
              <a:rPr lang="fr-FR" sz="1800" dirty="0">
                <a:effectLst/>
                <a:latin typeface="Arial" panose="020B0604020202020204" pitchFamily="34" charset="0"/>
                <a:ea typeface="Times New Roman" panose="02020603050405020304" pitchFamily="18" charset="0"/>
              </a:rPr>
              <a:t> performance et réversibilité des actifs neufs, renouveler la ville sur elle-même, restructuration des actifs vont être la norme. </a:t>
            </a:r>
          </a:p>
          <a:p>
            <a:pPr algn="just">
              <a:spcAft>
                <a:spcPts val="600"/>
              </a:spcAft>
            </a:pPr>
            <a:r>
              <a:rPr lang="fr-FR" sz="1800" dirty="0">
                <a:effectLst/>
                <a:latin typeface="Arial" panose="020B0604020202020204" pitchFamily="34" charset="0"/>
                <a:ea typeface="Times New Roman" panose="02020603050405020304" pitchFamily="18" charset="0"/>
              </a:rPr>
              <a:t> </a:t>
            </a:r>
          </a:p>
          <a:p>
            <a:pPr algn="just">
              <a:spcAft>
                <a:spcPts val="600"/>
              </a:spcAft>
            </a:pPr>
            <a:r>
              <a:rPr lang="fr-FR" sz="1800" dirty="0">
                <a:effectLst/>
                <a:latin typeface="Arial" panose="020B0604020202020204" pitchFamily="34" charset="0"/>
                <a:ea typeface="Times New Roman" panose="02020603050405020304" pitchFamily="18" charset="0"/>
              </a:rPr>
              <a:t> </a:t>
            </a:r>
          </a:p>
          <a:p>
            <a:pPr marL="342900" lvl="0" indent="-342900" algn="just">
              <a:spcAft>
                <a:spcPts val="600"/>
              </a:spcAft>
              <a:buFont typeface="Wingdings" pitchFamily="2" charset="2"/>
              <a:buChar char=""/>
            </a:pPr>
            <a:r>
              <a:rPr lang="fr-FR" sz="1800" b="1" dirty="0">
                <a:effectLst/>
                <a:latin typeface="Arial" panose="020B0604020202020204" pitchFamily="34" charset="0"/>
                <a:ea typeface="Times New Roman" panose="02020603050405020304" pitchFamily="18" charset="0"/>
                <a:cs typeface="Arial" panose="020B0604020202020204" pitchFamily="34" charset="0"/>
              </a:rPr>
              <a:t>Une tendance structurelle à un peu de moins de bureaux / entreprise mais du très qualitatif </a:t>
            </a:r>
            <a:endParaRPr lang="fr-FR" sz="1800" dirty="0">
              <a:effectLst/>
              <a:latin typeface="Arial" panose="020B0604020202020204" pitchFamily="34" charset="0"/>
              <a:ea typeface="Times New Roman" panose="02020603050405020304" pitchFamily="18" charset="0"/>
              <a:cs typeface="Arial" panose="020B0604020202020204" pitchFamily="34" charset="0"/>
            </a:endParaRPr>
          </a:p>
          <a:p>
            <a:pPr marL="15401">
              <a:lnSpc>
                <a:spcPct val="90000"/>
              </a:lnSpc>
            </a:pPr>
            <a:endParaRPr lang="fr-FR" sz="900" b="1" spc="24" dirty="0">
              <a:solidFill>
                <a:schemeClr val="bg1"/>
              </a:solidFill>
              <a:latin typeface="Arial" panose="020B0604020202020204" pitchFamily="34" charset="0"/>
              <a:cs typeface="Arial" panose="020B0604020202020204" pitchFamily="34" charset="0"/>
            </a:endParaRPr>
          </a:p>
        </p:txBody>
      </p:sp>
      <p:sp>
        <p:nvSpPr>
          <p:cNvPr id="4" name="Espace réservé du numéro de diapositive 3"/>
          <p:cNvSpPr>
            <a:spLocks noGrp="1"/>
          </p:cNvSpPr>
          <p:nvPr>
            <p:ph type="sldNum" sz="quarter" idx="10"/>
          </p:nvPr>
        </p:nvSpPr>
        <p:spPr/>
        <p:txBody>
          <a:bodyPr/>
          <a:lstStyle/>
          <a:p>
            <a:fld id="{9ED77D4F-ED97-EA44-A135-D73BDAA54473}" type="slidenum">
              <a:rPr lang="fr-FR" smtClean="0"/>
              <a:t>11</a:t>
            </a:fld>
            <a:endParaRPr lang="fr-FR"/>
          </a:p>
        </p:txBody>
      </p:sp>
    </p:spTree>
    <p:extLst>
      <p:ext uri="{BB962C8B-B14F-4D97-AF65-F5344CB8AC3E}">
        <p14:creationId xmlns:p14="http://schemas.microsoft.com/office/powerpoint/2010/main" val="78436440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7F49A4-D4C2-F274-58C6-3E04EF205DEB}"/>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1C4D46FE-A093-1C86-59BC-D18240AB7780}"/>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CFE7B2FD-ED8A-489B-5C31-CD91996777C9}"/>
              </a:ext>
            </a:extLst>
          </p:cNvPr>
          <p:cNvSpPr>
            <a:spLocks noGrp="1"/>
          </p:cNvSpPr>
          <p:nvPr>
            <p:ph type="body" idx="1"/>
          </p:nvPr>
        </p:nvSpPr>
        <p:spPr/>
        <p:txBody>
          <a:bodyPr/>
          <a:lstStyle/>
          <a:p>
            <a:pPr algn="just">
              <a:spcAft>
                <a:spcPts val="600"/>
              </a:spcAft>
            </a:pPr>
            <a:r>
              <a:rPr lang="fr-FR" sz="1800" dirty="0">
                <a:effectLst/>
                <a:latin typeface="Arial" panose="020B0604020202020204" pitchFamily="34" charset="0"/>
                <a:ea typeface="Times New Roman" panose="02020603050405020304" pitchFamily="18" charset="0"/>
              </a:rPr>
              <a:t> </a:t>
            </a:r>
          </a:p>
          <a:p>
            <a:pPr algn="just">
              <a:spcAft>
                <a:spcPts val="600"/>
              </a:spcAft>
            </a:pPr>
            <a:r>
              <a:rPr lang="fr-FR" sz="1800" dirty="0">
                <a:effectLst/>
                <a:latin typeface="Arial" panose="020B0604020202020204" pitchFamily="34" charset="0"/>
                <a:ea typeface="Times New Roman" panose="02020603050405020304" pitchFamily="18" charset="0"/>
                <a:sym typeface="Wingdings" pitchFamily="2" charset="2"/>
              </a:rPr>
              <a:t></a:t>
            </a:r>
            <a:r>
              <a:rPr lang="fr-FR" sz="1800" dirty="0">
                <a:effectLst/>
                <a:latin typeface="Arial" panose="020B0604020202020204" pitchFamily="34" charset="0"/>
                <a:ea typeface="Times New Roman" panose="02020603050405020304" pitchFamily="18" charset="0"/>
              </a:rPr>
              <a:t>  comment la Métropole prend en considération les tendances lourdes tout en s’inscrivant dans un projet de transformation économique, urbain et social</a:t>
            </a:r>
            <a:r>
              <a:rPr lang="fr-FR" sz="1800" b="1" dirty="0">
                <a:effectLst/>
                <a:latin typeface="Arial" panose="020B0604020202020204" pitchFamily="34" charset="0"/>
                <a:ea typeface="Times New Roman" panose="02020603050405020304" pitchFamily="18" charset="0"/>
              </a:rPr>
              <a:t> </a:t>
            </a:r>
            <a:endParaRPr lang="fr-FR" sz="1800" dirty="0">
              <a:effectLst/>
              <a:latin typeface="Arial" panose="020B0604020202020204" pitchFamily="34" charset="0"/>
              <a:ea typeface="Times New Roman" panose="02020603050405020304" pitchFamily="18" charset="0"/>
            </a:endParaRPr>
          </a:p>
          <a:p>
            <a:pPr marL="0" indent="0" algn="just">
              <a:buNone/>
              <a:defRPr/>
            </a:pPr>
            <a:r>
              <a:rPr lang="fr-FR" sz="898" dirty="0"/>
              <a:t>1/ Un entrant majeur : </a:t>
            </a:r>
            <a:r>
              <a:rPr lang="fr-FR" sz="898" dirty="0">
                <a:solidFill>
                  <a:srgbClr val="C00000"/>
                </a:solidFill>
                <a:ea typeface="ＭＳ Ｐゴシック" panose="020B0600070205080204" pitchFamily="34" charset="-128"/>
              </a:rPr>
              <a:t>une métropole équilibrée entre développement tertiaire &amp; industriel</a:t>
            </a:r>
          </a:p>
          <a:p>
            <a:pPr lvl="2" algn="just">
              <a:defRPr/>
            </a:pPr>
            <a:r>
              <a:rPr lang="fr-FR" sz="770" dirty="0"/>
              <a:t>70% des emplois sur la Métropole sont des métiers de services dans des domaines d’activités variés, base commune d’une dynamique tertiaire puissante</a:t>
            </a:r>
          </a:p>
          <a:p>
            <a:pPr lvl="2" algn="just">
              <a:defRPr/>
            </a:pPr>
            <a:r>
              <a:rPr lang="fr-FR" sz="770" dirty="0"/>
              <a:t>Une vraie priorité redonnée à l’industrie, redéploiement productif sur la Métropole de Lyon à toutes les échelles du territoire : Ville Fabricante / Métropole Industrielle</a:t>
            </a:r>
            <a:endParaRPr lang="fr-FR" sz="770" b="1" dirty="0">
              <a:solidFill>
                <a:srgbClr val="C00000"/>
              </a:solidFill>
              <a:ea typeface="ＭＳ Ｐゴシック" panose="020B0600070205080204" pitchFamily="34" charset="-128"/>
            </a:endParaRPr>
          </a:p>
          <a:p>
            <a:pPr marL="0" indent="0" algn="just">
              <a:buNone/>
              <a:defRPr/>
            </a:pPr>
            <a:endParaRPr lang="fr-FR" sz="898" dirty="0"/>
          </a:p>
          <a:p>
            <a:pPr marL="0" indent="0" algn="just">
              <a:buNone/>
              <a:defRPr/>
            </a:pPr>
            <a:r>
              <a:rPr lang="fr-FR" sz="898" dirty="0"/>
              <a:t>2/ Implanter les nouvelles filières / écosystèmes économiques prioritaires (construction durable, alimentation, textile, économie circulaire, mobilités actives) </a:t>
            </a:r>
            <a:r>
              <a:rPr lang="fr-FR" sz="898" dirty="0">
                <a:solidFill>
                  <a:srgbClr val="C00000"/>
                </a:solidFill>
                <a:ea typeface="ＭＳ Ｐゴシック" panose="020B0600070205080204" pitchFamily="34" charset="-128"/>
              </a:rPr>
              <a:t>aux besoins immobiliers hybrides </a:t>
            </a:r>
            <a:r>
              <a:rPr lang="fr-FR" sz="898" dirty="0"/>
              <a:t>; </a:t>
            </a:r>
          </a:p>
          <a:p>
            <a:pPr marL="0" indent="0" algn="just">
              <a:buNone/>
              <a:defRPr/>
            </a:pPr>
            <a:endParaRPr lang="fr-FR" sz="898" dirty="0"/>
          </a:p>
          <a:p>
            <a:pPr marL="0" indent="0" algn="just">
              <a:buNone/>
              <a:defRPr/>
            </a:pPr>
            <a:r>
              <a:rPr lang="fr-FR" sz="898" dirty="0"/>
              <a:t>3/ Donner la place aux activités nécessaires au fonctionnement de la ville &amp; aux nouveaux usages : artisanat, commerce de gros, logistique urbaine, commerce et services de proximité </a:t>
            </a:r>
          </a:p>
          <a:p>
            <a:pPr marL="0" indent="0" algn="just">
              <a:buNone/>
              <a:defRPr/>
            </a:pPr>
            <a:endParaRPr lang="fr-FR" sz="898" dirty="0"/>
          </a:p>
          <a:p>
            <a:pPr marL="0" indent="0" algn="just">
              <a:buNone/>
              <a:defRPr/>
            </a:pPr>
            <a:r>
              <a:rPr lang="fr-FR" sz="898" dirty="0"/>
              <a:t>4/ Développer des </a:t>
            </a:r>
            <a:r>
              <a:rPr lang="fr-FR" sz="898" dirty="0">
                <a:solidFill>
                  <a:srgbClr val="D51317"/>
                </a:solidFill>
              </a:rPr>
              <a:t>conditions immobilières accessibles </a:t>
            </a:r>
            <a:r>
              <a:rPr lang="fr-FR" sz="898" dirty="0"/>
              <a:t>à tous les modèles entrepreneuriaux (ESS…)</a:t>
            </a:r>
          </a:p>
          <a:p>
            <a:pPr marL="0" indent="0" algn="just">
              <a:buNone/>
              <a:defRPr/>
            </a:pPr>
            <a:endParaRPr lang="fr-FR" sz="898" dirty="0"/>
          </a:p>
          <a:p>
            <a:pPr marL="0" indent="0" algn="just">
              <a:buNone/>
              <a:defRPr/>
            </a:pPr>
            <a:r>
              <a:rPr lang="fr-FR" sz="898" dirty="0"/>
              <a:t>5/ </a:t>
            </a:r>
            <a:r>
              <a:rPr lang="fr-FR" sz="898" dirty="0">
                <a:solidFill>
                  <a:srgbClr val="C00000"/>
                </a:solidFill>
                <a:ea typeface="ＭＳ Ｐゴシック" panose="020B0600070205080204" pitchFamily="34" charset="-128"/>
              </a:rPr>
              <a:t>Anticiper et accompagner l’adaptation de l’immobilier </a:t>
            </a:r>
            <a:r>
              <a:rPr lang="fr-FR" sz="898" dirty="0"/>
              <a:t>: Considérer les nouveaux besoins des employeurs et de leurs salariés post COVID qui viennent accélérer voire transformer les tendances de l’immobilier économique</a:t>
            </a:r>
          </a:p>
          <a:p>
            <a:pPr lvl="2" algn="just">
              <a:defRPr/>
            </a:pPr>
            <a:r>
              <a:rPr lang="fr-FR" sz="770" dirty="0"/>
              <a:t>La réorganisation géographique du travail et la transformation de l’immobilier (attentes post COVID: télétravail, coworking)</a:t>
            </a:r>
          </a:p>
          <a:p>
            <a:pPr lvl="2" algn="just">
              <a:defRPr/>
            </a:pPr>
            <a:r>
              <a:rPr lang="fr-FR" sz="770" dirty="0"/>
              <a:t>Qualité d’usage des lieux  et du cadre de travail et de l’environnement urbain pour les salariés</a:t>
            </a:r>
          </a:p>
          <a:p>
            <a:pPr lvl="1" indent="0" algn="just">
              <a:buNone/>
              <a:defRPr/>
            </a:pPr>
            <a:r>
              <a:rPr lang="fr-FR" sz="898" b="1" dirty="0"/>
              <a:t>6/ </a:t>
            </a:r>
            <a:r>
              <a:rPr lang="fr-FR" sz="898" b="1" dirty="0">
                <a:solidFill>
                  <a:srgbClr val="C00000"/>
                </a:solidFill>
                <a:ea typeface="ＭＳ Ｐゴシック" panose="020B0600070205080204" pitchFamily="34" charset="-128"/>
              </a:rPr>
              <a:t>Rendre le territoire et l’immobilier résilient </a:t>
            </a:r>
          </a:p>
          <a:p>
            <a:pPr marL="0" marR="0" lvl="0" indent="0" algn="l" defTabSz="914400" rtl="0" eaLnBrk="1" fontAlgn="auto" latinLnBrk="0" hangingPunct="1">
              <a:lnSpc>
                <a:spcPct val="90000"/>
              </a:lnSpc>
              <a:spcBef>
                <a:spcPct val="0"/>
              </a:spcBef>
              <a:spcAft>
                <a:spcPts val="0"/>
              </a:spcAft>
              <a:buClrTx/>
              <a:buSzTx/>
              <a:buFontTx/>
              <a:buNone/>
              <a:tabLst/>
              <a:defRPr/>
            </a:pPr>
            <a:endParaRPr lang="fr-FR" b="1" dirty="0"/>
          </a:p>
        </p:txBody>
      </p:sp>
      <p:sp>
        <p:nvSpPr>
          <p:cNvPr id="4" name="Espace réservé du numéro de diapositive 3">
            <a:extLst>
              <a:ext uri="{FF2B5EF4-FFF2-40B4-BE49-F238E27FC236}">
                <a16:creationId xmlns:a16="http://schemas.microsoft.com/office/drawing/2014/main" id="{AFC3DAD5-E263-340E-B24B-66809A6D109D}"/>
              </a:ext>
            </a:extLst>
          </p:cNvPr>
          <p:cNvSpPr>
            <a:spLocks noGrp="1"/>
          </p:cNvSpPr>
          <p:nvPr>
            <p:ph type="sldNum" sz="quarter" idx="5"/>
          </p:nvPr>
        </p:nvSpPr>
        <p:spPr/>
        <p:txBody>
          <a:bodyPr/>
          <a:lstStyle/>
          <a:p>
            <a:fld id="{6D388DEB-D366-4254-8274-487B5C395C4A}" type="slidenum">
              <a:rPr lang="fr-FR" smtClean="0"/>
              <a:t>12</a:t>
            </a:fld>
            <a:endParaRPr lang="fr-FR"/>
          </a:p>
        </p:txBody>
      </p:sp>
    </p:spTree>
    <p:extLst>
      <p:ext uri="{BB962C8B-B14F-4D97-AF65-F5344CB8AC3E}">
        <p14:creationId xmlns:p14="http://schemas.microsoft.com/office/powerpoint/2010/main" val="179598343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EE9D31-2894-A8A3-0068-69781B4FBD89}"/>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8E035F89-5200-27FA-BCBA-FC1971D4EFB3}"/>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9D736C73-F329-39E2-2A51-5B1147FC0687}"/>
              </a:ext>
            </a:extLst>
          </p:cNvPr>
          <p:cNvSpPr>
            <a:spLocks noGrp="1"/>
          </p:cNvSpPr>
          <p:nvPr>
            <p:ph type="body" idx="1"/>
          </p:nvPr>
        </p:nvSpPr>
        <p:spPr/>
        <p:txBody>
          <a:bodyPr/>
          <a:lstStyle/>
          <a:p>
            <a:pPr algn="just">
              <a:spcAft>
                <a:spcPts val="600"/>
              </a:spcAft>
            </a:pPr>
            <a:r>
              <a:rPr lang="fr-FR" sz="1800" dirty="0">
                <a:effectLst/>
                <a:latin typeface="Arial" panose="020B0604020202020204" pitchFamily="34" charset="0"/>
                <a:ea typeface="Times New Roman" panose="02020603050405020304" pitchFamily="18" charset="0"/>
              </a:rPr>
              <a:t>Il s’agit de rappeler que le bureau pour le bureau… ce n’est pas un objectif en soi. L’approche est plus systémique : </a:t>
            </a:r>
          </a:p>
          <a:p>
            <a:pPr marL="342900" lvl="0" indent="-342900" algn="just">
              <a:buFont typeface="Arial" panose="020B0604020202020204" pitchFamily="34" charset="0"/>
              <a:buChar char="-"/>
            </a:pPr>
            <a:r>
              <a:rPr lang="fr-FR" sz="1800" dirty="0">
                <a:effectLst/>
                <a:latin typeface="Arial" panose="020B0604020202020204" pitchFamily="34" charset="0"/>
                <a:ea typeface="Times New Roman" panose="02020603050405020304" pitchFamily="18" charset="0"/>
              </a:rPr>
              <a:t>En premier lieu, il s’agit de répondre aux attentes des entreprises et on a vu plus haut que les critères changent, et surtout que les entreprises changent - pivotent ; pour preuve avec l’écho positif que nous rencontrons quand nous proposons des dispositifs d’accompagnement à la transformation</a:t>
            </a:r>
          </a:p>
          <a:p>
            <a:pPr marL="342900" lvl="0" indent="-342900" algn="just">
              <a:buFont typeface="Arial" panose="020B0604020202020204" pitchFamily="34" charset="0"/>
              <a:buChar char="-"/>
            </a:pPr>
            <a:r>
              <a:rPr lang="fr-FR" sz="1800" dirty="0">
                <a:effectLst/>
                <a:latin typeface="Arial" panose="020B0604020202020204" pitchFamily="34" charset="0"/>
                <a:ea typeface="Times New Roman" panose="02020603050405020304" pitchFamily="18" charset="0"/>
              </a:rPr>
              <a:t>En deuxième lieu, la Métropole investit lourdement dans la transformation et la décarbonation de son territoire </a:t>
            </a:r>
            <a:r>
              <a:rPr lang="fr-FR" sz="1800" dirty="0">
                <a:effectLst/>
                <a:latin typeface="Arial" panose="020B0604020202020204" pitchFamily="34" charset="0"/>
                <a:ea typeface="Times New Roman" panose="02020603050405020304" pitchFamily="18" charset="0"/>
                <a:sym typeface="Wingdings" pitchFamily="2" charset="2"/>
              </a:rPr>
              <a:t></a:t>
            </a:r>
            <a:r>
              <a:rPr lang="fr-FR" sz="1800" dirty="0">
                <a:effectLst/>
                <a:latin typeface="Arial" panose="020B0604020202020204" pitchFamily="34" charset="0"/>
                <a:ea typeface="Times New Roman" panose="02020603050405020304" pitchFamily="18" charset="0"/>
              </a:rPr>
              <a:t> l’immobilier (tel qu’il soit) doit prendre sa part</a:t>
            </a:r>
          </a:p>
          <a:p>
            <a:pPr marL="342900" lvl="0" indent="-342900" algn="just">
              <a:spcAft>
                <a:spcPts val="600"/>
              </a:spcAft>
              <a:buFont typeface="Arial" panose="020B0604020202020204" pitchFamily="34" charset="0"/>
              <a:buChar char="-"/>
            </a:pPr>
            <a:r>
              <a:rPr lang="fr-FR" sz="1800" dirty="0">
                <a:effectLst/>
                <a:latin typeface="Arial" panose="020B0604020202020204" pitchFamily="34" charset="0"/>
                <a:ea typeface="Times New Roman" panose="02020603050405020304" pitchFamily="18" charset="0"/>
              </a:rPr>
              <a:t>En troisième lieu, si la Métropole a d’innombrables atouts économiques pour performer et permettre de faire du « business » (investisseurs, promoteurs, agences immobilières) ; la Métropole et ses acteurs économiques vous attendent aussi sur de l’innovation de montage, sur de l’immobilier prime ET abordable, sur la recherche de financements ISR car on décarbone le territoire, vous décarbonez la construction, il faut de la finance vertueuse pour boucler la boucle. Investir à Lyon c’est choisir un modèle vers plus de résilience et en transformation écologique.</a:t>
            </a:r>
          </a:p>
          <a:p>
            <a:pPr algn="just">
              <a:spcAft>
                <a:spcPts val="600"/>
              </a:spcAft>
              <a:tabLst>
                <a:tab pos="1476375" algn="l"/>
              </a:tabLst>
            </a:pPr>
            <a:r>
              <a:rPr lang="fr-FR" sz="1800" b="1" i="1" dirty="0">
                <a:effectLst/>
                <a:latin typeface="Arial" panose="020B0604020202020204" pitchFamily="34" charset="0"/>
                <a:ea typeface="Times New Roman" panose="02020603050405020304" pitchFamily="18" charset="0"/>
              </a:rPr>
              <a:t> </a:t>
            </a:r>
            <a:endParaRPr lang="fr-FR" sz="1800" dirty="0">
              <a:effectLst/>
              <a:latin typeface="Arial" panose="020B0604020202020204" pitchFamily="34" charset="0"/>
              <a:ea typeface="Times New Roman" panose="02020603050405020304" pitchFamily="18" charset="0"/>
            </a:endParaRPr>
          </a:p>
          <a:p>
            <a:pPr marL="342900" lvl="0" indent="-342900" algn="just">
              <a:spcAft>
                <a:spcPts val="600"/>
              </a:spcAft>
              <a:buFont typeface="Wingdings" pitchFamily="2" charset="2"/>
              <a:buChar char=""/>
              <a:tabLst>
                <a:tab pos="1476375" algn="l"/>
              </a:tabLst>
            </a:pPr>
            <a:r>
              <a:rPr lang="fr-FR" sz="1800" b="1" i="1" dirty="0">
                <a:effectLst/>
                <a:latin typeface="Arial" panose="020B0604020202020204" pitchFamily="34" charset="0"/>
                <a:ea typeface="Times New Roman" panose="02020603050405020304" pitchFamily="18" charset="0"/>
                <a:cs typeface="Arial" panose="020B0604020202020204" pitchFamily="34" charset="0"/>
              </a:rPr>
              <a:t>Des crises naissent de nouvelles opportunités de business pour les plus agiles</a:t>
            </a:r>
            <a:endParaRPr lang="fr-FR" sz="1800" dirty="0">
              <a:effectLst/>
              <a:latin typeface="Arial" panose="020B0604020202020204" pitchFamily="34" charset="0"/>
              <a:ea typeface="Times New Roman" panose="02020603050405020304" pitchFamily="18" charset="0"/>
              <a:cs typeface="Arial" panose="020B0604020202020204" pitchFamily="34" charset="0"/>
            </a:endParaRPr>
          </a:p>
          <a:p>
            <a:pPr marL="0" marR="0" lvl="0" indent="0" algn="l" defTabSz="1828709" rtl="0" eaLnBrk="1" fontAlgn="auto" latinLnBrk="0" hangingPunct="1">
              <a:lnSpc>
                <a:spcPct val="100000"/>
              </a:lnSpc>
              <a:spcBef>
                <a:spcPts val="0"/>
              </a:spcBef>
              <a:spcAft>
                <a:spcPts val="0"/>
              </a:spcAft>
              <a:buClrTx/>
              <a:buSzTx/>
              <a:buFontTx/>
              <a:buNone/>
              <a:tabLst/>
              <a:defRPr/>
            </a:pPr>
            <a:endParaRPr lang="fr-FR" sz="1600" dirty="0"/>
          </a:p>
        </p:txBody>
      </p:sp>
      <p:sp>
        <p:nvSpPr>
          <p:cNvPr id="4" name="Espace réservé du numéro de diapositive 3">
            <a:extLst>
              <a:ext uri="{FF2B5EF4-FFF2-40B4-BE49-F238E27FC236}">
                <a16:creationId xmlns:a16="http://schemas.microsoft.com/office/drawing/2014/main" id="{26EFBFA8-4279-10BF-D8E6-0A97E37E257F}"/>
              </a:ext>
            </a:extLst>
          </p:cNvPr>
          <p:cNvSpPr>
            <a:spLocks noGrp="1"/>
          </p:cNvSpPr>
          <p:nvPr>
            <p:ph type="sldNum" sz="quarter" idx="5"/>
          </p:nvPr>
        </p:nvSpPr>
        <p:spPr/>
        <p:txBody>
          <a:bodyPr/>
          <a:lstStyle/>
          <a:p>
            <a:fld id="{AE0CFCF4-A44A-4EFF-BA3D-421834F1F276}" type="slidenum">
              <a:rPr lang="fr-FR" smtClean="0"/>
              <a:t>13</a:t>
            </a:fld>
            <a:endParaRPr lang="fr-FR"/>
          </a:p>
        </p:txBody>
      </p:sp>
    </p:spTree>
    <p:extLst>
      <p:ext uri="{BB962C8B-B14F-4D97-AF65-F5344CB8AC3E}">
        <p14:creationId xmlns:p14="http://schemas.microsoft.com/office/powerpoint/2010/main" val="137919612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algn="just">
              <a:spcAft>
                <a:spcPts val="600"/>
              </a:spcAft>
            </a:pPr>
            <a:r>
              <a:rPr lang="fr-FR" sz="1800" dirty="0">
                <a:effectLst/>
                <a:latin typeface="Arial" panose="020B0604020202020204" pitchFamily="34" charset="0"/>
                <a:ea typeface="Times New Roman" panose="02020603050405020304" pitchFamily="18" charset="0"/>
              </a:rPr>
              <a:t>Dans ce contexte de crise, ce qu’il ressort sur la Métropole c’est la satisfaction collective de ne pas avoir un surdéveloppement spéculatif mais bien un marché « contenu » au vrai besoin. La Métropole réaffirme son rôle de régulateur du développement, un vrai coussin anti-crise. </a:t>
            </a:r>
          </a:p>
          <a:p>
            <a:pPr algn="just">
              <a:spcAft>
                <a:spcPts val="600"/>
              </a:spcAft>
            </a:pPr>
            <a:r>
              <a:rPr lang="fr-FR" sz="1800" dirty="0">
                <a:effectLst/>
                <a:latin typeface="Arial" panose="020B0604020202020204" pitchFamily="34" charset="0"/>
                <a:ea typeface="Times New Roman" panose="02020603050405020304" pitchFamily="18" charset="0"/>
              </a:rPr>
              <a:t> </a:t>
            </a:r>
          </a:p>
          <a:p>
            <a:pPr algn="just">
              <a:spcAft>
                <a:spcPts val="600"/>
              </a:spcAft>
            </a:pPr>
            <a:r>
              <a:rPr lang="fr-FR" sz="1800" dirty="0">
                <a:effectLst/>
                <a:latin typeface="Arial" panose="020B0604020202020204" pitchFamily="34" charset="0"/>
                <a:ea typeface="Times New Roman" panose="02020603050405020304" pitchFamily="18" charset="0"/>
              </a:rPr>
              <a:t>Elle le peut grâce au PLU-H métropolitain et aux projets urbains. </a:t>
            </a:r>
          </a:p>
          <a:p>
            <a:pPr marL="342900" lvl="0" indent="-342900" algn="just">
              <a:buFont typeface="Arial" panose="020B0604020202020204" pitchFamily="34" charset="0"/>
              <a:buChar char="-"/>
            </a:pPr>
            <a:r>
              <a:rPr lang="fr-FR" sz="1800" dirty="0">
                <a:effectLst/>
                <a:latin typeface="Arial" panose="020B0604020202020204" pitchFamily="34" charset="0"/>
                <a:ea typeface="Times New Roman" panose="02020603050405020304" pitchFamily="18" charset="0"/>
              </a:rPr>
              <a:t>Un développement dans le « juste » volume – vigilance à rester corréler le plus possible au volume de la demande (120 à 150000 m² neuf et régénéré par an en moyenne) </a:t>
            </a:r>
          </a:p>
          <a:p>
            <a:pPr marL="342900" lvl="0" indent="-342900" algn="just">
              <a:buFont typeface="Arial" panose="020B0604020202020204" pitchFamily="34" charset="0"/>
              <a:buChar char="-"/>
            </a:pPr>
            <a:r>
              <a:rPr lang="fr-FR" sz="1800" dirty="0">
                <a:effectLst/>
                <a:latin typeface="Arial" panose="020B0604020202020204" pitchFamily="34" charset="0"/>
                <a:ea typeface="Times New Roman" panose="02020603050405020304" pitchFamily="18" charset="0"/>
              </a:rPr>
              <a:t>Parmi les inflexions portées par l’exécutif c’est la diversification de l’offre pour répondre à toutes les tailles et statuts d’entreprises. C’est par exemple le rééquilibrage d’offre « abordable » dans l’hyper centre ; c’est créer différentes tailles d’immeuble ou prix grâce aux différents projets urbains</a:t>
            </a:r>
          </a:p>
          <a:p>
            <a:pPr marL="342900" lvl="0" indent="-342900" algn="just">
              <a:spcAft>
                <a:spcPts val="600"/>
              </a:spcAft>
              <a:buFont typeface="Arial" panose="020B0604020202020204" pitchFamily="34" charset="0"/>
              <a:buChar char="-"/>
            </a:pPr>
            <a:r>
              <a:rPr lang="fr-FR" sz="1800" dirty="0">
                <a:effectLst/>
                <a:latin typeface="Arial" panose="020B0604020202020204" pitchFamily="34" charset="0"/>
                <a:ea typeface="Times New Roman" panose="02020603050405020304" pitchFamily="18" charset="0"/>
              </a:rPr>
              <a:t>Enfin, vu sur le portrait du parc immobilier, l’existant dispose d’un potentiel énorme de transformation - le vivier est là… pour cela Part Dieu présentera sa feuille de route ; mais nous allons nous poser la question sur le reste des arrondissements lyonnais et Villeurbanne sur le potentiel en régénération (ou de transformation d’usage vers du mixte ou du logement quand le secteur n’est plus favorable) </a:t>
            </a:r>
          </a:p>
          <a:p>
            <a:pPr algn="just">
              <a:spcAft>
                <a:spcPts val="600"/>
              </a:spcAft>
            </a:pPr>
            <a:r>
              <a:rPr lang="fr-FR" sz="1800" dirty="0">
                <a:effectLst/>
                <a:latin typeface="Arial" panose="020B0604020202020204" pitchFamily="34" charset="0"/>
                <a:ea typeface="Times New Roman" panose="02020603050405020304" pitchFamily="18" charset="0"/>
              </a:rPr>
              <a:t> </a:t>
            </a:r>
          </a:p>
          <a:p>
            <a:pPr algn="just">
              <a:spcAft>
                <a:spcPts val="600"/>
              </a:spcAft>
            </a:pPr>
            <a:r>
              <a:rPr lang="fr-FR" sz="1800" dirty="0">
                <a:effectLst/>
                <a:latin typeface="Arial" panose="020B0604020202020204" pitchFamily="34" charset="0"/>
                <a:ea typeface="Times New Roman" panose="02020603050405020304" pitchFamily="18" charset="0"/>
              </a:rPr>
              <a:t>La méthode : c’est la </a:t>
            </a:r>
            <a:r>
              <a:rPr lang="fr-FR" sz="1800" dirty="0" err="1">
                <a:effectLst/>
                <a:latin typeface="Arial" panose="020B0604020202020204" pitchFamily="34" charset="0"/>
                <a:ea typeface="Times New Roman" panose="02020603050405020304" pitchFamily="18" charset="0"/>
              </a:rPr>
              <a:t>co-conconstruction</a:t>
            </a:r>
            <a:r>
              <a:rPr lang="fr-FR" sz="1800" dirty="0">
                <a:effectLst/>
                <a:latin typeface="Arial" panose="020B0604020202020204" pitchFamily="34" charset="0"/>
                <a:ea typeface="Times New Roman" panose="02020603050405020304" pitchFamily="18" charset="0"/>
              </a:rPr>
              <a:t> itérative avec les acteurs et nos échanges réguliers</a:t>
            </a:r>
          </a:p>
          <a:p>
            <a:pPr algn="just">
              <a:spcAft>
                <a:spcPts val="600"/>
              </a:spcAft>
            </a:pPr>
            <a:r>
              <a:rPr lang="fr-FR" sz="1800" dirty="0">
                <a:effectLst/>
                <a:latin typeface="Arial" panose="020B0604020202020204" pitchFamily="34" charset="0"/>
                <a:ea typeface="Times New Roman" panose="02020603050405020304" pitchFamily="18" charset="0"/>
              </a:rPr>
              <a:t> </a:t>
            </a:r>
          </a:p>
          <a:p>
            <a:pPr algn="just">
              <a:spcAft>
                <a:spcPts val="600"/>
              </a:spcAft>
            </a:pPr>
            <a:r>
              <a:rPr lang="fr-FR" sz="1800" b="1" dirty="0">
                <a:effectLst/>
                <a:latin typeface="Arial" panose="020B0604020202020204" pitchFamily="34" charset="0"/>
                <a:ea typeface="Times New Roman" panose="02020603050405020304" pitchFamily="18" charset="0"/>
              </a:rPr>
              <a:t>Territorialement, cela se traduit de deux manières (2 pages suivantes)</a:t>
            </a:r>
            <a:endParaRPr lang="fr-FR" sz="1800" dirty="0">
              <a:effectLst/>
              <a:latin typeface="Arial" panose="020B0604020202020204" pitchFamily="34" charset="0"/>
              <a:ea typeface="Times New Roman" panose="02020603050405020304" pitchFamily="18" charset="0"/>
            </a:endParaRPr>
          </a:p>
          <a:p>
            <a:pPr algn="just">
              <a:spcAft>
                <a:spcPts val="600"/>
              </a:spcAft>
            </a:pPr>
            <a:r>
              <a:rPr lang="fr-FR" sz="1800" dirty="0">
                <a:effectLst/>
                <a:latin typeface="Arial" panose="020B0604020202020204" pitchFamily="34" charset="0"/>
                <a:ea typeface="Times New Roman" panose="02020603050405020304" pitchFamily="18" charset="0"/>
              </a:rPr>
              <a:t> </a:t>
            </a:r>
          </a:p>
          <a:p>
            <a:endParaRPr lang="fr-FR" sz="1200" kern="1200" dirty="0">
              <a:solidFill>
                <a:schemeClr val="tx1"/>
              </a:solidFill>
              <a:effectLst/>
              <a:latin typeface="+mn-lt"/>
              <a:ea typeface="+mn-ea"/>
              <a:cs typeface="+mn-cs"/>
            </a:endParaRPr>
          </a:p>
        </p:txBody>
      </p:sp>
      <p:sp>
        <p:nvSpPr>
          <p:cNvPr id="4" name="Espace réservé du numéro de diapositive 3"/>
          <p:cNvSpPr>
            <a:spLocks noGrp="1"/>
          </p:cNvSpPr>
          <p:nvPr>
            <p:ph type="sldNum" sz="quarter" idx="5"/>
          </p:nvPr>
        </p:nvSpPr>
        <p:spPr/>
        <p:txBody>
          <a:bodyPr/>
          <a:lstStyle/>
          <a:p>
            <a:fld id="{BA2C2892-FB75-473D-A772-5D49370288BF}" type="slidenum">
              <a:rPr lang="fr-FR" smtClean="0"/>
              <a:t>14</a:t>
            </a:fld>
            <a:endParaRPr lang="fr-FR"/>
          </a:p>
        </p:txBody>
      </p:sp>
    </p:spTree>
    <p:extLst>
      <p:ext uri="{BB962C8B-B14F-4D97-AF65-F5344CB8AC3E}">
        <p14:creationId xmlns:p14="http://schemas.microsoft.com/office/powerpoint/2010/main" val="356534752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315085-DC09-F0C2-DE81-1A24F960754C}"/>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DD394A9B-8730-3B22-3877-8E7793338EF1}"/>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DD4EB5AC-C77D-5372-F1DE-DF56346FCCA7}"/>
              </a:ext>
            </a:extLst>
          </p:cNvPr>
          <p:cNvSpPr>
            <a:spLocks noGrp="1"/>
          </p:cNvSpPr>
          <p:nvPr>
            <p:ph type="body" idx="1"/>
          </p:nvPr>
        </p:nvSpPr>
        <p:spPr/>
        <p:txBody>
          <a:bodyPr/>
          <a:lstStyle/>
          <a:p>
            <a:pPr algn="just">
              <a:spcAft>
                <a:spcPts val="600"/>
              </a:spcAft>
            </a:pPr>
            <a:r>
              <a:rPr lang="fr-FR" sz="1100" dirty="0">
                <a:effectLst/>
                <a:latin typeface="Arial" panose="020B0604020202020204" pitchFamily="34" charset="0"/>
                <a:ea typeface="Times New Roman" panose="02020603050405020304" pitchFamily="18" charset="0"/>
              </a:rPr>
              <a:t>Par le développement des infrastructures TC et des modes doux, complétés de création de projets urbains mixtes très qualitatifs déconcentrés ; la Métropole crée les conditions favorables aux entreprises pour s’implanter dans ces nouvelles polarités. Cela permettra de rééquilibrer le 80 % du développement dans le centre à 70 voire 60 % ; au bénéfice des entreprises qui trouveront des immeubles de grande qualité, dans des environnements urbains de qualité et à des prix sensiblement moins élevés. Chaque projet aura son identité. </a:t>
            </a:r>
          </a:p>
          <a:p>
            <a:pPr algn="just">
              <a:spcAft>
                <a:spcPts val="600"/>
              </a:spcAft>
            </a:pPr>
            <a:r>
              <a:rPr lang="fr-FR" sz="1100" dirty="0">
                <a:effectLst/>
                <a:latin typeface="Arial" panose="020B0604020202020204" pitchFamily="34" charset="0"/>
                <a:ea typeface="Times New Roman" panose="02020603050405020304" pitchFamily="18" charset="0"/>
              </a:rPr>
              <a:t> </a:t>
            </a:r>
          </a:p>
          <a:p>
            <a:pPr algn="just">
              <a:spcAft>
                <a:spcPts val="600"/>
              </a:spcAft>
            </a:pPr>
            <a:r>
              <a:rPr lang="fr-FR" sz="1100" dirty="0">
                <a:effectLst/>
                <a:latin typeface="Arial" panose="020B0604020202020204" pitchFamily="34" charset="0"/>
                <a:ea typeface="Times New Roman" panose="02020603050405020304" pitchFamily="18" charset="0"/>
              </a:rPr>
              <a:t>Parmi tous les projets, zoom sur 2 : </a:t>
            </a:r>
          </a:p>
          <a:p>
            <a:pPr marL="342900" lvl="0" indent="-342900" algn="just">
              <a:buFont typeface="Arial" panose="020B0604020202020204" pitchFamily="34" charset="0"/>
              <a:buChar char="-"/>
            </a:pPr>
            <a:r>
              <a:rPr lang="fr-FR" sz="1100" dirty="0">
                <a:effectLst/>
                <a:latin typeface="Arial" panose="020B0604020202020204" pitchFamily="34" charset="0"/>
                <a:ea typeface="Times New Roman" panose="02020603050405020304" pitchFamily="18" charset="0"/>
              </a:rPr>
              <a:t>Preuve de la réussite c’est Carré de Soie qui poursuit son développement équilibré entre tertiaire et industriel. Cette année les sièges EHM et </a:t>
            </a:r>
            <a:r>
              <a:rPr lang="fr-FR" sz="1100" dirty="0" err="1">
                <a:effectLst/>
                <a:latin typeface="Arial" panose="020B0604020202020204" pitchFamily="34" charset="0"/>
                <a:ea typeface="Times New Roman" panose="02020603050405020304" pitchFamily="18" charset="0"/>
              </a:rPr>
              <a:t>Sytral</a:t>
            </a:r>
            <a:r>
              <a:rPr lang="fr-FR" sz="1100" dirty="0">
                <a:effectLst/>
                <a:latin typeface="Arial" panose="020B0604020202020204" pitchFamily="34" charset="0"/>
                <a:ea typeface="Times New Roman" panose="02020603050405020304" pitchFamily="18" charset="0"/>
              </a:rPr>
              <a:t> sont venus compléter les entreprises « tertiaire » ; Eastwood un bâtiment en ossature bois va être livré en 2024 ; le lancement de </a:t>
            </a:r>
            <a:r>
              <a:rPr lang="fr-FR" sz="1100" dirty="0" err="1">
                <a:effectLst/>
                <a:latin typeface="Arial" panose="020B0604020202020204" pitchFamily="34" charset="0"/>
                <a:ea typeface="Times New Roman" panose="02020603050405020304" pitchFamily="18" charset="0"/>
              </a:rPr>
              <a:t>Kokon</a:t>
            </a:r>
            <a:r>
              <a:rPr lang="fr-FR" sz="1100" dirty="0">
                <a:effectLst/>
                <a:latin typeface="Arial" panose="020B0604020202020204" pitchFamily="34" charset="0"/>
                <a:ea typeface="Times New Roman" panose="02020603050405020304" pitchFamily="18" charset="0"/>
              </a:rPr>
              <a:t> (aile Est </a:t>
            </a:r>
            <a:r>
              <a:rPr lang="fr-FR" sz="1100" dirty="0" err="1">
                <a:effectLst/>
                <a:latin typeface="Arial" panose="020B0604020202020204" pitchFamily="34" charset="0"/>
                <a:ea typeface="Times New Roman" panose="02020603050405020304" pitchFamily="18" charset="0"/>
              </a:rPr>
              <a:t>Tase</a:t>
            </a:r>
            <a:r>
              <a:rPr lang="fr-FR" sz="1100" dirty="0">
                <a:effectLst/>
                <a:latin typeface="Arial" panose="020B0604020202020204" pitchFamily="34" charset="0"/>
                <a:ea typeface="Times New Roman" panose="02020603050405020304" pitchFamily="18" charset="0"/>
              </a:rPr>
              <a:t>) reconvertira l’ancienne usine </a:t>
            </a:r>
            <a:r>
              <a:rPr lang="fr-FR" sz="1100" dirty="0" err="1">
                <a:effectLst/>
                <a:latin typeface="Arial" panose="020B0604020202020204" pitchFamily="34" charset="0"/>
                <a:ea typeface="Times New Roman" panose="02020603050405020304" pitchFamily="18" charset="0"/>
              </a:rPr>
              <a:t>Tase</a:t>
            </a:r>
            <a:r>
              <a:rPr lang="fr-FR" sz="1100" dirty="0">
                <a:effectLst/>
                <a:latin typeface="Arial" panose="020B0604020202020204" pitchFamily="34" charset="0"/>
                <a:ea typeface="Times New Roman" panose="02020603050405020304" pitchFamily="18" charset="0"/>
              </a:rPr>
              <a:t> sur la partie bureaux. En parallèle la Métropole est très active dans l’économie productive sur ce quartier mixte avec l’ouverture grande échelle de 22D =&gt; l’avenir urbain dense est à la mixité (logement, parcs urbains, tertiaire et productif)</a:t>
            </a:r>
          </a:p>
          <a:p>
            <a:pPr marL="342900" lvl="0" indent="-342900" algn="just">
              <a:buFont typeface="Arial" panose="020B0604020202020204" pitchFamily="34" charset="0"/>
              <a:buChar char="-"/>
            </a:pPr>
            <a:r>
              <a:rPr lang="fr-FR" sz="1100" dirty="0">
                <a:effectLst/>
                <a:latin typeface="Arial" panose="020B0604020202020204" pitchFamily="34" charset="0"/>
                <a:ea typeface="Times New Roman" panose="02020603050405020304" pitchFamily="18" charset="0"/>
              </a:rPr>
              <a:t>Oullins la Saulaie – projet attendu depuis longtemps est enfin opérationnel. </a:t>
            </a:r>
          </a:p>
          <a:p>
            <a:pPr marL="742950" lvl="1" indent="-285750" algn="just">
              <a:buFont typeface="Courier New" panose="02070309020205020404" pitchFamily="49" charset="0"/>
              <a:buChar char="o"/>
            </a:pPr>
            <a:r>
              <a:rPr lang="fr-FR" sz="1100" dirty="0">
                <a:effectLst/>
                <a:latin typeface="Arial" panose="020B0604020202020204" pitchFamily="34" charset="0"/>
                <a:ea typeface="Times New Roman" panose="02020603050405020304" pitchFamily="18" charset="0"/>
              </a:rPr>
              <a:t>40 ha - 168 000 m² au total dont 80 000 m² </a:t>
            </a:r>
            <a:r>
              <a:rPr lang="fr-FR" sz="1100" dirty="0" err="1">
                <a:effectLst/>
                <a:latin typeface="Arial" panose="020B0604020202020204" pitchFamily="34" charset="0"/>
                <a:ea typeface="Times New Roman" panose="02020603050405020304" pitchFamily="18" charset="0"/>
              </a:rPr>
              <a:t>sdp</a:t>
            </a:r>
            <a:r>
              <a:rPr lang="fr-FR" sz="1100" dirty="0">
                <a:effectLst/>
                <a:latin typeface="Arial" panose="020B0604020202020204" pitchFamily="34" charset="0"/>
                <a:ea typeface="Times New Roman" panose="02020603050405020304" pitchFamily="18" charset="0"/>
              </a:rPr>
              <a:t> tertiaire</a:t>
            </a:r>
          </a:p>
          <a:p>
            <a:pPr marL="742950" lvl="1" indent="-285750" algn="just">
              <a:buFont typeface="Courier New" panose="02070309020205020404" pitchFamily="49" charset="0"/>
              <a:buChar char="o"/>
            </a:pPr>
            <a:r>
              <a:rPr lang="fr-FR" sz="1100" dirty="0">
                <a:effectLst/>
                <a:latin typeface="Arial" panose="020B0604020202020204" pitchFamily="34" charset="0"/>
                <a:ea typeface="Times New Roman" panose="02020603050405020304" pitchFamily="18" charset="0"/>
              </a:rPr>
              <a:t>Une identité « faubourienne » avec des ilots mixtes  </a:t>
            </a:r>
          </a:p>
          <a:p>
            <a:pPr marL="742950" lvl="1" indent="-285750" algn="just">
              <a:buFont typeface="Courier New" panose="02070309020205020404" pitchFamily="49" charset="0"/>
              <a:buChar char="o"/>
            </a:pPr>
            <a:r>
              <a:rPr lang="fr-FR" sz="1100" dirty="0">
                <a:effectLst/>
                <a:latin typeface="Arial" panose="020B0604020202020204" pitchFamily="34" charset="0"/>
                <a:ea typeface="Times New Roman" panose="02020603050405020304" pitchFamily="18" charset="0"/>
              </a:rPr>
              <a:t>Consultation promoteur en cours pour l’ilot 4 (logement, bureaux, halle activité)</a:t>
            </a:r>
          </a:p>
          <a:p>
            <a:pPr marL="342900" lvl="0" indent="-342900" algn="just">
              <a:spcAft>
                <a:spcPts val="600"/>
              </a:spcAft>
              <a:buFont typeface="Arial" panose="020B0604020202020204" pitchFamily="34" charset="0"/>
              <a:buChar char="-"/>
            </a:pPr>
            <a:r>
              <a:rPr lang="fr-FR" sz="1100" dirty="0">
                <a:effectLst/>
                <a:latin typeface="Arial" panose="020B0604020202020204" pitchFamily="34" charset="0"/>
                <a:ea typeface="Times New Roman" panose="02020603050405020304" pitchFamily="18" charset="0"/>
              </a:rPr>
              <a:t>Par contre, réfléchissons ensemble à l’avenir des parcs d’affaires monofonctionnels périphériques en panne d’attractivité vers plus de mixité et de priorisation du développement car en effet ces secteurs sont en suroffre</a:t>
            </a:r>
          </a:p>
          <a:p>
            <a:pPr marL="0" marR="0" lvl="0" indent="0" algn="l" defTabSz="1828709" rtl="0" eaLnBrk="1" fontAlgn="auto" latinLnBrk="0" hangingPunct="1">
              <a:lnSpc>
                <a:spcPct val="100000"/>
              </a:lnSpc>
              <a:spcBef>
                <a:spcPts val="0"/>
              </a:spcBef>
              <a:spcAft>
                <a:spcPts val="0"/>
              </a:spcAft>
              <a:buClrTx/>
              <a:buSzTx/>
              <a:buFontTx/>
              <a:buNone/>
              <a:tabLst/>
              <a:defRPr/>
            </a:pPr>
            <a:endParaRPr lang="fr-FR" sz="1600" dirty="0"/>
          </a:p>
        </p:txBody>
      </p:sp>
      <p:sp>
        <p:nvSpPr>
          <p:cNvPr id="4" name="Espace réservé du numéro de diapositive 3">
            <a:extLst>
              <a:ext uri="{FF2B5EF4-FFF2-40B4-BE49-F238E27FC236}">
                <a16:creationId xmlns:a16="http://schemas.microsoft.com/office/drawing/2014/main" id="{184B3DB0-B05E-290E-E345-9847B592AF36}"/>
              </a:ext>
            </a:extLst>
          </p:cNvPr>
          <p:cNvSpPr>
            <a:spLocks noGrp="1"/>
          </p:cNvSpPr>
          <p:nvPr>
            <p:ph type="sldNum" sz="quarter" idx="5"/>
          </p:nvPr>
        </p:nvSpPr>
        <p:spPr/>
        <p:txBody>
          <a:bodyPr/>
          <a:lstStyle/>
          <a:p>
            <a:fld id="{AE0CFCF4-A44A-4EFF-BA3D-421834F1F276}" type="slidenum">
              <a:rPr lang="fr-FR" smtClean="0"/>
              <a:t>15</a:t>
            </a:fld>
            <a:endParaRPr lang="fr-FR"/>
          </a:p>
        </p:txBody>
      </p:sp>
    </p:spTree>
    <p:extLst>
      <p:ext uri="{BB962C8B-B14F-4D97-AF65-F5344CB8AC3E}">
        <p14:creationId xmlns:p14="http://schemas.microsoft.com/office/powerpoint/2010/main" val="411608346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algn="just">
              <a:spcAft>
                <a:spcPts val="600"/>
              </a:spcAft>
            </a:pPr>
            <a:r>
              <a:rPr lang="fr-FR" sz="1800" dirty="0">
                <a:effectLst/>
                <a:latin typeface="Arial" panose="020B0604020202020204" pitchFamily="34" charset="0"/>
                <a:ea typeface="Times New Roman" panose="02020603050405020304" pitchFamily="18" charset="0"/>
              </a:rPr>
              <a:t>L’hyper centre, reste un territoire de projets : Part Dieu, Confluence, Gerland, Vaise, Villeurbanne Tonkin, Villeurbanne centre ville (Gratte-Ciel, ACI…), Préfecture, plus à la marge le 8</a:t>
            </a:r>
            <a:r>
              <a:rPr lang="fr-FR" sz="1800" baseline="30000" dirty="0">
                <a:effectLst/>
                <a:latin typeface="Arial" panose="020B0604020202020204" pitchFamily="34" charset="0"/>
                <a:ea typeface="Times New Roman" panose="02020603050405020304" pitchFamily="18" charset="0"/>
              </a:rPr>
              <a:t>ème</a:t>
            </a:r>
            <a:r>
              <a:rPr lang="fr-FR" sz="1800" dirty="0">
                <a:effectLst/>
                <a:latin typeface="Arial" panose="020B0604020202020204" pitchFamily="34" charset="0"/>
                <a:ea typeface="Times New Roman" panose="02020603050405020304" pitchFamily="18" charset="0"/>
              </a:rPr>
              <a:t> … MAIS notre priorité est très clairement et de manière assumée à la régénération du parc existant avec différents leviers (</a:t>
            </a:r>
            <a:r>
              <a:rPr lang="fr-FR" sz="1800" dirty="0" err="1">
                <a:effectLst/>
                <a:latin typeface="Arial" panose="020B0604020202020204" pitchFamily="34" charset="0"/>
                <a:ea typeface="Times New Roman" panose="02020603050405020304" pitchFamily="18" charset="0"/>
              </a:rPr>
              <a:t>sur-élévation</a:t>
            </a:r>
            <a:r>
              <a:rPr lang="fr-FR" sz="1800" dirty="0">
                <a:effectLst/>
                <a:latin typeface="Arial" panose="020B0604020202020204" pitchFamily="34" charset="0"/>
                <a:ea typeface="Times New Roman" panose="02020603050405020304" pitchFamily="18" charset="0"/>
              </a:rPr>
              <a:t> au juste volume, revalorisation de l’actif…), quelques projets neufs « classiques » pour permettre notamment les opérations tiroirs et à la diversification programmatique vers la production de neuf abordable pour arrêter de reléguer les jeunes entreprises, les entreprises à faible marge à l’extérieur de Lyon ou dans des immeubles passoirs… </a:t>
            </a:r>
          </a:p>
          <a:p>
            <a:pPr algn="just">
              <a:spcAft>
                <a:spcPts val="600"/>
              </a:spcAft>
            </a:pPr>
            <a:r>
              <a:rPr lang="fr-FR" sz="1800" dirty="0">
                <a:effectLst/>
                <a:latin typeface="Arial" panose="020B0604020202020204" pitchFamily="34" charset="0"/>
                <a:ea typeface="Times New Roman" panose="02020603050405020304" pitchFamily="18" charset="0"/>
              </a:rPr>
              <a:t> </a:t>
            </a:r>
          </a:p>
          <a:p>
            <a:pPr algn="just">
              <a:spcAft>
                <a:spcPts val="600"/>
              </a:spcAft>
            </a:pPr>
            <a:r>
              <a:rPr lang="fr-FR" sz="1800" dirty="0">
                <a:effectLst/>
                <a:latin typeface="Arial" panose="020B0604020202020204" pitchFamily="34" charset="0"/>
                <a:ea typeface="Times New Roman" panose="02020603050405020304" pitchFamily="18" charset="0"/>
              </a:rPr>
              <a:t>Nous retrouvons ces fondamentaux au travers de deux projets phares dont les feuilles de route se sont réorientées : </a:t>
            </a:r>
          </a:p>
          <a:p>
            <a:pPr marL="342900" lvl="0" indent="-342900" algn="just">
              <a:buFont typeface="Arial" panose="020B0604020202020204" pitchFamily="34" charset="0"/>
              <a:buChar char="-"/>
            </a:pPr>
            <a:r>
              <a:rPr lang="fr-FR" sz="1800" dirty="0">
                <a:effectLst/>
                <a:latin typeface="Arial" panose="020B0604020202020204" pitchFamily="34" charset="0"/>
                <a:ea typeface="Times New Roman" panose="02020603050405020304" pitchFamily="18" charset="0"/>
              </a:rPr>
              <a:t> la SPL Lyon Part Dieu présentera l’état d’avancement de la feuille de route de régénération ; les clés de réussite – c’est également pour les filières économiques un puissant laboratoire de structuration de la filière construction durable et économie circulaire par les volumes que ça représente </a:t>
            </a:r>
          </a:p>
          <a:p>
            <a:pPr marL="342900" lvl="0" indent="-342900" algn="just">
              <a:spcAft>
                <a:spcPts val="600"/>
              </a:spcAft>
              <a:buFont typeface="Arial" panose="020B0604020202020204" pitchFamily="34" charset="0"/>
              <a:buChar char="-"/>
            </a:pPr>
            <a:r>
              <a:rPr lang="fr-FR" sz="1800" dirty="0">
                <a:effectLst/>
                <a:latin typeface="Arial" panose="020B0604020202020204" pitchFamily="34" charset="0"/>
                <a:ea typeface="Times New Roman" panose="02020603050405020304" pitchFamily="18" charset="0"/>
              </a:rPr>
              <a:t>La SPL Lyon Confluence pour l’adaptation de la programmation pour créer différentes gammes de produits et accompagner les parcours des entreprises sur son territoire</a:t>
            </a:r>
          </a:p>
          <a:p>
            <a:pPr>
              <a:spcAft>
                <a:spcPts val="600"/>
              </a:spcAft>
              <a:tabLst>
                <a:tab pos="1476375" algn="l"/>
              </a:tabLst>
            </a:pPr>
            <a:r>
              <a:rPr lang="fr-FR" sz="1800" b="1" dirty="0">
                <a:effectLst/>
                <a:latin typeface="Arial" panose="020B0604020202020204" pitchFamily="34" charset="0"/>
                <a:ea typeface="Times New Roman" panose="02020603050405020304" pitchFamily="18" charset="0"/>
              </a:rPr>
              <a:t> </a:t>
            </a:r>
            <a:endParaRPr lang="fr-FR" sz="1800" dirty="0">
              <a:effectLst/>
              <a:latin typeface="Arial" panose="020B0604020202020204" pitchFamily="34" charset="0"/>
              <a:ea typeface="Times New Roman" panose="02020603050405020304" pitchFamily="18" charset="0"/>
            </a:endParaRPr>
          </a:p>
          <a:p>
            <a:pPr>
              <a:spcAft>
                <a:spcPts val="600"/>
              </a:spcAft>
              <a:tabLst>
                <a:tab pos="1476375" algn="l"/>
              </a:tabLst>
            </a:pPr>
            <a:br>
              <a:rPr lang="fr-FR" sz="1800" b="1" dirty="0">
                <a:effectLst/>
                <a:latin typeface="Arial" panose="020B0604020202020204" pitchFamily="34" charset="0"/>
                <a:ea typeface="Times New Roman" panose="02020603050405020304" pitchFamily="18" charset="0"/>
              </a:rPr>
            </a:br>
            <a:r>
              <a:rPr lang="fr-FR" sz="1800" b="1" dirty="0">
                <a:effectLst/>
                <a:latin typeface="Arial" panose="020B0604020202020204" pitchFamily="34" charset="0"/>
                <a:ea typeface="Times New Roman" panose="02020603050405020304" pitchFamily="18" charset="0"/>
              </a:rPr>
              <a:t>Passer la parole aux autres intervenants (suite à la SPL Part Dieu – Florent Sainte-Fare </a:t>
            </a:r>
            <a:r>
              <a:rPr lang="fr-FR" sz="1800" b="1" dirty="0" err="1">
                <a:effectLst/>
                <a:latin typeface="Arial" panose="020B0604020202020204" pitchFamily="34" charset="0"/>
                <a:ea typeface="Times New Roman" panose="02020603050405020304" pitchFamily="18" charset="0"/>
              </a:rPr>
              <a:t>Garnot</a:t>
            </a:r>
            <a:r>
              <a:rPr lang="fr-FR" sz="1800" b="1">
                <a:effectLst/>
                <a:latin typeface="Arial" panose="020B0604020202020204" pitchFamily="34" charset="0"/>
                <a:ea typeface="Times New Roman" panose="02020603050405020304" pitchFamily="18" charset="0"/>
              </a:rPr>
              <a:t>) </a:t>
            </a:r>
            <a:endParaRPr lang="fr-FR" sz="1800">
              <a:effectLst/>
              <a:latin typeface="Arial" panose="020B0604020202020204" pitchFamily="34" charset="0"/>
              <a:ea typeface="Times New Roman" panose="02020603050405020304" pitchFamily="18" charset="0"/>
            </a:endParaRPr>
          </a:p>
          <a:p>
            <a:endParaRPr lang="fr-FR"/>
          </a:p>
        </p:txBody>
      </p:sp>
      <p:sp>
        <p:nvSpPr>
          <p:cNvPr id="4" name="Espace réservé du numéro de diapositive 3"/>
          <p:cNvSpPr>
            <a:spLocks noGrp="1"/>
          </p:cNvSpPr>
          <p:nvPr>
            <p:ph type="sldNum" sz="quarter" idx="5"/>
          </p:nvPr>
        </p:nvSpPr>
        <p:spPr/>
        <p:txBody>
          <a:bodyPr/>
          <a:lstStyle/>
          <a:p>
            <a:fld id="{6D388DEB-D366-4254-8274-487B5C395C4A}" type="slidenum">
              <a:rPr lang="fr-FR" smtClean="0"/>
              <a:t>16</a:t>
            </a:fld>
            <a:endParaRPr lang="fr-FR"/>
          </a:p>
        </p:txBody>
      </p:sp>
    </p:spTree>
    <p:extLst>
      <p:ext uri="{BB962C8B-B14F-4D97-AF65-F5344CB8AC3E}">
        <p14:creationId xmlns:p14="http://schemas.microsoft.com/office/powerpoint/2010/main" val="267904374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90000"/>
              </a:lnSpc>
              <a:spcBef>
                <a:spcPct val="0"/>
              </a:spcBef>
              <a:spcAft>
                <a:spcPts val="0"/>
              </a:spcAft>
              <a:buClrTx/>
              <a:buSzTx/>
              <a:buFontTx/>
              <a:buNone/>
              <a:tabLst/>
              <a:defRPr/>
            </a:pPr>
            <a:endParaRPr lang="fr-FR" b="1" dirty="0"/>
          </a:p>
        </p:txBody>
      </p:sp>
      <p:sp>
        <p:nvSpPr>
          <p:cNvPr id="4" name="Espace réservé du numéro de diapositive 3"/>
          <p:cNvSpPr>
            <a:spLocks noGrp="1"/>
          </p:cNvSpPr>
          <p:nvPr>
            <p:ph type="sldNum" sz="quarter" idx="5"/>
          </p:nvPr>
        </p:nvSpPr>
        <p:spPr/>
        <p:txBody>
          <a:bodyPr/>
          <a:lstStyle/>
          <a:p>
            <a:fld id="{6D388DEB-D366-4254-8274-487B5C395C4A}" type="slidenum">
              <a:rPr lang="fr-FR" smtClean="0"/>
              <a:t>17</a:t>
            </a:fld>
            <a:endParaRPr lang="fr-FR"/>
          </a:p>
        </p:txBody>
      </p:sp>
    </p:spTree>
    <p:extLst>
      <p:ext uri="{BB962C8B-B14F-4D97-AF65-F5344CB8AC3E}">
        <p14:creationId xmlns:p14="http://schemas.microsoft.com/office/powerpoint/2010/main" val="20096698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485E75-0D08-0266-26DD-45A0D5A7C08A}"/>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A7F87BEF-343D-A10C-05F5-9AEF3DC6A8BF}"/>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6DB36296-D8AC-B129-56B4-661A1423CAE0}"/>
              </a:ext>
            </a:extLst>
          </p:cNvPr>
          <p:cNvSpPr>
            <a:spLocks noGrp="1"/>
          </p:cNvSpPr>
          <p:nvPr>
            <p:ph type="body" idx="1"/>
          </p:nvPr>
        </p:nvSpPr>
        <p:spPr/>
        <p:txBody>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lang="fr-FR" sz="1600" dirty="0"/>
          </a:p>
        </p:txBody>
      </p:sp>
      <p:sp>
        <p:nvSpPr>
          <p:cNvPr id="4" name="Espace réservé du numéro de diapositive 3">
            <a:extLst>
              <a:ext uri="{FF2B5EF4-FFF2-40B4-BE49-F238E27FC236}">
                <a16:creationId xmlns:a16="http://schemas.microsoft.com/office/drawing/2014/main" id="{04A72770-7965-1430-C704-4CAEE1F8F769}"/>
              </a:ext>
            </a:extLst>
          </p:cNvPr>
          <p:cNvSpPr>
            <a:spLocks noGrp="1"/>
          </p:cNvSpPr>
          <p:nvPr>
            <p:ph type="sldNum" sz="quarter" idx="5"/>
          </p:nvPr>
        </p:nvSpPr>
        <p:spPr/>
        <p:txBody>
          <a:bodyPr/>
          <a:lstStyle/>
          <a:p>
            <a:fld id="{AE0CFCF4-A44A-4EFF-BA3D-421834F1F276}" type="slidenum">
              <a:rPr lang="fr-FR" smtClean="0"/>
              <a:t>18</a:t>
            </a:fld>
            <a:endParaRPr lang="fr-FR"/>
          </a:p>
        </p:txBody>
      </p:sp>
    </p:spTree>
    <p:extLst>
      <p:ext uri="{BB962C8B-B14F-4D97-AF65-F5344CB8AC3E}">
        <p14:creationId xmlns:p14="http://schemas.microsoft.com/office/powerpoint/2010/main" val="391809475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6FA406-5103-E9F6-FA7D-9909CD1C7722}"/>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0D1AB077-CD80-B44F-2531-CC7CBC753792}"/>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1F9DD9ED-5717-EBDF-5613-FF74CD67783E}"/>
              </a:ext>
            </a:extLst>
          </p:cNvPr>
          <p:cNvSpPr>
            <a:spLocks noGrp="1"/>
          </p:cNvSpPr>
          <p:nvPr>
            <p:ph type="body" idx="1"/>
          </p:nvPr>
        </p:nvSpPr>
        <p:spPr/>
        <p:txBody>
          <a:bodyPr/>
          <a:lstStyle/>
          <a:p>
            <a:pPr marL="355600" marR="5080" indent="-342900">
              <a:lnSpc>
                <a:spcPct val="101000"/>
              </a:lnSpc>
              <a:spcBef>
                <a:spcPts val="95"/>
              </a:spcBef>
              <a:buFont typeface="Arial" panose="020B0604020202020204" pitchFamily="34" charset="0"/>
              <a:buChar char="•"/>
            </a:pPr>
            <a:r>
              <a:rPr lang="fr-FR" sz="3200" b="1" spc="10" dirty="0">
                <a:cs typeface="Arial"/>
              </a:rPr>
              <a:t>Un projet industriel ambitieux : l'industrie comme levier de transformation du territoire.</a:t>
            </a:r>
          </a:p>
          <a:p>
            <a:pPr marL="355600" marR="5080" indent="-342900">
              <a:lnSpc>
                <a:spcPct val="101000"/>
              </a:lnSpc>
              <a:spcBef>
                <a:spcPts val="95"/>
              </a:spcBef>
              <a:buFont typeface="Arial" panose="020B0604020202020204" pitchFamily="34" charset="0"/>
              <a:buChar char="•"/>
            </a:pPr>
            <a:endParaRPr lang="fr-FR" sz="3200" b="1" spc="10" dirty="0">
              <a:cs typeface="Arial"/>
            </a:endParaRPr>
          </a:p>
          <a:p>
            <a:pPr defTabSz="342900"/>
            <a:r>
              <a:rPr lang="fr-FR" sz="3200" b="1" i="1" dirty="0">
                <a:solidFill>
                  <a:srgbClr val="F60000"/>
                </a:solidFill>
                <a:latin typeface="Arial"/>
              </a:rPr>
              <a:t>Porter une stratégie d’ensemble d’accompagnement à l’industrie sur le territoire, qui s’articule autour de 4 axes : </a:t>
            </a:r>
            <a:br>
              <a:rPr lang="fr-FR" sz="3200" b="1" i="1" dirty="0">
                <a:solidFill>
                  <a:srgbClr val="F60000"/>
                </a:solidFill>
                <a:latin typeface="Arial"/>
              </a:rPr>
            </a:br>
            <a:r>
              <a:rPr lang="fr-FR" sz="3200" b="1" i="1" dirty="0">
                <a:solidFill>
                  <a:srgbClr val="F60000"/>
                </a:solidFill>
                <a:latin typeface="Arial"/>
              </a:rPr>
              <a:t>Transformer / Accueillir / Reconnecter / Coopérer </a:t>
            </a:r>
          </a:p>
          <a:p>
            <a:endParaRPr lang="fr-FR" dirty="0"/>
          </a:p>
        </p:txBody>
      </p:sp>
      <p:sp>
        <p:nvSpPr>
          <p:cNvPr id="4" name="Espace réservé du numéro de diapositive 3">
            <a:extLst>
              <a:ext uri="{FF2B5EF4-FFF2-40B4-BE49-F238E27FC236}">
                <a16:creationId xmlns:a16="http://schemas.microsoft.com/office/drawing/2014/main" id="{ED2D35F5-B717-7E04-6DF1-D2D0EFFEBED1}"/>
              </a:ext>
            </a:extLst>
          </p:cNvPr>
          <p:cNvSpPr>
            <a:spLocks noGrp="1"/>
          </p:cNvSpPr>
          <p:nvPr>
            <p:ph type="sldNum" sz="quarter" idx="5"/>
          </p:nvPr>
        </p:nvSpPr>
        <p:spPr/>
        <p:txBody>
          <a:bodyPr/>
          <a:lstStyle/>
          <a:p>
            <a:fld id="{D85B89F8-8D39-B041-97A6-4814A356F33A}" type="slidenum">
              <a:rPr lang="fr-FR" smtClean="0"/>
              <a:t>19</a:t>
            </a:fld>
            <a:endParaRPr lang="fr-FR"/>
          </a:p>
        </p:txBody>
      </p:sp>
    </p:spTree>
    <p:extLst>
      <p:ext uri="{BB962C8B-B14F-4D97-AF65-F5344CB8AC3E}">
        <p14:creationId xmlns:p14="http://schemas.microsoft.com/office/powerpoint/2010/main" val="393136683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6A1A4B-4BC9-F77E-2E94-A4DEABA983BE}"/>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AEDE2C34-CBBC-F30C-4CD0-5B60F331A753}"/>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16A381BD-3CEF-2C08-922A-5E7B64179280}"/>
              </a:ext>
            </a:extLst>
          </p:cNvPr>
          <p:cNvSpPr>
            <a:spLocks noGrp="1"/>
          </p:cNvSpPr>
          <p:nvPr>
            <p:ph type="body" idx="1"/>
          </p:nvPr>
        </p:nvSpPr>
        <p:spPr/>
        <p:txBody>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lang="fr-FR" sz="1600" dirty="0"/>
          </a:p>
        </p:txBody>
      </p:sp>
      <p:sp>
        <p:nvSpPr>
          <p:cNvPr id="4" name="Espace réservé du numéro de diapositive 3">
            <a:extLst>
              <a:ext uri="{FF2B5EF4-FFF2-40B4-BE49-F238E27FC236}">
                <a16:creationId xmlns:a16="http://schemas.microsoft.com/office/drawing/2014/main" id="{55A312CE-44BB-1C66-0E19-7CF7739AADE6}"/>
              </a:ext>
            </a:extLst>
          </p:cNvPr>
          <p:cNvSpPr>
            <a:spLocks noGrp="1"/>
          </p:cNvSpPr>
          <p:nvPr>
            <p:ph type="sldNum" sz="quarter" idx="5"/>
          </p:nvPr>
        </p:nvSpPr>
        <p:spPr/>
        <p:txBody>
          <a:bodyPr/>
          <a:lstStyle/>
          <a:p>
            <a:fld id="{AE0CFCF4-A44A-4EFF-BA3D-421834F1F276}" type="slidenum">
              <a:rPr lang="fr-FR" smtClean="0"/>
              <a:t>20</a:t>
            </a:fld>
            <a:endParaRPr lang="fr-FR"/>
          </a:p>
        </p:txBody>
      </p:sp>
    </p:spTree>
    <p:extLst>
      <p:ext uri="{BB962C8B-B14F-4D97-AF65-F5344CB8AC3E}">
        <p14:creationId xmlns:p14="http://schemas.microsoft.com/office/powerpoint/2010/main" val="16474056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a:spcAft>
                <a:spcPts val="600"/>
              </a:spcAft>
            </a:pPr>
            <a:r>
              <a:rPr lang="fr-FR" sz="1800" b="1" u="sng" dirty="0">
                <a:effectLst/>
                <a:latin typeface="Arial" panose="020B0604020202020204" pitchFamily="34" charset="0"/>
                <a:ea typeface="Times New Roman" panose="02020603050405020304" pitchFamily="18" charset="0"/>
              </a:rPr>
              <a:t>LYON, MÉTROPOLE EUROPÉENNE,  ACTRICE D’UN DÉVELOPPEMENT TERTIAIRE VERTUEUX</a:t>
            </a:r>
            <a:endParaRPr lang="fr-FR" sz="1800" dirty="0">
              <a:effectLst/>
              <a:latin typeface="Arial" panose="020B0604020202020204" pitchFamily="34" charset="0"/>
              <a:ea typeface="Times New Roman" panose="02020603050405020304" pitchFamily="18" charset="0"/>
            </a:endParaRPr>
          </a:p>
          <a:p>
            <a:pPr>
              <a:spcAft>
                <a:spcPts val="600"/>
              </a:spcAft>
            </a:pPr>
            <a:r>
              <a:rPr lang="fr-FR" sz="1800" b="1" u="none" strike="noStrike" dirty="0">
                <a:effectLst/>
                <a:latin typeface="Arial" panose="020B0604020202020204" pitchFamily="34" charset="0"/>
                <a:ea typeface="Times New Roman" panose="02020603050405020304" pitchFamily="18" charset="0"/>
              </a:rPr>
              <a:t> </a:t>
            </a:r>
            <a:endParaRPr lang="fr-FR" sz="1800" dirty="0">
              <a:effectLst/>
              <a:latin typeface="Arial" panose="020B0604020202020204" pitchFamily="34" charset="0"/>
              <a:ea typeface="Times New Roman" panose="02020603050405020304" pitchFamily="18" charset="0"/>
            </a:endParaRPr>
          </a:p>
          <a:p>
            <a:pPr>
              <a:spcAft>
                <a:spcPts val="600"/>
              </a:spcAft>
            </a:pPr>
            <a:r>
              <a:rPr lang="fr-FR" sz="1800" dirty="0">
                <a:effectLst/>
                <a:latin typeface="Arial" panose="020B0604020202020204" pitchFamily="34" charset="0"/>
                <a:ea typeface="Times New Roman" panose="02020603050405020304" pitchFamily="18" charset="0"/>
              </a:rPr>
              <a:t>Dans un contexte de mutations de l’usage de « bureaux », la Métropole de Lyon développe un modèle conciliant les attentes des utilisateurs et investisseurs, avec la transition de son territoire, qui s’incarne dans la réorientation de deux projets urbains majeurs : Lyon Part-Dieu et sa stratégie exemplaire de régénération tertiaire, et Lyon Confluence sur la concrétisation de nouveaux modèles économiques.</a:t>
            </a:r>
          </a:p>
          <a:p>
            <a:pPr>
              <a:spcAft>
                <a:spcPts val="600"/>
              </a:spcAft>
            </a:pPr>
            <a:r>
              <a:rPr lang="fr-FR" sz="1800" b="1" u="none" strike="noStrike" dirty="0">
                <a:effectLst/>
                <a:latin typeface="Arial" panose="020B0604020202020204" pitchFamily="34" charset="0"/>
                <a:ea typeface="Times New Roman" panose="02020603050405020304" pitchFamily="18" charset="0"/>
              </a:rPr>
              <a:t> </a:t>
            </a:r>
            <a:endParaRPr lang="fr-FR" sz="1800" dirty="0">
              <a:effectLst/>
              <a:latin typeface="Arial" panose="020B0604020202020204" pitchFamily="34" charset="0"/>
              <a:ea typeface="Times New Roman" panose="02020603050405020304" pitchFamily="18" charset="0"/>
            </a:endParaRPr>
          </a:p>
          <a:p>
            <a:pPr>
              <a:spcAft>
                <a:spcPts val="600"/>
              </a:spcAft>
            </a:pPr>
            <a:r>
              <a:rPr lang="fr-FR" sz="1800" b="1" u="sng" dirty="0">
                <a:effectLst/>
                <a:latin typeface="Arial" panose="020B0604020202020204" pitchFamily="34" charset="0"/>
                <a:ea typeface="Times New Roman" panose="02020603050405020304" pitchFamily="18" charset="0"/>
              </a:rPr>
              <a:t>Une conférence riche d’intervenants et de contenus – vigilance sur le timing  </a:t>
            </a:r>
            <a:endParaRPr lang="fr-FR" sz="1800" dirty="0">
              <a:effectLst/>
              <a:latin typeface="Arial" panose="020B0604020202020204" pitchFamily="34" charset="0"/>
              <a:ea typeface="Times New Roman" panose="02020603050405020304" pitchFamily="18" charset="0"/>
            </a:endParaRPr>
          </a:p>
          <a:p>
            <a:pPr>
              <a:spcAft>
                <a:spcPts val="600"/>
              </a:spcAft>
            </a:pPr>
            <a:r>
              <a:rPr lang="fr-FR" sz="1800" b="1" u="none" strike="noStrike" dirty="0">
                <a:effectLst/>
                <a:latin typeface="Arial" panose="020B0604020202020204" pitchFamily="34" charset="0"/>
                <a:ea typeface="Times New Roman" panose="02020603050405020304" pitchFamily="18" charset="0"/>
              </a:rPr>
              <a:t> </a:t>
            </a:r>
            <a:endParaRPr lang="fr-FR" sz="1800" dirty="0">
              <a:effectLst/>
              <a:latin typeface="Arial" panose="020B0604020202020204" pitchFamily="34" charset="0"/>
              <a:ea typeface="Times New Roman" panose="02020603050405020304" pitchFamily="18" charset="0"/>
            </a:endParaRPr>
          </a:p>
          <a:p>
            <a:pPr>
              <a:spcAft>
                <a:spcPts val="600"/>
              </a:spcAft>
            </a:pPr>
            <a:r>
              <a:rPr lang="fr-FR" sz="1800" b="1" u="none" strike="noStrike" dirty="0">
                <a:effectLst/>
                <a:latin typeface="Arial" panose="020B0604020202020204" pitchFamily="34" charset="0"/>
                <a:ea typeface="Times New Roman" panose="02020603050405020304" pitchFamily="18" charset="0"/>
              </a:rPr>
              <a:t> </a:t>
            </a:r>
            <a:endParaRPr lang="fr-FR" sz="1800" dirty="0">
              <a:effectLst/>
              <a:latin typeface="Arial" panose="020B0604020202020204" pitchFamily="34" charset="0"/>
              <a:ea typeface="Times New Roman" panose="02020603050405020304" pitchFamily="18" charset="0"/>
            </a:endParaRPr>
          </a:p>
          <a:p>
            <a:pPr>
              <a:spcAft>
                <a:spcPts val="600"/>
              </a:spcAft>
            </a:pPr>
            <a:r>
              <a:rPr lang="fr-FR" sz="1800" dirty="0">
                <a:effectLst/>
                <a:latin typeface="Arial" panose="020B0604020202020204" pitchFamily="34" charset="0"/>
                <a:ea typeface="Times New Roman" panose="02020603050405020304" pitchFamily="18" charset="0"/>
              </a:rPr>
              <a:t>10 min - Emeline Baume présentera les éléments de conjoncture immobilière tertiaire, les grands enseignements structurels et conjoncturels et la présentation de la feuille de route de la Métropole de Lyon sur le développement tertiaire (régulation, adaptation, réorganisation spatiale)</a:t>
            </a:r>
          </a:p>
          <a:p>
            <a:pPr>
              <a:spcAft>
                <a:spcPts val="600"/>
              </a:spcAft>
            </a:pPr>
            <a:r>
              <a:rPr lang="fr-FR" sz="1800" dirty="0">
                <a:effectLst/>
                <a:latin typeface="Arial" panose="020B0604020202020204" pitchFamily="34" charset="0"/>
                <a:ea typeface="Times New Roman" panose="02020603050405020304" pitchFamily="18" charset="0"/>
              </a:rPr>
              <a:t>10 min – Florent Sainte-Fare </a:t>
            </a:r>
            <a:r>
              <a:rPr lang="fr-FR" sz="1800" dirty="0" err="1">
                <a:effectLst/>
                <a:latin typeface="Arial" panose="020B0604020202020204" pitchFamily="34" charset="0"/>
                <a:ea typeface="Times New Roman" panose="02020603050405020304" pitchFamily="18" charset="0"/>
              </a:rPr>
              <a:t>Garnot</a:t>
            </a:r>
            <a:r>
              <a:rPr lang="fr-FR" sz="1800" dirty="0">
                <a:effectLst/>
                <a:latin typeface="Arial" panose="020B0604020202020204" pitchFamily="34" charset="0"/>
                <a:ea typeface="Times New Roman" panose="02020603050405020304" pitchFamily="18" charset="0"/>
              </a:rPr>
              <a:t> – Directeur Général SPL Part Dieu présentera l’avancement du projet urbain sur les grands travaux espaces publics (accessibilité, végétalisation) et axera son discours sur l’accélération de l’action de </a:t>
            </a:r>
            <a:r>
              <a:rPr lang="fr-FR" sz="1800" dirty="0" err="1">
                <a:effectLst/>
                <a:latin typeface="Arial" panose="020B0604020202020204" pitchFamily="34" charset="0"/>
                <a:ea typeface="Times New Roman" panose="02020603050405020304" pitchFamily="18" charset="0"/>
              </a:rPr>
              <a:t>régérénération</a:t>
            </a:r>
            <a:r>
              <a:rPr lang="fr-FR" sz="1800" dirty="0">
                <a:effectLst/>
                <a:latin typeface="Arial" panose="020B0604020202020204" pitchFamily="34" charset="0"/>
                <a:ea typeface="Times New Roman" panose="02020603050405020304" pitchFamily="18" charset="0"/>
              </a:rPr>
              <a:t> des actifs tertiaires à la Part Dieu et les futures grandes plaques en mouvement </a:t>
            </a:r>
          </a:p>
          <a:p>
            <a:pPr>
              <a:spcAft>
                <a:spcPts val="600"/>
              </a:spcAft>
            </a:pPr>
            <a:r>
              <a:rPr lang="fr-FR" sz="1800" dirty="0">
                <a:effectLst/>
                <a:latin typeface="Arial" panose="020B0604020202020204" pitchFamily="34" charset="0"/>
                <a:ea typeface="Times New Roman" panose="02020603050405020304" pitchFamily="18" charset="0"/>
              </a:rPr>
              <a:t>5 min – Christophe </a:t>
            </a:r>
            <a:r>
              <a:rPr lang="fr-FR" sz="1800" dirty="0" err="1">
                <a:effectLst/>
                <a:latin typeface="Arial" panose="020B0604020202020204" pitchFamily="34" charset="0"/>
                <a:ea typeface="Times New Roman" panose="02020603050405020304" pitchFamily="18" charset="0"/>
              </a:rPr>
              <a:t>Condamin</a:t>
            </a:r>
            <a:r>
              <a:rPr lang="fr-FR" sz="1800" dirty="0">
                <a:effectLst/>
                <a:latin typeface="Arial" panose="020B0604020202020204" pitchFamily="34" charset="0"/>
                <a:ea typeface="Times New Roman" panose="02020603050405020304" pitchFamily="18" charset="0"/>
              </a:rPr>
              <a:t> – Directeur Général </a:t>
            </a:r>
            <a:r>
              <a:rPr lang="fr-FR" sz="1800" dirty="0" err="1">
                <a:effectLst/>
                <a:latin typeface="Arial" panose="020B0604020202020204" pitchFamily="34" charset="0"/>
                <a:ea typeface="Times New Roman" panose="02020603050405020304" pitchFamily="18" charset="0"/>
              </a:rPr>
              <a:t>Sogelym</a:t>
            </a:r>
            <a:r>
              <a:rPr lang="fr-FR" sz="1800" dirty="0">
                <a:effectLst/>
                <a:latin typeface="Arial" panose="020B0604020202020204" pitchFamily="34" charset="0"/>
                <a:ea typeface="Times New Roman" panose="02020603050405020304" pitchFamily="18" charset="0"/>
              </a:rPr>
              <a:t> présentera succinctement 4 opérations de régénération tertiaire et activité au cœur de la Part Dieu</a:t>
            </a:r>
          </a:p>
          <a:p>
            <a:pPr>
              <a:spcAft>
                <a:spcPts val="600"/>
              </a:spcAft>
            </a:pPr>
            <a:r>
              <a:rPr lang="fr-FR" sz="1800" dirty="0">
                <a:effectLst/>
                <a:latin typeface="Arial" panose="020B0604020202020204" pitchFamily="34" charset="0"/>
                <a:ea typeface="Times New Roman" panose="02020603050405020304" pitchFamily="18" charset="0"/>
              </a:rPr>
              <a:t>10 min – Samuel </a:t>
            </a:r>
            <a:r>
              <a:rPr lang="fr-FR" sz="1800" dirty="0" err="1">
                <a:effectLst/>
                <a:latin typeface="Arial" panose="020B0604020202020204" pitchFamily="34" charset="0"/>
                <a:ea typeface="Times New Roman" panose="02020603050405020304" pitchFamily="18" charset="0"/>
              </a:rPr>
              <a:t>Linzau</a:t>
            </a:r>
            <a:r>
              <a:rPr lang="fr-FR" sz="1800" dirty="0">
                <a:effectLst/>
                <a:latin typeface="Arial" panose="020B0604020202020204" pitchFamily="34" charset="0"/>
                <a:ea typeface="Times New Roman" panose="02020603050405020304" pitchFamily="18" charset="0"/>
              </a:rPr>
              <a:t> – Directeur Général SPL Confluence présentera les grandes inflexions urbaines et programmatiques portées par l’exécutif avec un zoom spécifique sur le volet économique et particulièrement l’avancement sur le volet « abordable » de l’offre tertiaire avec l’annonce de 2 projets </a:t>
            </a:r>
            <a:r>
              <a:rPr lang="fr-FR" sz="1800" dirty="0" err="1">
                <a:effectLst/>
                <a:latin typeface="Arial" panose="020B0604020202020204" pitchFamily="34" charset="0"/>
                <a:ea typeface="Times New Roman" panose="02020603050405020304" pitchFamily="18" charset="0"/>
              </a:rPr>
              <a:t>Etic</a:t>
            </a:r>
            <a:r>
              <a:rPr lang="fr-FR" sz="1800" dirty="0">
                <a:effectLst/>
                <a:latin typeface="Arial" panose="020B0604020202020204" pitchFamily="34" charset="0"/>
                <a:ea typeface="Times New Roman" panose="02020603050405020304" pitchFamily="18" charset="0"/>
              </a:rPr>
              <a:t>/</a:t>
            </a:r>
            <a:r>
              <a:rPr lang="fr-FR" sz="1800" dirty="0" err="1">
                <a:effectLst/>
                <a:latin typeface="Arial" panose="020B0604020202020204" pitchFamily="34" charset="0"/>
                <a:ea typeface="Times New Roman" panose="02020603050405020304" pitchFamily="18" charset="0"/>
              </a:rPr>
              <a:t>Fibois</a:t>
            </a:r>
            <a:r>
              <a:rPr lang="fr-FR" sz="1800" dirty="0">
                <a:effectLst/>
                <a:latin typeface="Arial" panose="020B0604020202020204" pitchFamily="34" charset="0"/>
                <a:ea typeface="Times New Roman" panose="02020603050405020304" pitchFamily="18" charset="0"/>
              </a:rPr>
              <a:t> (lancement AMI utilisateurs) et H7 (consultation restreinte) pour la suite H7</a:t>
            </a:r>
          </a:p>
          <a:p>
            <a:pPr>
              <a:spcAft>
                <a:spcPts val="600"/>
              </a:spcAft>
            </a:pPr>
            <a:r>
              <a:rPr lang="fr-FR" sz="1800" dirty="0">
                <a:effectLst/>
                <a:latin typeface="Arial" panose="020B0604020202020204" pitchFamily="34" charset="0"/>
                <a:ea typeface="Times New Roman" panose="02020603050405020304" pitchFamily="18" charset="0"/>
              </a:rPr>
              <a:t>5 Min – Cédric </a:t>
            </a:r>
            <a:r>
              <a:rPr lang="fr-FR" sz="1800" dirty="0" err="1">
                <a:effectLst/>
                <a:latin typeface="Arial" panose="020B0604020202020204" pitchFamily="34" charset="0"/>
                <a:ea typeface="Times New Roman" panose="02020603050405020304" pitchFamily="18" charset="0"/>
              </a:rPr>
              <a:t>Denoyel</a:t>
            </a:r>
            <a:r>
              <a:rPr lang="fr-FR" sz="1800" dirty="0">
                <a:effectLst/>
                <a:latin typeface="Arial" panose="020B0604020202020204" pitchFamily="34" charset="0"/>
                <a:ea typeface="Times New Roman" panose="02020603050405020304" pitchFamily="18" charset="0"/>
              </a:rPr>
              <a:t> – Président H7 présentera le </a:t>
            </a:r>
            <a:r>
              <a:rPr lang="fr-FR" sz="1800" dirty="0" err="1">
                <a:effectLst/>
                <a:latin typeface="Arial" panose="020B0604020202020204" pitchFamily="34" charset="0"/>
                <a:ea typeface="Times New Roman" panose="02020603050405020304" pitchFamily="18" charset="0"/>
              </a:rPr>
              <a:t>pivotage</a:t>
            </a:r>
            <a:r>
              <a:rPr lang="fr-FR" sz="1800" dirty="0">
                <a:effectLst/>
                <a:latin typeface="Arial" panose="020B0604020202020204" pitchFamily="34" charset="0"/>
                <a:ea typeface="Times New Roman" panose="02020603050405020304" pitchFamily="18" charset="0"/>
              </a:rPr>
              <a:t> du positionnement de l’incubateur du « french tech » vers « l’impact » , la diversité des typologies d’entreprises hébergées, les problématiques immobilières rencontrées à la sortie et la volonté commune de développement du « suite H7 » avec un immobilier pensé par et pour les entreprises.</a:t>
            </a:r>
          </a:p>
          <a:p>
            <a:pPr>
              <a:spcAft>
                <a:spcPts val="600"/>
              </a:spcAft>
            </a:pPr>
            <a:r>
              <a:rPr lang="fr-FR" sz="1800" b="1" u="sng" dirty="0">
                <a:effectLst/>
                <a:latin typeface="Arial" panose="020B0604020202020204" pitchFamily="34" charset="0"/>
                <a:ea typeface="Times New Roman" panose="02020603050405020304" pitchFamily="18" charset="0"/>
              </a:rPr>
              <a:t> </a:t>
            </a:r>
            <a:endParaRPr lang="fr-FR" sz="1800" dirty="0">
              <a:effectLst/>
              <a:latin typeface="Arial" panose="020B0604020202020204" pitchFamily="34" charset="0"/>
              <a:ea typeface="Times New Roman" panose="02020603050405020304" pitchFamily="18" charset="0"/>
            </a:endParaRPr>
          </a:p>
          <a:p>
            <a:pPr>
              <a:spcAft>
                <a:spcPts val="600"/>
              </a:spcAft>
            </a:pPr>
            <a:r>
              <a:rPr lang="fr-FR" sz="1800" b="1" u="none" strike="noStrike" dirty="0">
                <a:effectLst/>
                <a:latin typeface="Arial" panose="020B0604020202020204" pitchFamily="34" charset="0"/>
                <a:ea typeface="Times New Roman" panose="02020603050405020304" pitchFamily="18" charset="0"/>
              </a:rPr>
              <a:t> </a:t>
            </a:r>
            <a:endParaRPr lang="fr-FR" sz="1800" dirty="0">
              <a:effectLst/>
              <a:latin typeface="Arial" panose="020B0604020202020204" pitchFamily="34" charset="0"/>
              <a:ea typeface="Times New Roman" panose="02020603050405020304" pitchFamily="18" charset="0"/>
            </a:endParaRPr>
          </a:p>
          <a:p>
            <a:pPr>
              <a:spcAft>
                <a:spcPts val="600"/>
              </a:spcAft>
            </a:pPr>
            <a:r>
              <a:rPr lang="fr-FR" sz="1800" b="1" u="none" strike="noStrike" dirty="0">
                <a:effectLst/>
                <a:latin typeface="Arial" panose="020B0604020202020204" pitchFamily="34" charset="0"/>
                <a:ea typeface="Times New Roman" panose="02020603050405020304" pitchFamily="18" charset="0"/>
              </a:rPr>
              <a:t> </a:t>
            </a:r>
            <a:endParaRPr lang="fr-FR" sz="1800" dirty="0">
              <a:effectLst/>
              <a:latin typeface="Arial" panose="020B0604020202020204" pitchFamily="34" charset="0"/>
              <a:ea typeface="Times New Roman" panose="02020603050405020304" pitchFamily="18" charset="0"/>
            </a:endParaRPr>
          </a:p>
          <a:p>
            <a:endParaRPr lang="fr-FR" b="1" dirty="0"/>
          </a:p>
        </p:txBody>
      </p:sp>
      <p:sp>
        <p:nvSpPr>
          <p:cNvPr id="4" name="Espace réservé du numéro de diapositive 3"/>
          <p:cNvSpPr>
            <a:spLocks noGrp="1"/>
          </p:cNvSpPr>
          <p:nvPr>
            <p:ph type="sldNum" sz="quarter" idx="5"/>
          </p:nvPr>
        </p:nvSpPr>
        <p:spPr/>
        <p:txBody>
          <a:bodyPr/>
          <a:lstStyle/>
          <a:p>
            <a:fld id="{6D388DEB-D366-4254-8274-487B5C395C4A}" type="slidenum">
              <a:rPr lang="fr-FR" smtClean="0"/>
              <a:t>2</a:t>
            </a:fld>
            <a:endParaRPr lang="fr-FR"/>
          </a:p>
        </p:txBody>
      </p:sp>
    </p:spTree>
    <p:extLst>
      <p:ext uri="{BB962C8B-B14F-4D97-AF65-F5344CB8AC3E}">
        <p14:creationId xmlns:p14="http://schemas.microsoft.com/office/powerpoint/2010/main" val="128146109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6A1A4B-4BC9-F77E-2E94-A4DEABA983BE}"/>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AEDE2C34-CBBC-F30C-4CD0-5B60F331A753}"/>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16A381BD-3CEF-2C08-922A-5E7B64179280}"/>
              </a:ext>
            </a:extLst>
          </p:cNvPr>
          <p:cNvSpPr>
            <a:spLocks noGrp="1"/>
          </p:cNvSpPr>
          <p:nvPr>
            <p:ph type="body" idx="1"/>
          </p:nvPr>
        </p:nvSpPr>
        <p:spPr/>
        <p:txBody>
          <a:bodyPr/>
          <a:lstStyle/>
          <a:p>
            <a:pPr marL="0" marR="0" lvl="0" indent="0" algn="l" defTabSz="1828709" rtl="0" eaLnBrk="1" fontAlgn="auto" latinLnBrk="0" hangingPunct="1">
              <a:lnSpc>
                <a:spcPct val="100000"/>
              </a:lnSpc>
              <a:spcBef>
                <a:spcPts val="0"/>
              </a:spcBef>
              <a:spcAft>
                <a:spcPts val="0"/>
              </a:spcAft>
              <a:buClrTx/>
              <a:buSzTx/>
              <a:buFontTx/>
              <a:buNone/>
              <a:tabLst/>
              <a:defRPr/>
            </a:pPr>
            <a:endParaRPr lang="fr-FR" sz="1600" dirty="0"/>
          </a:p>
        </p:txBody>
      </p:sp>
      <p:sp>
        <p:nvSpPr>
          <p:cNvPr id="4" name="Espace réservé du numéro de diapositive 3">
            <a:extLst>
              <a:ext uri="{FF2B5EF4-FFF2-40B4-BE49-F238E27FC236}">
                <a16:creationId xmlns:a16="http://schemas.microsoft.com/office/drawing/2014/main" id="{55A312CE-44BB-1C66-0E19-7CF7739AADE6}"/>
              </a:ext>
            </a:extLst>
          </p:cNvPr>
          <p:cNvSpPr>
            <a:spLocks noGrp="1"/>
          </p:cNvSpPr>
          <p:nvPr>
            <p:ph type="sldNum" sz="quarter" idx="5"/>
          </p:nvPr>
        </p:nvSpPr>
        <p:spPr/>
        <p:txBody>
          <a:bodyPr/>
          <a:lstStyle/>
          <a:p>
            <a:fld id="{AE0CFCF4-A44A-4EFF-BA3D-421834F1F276}" type="slidenum">
              <a:rPr lang="fr-FR" smtClean="0"/>
              <a:t>21</a:t>
            </a:fld>
            <a:endParaRPr lang="fr-FR"/>
          </a:p>
        </p:txBody>
      </p:sp>
    </p:spTree>
    <p:extLst>
      <p:ext uri="{BB962C8B-B14F-4D97-AF65-F5344CB8AC3E}">
        <p14:creationId xmlns:p14="http://schemas.microsoft.com/office/powerpoint/2010/main" val="44234737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5AA94C-F2C8-65C7-7E85-98C06FE7FE01}"/>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DAFFD971-4352-3EEF-5D69-FA130188B0BF}"/>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419E65DB-4A67-F03D-D51C-ACFF39AFD4C1}"/>
              </a:ext>
            </a:extLst>
          </p:cNvPr>
          <p:cNvSpPr>
            <a:spLocks noGrp="1"/>
          </p:cNvSpPr>
          <p:nvPr>
            <p:ph type="body" idx="1"/>
          </p:nvPr>
        </p:nvSpPr>
        <p:spPr/>
        <p:txBody>
          <a:bodyPr/>
          <a:lstStyle/>
          <a:p>
            <a:pPr marL="0" marR="0" lvl="0" indent="0" algn="l" defTabSz="914400" rtl="0" eaLnBrk="1" fontAlgn="auto" latinLnBrk="0" hangingPunct="1">
              <a:lnSpc>
                <a:spcPct val="90000"/>
              </a:lnSpc>
              <a:spcBef>
                <a:spcPct val="0"/>
              </a:spcBef>
              <a:spcAft>
                <a:spcPts val="0"/>
              </a:spcAft>
              <a:buClrTx/>
              <a:buSzTx/>
              <a:buFontTx/>
              <a:buNone/>
              <a:tabLst/>
              <a:defRPr/>
            </a:pPr>
            <a:endParaRPr lang="fr-FR" b="1" dirty="0"/>
          </a:p>
        </p:txBody>
      </p:sp>
      <p:sp>
        <p:nvSpPr>
          <p:cNvPr id="4" name="Espace réservé du numéro de diapositive 3">
            <a:extLst>
              <a:ext uri="{FF2B5EF4-FFF2-40B4-BE49-F238E27FC236}">
                <a16:creationId xmlns:a16="http://schemas.microsoft.com/office/drawing/2014/main" id="{E5A695C1-E2CE-5F9D-0EEA-1FC65F18382C}"/>
              </a:ext>
            </a:extLst>
          </p:cNvPr>
          <p:cNvSpPr>
            <a:spLocks noGrp="1"/>
          </p:cNvSpPr>
          <p:nvPr>
            <p:ph type="sldNum" sz="quarter" idx="5"/>
          </p:nvPr>
        </p:nvSpPr>
        <p:spPr/>
        <p:txBody>
          <a:bodyPr/>
          <a:lstStyle/>
          <a:p>
            <a:fld id="{6D388DEB-D366-4254-8274-487B5C395C4A}" type="slidenum">
              <a:rPr lang="fr-FR" smtClean="0"/>
              <a:t>22</a:t>
            </a:fld>
            <a:endParaRPr lang="fr-FR"/>
          </a:p>
        </p:txBody>
      </p:sp>
    </p:spTree>
    <p:extLst>
      <p:ext uri="{BB962C8B-B14F-4D97-AF65-F5344CB8AC3E}">
        <p14:creationId xmlns:p14="http://schemas.microsoft.com/office/powerpoint/2010/main" val="372423459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lvl="1"/>
            <a:r>
              <a:rPr lang="fr-FR" sz="1200" kern="1200" dirty="0">
                <a:solidFill>
                  <a:schemeClr val="tx1"/>
                </a:solidFill>
                <a:effectLst/>
                <a:latin typeface="+mn-lt"/>
                <a:ea typeface="+mn-ea"/>
                <a:cs typeface="+mn-cs"/>
              </a:rPr>
              <a:t>Marché immobilier 2023 : maintien du marché de locaux d’activités contrairement au bureau, à l’investissement ou au logement qui chutent</a:t>
            </a:r>
            <a:endParaRPr lang="fr-FR" sz="1600" kern="1200" dirty="0">
              <a:solidFill>
                <a:schemeClr val="tx1"/>
              </a:solidFill>
              <a:effectLst/>
              <a:latin typeface="+mn-lt"/>
              <a:ea typeface="+mn-ea"/>
              <a:cs typeface="+mn-cs"/>
            </a:endParaRPr>
          </a:p>
          <a:p>
            <a:pPr lvl="1"/>
            <a:r>
              <a:rPr lang="fr-FR" sz="1200" kern="1200" dirty="0">
                <a:solidFill>
                  <a:schemeClr val="tx1"/>
                </a:solidFill>
                <a:effectLst/>
                <a:latin typeface="+mn-lt"/>
                <a:ea typeface="+mn-ea"/>
                <a:cs typeface="+mn-cs"/>
              </a:rPr>
              <a:t>Maintien d’une demande forte et manque d’offres de locaux d’activité et de foncier</a:t>
            </a:r>
            <a:endParaRPr lang="fr-FR" sz="1600" kern="1200" dirty="0">
              <a:solidFill>
                <a:schemeClr val="tx1"/>
              </a:solidFill>
              <a:effectLst/>
              <a:latin typeface="+mn-lt"/>
              <a:ea typeface="+mn-ea"/>
              <a:cs typeface="+mn-cs"/>
            </a:endParaRPr>
          </a:p>
          <a:p>
            <a:pPr lvl="1"/>
            <a:r>
              <a:rPr lang="fr-FR" sz="1200" kern="1200" dirty="0">
                <a:solidFill>
                  <a:schemeClr val="tx1"/>
                </a:solidFill>
                <a:effectLst/>
                <a:latin typeface="+mn-lt"/>
                <a:ea typeface="+mn-ea"/>
                <a:cs typeface="+mn-cs"/>
              </a:rPr>
              <a:t>Loi Climat et Résilience de 2021 </a:t>
            </a:r>
            <a:r>
              <a:rPr lang="fr-FR" sz="1200" i="1" kern="1200" dirty="0">
                <a:solidFill>
                  <a:schemeClr val="tx1"/>
                </a:solidFill>
                <a:effectLst/>
                <a:latin typeface="+mn-lt"/>
                <a:ea typeface="+mn-ea"/>
                <a:cs typeface="+mn-cs"/>
              </a:rPr>
              <a:t>(Objectif ZAN pour 2050, qui réduit fortement les possibilités d’artificialisation des sols)</a:t>
            </a:r>
            <a:endParaRPr lang="fr-FR" sz="1600" kern="1200" dirty="0">
              <a:solidFill>
                <a:schemeClr val="tx1"/>
              </a:solidFill>
              <a:effectLst/>
              <a:latin typeface="+mn-lt"/>
              <a:ea typeface="+mn-ea"/>
              <a:cs typeface="+mn-cs"/>
            </a:endParaRPr>
          </a:p>
          <a:p>
            <a:pPr lvl="1"/>
            <a:r>
              <a:rPr lang="fr-FR" sz="1200" kern="1200" dirty="0">
                <a:solidFill>
                  <a:schemeClr val="tx1"/>
                </a:solidFill>
                <a:effectLst/>
                <a:latin typeface="+mn-lt"/>
                <a:ea typeface="+mn-ea"/>
                <a:cs typeface="+mn-cs"/>
              </a:rPr>
              <a:t>Dynamique positive des relocalisations industrielles en France et en AURA </a:t>
            </a:r>
            <a:r>
              <a:rPr lang="fr-FR" sz="1200" i="1" kern="1200" dirty="0">
                <a:solidFill>
                  <a:schemeClr val="tx1"/>
                </a:solidFill>
                <a:effectLst/>
                <a:latin typeface="+mn-lt"/>
                <a:ea typeface="+mn-ea"/>
                <a:cs typeface="+mn-cs"/>
              </a:rPr>
              <a:t>(1</a:t>
            </a:r>
            <a:r>
              <a:rPr lang="fr-FR" sz="1200" i="1" kern="1200" baseline="30000" dirty="0">
                <a:solidFill>
                  <a:schemeClr val="tx1"/>
                </a:solidFill>
                <a:effectLst/>
                <a:latin typeface="+mn-lt"/>
                <a:ea typeface="+mn-ea"/>
                <a:cs typeface="+mn-cs"/>
              </a:rPr>
              <a:t>er</a:t>
            </a:r>
            <a:r>
              <a:rPr lang="fr-FR" sz="1200" i="1" kern="1200" dirty="0">
                <a:solidFill>
                  <a:schemeClr val="tx1"/>
                </a:solidFill>
                <a:effectLst/>
                <a:latin typeface="+mn-lt"/>
                <a:ea typeface="+mn-ea"/>
                <a:cs typeface="+mn-cs"/>
              </a:rPr>
              <a:t> pays européen en terme d’implantations industrielles, 2</a:t>
            </a:r>
            <a:r>
              <a:rPr lang="fr-FR" sz="1200" i="1" kern="1200" baseline="30000" dirty="0">
                <a:solidFill>
                  <a:schemeClr val="tx1"/>
                </a:solidFill>
                <a:effectLst/>
                <a:latin typeface="+mn-lt"/>
                <a:ea typeface="+mn-ea"/>
                <a:cs typeface="+mn-cs"/>
              </a:rPr>
              <a:t>ème</a:t>
            </a:r>
            <a:r>
              <a:rPr lang="fr-FR" sz="1200" i="1" kern="1200" dirty="0">
                <a:solidFill>
                  <a:schemeClr val="tx1"/>
                </a:solidFill>
                <a:effectLst/>
                <a:latin typeface="+mn-lt"/>
                <a:ea typeface="+mn-ea"/>
                <a:cs typeface="+mn-cs"/>
              </a:rPr>
              <a:t> région française pour les implantations à vocation productive…)</a:t>
            </a:r>
            <a:endParaRPr lang="fr-FR" sz="1600" kern="1200" dirty="0">
              <a:solidFill>
                <a:schemeClr val="tx1"/>
              </a:solidFill>
              <a:effectLst/>
              <a:latin typeface="+mn-lt"/>
              <a:ea typeface="+mn-ea"/>
              <a:cs typeface="+mn-cs"/>
            </a:endParaRPr>
          </a:p>
          <a:p>
            <a:pPr lvl="1"/>
            <a:r>
              <a:rPr lang="fr-FR" sz="1200" kern="1200" dirty="0">
                <a:solidFill>
                  <a:schemeClr val="tx1"/>
                </a:solidFill>
                <a:effectLst/>
                <a:latin typeface="+mn-lt"/>
                <a:ea typeface="+mn-ea"/>
                <a:cs typeface="+mn-cs"/>
              </a:rPr>
              <a:t>Réindustrialisation du territoire : Volonté politique forte, locale comme nationale </a:t>
            </a:r>
            <a:endParaRPr lang="fr-FR" sz="1600" kern="1200" dirty="0">
              <a:solidFill>
                <a:schemeClr val="tx1"/>
              </a:solidFill>
              <a:effectLst/>
              <a:latin typeface="+mn-lt"/>
              <a:ea typeface="+mn-ea"/>
              <a:cs typeface="+mn-cs"/>
            </a:endParaRPr>
          </a:p>
          <a:p>
            <a:pPr lvl="1"/>
            <a:r>
              <a:rPr lang="fr-FR" sz="1200" kern="1200" dirty="0">
                <a:solidFill>
                  <a:schemeClr val="tx1"/>
                </a:solidFill>
                <a:effectLst/>
                <a:latin typeface="+mn-lt"/>
                <a:ea typeface="+mn-ea"/>
                <a:cs typeface="+mn-cs"/>
              </a:rPr>
              <a:t>Vigilance : Une part du foncier économique qui a tendance à changer d’usage</a:t>
            </a:r>
            <a:endParaRPr lang="fr-FR" sz="1600" kern="1200" dirty="0">
              <a:solidFill>
                <a:schemeClr val="tx1"/>
              </a:solidFill>
              <a:effectLst/>
              <a:latin typeface="+mn-lt"/>
              <a:ea typeface="+mn-ea"/>
              <a:cs typeface="+mn-cs"/>
            </a:endParaRPr>
          </a:p>
          <a:p>
            <a:pPr lvl="1"/>
            <a:r>
              <a:rPr lang="fr-FR" sz="1200" kern="1200" dirty="0">
                <a:solidFill>
                  <a:schemeClr val="tx1"/>
                </a:solidFill>
                <a:effectLst/>
                <a:latin typeface="+mn-lt"/>
                <a:ea typeface="+mn-ea"/>
                <a:cs typeface="+mn-cs"/>
              </a:rPr>
              <a:t>Une capacité financière à la PPI encore conséquente pour de l’acquisition foncière</a:t>
            </a:r>
            <a:endParaRPr lang="fr-FR" sz="1600" kern="1200" dirty="0">
              <a:solidFill>
                <a:schemeClr val="tx1"/>
              </a:solidFill>
              <a:effectLst/>
              <a:latin typeface="+mn-lt"/>
              <a:ea typeface="+mn-ea"/>
              <a:cs typeface="+mn-cs"/>
            </a:endParaRPr>
          </a:p>
          <a:p>
            <a:endParaRPr lang="fr-FR" sz="1200" b="0" kern="1200" dirty="0">
              <a:solidFill>
                <a:schemeClr val="tx1"/>
              </a:solidFill>
              <a:effectLst/>
              <a:latin typeface="+mn-lt"/>
              <a:ea typeface="+mn-ea"/>
              <a:cs typeface="+mn-cs"/>
            </a:endParaRPr>
          </a:p>
        </p:txBody>
      </p:sp>
      <p:sp>
        <p:nvSpPr>
          <p:cNvPr id="4" name="Espace réservé du numéro de diapositive 3"/>
          <p:cNvSpPr>
            <a:spLocks noGrp="1"/>
          </p:cNvSpPr>
          <p:nvPr>
            <p:ph type="sldNum" sz="quarter" idx="5"/>
          </p:nvPr>
        </p:nvSpPr>
        <p:spPr/>
        <p:txBody>
          <a:bodyPr/>
          <a:lstStyle/>
          <a:p>
            <a:fld id="{6D388DEB-D366-4254-8274-487B5C395C4A}" type="slidenum">
              <a:rPr lang="fr-FR" smtClean="0"/>
              <a:t>23</a:t>
            </a:fld>
            <a:endParaRPr lang="fr-FR"/>
          </a:p>
        </p:txBody>
      </p:sp>
    </p:spTree>
    <p:extLst>
      <p:ext uri="{BB962C8B-B14F-4D97-AF65-F5344CB8AC3E}">
        <p14:creationId xmlns:p14="http://schemas.microsoft.com/office/powerpoint/2010/main" val="155887328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lvl="0"/>
            <a:r>
              <a:rPr lang="fr-FR" sz="1200" kern="1200" dirty="0">
                <a:solidFill>
                  <a:schemeClr val="tx1"/>
                </a:solidFill>
                <a:effectLst/>
                <a:latin typeface="+mn-lt"/>
                <a:ea typeface="+mn-ea"/>
                <a:cs typeface="+mn-cs"/>
              </a:rPr>
              <a:t>Sur la dernière décennie, en moyenne, 70 000 m² de </a:t>
            </a:r>
            <a:r>
              <a:rPr lang="fr-FR" sz="1200" kern="1200" dirty="0" err="1">
                <a:solidFill>
                  <a:schemeClr val="tx1"/>
                </a:solidFill>
                <a:effectLst/>
                <a:latin typeface="+mn-lt"/>
                <a:ea typeface="+mn-ea"/>
                <a:cs typeface="+mn-cs"/>
              </a:rPr>
              <a:t>sdp</a:t>
            </a:r>
            <a:r>
              <a:rPr lang="fr-FR" sz="1200" kern="1200" dirty="0">
                <a:solidFill>
                  <a:schemeClr val="tx1"/>
                </a:solidFill>
                <a:effectLst/>
                <a:latin typeface="+mn-lt"/>
                <a:ea typeface="+mn-ea"/>
                <a:cs typeface="+mn-cs"/>
              </a:rPr>
              <a:t> supplémentaires, soit un peu moins de 20 ha de fonciers artificialisés était nécessaire pour répondre à la demande.</a:t>
            </a:r>
          </a:p>
          <a:p>
            <a:pPr lvl="0"/>
            <a:r>
              <a:rPr lang="fr-FR" sz="1200" kern="1200" dirty="0">
                <a:solidFill>
                  <a:schemeClr val="tx1"/>
                </a:solidFill>
                <a:effectLst/>
                <a:latin typeface="+mn-lt"/>
                <a:ea typeface="+mn-ea"/>
                <a:cs typeface="+mn-cs"/>
              </a:rPr>
              <a:t> Pour l’heure, nous avons un stock de projets en extension faible par rapport aux besoins annuels identifiés, l’offre se redéveloppe sur du foncier artificialisé</a:t>
            </a:r>
          </a:p>
          <a:p>
            <a:pPr lvl="0"/>
            <a:r>
              <a:rPr lang="fr-FR" sz="1200" kern="1200" dirty="0">
                <a:solidFill>
                  <a:schemeClr val="tx1"/>
                </a:solidFill>
                <a:effectLst/>
                <a:latin typeface="+mn-lt"/>
                <a:ea typeface="+mn-ea"/>
                <a:cs typeface="+mn-cs"/>
              </a:rPr>
              <a:t>La trajectoire ZAN va accélérer cette situation, il faut donc anticiper cette tendance : </a:t>
            </a:r>
            <a:r>
              <a:rPr lang="fr-FR" sz="1200" b="1" kern="1200" dirty="0">
                <a:solidFill>
                  <a:schemeClr val="tx1"/>
                </a:solidFill>
                <a:effectLst/>
                <a:latin typeface="+mn-lt"/>
                <a:ea typeface="+mn-ea"/>
                <a:cs typeface="+mn-cs"/>
              </a:rPr>
              <a:t>L’ambition que le renouvellement remplace totalement l’artificialisation des sols.</a:t>
            </a:r>
            <a:r>
              <a:rPr lang="fr-FR" sz="1200" kern="1200" dirty="0">
                <a:solidFill>
                  <a:schemeClr val="tx1"/>
                </a:solidFill>
                <a:effectLst/>
                <a:latin typeface="+mn-lt"/>
                <a:ea typeface="+mn-ea"/>
                <a:cs typeface="+mn-cs"/>
              </a:rPr>
              <a:t> </a:t>
            </a:r>
          </a:p>
          <a:p>
            <a:endParaRPr lang="fr-FR" sz="2400" kern="1200" dirty="0">
              <a:solidFill>
                <a:schemeClr val="tx1"/>
              </a:solidFill>
              <a:effectLst/>
              <a:latin typeface="+mn-lt"/>
              <a:ea typeface="+mn-ea"/>
              <a:cs typeface="+mn-cs"/>
            </a:endParaRPr>
          </a:p>
        </p:txBody>
      </p:sp>
      <p:sp>
        <p:nvSpPr>
          <p:cNvPr id="4" name="Espace réservé du numéro de diapositive 3"/>
          <p:cNvSpPr>
            <a:spLocks noGrp="1"/>
          </p:cNvSpPr>
          <p:nvPr>
            <p:ph type="sldNum" sz="quarter" idx="5"/>
          </p:nvPr>
        </p:nvSpPr>
        <p:spPr/>
        <p:txBody>
          <a:bodyPr/>
          <a:lstStyle/>
          <a:p>
            <a:fld id="{D85B89F8-8D39-B041-97A6-4814A356F33A}" type="slidenum">
              <a:rPr lang="fr-FR" smtClean="0"/>
              <a:t>24</a:t>
            </a:fld>
            <a:endParaRPr lang="fr-FR"/>
          </a:p>
        </p:txBody>
      </p:sp>
    </p:spTree>
    <p:extLst>
      <p:ext uri="{BB962C8B-B14F-4D97-AF65-F5344CB8AC3E}">
        <p14:creationId xmlns:p14="http://schemas.microsoft.com/office/powerpoint/2010/main" val="55764529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lvl="0"/>
            <a:r>
              <a:rPr lang="fr-FR" sz="1200" kern="1200" dirty="0">
                <a:solidFill>
                  <a:schemeClr val="tx1"/>
                </a:solidFill>
                <a:effectLst/>
                <a:latin typeface="+mn-lt"/>
                <a:ea typeface="+mn-ea"/>
                <a:cs typeface="+mn-cs"/>
              </a:rPr>
              <a:t>Environ 29 sites fléchés comme projets de renouvellement industriel structurants à l’échelle Métropolitaine. Ce chiffre peut évoluer au fil des ans, mais nous avons un noyau dur constitué de sites à fort enjeux opérationnels.</a:t>
            </a:r>
          </a:p>
          <a:p>
            <a:pPr lvl="0"/>
            <a:r>
              <a:rPr lang="fr-FR" sz="1200" kern="1200" dirty="0">
                <a:solidFill>
                  <a:schemeClr val="tx1"/>
                </a:solidFill>
                <a:effectLst/>
                <a:latin typeface="+mn-lt"/>
                <a:ea typeface="+mn-ea"/>
                <a:cs typeface="+mn-cs"/>
              </a:rPr>
              <a:t>Si les projets ou potentiels positionnées sur la cartographie sont développés, cela répond à environ 10 à 15 ans de besoins fonciers annuels pour l’industrie.</a:t>
            </a:r>
          </a:p>
          <a:p>
            <a:pPr lvl="0"/>
            <a:r>
              <a:rPr lang="fr-FR" sz="1200" kern="1200" dirty="0">
                <a:solidFill>
                  <a:schemeClr val="tx1"/>
                </a:solidFill>
                <a:effectLst/>
                <a:latin typeface="+mn-lt"/>
                <a:ea typeface="+mn-ea"/>
                <a:cs typeface="+mn-cs"/>
              </a:rPr>
              <a:t>Une période de tension foncière est probable à court terme, mais qui devrait se détendre progressivement, au fur et à mesure de la réalisation de ces opérations de renouvellement</a:t>
            </a:r>
          </a:p>
          <a:p>
            <a:pPr lvl="0"/>
            <a:r>
              <a:rPr lang="fr-FR" sz="1200" b="1" u="sng" kern="1200" dirty="0">
                <a:solidFill>
                  <a:schemeClr val="tx1"/>
                </a:solidFill>
                <a:effectLst/>
                <a:latin typeface="+mn-lt"/>
                <a:ea typeface="+mn-ea"/>
                <a:cs typeface="+mn-cs"/>
              </a:rPr>
              <a:t>En conclusion, il semble envisageable de substituer le renouvellement industriel à l’artificialisation des sols</a:t>
            </a:r>
            <a:endParaRPr lang="fr-FR" sz="1200" kern="1200" dirty="0">
              <a:solidFill>
                <a:schemeClr val="tx1"/>
              </a:solidFill>
              <a:effectLst/>
              <a:latin typeface="+mn-lt"/>
              <a:ea typeface="+mn-ea"/>
              <a:cs typeface="+mn-cs"/>
            </a:endParaRPr>
          </a:p>
          <a:p>
            <a:endParaRPr lang="fr-FR" sz="1200" b="0" kern="1200" dirty="0">
              <a:solidFill>
                <a:schemeClr val="tx1"/>
              </a:solidFill>
              <a:effectLst/>
              <a:latin typeface="+mn-lt"/>
              <a:ea typeface="+mn-ea"/>
              <a:cs typeface="+mn-cs"/>
            </a:endParaRPr>
          </a:p>
          <a:p>
            <a:endParaRPr lang="fr-FR" sz="1200" b="0" kern="1200" dirty="0">
              <a:solidFill>
                <a:schemeClr val="tx1"/>
              </a:solidFill>
              <a:effectLst/>
              <a:latin typeface="+mn-lt"/>
              <a:ea typeface="+mn-ea"/>
              <a:cs typeface="+mn-cs"/>
            </a:endParaRPr>
          </a:p>
          <a:p>
            <a:r>
              <a:rPr lang="fr-FR" sz="1200" b="0" kern="1200" dirty="0">
                <a:solidFill>
                  <a:schemeClr val="tx1"/>
                </a:solidFill>
                <a:effectLst/>
                <a:latin typeface="+mn-lt"/>
                <a:ea typeface="+mn-ea"/>
                <a:cs typeface="+mn-cs"/>
              </a:rPr>
              <a:t>Quelques exemples concrets :</a:t>
            </a:r>
          </a:p>
          <a:p>
            <a:r>
              <a:rPr lang="fr-FR" sz="1200" b="0" kern="1200" dirty="0">
                <a:solidFill>
                  <a:schemeClr val="tx1"/>
                </a:solidFill>
                <a:effectLst/>
                <a:latin typeface="+mn-lt"/>
                <a:ea typeface="+mn-ea"/>
                <a:cs typeface="+mn-cs"/>
              </a:rPr>
              <a:t> - </a:t>
            </a:r>
            <a:r>
              <a:rPr lang="fr-FR" sz="1200" b="0" kern="1200" dirty="0" err="1">
                <a:solidFill>
                  <a:schemeClr val="tx1"/>
                </a:solidFill>
                <a:effectLst/>
                <a:latin typeface="+mn-lt"/>
                <a:ea typeface="+mn-ea"/>
                <a:cs typeface="+mn-cs"/>
              </a:rPr>
              <a:t>Veninov</a:t>
            </a:r>
            <a:r>
              <a:rPr lang="fr-FR" sz="1200" b="0" kern="1200" dirty="0">
                <a:solidFill>
                  <a:schemeClr val="tx1"/>
                </a:solidFill>
                <a:effectLst/>
                <a:latin typeface="+mn-lt"/>
                <a:ea typeface="+mn-ea"/>
                <a:cs typeface="+mn-cs"/>
              </a:rPr>
              <a:t> (redéploiement d’une offre productive dans le cœur industriel / 1</a:t>
            </a:r>
            <a:r>
              <a:rPr lang="fr-FR" sz="1200" b="0" kern="1200" baseline="30000" dirty="0">
                <a:solidFill>
                  <a:schemeClr val="tx1"/>
                </a:solidFill>
                <a:effectLst/>
                <a:latin typeface="+mn-lt"/>
                <a:ea typeface="+mn-ea"/>
                <a:cs typeface="+mn-cs"/>
              </a:rPr>
              <a:t>ère</a:t>
            </a:r>
            <a:r>
              <a:rPr lang="fr-FR" sz="1200" b="0" kern="1200" dirty="0">
                <a:solidFill>
                  <a:schemeClr val="tx1"/>
                </a:solidFill>
                <a:effectLst/>
                <a:latin typeface="+mn-lt"/>
                <a:ea typeface="+mn-ea"/>
                <a:cs typeface="+mn-cs"/>
              </a:rPr>
              <a:t> couronne / chaine de l’immobilier – suite de </a:t>
            </a:r>
            <a:r>
              <a:rPr lang="fr-FR" sz="1200" b="0" kern="1200" dirty="0" err="1">
                <a:solidFill>
                  <a:schemeClr val="tx1"/>
                </a:solidFill>
                <a:effectLst/>
                <a:latin typeface="+mn-lt"/>
                <a:ea typeface="+mn-ea"/>
                <a:cs typeface="+mn-cs"/>
              </a:rPr>
              <a:t>Usin</a:t>
            </a:r>
            <a:r>
              <a:rPr lang="fr-FR" sz="1200" b="0" kern="1200" dirty="0">
                <a:solidFill>
                  <a:schemeClr val="tx1"/>
                </a:solidFill>
                <a:effectLst/>
                <a:latin typeface="+mn-lt"/>
                <a:ea typeface="+mn-ea"/>
                <a:cs typeface="+mn-cs"/>
              </a:rPr>
              <a:t> + pôle entrepreneurial)</a:t>
            </a:r>
          </a:p>
          <a:p>
            <a:pPr marL="171450" indent="-171450">
              <a:buFontTx/>
              <a:buChar char="-"/>
            </a:pPr>
            <a:r>
              <a:rPr lang="fr-FR" sz="1200" b="0" kern="1200" dirty="0" err="1">
                <a:solidFill>
                  <a:schemeClr val="tx1"/>
                </a:solidFill>
                <a:effectLst/>
                <a:latin typeface="+mn-lt"/>
                <a:ea typeface="+mn-ea"/>
                <a:cs typeface="+mn-cs"/>
              </a:rPr>
              <a:t>Gifrer</a:t>
            </a:r>
            <a:r>
              <a:rPr lang="fr-FR" sz="1200" b="0" kern="1200" dirty="0">
                <a:solidFill>
                  <a:schemeClr val="tx1"/>
                </a:solidFill>
                <a:effectLst/>
                <a:latin typeface="+mn-lt"/>
                <a:ea typeface="+mn-ea"/>
                <a:cs typeface="+mn-cs"/>
              </a:rPr>
              <a:t> (renouvellement d’un site industriel historique en tissu urbain, desservi par le TC)</a:t>
            </a:r>
          </a:p>
          <a:p>
            <a:pPr marL="171450" indent="-171450">
              <a:buFontTx/>
              <a:buChar char="-"/>
            </a:pPr>
            <a:r>
              <a:rPr lang="fr-FR" sz="1200" b="0" kern="1200" dirty="0">
                <a:solidFill>
                  <a:schemeClr val="tx1"/>
                </a:solidFill>
                <a:effectLst/>
                <a:latin typeface="+mn-lt"/>
                <a:ea typeface="+mn-ea"/>
                <a:cs typeface="+mn-cs"/>
              </a:rPr>
              <a:t>Fives Lille (renouvellement d’une friche industrielle)</a:t>
            </a:r>
          </a:p>
          <a:p>
            <a:pPr marL="171450" indent="-171450">
              <a:buFontTx/>
              <a:buChar char="-"/>
            </a:pPr>
            <a:r>
              <a:rPr lang="fr-FR" sz="1200" b="0" kern="1200" dirty="0">
                <a:solidFill>
                  <a:schemeClr val="tx1"/>
                </a:solidFill>
                <a:effectLst/>
                <a:latin typeface="+mn-lt"/>
                <a:ea typeface="+mn-ea"/>
                <a:cs typeface="+mn-cs"/>
              </a:rPr>
              <a:t>Collonges (transformation d’un foncier résidentiel en un site économique, et redéploiement d’une offre)</a:t>
            </a:r>
          </a:p>
          <a:p>
            <a:pPr marL="171450" indent="-171450">
              <a:buFontTx/>
              <a:buChar char="-"/>
            </a:pPr>
            <a:r>
              <a:rPr lang="fr-FR" sz="1200" b="0" kern="1200" dirty="0" err="1">
                <a:solidFill>
                  <a:schemeClr val="tx1"/>
                </a:solidFill>
                <a:effectLst/>
                <a:latin typeface="+mn-lt"/>
                <a:ea typeface="+mn-ea"/>
                <a:cs typeface="+mn-cs"/>
              </a:rPr>
              <a:t>Ostérode</a:t>
            </a:r>
            <a:r>
              <a:rPr lang="fr-FR" sz="1200" b="0" kern="1200" dirty="0">
                <a:solidFill>
                  <a:schemeClr val="tx1"/>
                </a:solidFill>
                <a:effectLst/>
                <a:latin typeface="+mn-lt"/>
                <a:ea typeface="+mn-ea"/>
                <a:cs typeface="+mn-cs"/>
              </a:rPr>
              <a:t> : renouvellement d’un site militaire en une zone d’activité : foncier, clés en main, parc d’activité et services</a:t>
            </a:r>
          </a:p>
        </p:txBody>
      </p:sp>
      <p:sp>
        <p:nvSpPr>
          <p:cNvPr id="4" name="Espace réservé du numéro de diapositive 3"/>
          <p:cNvSpPr>
            <a:spLocks noGrp="1"/>
          </p:cNvSpPr>
          <p:nvPr>
            <p:ph type="sldNum" sz="quarter" idx="5"/>
          </p:nvPr>
        </p:nvSpPr>
        <p:spPr/>
        <p:txBody>
          <a:bodyPr/>
          <a:lstStyle/>
          <a:p>
            <a:fld id="{6D388DEB-D366-4254-8274-487B5C395C4A}" type="slidenum">
              <a:rPr lang="fr-FR" smtClean="0"/>
              <a:t>25</a:t>
            </a:fld>
            <a:endParaRPr lang="fr-FR"/>
          </a:p>
        </p:txBody>
      </p:sp>
    </p:spTree>
    <p:extLst>
      <p:ext uri="{BB962C8B-B14F-4D97-AF65-F5344CB8AC3E}">
        <p14:creationId xmlns:p14="http://schemas.microsoft.com/office/powerpoint/2010/main" val="341859921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FD1E0103-D727-4AD1-AB4D-38873A781DDF}" type="slidenum">
              <a:rPr lang="fr-FR" smtClean="0"/>
              <a:t>26</a:t>
            </a:fld>
            <a:endParaRPr lang="fr-FR"/>
          </a:p>
        </p:txBody>
      </p:sp>
    </p:spTree>
    <p:extLst>
      <p:ext uri="{BB962C8B-B14F-4D97-AF65-F5344CB8AC3E}">
        <p14:creationId xmlns:p14="http://schemas.microsoft.com/office/powerpoint/2010/main" val="585323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dirty="0"/>
              <a:t>Perspectives / idées : </a:t>
            </a:r>
          </a:p>
          <a:p>
            <a:pPr marL="170627" indent="-170627">
              <a:buFontTx/>
              <a:buChar char="-"/>
            </a:pPr>
            <a:r>
              <a:rPr lang="fr-FR" dirty="0"/>
              <a:t>CEC 2024 : qui doit en être ? </a:t>
            </a:r>
          </a:p>
          <a:p>
            <a:pPr marL="170627" indent="-170627">
              <a:buFontTx/>
              <a:buChar char="-"/>
            </a:pPr>
            <a:r>
              <a:rPr lang="fr-FR" dirty="0"/>
              <a:t>Comment parler de ce sursaut ? Formation/journées « claque », vidéos/liens pour montée en compétences sur le sujet, orga REX participants CEC dans les territoires/clubs…</a:t>
            </a:r>
          </a:p>
          <a:p>
            <a:pPr marL="170627" indent="-170627">
              <a:buFontTx/>
              <a:buChar char="-"/>
            </a:pPr>
            <a:r>
              <a:rPr lang="fr-FR" dirty="0"/>
              <a:t>Quel rôle pour nous ? Devons nous/pouvons nous </a:t>
            </a:r>
            <a:r>
              <a:rPr lang="fr-FR" dirty="0" err="1"/>
              <a:t>etre</a:t>
            </a:r>
            <a:r>
              <a:rPr lang="fr-FR" dirty="0"/>
              <a:t> acteurs de ce sursaut ou devons nous nous appuyer sur d’autres et nous positionner dans l’accompagnement ?</a:t>
            </a:r>
          </a:p>
          <a:p>
            <a:pPr marL="170627" indent="-170627">
              <a:buFontTx/>
              <a:buChar char="-"/>
            </a:pPr>
            <a:r>
              <a:rPr lang="fr-FR" dirty="0"/>
              <a:t>Quelles cibles prioritaires ? </a:t>
            </a:r>
          </a:p>
        </p:txBody>
      </p:sp>
      <p:sp>
        <p:nvSpPr>
          <p:cNvPr id="4" name="Espace réservé du numéro de diapositive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ED77D4F-ED97-EA44-A135-D73BDAA54473}" type="slidenum">
              <a:rPr kumimoji="0" lang="fr-F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fr-F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96608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dirty="0"/>
              <a:t>Perspectives / idées : </a:t>
            </a:r>
          </a:p>
          <a:p>
            <a:pPr marL="170627" indent="-170627">
              <a:buFontTx/>
              <a:buChar char="-"/>
            </a:pPr>
            <a:r>
              <a:rPr lang="fr-FR" dirty="0"/>
              <a:t>CEC 2024 : qui doit en être ? </a:t>
            </a:r>
          </a:p>
          <a:p>
            <a:pPr marL="170627" indent="-170627">
              <a:buFontTx/>
              <a:buChar char="-"/>
            </a:pPr>
            <a:r>
              <a:rPr lang="fr-FR" dirty="0"/>
              <a:t>Comment parler de ce sursaut ? Formation/journées « claque », vidéos/liens pour montée en compétences sur le sujet, orga REX participants CEC dans les territoires/clubs…</a:t>
            </a:r>
          </a:p>
          <a:p>
            <a:pPr marL="170627" indent="-170627">
              <a:buFontTx/>
              <a:buChar char="-"/>
            </a:pPr>
            <a:r>
              <a:rPr lang="fr-FR" dirty="0"/>
              <a:t>Quel rôle pour nous ? Devons nous/pouvons nous </a:t>
            </a:r>
            <a:r>
              <a:rPr lang="fr-FR" dirty="0" err="1"/>
              <a:t>etre</a:t>
            </a:r>
            <a:r>
              <a:rPr lang="fr-FR" dirty="0"/>
              <a:t> acteurs de ce sursaut ou devons nous nous appuyer sur d’autres et nous positionner dans l’accompagnement ?</a:t>
            </a:r>
          </a:p>
          <a:p>
            <a:pPr marL="170627" indent="-170627">
              <a:buFontTx/>
              <a:buChar char="-"/>
            </a:pPr>
            <a:r>
              <a:rPr lang="fr-FR" dirty="0"/>
              <a:t>Quelles cibles prioritaires ? </a:t>
            </a:r>
          </a:p>
        </p:txBody>
      </p:sp>
      <p:sp>
        <p:nvSpPr>
          <p:cNvPr id="4" name="Espace réservé du numéro de diapositive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ED77D4F-ED97-EA44-A135-D73BDAA54473}" type="slidenum">
              <a:rPr kumimoji="0" lang="fr-F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fr-F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371110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sz="1800" dirty="0">
                <a:effectLst/>
                <a:latin typeface="Arial" panose="020B0604020202020204" pitchFamily="34" charset="0"/>
                <a:ea typeface="Times New Roman" panose="02020603050405020304" pitchFamily="18" charset="0"/>
              </a:rPr>
              <a:t>Page de garde de la première partie</a:t>
            </a:r>
          </a:p>
          <a:p>
            <a:pPr marL="0" marR="0" lvl="0" indent="0" algn="l" defTabSz="914400" rtl="0" eaLnBrk="1" fontAlgn="auto" latinLnBrk="0" hangingPunct="1">
              <a:lnSpc>
                <a:spcPct val="90000"/>
              </a:lnSpc>
              <a:spcBef>
                <a:spcPct val="0"/>
              </a:spcBef>
              <a:spcAft>
                <a:spcPts val="0"/>
              </a:spcAft>
              <a:buClrTx/>
              <a:buSzTx/>
              <a:buFontTx/>
              <a:buNone/>
              <a:tabLst/>
              <a:defRPr/>
            </a:pPr>
            <a:endParaRPr lang="fr-FR" b="1" dirty="0"/>
          </a:p>
        </p:txBody>
      </p:sp>
      <p:sp>
        <p:nvSpPr>
          <p:cNvPr id="4" name="Espace réservé du numéro de diapositive 3"/>
          <p:cNvSpPr>
            <a:spLocks noGrp="1"/>
          </p:cNvSpPr>
          <p:nvPr>
            <p:ph type="sldNum" sz="quarter" idx="5"/>
          </p:nvPr>
        </p:nvSpPr>
        <p:spPr/>
        <p:txBody>
          <a:bodyPr/>
          <a:lstStyle/>
          <a:p>
            <a:fld id="{6D388DEB-D366-4254-8274-487B5C395C4A}" type="slidenum">
              <a:rPr lang="fr-FR" smtClean="0"/>
              <a:t>6</a:t>
            </a:fld>
            <a:endParaRPr lang="fr-FR"/>
          </a:p>
        </p:txBody>
      </p:sp>
    </p:spTree>
    <p:extLst>
      <p:ext uri="{BB962C8B-B14F-4D97-AF65-F5344CB8AC3E}">
        <p14:creationId xmlns:p14="http://schemas.microsoft.com/office/powerpoint/2010/main" val="2009669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algn="just">
              <a:spcAft>
                <a:spcPts val="600"/>
              </a:spcAft>
            </a:pPr>
            <a:r>
              <a:rPr lang="fr-FR" sz="1800" dirty="0">
                <a:effectLst/>
                <a:latin typeface="Arial" panose="020B0604020202020204" pitchFamily="34" charset="0"/>
                <a:ea typeface="Times New Roman" panose="02020603050405020304" pitchFamily="18" charset="0"/>
              </a:rPr>
              <a:t>Quelques éléments génériques et chiffrés sur le poids économique de la Métropole de Lyon, une véritable puissance économique, dont la résilience et les spécificités reposent sur la diversité économique qui la constitue : TPE/PME/ETI/Grands Groupes ; une diversité de filières et écosystèmes économiques représentés où se croisent : enseignement / </a:t>
            </a:r>
            <a:r>
              <a:rPr lang="fr-FR" sz="1800" dirty="0" err="1">
                <a:effectLst/>
                <a:latin typeface="Arial" panose="020B0604020202020204" pitchFamily="34" charset="0"/>
                <a:ea typeface="Times New Roman" panose="02020603050405020304" pitchFamily="18" charset="0"/>
              </a:rPr>
              <a:t>R&amp;d</a:t>
            </a:r>
            <a:r>
              <a:rPr lang="fr-FR" sz="1800" dirty="0">
                <a:effectLst/>
                <a:latin typeface="Arial" panose="020B0604020202020204" pitchFamily="34" charset="0"/>
                <a:ea typeface="Times New Roman" panose="02020603050405020304" pitchFamily="18" charset="0"/>
              </a:rPr>
              <a:t> / entreprises.</a:t>
            </a:r>
          </a:p>
          <a:p>
            <a:pPr algn="just">
              <a:spcAft>
                <a:spcPts val="600"/>
              </a:spcAft>
            </a:pPr>
            <a:r>
              <a:rPr lang="fr-FR" sz="1800" b="1" u="none" strike="noStrike" dirty="0">
                <a:effectLst/>
                <a:latin typeface="Arial" panose="020B0604020202020204" pitchFamily="34" charset="0"/>
                <a:ea typeface="Times New Roman" panose="02020603050405020304" pitchFamily="18" charset="0"/>
              </a:rPr>
              <a:t> </a:t>
            </a:r>
            <a:endParaRPr lang="fr-FR" sz="1800" dirty="0">
              <a:effectLst/>
              <a:latin typeface="Arial" panose="020B0604020202020204" pitchFamily="34" charset="0"/>
              <a:ea typeface="Times New Roman" panose="02020603050405020304" pitchFamily="18" charset="0"/>
            </a:endParaRPr>
          </a:p>
          <a:p>
            <a:endParaRPr lang="fr-FR" dirty="0"/>
          </a:p>
        </p:txBody>
      </p:sp>
      <p:sp>
        <p:nvSpPr>
          <p:cNvPr id="4" name="Espace réservé du numéro de diapositive 3"/>
          <p:cNvSpPr>
            <a:spLocks noGrp="1"/>
          </p:cNvSpPr>
          <p:nvPr>
            <p:ph type="sldNum" sz="quarter" idx="5"/>
          </p:nvPr>
        </p:nvSpPr>
        <p:spPr/>
        <p:txBody>
          <a:bodyPr/>
          <a:lstStyle/>
          <a:p>
            <a:fld id="{6D388DEB-D366-4254-8274-487B5C395C4A}" type="slidenum">
              <a:rPr lang="fr-FR" smtClean="0"/>
              <a:t>7</a:t>
            </a:fld>
            <a:endParaRPr lang="fr-FR"/>
          </a:p>
        </p:txBody>
      </p:sp>
    </p:spTree>
    <p:extLst>
      <p:ext uri="{BB962C8B-B14F-4D97-AF65-F5344CB8AC3E}">
        <p14:creationId xmlns:p14="http://schemas.microsoft.com/office/powerpoint/2010/main" val="11798443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algn="just">
              <a:spcAft>
                <a:spcPts val="600"/>
              </a:spcAft>
            </a:pPr>
            <a:r>
              <a:rPr lang="fr-FR" sz="1800" dirty="0">
                <a:effectLst/>
                <a:latin typeface="Arial" panose="020B0604020202020204" pitchFamily="34" charset="0"/>
                <a:ea typeface="Times New Roman" panose="02020603050405020304" pitchFamily="18" charset="0"/>
              </a:rPr>
              <a:t>La Conférence se référant à l’immobilier de bureaux, nous souhaitons rappeler que la Métropole compte 2 emplois sur 3 dans l’économie (privée et publique) de services aussi diversifiée soit elle. </a:t>
            </a:r>
          </a:p>
          <a:p>
            <a:pPr algn="just">
              <a:spcAft>
                <a:spcPts val="600"/>
              </a:spcAft>
            </a:pPr>
            <a:r>
              <a:rPr lang="fr-FR" sz="1800" dirty="0">
                <a:effectLst/>
                <a:latin typeface="Arial" panose="020B0604020202020204" pitchFamily="34" charset="0"/>
                <a:ea typeface="Times New Roman" panose="02020603050405020304" pitchFamily="18" charset="0"/>
              </a:rPr>
              <a:t>Cette concentration d’emplois de services repose sur un socle de fonctions métropolitaines et de services à la population et aux entreprises qui sont inhérentes au poids résidentiel et économique de la Métropole ; une grande part de services (notamment tertiaires supérieures) sont animées par l’économie industrielle de la Métropole (1 emploi industriel = 3 à 4 emplois induits en services et sous </a:t>
            </a:r>
            <a:r>
              <a:rPr lang="fr-FR" sz="1800" dirty="0" err="1">
                <a:effectLst/>
                <a:latin typeface="Arial" panose="020B0604020202020204" pitchFamily="34" charset="0"/>
                <a:ea typeface="Times New Roman" panose="02020603050405020304" pitchFamily="18" charset="0"/>
              </a:rPr>
              <a:t>traitance</a:t>
            </a:r>
            <a:r>
              <a:rPr lang="fr-FR" sz="1800" dirty="0">
                <a:effectLst/>
                <a:latin typeface="Arial" panose="020B0604020202020204" pitchFamily="34" charset="0"/>
                <a:ea typeface="Times New Roman" panose="02020603050405020304" pitchFamily="18" charset="0"/>
              </a:rPr>
              <a:t>)</a:t>
            </a:r>
          </a:p>
          <a:p>
            <a:pPr algn="just">
              <a:spcAft>
                <a:spcPts val="600"/>
              </a:spcAft>
            </a:pPr>
            <a:r>
              <a:rPr lang="fr-FR" sz="1800" dirty="0">
                <a:effectLst/>
                <a:latin typeface="Arial" panose="020B0604020202020204" pitchFamily="34" charset="0"/>
                <a:ea typeface="Times New Roman" panose="02020603050405020304" pitchFamily="18" charset="0"/>
              </a:rPr>
              <a:t> </a:t>
            </a:r>
          </a:p>
          <a:p>
            <a:pPr algn="just">
              <a:spcAft>
                <a:spcPts val="600"/>
              </a:spcAft>
            </a:pPr>
            <a:r>
              <a:rPr lang="fr-FR" sz="1800" dirty="0">
                <a:effectLst/>
                <a:latin typeface="Arial" panose="020B0604020202020204" pitchFamily="34" charset="0"/>
                <a:ea typeface="Times New Roman" panose="02020603050405020304" pitchFamily="18" charset="0"/>
              </a:rPr>
              <a:t>Rappeler également que les services se ne sont pas que des grands sièges sociaux de multinationales, ce sont des TPE en croissance et c’est la présence également de l’ESS dont 2/3 des emplois sont dans des fonctions de services. </a:t>
            </a:r>
          </a:p>
          <a:p>
            <a:pPr algn="just">
              <a:spcAft>
                <a:spcPts val="600"/>
              </a:spcAft>
            </a:pPr>
            <a:r>
              <a:rPr lang="fr-FR" sz="1800" b="1" dirty="0">
                <a:effectLst/>
                <a:latin typeface="Arial" panose="020B0604020202020204" pitchFamily="34" charset="0"/>
                <a:ea typeface="Times New Roman" panose="02020603050405020304" pitchFamily="18" charset="0"/>
              </a:rPr>
              <a:t> </a:t>
            </a:r>
            <a:endParaRPr lang="fr-FR" sz="1800" dirty="0">
              <a:effectLst/>
              <a:latin typeface="Arial" panose="020B0604020202020204" pitchFamily="34" charset="0"/>
              <a:ea typeface="Times New Roman" panose="02020603050405020304" pitchFamily="18" charset="0"/>
            </a:endParaRPr>
          </a:p>
          <a:p>
            <a:endParaRPr lang="fr-FR" dirty="0"/>
          </a:p>
        </p:txBody>
      </p:sp>
      <p:sp>
        <p:nvSpPr>
          <p:cNvPr id="4" name="Espace réservé du numéro de diapositive 3"/>
          <p:cNvSpPr>
            <a:spLocks noGrp="1"/>
          </p:cNvSpPr>
          <p:nvPr>
            <p:ph type="sldNum" sz="quarter" idx="5"/>
          </p:nvPr>
        </p:nvSpPr>
        <p:spPr/>
        <p:txBody>
          <a:bodyPr/>
          <a:lstStyle/>
          <a:p>
            <a:fld id="{6D388DEB-D366-4254-8274-487B5C395C4A}" type="slidenum">
              <a:rPr lang="fr-FR" smtClean="0"/>
              <a:t>8</a:t>
            </a:fld>
            <a:endParaRPr lang="fr-FR"/>
          </a:p>
        </p:txBody>
      </p:sp>
    </p:spTree>
    <p:extLst>
      <p:ext uri="{BB962C8B-B14F-4D97-AF65-F5344CB8AC3E}">
        <p14:creationId xmlns:p14="http://schemas.microsoft.com/office/powerpoint/2010/main" val="34696981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algn="just">
              <a:spcAft>
                <a:spcPts val="600"/>
              </a:spcAft>
            </a:pPr>
            <a:r>
              <a:rPr lang="fr-FR" sz="1800" dirty="0">
                <a:effectLst/>
                <a:latin typeface="Arial" panose="020B0604020202020204" pitchFamily="34" charset="0"/>
                <a:ea typeface="Times New Roman" panose="02020603050405020304" pitchFamily="18" charset="0"/>
              </a:rPr>
              <a:t>3 points à mettre en avant : </a:t>
            </a:r>
          </a:p>
          <a:p>
            <a:pPr marL="342900" lvl="0" indent="-342900" algn="just">
              <a:buFont typeface="Arial" panose="020B0604020202020204" pitchFamily="34" charset="0"/>
              <a:buChar char="-"/>
            </a:pPr>
            <a:r>
              <a:rPr lang="fr-FR" sz="1800" dirty="0">
                <a:effectLst/>
                <a:latin typeface="Arial" panose="020B0604020202020204" pitchFamily="34" charset="0"/>
                <a:ea typeface="Times New Roman" panose="02020603050405020304" pitchFamily="18" charset="0"/>
              </a:rPr>
              <a:t>Un parc immobilier de dimension métropolitaine inégalé (hors IDF) avec 7.3 M de m² existants</a:t>
            </a:r>
          </a:p>
          <a:p>
            <a:pPr marL="342900" lvl="0" indent="-342900" algn="just">
              <a:buFont typeface="Arial" panose="020B0604020202020204" pitchFamily="34" charset="0"/>
              <a:buChar char="-"/>
            </a:pPr>
            <a:r>
              <a:rPr lang="fr-FR" sz="1800" dirty="0">
                <a:effectLst/>
                <a:latin typeface="Arial" panose="020B0604020202020204" pitchFamily="34" charset="0"/>
                <a:ea typeface="Times New Roman" panose="02020603050405020304" pitchFamily="18" charset="0"/>
              </a:rPr>
              <a:t>Une réalité que le parc est présent sur l’ensemble de la Métropole </a:t>
            </a:r>
          </a:p>
          <a:p>
            <a:pPr marL="342900" lvl="0" indent="-342900" algn="just">
              <a:spcAft>
                <a:spcPts val="600"/>
              </a:spcAft>
              <a:buFont typeface="Arial" panose="020B0604020202020204" pitchFamily="34" charset="0"/>
              <a:buChar char="-"/>
            </a:pPr>
            <a:r>
              <a:rPr lang="fr-FR" sz="1800" dirty="0">
                <a:effectLst/>
                <a:latin typeface="Arial" panose="020B0604020202020204" pitchFamily="34" charset="0"/>
                <a:ea typeface="Times New Roman" panose="02020603050405020304" pitchFamily="18" charset="0"/>
              </a:rPr>
              <a:t>Seulement 12 % du parc est neuf ou régénéré : un potentiel important de renouvellement</a:t>
            </a:r>
          </a:p>
          <a:p>
            <a:endParaRPr lang="fr-FR" dirty="0"/>
          </a:p>
        </p:txBody>
      </p:sp>
      <p:sp>
        <p:nvSpPr>
          <p:cNvPr id="4" name="Espace réservé du numéro de diapositive 3"/>
          <p:cNvSpPr>
            <a:spLocks noGrp="1"/>
          </p:cNvSpPr>
          <p:nvPr>
            <p:ph type="sldNum" sz="quarter" idx="5"/>
          </p:nvPr>
        </p:nvSpPr>
        <p:spPr/>
        <p:txBody>
          <a:bodyPr/>
          <a:lstStyle/>
          <a:p>
            <a:fld id="{6D388DEB-D366-4254-8274-487B5C395C4A}" type="slidenum">
              <a:rPr lang="fr-FR" smtClean="0"/>
              <a:t>9</a:t>
            </a:fld>
            <a:endParaRPr lang="fr-FR"/>
          </a:p>
        </p:txBody>
      </p:sp>
    </p:spTree>
    <p:extLst>
      <p:ext uri="{BB962C8B-B14F-4D97-AF65-F5344CB8AC3E}">
        <p14:creationId xmlns:p14="http://schemas.microsoft.com/office/powerpoint/2010/main" val="290502177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3F3B4A-6549-28C9-A32C-2882B47900F8}"/>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52C5ED49-D154-05D7-32BB-16D032AB1321}"/>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0E318A54-6C57-0BE0-5534-1E6FBAC728BD}"/>
              </a:ext>
            </a:extLst>
          </p:cNvPr>
          <p:cNvSpPr>
            <a:spLocks noGrp="1"/>
          </p:cNvSpPr>
          <p:nvPr>
            <p:ph type="body" idx="1"/>
          </p:nvPr>
        </p:nvSpPr>
        <p:spPr/>
        <p:txBody>
          <a:bodyPr/>
          <a:lstStyle/>
          <a:p>
            <a:pPr algn="just">
              <a:spcAft>
                <a:spcPts val="600"/>
              </a:spcAft>
            </a:pPr>
            <a:r>
              <a:rPr lang="fr-FR" sz="1800" dirty="0">
                <a:effectLst/>
                <a:latin typeface="Arial" panose="020B0604020202020204" pitchFamily="34" charset="0"/>
                <a:ea typeface="Times New Roman" panose="02020603050405020304" pitchFamily="18" charset="0"/>
              </a:rPr>
              <a:t>Quelques données sur la demande placée de cette année 2023. Elle enregistre une baisse (329 000 m² placés en 2022 contre 248 000 m² en 2023). Cette baisse est constatée partout en France que ce soit en IDF et dans les autres métropoles régionales. En rentrant plus finement dans la lecture des chiffres, on se rend compte que c’est surtout lié au manque de grandes et très grandes transactions =&gt; ces entreprises sont refroidies par la crise économique globale d’un côté ; et sont en pleine refonte de leur stratégie RSE dont l’immobilier est un important levier donc les décisions de schémas immobiliers sont reportées et plus réfléchies. Point positif, le nombre de transactions ne baisse quasiment pas ce qui indique que le tissu de TPE/PME reste dynamique et poursuit son parcours immobilier. </a:t>
            </a:r>
          </a:p>
          <a:p>
            <a:pPr algn="just">
              <a:spcAft>
                <a:spcPts val="600"/>
              </a:spcAft>
            </a:pPr>
            <a:r>
              <a:rPr lang="fr-FR" sz="1800" dirty="0">
                <a:effectLst/>
                <a:latin typeface="Arial" panose="020B0604020202020204" pitchFamily="34" charset="0"/>
                <a:ea typeface="Times New Roman" panose="02020603050405020304" pitchFamily="18" charset="0"/>
              </a:rPr>
              <a:t>Concernant les autres points : </a:t>
            </a:r>
          </a:p>
          <a:p>
            <a:pPr marL="342900" lvl="0" indent="-342900" algn="just">
              <a:buFont typeface="Arial" panose="020B0604020202020204" pitchFamily="34" charset="0"/>
              <a:buChar char="-"/>
            </a:pPr>
            <a:r>
              <a:rPr lang="fr-FR" sz="1800" dirty="0">
                <a:effectLst/>
                <a:latin typeface="Arial" panose="020B0604020202020204" pitchFamily="34" charset="0"/>
                <a:ea typeface="Times New Roman" panose="02020603050405020304" pitchFamily="18" charset="0"/>
              </a:rPr>
              <a:t>80 % de la demande placée s’est faite dans le centre (plus fort que précédemment)</a:t>
            </a:r>
          </a:p>
          <a:p>
            <a:pPr marL="342900" lvl="0" indent="-342900" algn="just">
              <a:buFont typeface="Arial" panose="020B0604020202020204" pitchFamily="34" charset="0"/>
              <a:buChar char="-"/>
            </a:pPr>
            <a:r>
              <a:rPr lang="fr-FR" sz="1800" dirty="0">
                <a:effectLst/>
                <a:latin typeface="Arial" panose="020B0604020202020204" pitchFamily="34" charset="0"/>
                <a:ea typeface="Times New Roman" panose="02020603050405020304" pitchFamily="18" charset="0"/>
              </a:rPr>
              <a:t>50 % choisissent de l’immobilier neuf ou réhabilité = recherche de qualité et de performance</a:t>
            </a:r>
          </a:p>
          <a:p>
            <a:pPr marL="342900" lvl="0" indent="-342900" algn="just">
              <a:spcAft>
                <a:spcPts val="600"/>
              </a:spcAft>
              <a:buFont typeface="Arial" panose="020B0604020202020204" pitchFamily="34" charset="0"/>
              <a:buChar char="-"/>
            </a:pPr>
            <a:r>
              <a:rPr lang="fr-FR" sz="1800" dirty="0">
                <a:effectLst/>
                <a:latin typeface="Arial" panose="020B0604020202020204" pitchFamily="34" charset="0"/>
                <a:ea typeface="Times New Roman" panose="02020603050405020304" pitchFamily="18" charset="0"/>
              </a:rPr>
              <a:t>A noter que parmi les plus grandes transactions de l’année, beaucoup ont été faîtes par des groupes d’enseignement</a:t>
            </a:r>
          </a:p>
          <a:p>
            <a:pPr algn="just">
              <a:spcAft>
                <a:spcPts val="600"/>
              </a:spcAft>
            </a:pPr>
            <a:r>
              <a:rPr lang="fr-FR" sz="1800" dirty="0">
                <a:effectLst/>
                <a:latin typeface="Arial" panose="020B0604020202020204" pitchFamily="34" charset="0"/>
                <a:ea typeface="Times New Roman" panose="02020603050405020304" pitchFamily="18" charset="0"/>
              </a:rPr>
              <a:t> </a:t>
            </a:r>
          </a:p>
          <a:p>
            <a:pPr algn="just">
              <a:spcAft>
                <a:spcPts val="600"/>
              </a:spcAft>
            </a:pPr>
            <a:r>
              <a:rPr lang="fr-FR" sz="1800" dirty="0">
                <a:effectLst/>
                <a:latin typeface="Arial" panose="020B0604020202020204" pitchFamily="34" charset="0"/>
                <a:ea typeface="Times New Roman" panose="02020603050405020304" pitchFamily="18" charset="0"/>
              </a:rPr>
              <a:t>Une chute drastique de l’investissement, loin d’une spécificité locale, le système est bloqué au niveau national et européen. Cet arrêt a plusieurs effets : </a:t>
            </a:r>
          </a:p>
          <a:p>
            <a:pPr marL="342900" lvl="0" indent="-342900" algn="just">
              <a:buFont typeface="Arial" panose="020B0604020202020204" pitchFamily="34" charset="0"/>
              <a:buChar char="-"/>
            </a:pPr>
            <a:r>
              <a:rPr lang="fr-FR" sz="1800" dirty="0">
                <a:effectLst/>
                <a:latin typeface="Arial" panose="020B0604020202020204" pitchFamily="34" charset="0"/>
                <a:ea typeface="Times New Roman" panose="02020603050405020304" pitchFamily="18" charset="0"/>
              </a:rPr>
              <a:t>Une baisse de la valeur des immeubles (jusqu’à -30 voire 40 %) </a:t>
            </a:r>
          </a:p>
          <a:p>
            <a:pPr marL="342900" lvl="0" indent="-342900" algn="just">
              <a:buFont typeface="Arial" panose="020B0604020202020204" pitchFamily="34" charset="0"/>
              <a:buChar char="-"/>
            </a:pPr>
            <a:r>
              <a:rPr lang="fr-FR" sz="1800" dirty="0">
                <a:effectLst/>
                <a:latin typeface="Arial" panose="020B0604020202020204" pitchFamily="34" charset="0"/>
                <a:ea typeface="Times New Roman" panose="02020603050405020304" pitchFamily="18" charset="0"/>
              </a:rPr>
              <a:t>Même dans le cas où un promoteur a un immeuble à vendre avec un/des utilisateurs, il n’arrive pas à le vendre</a:t>
            </a:r>
          </a:p>
          <a:p>
            <a:pPr marL="342900" lvl="0" indent="-342900" algn="just">
              <a:spcAft>
                <a:spcPts val="600"/>
              </a:spcAft>
              <a:buFont typeface="Arial" panose="020B0604020202020204" pitchFamily="34" charset="0"/>
              <a:buChar char="-"/>
            </a:pPr>
            <a:r>
              <a:rPr lang="fr-FR" sz="1800" dirty="0">
                <a:effectLst/>
                <a:latin typeface="Arial" panose="020B0604020202020204" pitchFamily="34" charset="0"/>
                <a:ea typeface="Times New Roman" panose="02020603050405020304" pitchFamily="18" charset="0"/>
              </a:rPr>
              <a:t>Une entreprise qui souhaite acheter son bâtiment ne trouve pas facilement son financement</a:t>
            </a:r>
          </a:p>
          <a:p>
            <a:pPr algn="just">
              <a:spcAft>
                <a:spcPts val="600"/>
              </a:spcAft>
            </a:pPr>
            <a:r>
              <a:rPr lang="fr-FR" sz="1800" dirty="0">
                <a:effectLst/>
                <a:latin typeface="Arial" panose="020B0604020202020204" pitchFamily="34" charset="0"/>
                <a:ea typeface="Times New Roman" panose="02020603050405020304" pitchFamily="18" charset="0"/>
              </a:rPr>
              <a:t> </a:t>
            </a:r>
          </a:p>
          <a:p>
            <a:pPr algn="just">
              <a:spcAft>
                <a:spcPts val="600"/>
              </a:spcAft>
            </a:pPr>
            <a:r>
              <a:rPr lang="fr-FR" sz="1800" dirty="0">
                <a:effectLst/>
                <a:latin typeface="Arial" panose="020B0604020202020204" pitchFamily="34" charset="0"/>
                <a:ea typeface="Times New Roman" panose="02020603050405020304" pitchFamily="18" charset="0"/>
              </a:rPr>
              <a:t>Mais toute crise a aussi ses effets positifs : </a:t>
            </a:r>
          </a:p>
          <a:p>
            <a:pPr marL="342900" lvl="0" indent="-342900" algn="just">
              <a:buFont typeface="Arial" panose="020B0604020202020204" pitchFamily="34" charset="0"/>
              <a:buChar char="-"/>
            </a:pPr>
            <a:r>
              <a:rPr lang="fr-FR" sz="1800" dirty="0">
                <a:effectLst/>
                <a:latin typeface="Arial" panose="020B0604020202020204" pitchFamily="34" charset="0"/>
                <a:ea typeface="Times New Roman" panose="02020603050405020304" pitchFamily="18" charset="0"/>
              </a:rPr>
              <a:t>le rapport de force « entreprise » VS « promoteurs et investisseurs » s’est inversé (par exemple, sur les mesures d’accompagnement, ou sur la durée du bail qui peut être plus courte dorénavant…). Toute entreprise preneuse de m² redevient intéressante (quelque soit sa taille ou ses statuts) =&gt; une opportunité nouvelle pour l’ESS par exemple </a:t>
            </a:r>
          </a:p>
          <a:p>
            <a:pPr marL="342900" lvl="0" indent="-342900" algn="just">
              <a:buFont typeface="Arial" panose="020B0604020202020204" pitchFamily="34" charset="0"/>
              <a:buChar char="-"/>
            </a:pPr>
            <a:r>
              <a:rPr lang="fr-FR" sz="1800" dirty="0">
                <a:effectLst/>
                <a:latin typeface="Arial" panose="020B0604020202020204" pitchFamily="34" charset="0"/>
                <a:ea typeface="Times New Roman" panose="02020603050405020304" pitchFamily="18" charset="0"/>
              </a:rPr>
              <a:t>faute d’investisseurs, nous retrouvons des immeubles à la vente sur le marché ce qui devenait rarissime </a:t>
            </a:r>
          </a:p>
          <a:p>
            <a:pPr marL="342900" lvl="0" indent="-342900" algn="just">
              <a:buFont typeface="Arial" panose="020B0604020202020204" pitchFamily="34" charset="0"/>
              <a:buChar char="-"/>
            </a:pPr>
            <a:r>
              <a:rPr lang="fr-FR" sz="1800" dirty="0">
                <a:effectLst/>
                <a:latin typeface="Arial" panose="020B0604020202020204" pitchFamily="34" charset="0"/>
                <a:ea typeface="Times New Roman" panose="02020603050405020304" pitchFamily="18" charset="0"/>
              </a:rPr>
              <a:t>la tension foncière et l’escalade des charges foncières diminuent</a:t>
            </a:r>
          </a:p>
          <a:p>
            <a:pPr marL="342900" lvl="0" indent="-342900" algn="just">
              <a:spcAft>
                <a:spcPts val="600"/>
              </a:spcAft>
              <a:buFont typeface="Arial" panose="020B0604020202020204" pitchFamily="34" charset="0"/>
              <a:buChar char="-"/>
            </a:pPr>
            <a:r>
              <a:rPr lang="fr-FR" sz="1800" dirty="0">
                <a:effectLst/>
                <a:latin typeface="Arial" panose="020B0604020202020204" pitchFamily="34" charset="0"/>
                <a:ea typeface="Times New Roman" panose="02020603050405020304" pitchFamily="18" charset="0"/>
              </a:rPr>
              <a:t>les opérations opportunistes mal placées et à faible profondeur de marché sont revues ou annulées</a:t>
            </a:r>
          </a:p>
          <a:p>
            <a:endParaRPr lang="fr-FR" dirty="0"/>
          </a:p>
        </p:txBody>
      </p:sp>
      <p:sp>
        <p:nvSpPr>
          <p:cNvPr id="4" name="Espace réservé du numéro de diapositive 3">
            <a:extLst>
              <a:ext uri="{FF2B5EF4-FFF2-40B4-BE49-F238E27FC236}">
                <a16:creationId xmlns:a16="http://schemas.microsoft.com/office/drawing/2014/main" id="{10537BC4-0821-7092-5C43-11730DA190EB}"/>
              </a:ext>
            </a:extLst>
          </p:cNvPr>
          <p:cNvSpPr>
            <a:spLocks noGrp="1"/>
          </p:cNvSpPr>
          <p:nvPr>
            <p:ph type="sldNum" sz="quarter" idx="5"/>
          </p:nvPr>
        </p:nvSpPr>
        <p:spPr/>
        <p:txBody>
          <a:bodyPr/>
          <a:lstStyle/>
          <a:p>
            <a:fld id="{D85B89F8-8D39-B041-97A6-4814A356F33A}" type="slidenum">
              <a:rPr lang="fr-FR" smtClean="0"/>
              <a:t>10</a:t>
            </a:fld>
            <a:endParaRPr lang="fr-FR"/>
          </a:p>
        </p:txBody>
      </p:sp>
    </p:spTree>
    <p:extLst>
      <p:ext uri="{BB962C8B-B14F-4D97-AF65-F5344CB8AC3E}">
        <p14:creationId xmlns:p14="http://schemas.microsoft.com/office/powerpoint/2010/main" val="95873217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4.jpeg"/><Relationship Id="rId4" Type="http://schemas.openxmlformats.org/officeDocument/2006/relationships/image" Target="../media/image3.jp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3.xml"/><Relationship Id="rId5" Type="http://schemas.openxmlformats.org/officeDocument/2006/relationships/image" Target="../media/image4.jpeg"/><Relationship Id="rId4" Type="http://schemas.openxmlformats.org/officeDocument/2006/relationships/image" Target="../media/image3.jpg"/></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1.png"/><Relationship Id="rId1" Type="http://schemas.openxmlformats.org/officeDocument/2006/relationships/slideMaster" Target="../slideMasters/slideMaster4.xml"/><Relationship Id="rId5" Type="http://schemas.openxmlformats.org/officeDocument/2006/relationships/image" Target="../media/image6.jpeg"/><Relationship Id="rId4" Type="http://schemas.openxmlformats.org/officeDocument/2006/relationships/image" Target="../media/image3.jpg"/></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1.png"/><Relationship Id="rId1" Type="http://schemas.openxmlformats.org/officeDocument/2006/relationships/slideMaster" Target="../slideMasters/slideMaster5.xml"/><Relationship Id="rId5" Type="http://schemas.openxmlformats.org/officeDocument/2006/relationships/image" Target="../media/image6.jpeg"/><Relationship Id="rId4" Type="http://schemas.openxmlformats.org/officeDocument/2006/relationships/image" Target="../media/image3.jpg"/></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1524000" y="1122363"/>
            <a:ext cx="9144000" cy="2387600"/>
          </a:xfrm>
        </p:spPr>
        <p:txBody>
          <a:bodyPr anchor="b"/>
          <a:lstStyle>
            <a:lvl1pPr algn="ctr">
              <a:defRPr sz="6000"/>
            </a:lvl1pPr>
          </a:lstStyle>
          <a:p>
            <a:r>
              <a:rPr lang="fr-FR"/>
              <a:t>Modifiez le style du titre</a:t>
            </a:r>
          </a:p>
        </p:txBody>
      </p:sp>
      <p:sp>
        <p:nvSpPr>
          <p:cNvPr id="3" name="Sous-titr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sp>
        <p:nvSpPr>
          <p:cNvPr id="4" name="Espace réservé de la date 3"/>
          <p:cNvSpPr>
            <a:spLocks noGrp="1"/>
          </p:cNvSpPr>
          <p:nvPr>
            <p:ph type="dt" sz="half" idx="10"/>
          </p:nvPr>
        </p:nvSpPr>
        <p:spPr/>
        <p:txBody>
          <a:bodyPr/>
          <a:lstStyle/>
          <a:p>
            <a:fld id="{5EF27816-6426-453E-A161-5D470619F954}" type="datetimeFigureOut">
              <a:rPr lang="fr-FR" smtClean="0"/>
              <a:t>15/05/2024</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60D50290-7864-48CB-90FD-CA3D03E700D4}" type="slidenum">
              <a:rPr lang="fr-FR" smtClean="0"/>
              <a:t>‹N°›</a:t>
            </a:fld>
            <a:endParaRPr lang="fr-FR"/>
          </a:p>
        </p:txBody>
      </p:sp>
    </p:spTree>
    <p:extLst>
      <p:ext uri="{BB962C8B-B14F-4D97-AF65-F5344CB8AC3E}">
        <p14:creationId xmlns:p14="http://schemas.microsoft.com/office/powerpoint/2010/main" val="359052987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texte vertical 2"/>
          <p:cNvSpPr>
            <a:spLocks noGrp="1"/>
          </p:cNvSpPr>
          <p:nvPr>
            <p:ph type="body" orient="vert" idx="1"/>
          </p:nvPr>
        </p:nvSpPr>
        <p:spPr/>
        <p:txBody>
          <a:bodyPr vert="eaVert"/>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fld id="{5EF27816-6426-453E-A161-5D470619F954}" type="datetimeFigureOut">
              <a:rPr lang="fr-FR" smtClean="0"/>
              <a:t>15/05/2024</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60D50290-7864-48CB-90FD-CA3D03E700D4}" type="slidenum">
              <a:rPr lang="fr-FR" smtClean="0"/>
              <a:t>‹N°›</a:t>
            </a:fld>
            <a:endParaRPr lang="fr-FR"/>
          </a:p>
        </p:txBody>
      </p:sp>
    </p:spTree>
    <p:extLst>
      <p:ext uri="{BB962C8B-B14F-4D97-AF65-F5344CB8AC3E}">
        <p14:creationId xmlns:p14="http://schemas.microsoft.com/office/powerpoint/2010/main" val="184587089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724900" y="365125"/>
            <a:ext cx="2628900" cy="5811838"/>
          </a:xfrm>
        </p:spPr>
        <p:txBody>
          <a:bodyPr vert="eaVert"/>
          <a:lstStyle/>
          <a:p>
            <a:r>
              <a:rPr lang="fr-FR"/>
              <a:t>Modifiez le style du titre</a:t>
            </a:r>
          </a:p>
        </p:txBody>
      </p:sp>
      <p:sp>
        <p:nvSpPr>
          <p:cNvPr id="3" name="Espace réservé du texte vertical 2"/>
          <p:cNvSpPr>
            <a:spLocks noGrp="1"/>
          </p:cNvSpPr>
          <p:nvPr>
            <p:ph type="body" orient="vert" idx="1"/>
          </p:nvPr>
        </p:nvSpPr>
        <p:spPr>
          <a:xfrm>
            <a:off x="838200" y="365125"/>
            <a:ext cx="7734300" cy="5811838"/>
          </a:xfrm>
        </p:spPr>
        <p:txBody>
          <a:bodyPr vert="eaVert"/>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fld id="{5EF27816-6426-453E-A161-5D470619F954}" type="datetimeFigureOut">
              <a:rPr lang="fr-FR" smtClean="0"/>
              <a:t>15/05/2024</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60D50290-7864-48CB-90FD-CA3D03E700D4}" type="slidenum">
              <a:rPr lang="fr-FR" smtClean="0"/>
              <a:t>‹N°›</a:t>
            </a:fld>
            <a:endParaRPr lang="fr-FR"/>
          </a:p>
        </p:txBody>
      </p:sp>
    </p:spTree>
    <p:extLst>
      <p:ext uri="{BB962C8B-B14F-4D97-AF65-F5344CB8AC3E}">
        <p14:creationId xmlns:p14="http://schemas.microsoft.com/office/powerpoint/2010/main" val="421463700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1524000" y="1122363"/>
            <a:ext cx="9144000" cy="2387600"/>
          </a:xfrm>
        </p:spPr>
        <p:txBody>
          <a:bodyPr anchor="b"/>
          <a:lstStyle>
            <a:lvl1pPr algn="ctr">
              <a:defRPr sz="6000"/>
            </a:lvl1pPr>
          </a:lstStyle>
          <a:p>
            <a:r>
              <a:rPr lang="fr-FR"/>
              <a:t>Modifiez le style du titre</a:t>
            </a:r>
            <a:endParaRPr lang="en-US"/>
          </a:p>
        </p:txBody>
      </p:sp>
      <p:sp>
        <p:nvSpPr>
          <p:cNvPr id="3" name="Sous-titr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r le style des sous-titres du masque</a:t>
            </a:r>
            <a:endParaRPr lang="en-US"/>
          </a:p>
        </p:txBody>
      </p:sp>
      <p:sp>
        <p:nvSpPr>
          <p:cNvPr id="4" name="Espace réservé de la date 3"/>
          <p:cNvSpPr>
            <a:spLocks noGrp="1"/>
          </p:cNvSpPr>
          <p:nvPr>
            <p:ph type="dt" sz="half" idx="10"/>
          </p:nvPr>
        </p:nvSpPr>
        <p:spPr/>
        <p:txBody>
          <a:bodyPr/>
          <a:lstStyle/>
          <a:p>
            <a:endParaRPr lang="en-US" dirty="0">
              <a:solidFill>
                <a:prstClr val="black">
                  <a:tint val="75000"/>
                </a:prstClr>
              </a:solidFill>
            </a:endParaRPr>
          </a:p>
        </p:txBody>
      </p:sp>
      <p:sp>
        <p:nvSpPr>
          <p:cNvPr id="5" name="Espace réservé du pied de page 4"/>
          <p:cNvSpPr>
            <a:spLocks noGrp="1"/>
          </p:cNvSpPr>
          <p:nvPr>
            <p:ph type="ftr" sz="quarter" idx="11"/>
          </p:nvPr>
        </p:nvSpPr>
        <p:spPr/>
        <p:txBody>
          <a:bodyPr/>
          <a:lstStyle/>
          <a:p>
            <a:endParaRPr lang="en-US" dirty="0">
              <a:solidFill>
                <a:prstClr val="black">
                  <a:tint val="75000"/>
                </a:prstClr>
              </a:solidFill>
            </a:endParaRPr>
          </a:p>
        </p:txBody>
      </p:sp>
      <p:sp>
        <p:nvSpPr>
          <p:cNvPr id="6" name="Espace réservé du numéro de diapositive 5"/>
          <p:cNvSpPr>
            <a:spLocks noGrp="1"/>
          </p:cNvSpPr>
          <p:nvPr>
            <p:ph type="sldNum" sz="quarter" idx="12"/>
          </p:nvPr>
        </p:nvSpPr>
        <p:spPr/>
        <p:txBody>
          <a:bodyPr/>
          <a:lstStyle/>
          <a:p>
            <a:fld id="{B9902624-945D-4BF9-AF49-E915AA8C07FB}" type="slidenum">
              <a:rPr lang="en-US" smtClean="0">
                <a:solidFill>
                  <a:prstClr val="black">
                    <a:tint val="75000"/>
                  </a:prstClr>
                </a:solidFill>
              </a:rPr>
              <a:pPr/>
              <a:t>‹N°›</a:t>
            </a:fld>
            <a:endParaRPr lang="en-US" dirty="0">
              <a:solidFill>
                <a:prstClr val="black">
                  <a:tint val="75000"/>
                </a:prstClr>
              </a:solidFill>
            </a:endParaRPr>
          </a:p>
        </p:txBody>
      </p:sp>
    </p:spTree>
    <p:extLst>
      <p:ext uri="{BB962C8B-B14F-4D97-AF65-F5344CB8AC3E}">
        <p14:creationId xmlns:p14="http://schemas.microsoft.com/office/powerpoint/2010/main" val="267880208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endParaRPr lang="en-US"/>
          </a:p>
        </p:txBody>
      </p:sp>
      <p:sp>
        <p:nvSpPr>
          <p:cNvPr id="3" name="Espace réservé du contenu 2"/>
          <p:cNvSpPr>
            <a:spLocks noGrp="1"/>
          </p:cNvSpPr>
          <p:nvPr>
            <p:ph idx="1"/>
          </p:nvPr>
        </p:nvSpPr>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Espace réservé de la date 3"/>
          <p:cNvSpPr>
            <a:spLocks noGrp="1"/>
          </p:cNvSpPr>
          <p:nvPr>
            <p:ph type="dt" sz="half" idx="10"/>
          </p:nvPr>
        </p:nvSpPr>
        <p:spPr/>
        <p:txBody>
          <a:bodyPr/>
          <a:lstStyle/>
          <a:p>
            <a:endParaRPr lang="en-US" dirty="0">
              <a:solidFill>
                <a:prstClr val="black">
                  <a:tint val="75000"/>
                </a:prstClr>
              </a:solidFill>
            </a:endParaRPr>
          </a:p>
        </p:txBody>
      </p:sp>
      <p:sp>
        <p:nvSpPr>
          <p:cNvPr id="5" name="Espace réservé du pied de page 4"/>
          <p:cNvSpPr>
            <a:spLocks noGrp="1"/>
          </p:cNvSpPr>
          <p:nvPr>
            <p:ph type="ftr" sz="quarter" idx="11"/>
          </p:nvPr>
        </p:nvSpPr>
        <p:spPr/>
        <p:txBody>
          <a:bodyPr/>
          <a:lstStyle/>
          <a:p>
            <a:endParaRPr lang="en-US" dirty="0">
              <a:solidFill>
                <a:prstClr val="black">
                  <a:tint val="75000"/>
                </a:prstClr>
              </a:solidFill>
            </a:endParaRPr>
          </a:p>
        </p:txBody>
      </p:sp>
      <p:sp>
        <p:nvSpPr>
          <p:cNvPr id="6" name="Espace réservé du numéro de diapositive 5"/>
          <p:cNvSpPr>
            <a:spLocks noGrp="1"/>
          </p:cNvSpPr>
          <p:nvPr>
            <p:ph type="sldNum" sz="quarter" idx="12"/>
          </p:nvPr>
        </p:nvSpPr>
        <p:spPr/>
        <p:txBody>
          <a:bodyPr/>
          <a:lstStyle/>
          <a:p>
            <a:fld id="{B9902624-945D-4BF9-AF49-E915AA8C07FB}" type="slidenum">
              <a:rPr lang="en-US" smtClean="0">
                <a:solidFill>
                  <a:prstClr val="black">
                    <a:tint val="75000"/>
                  </a:prstClr>
                </a:solidFill>
              </a:rPr>
              <a:pPr/>
              <a:t>‹N°›</a:t>
            </a:fld>
            <a:endParaRPr lang="en-US" dirty="0">
              <a:solidFill>
                <a:prstClr val="black">
                  <a:tint val="75000"/>
                </a:prstClr>
              </a:solidFill>
            </a:endParaRPr>
          </a:p>
        </p:txBody>
      </p:sp>
    </p:spTree>
    <p:extLst>
      <p:ext uri="{BB962C8B-B14F-4D97-AF65-F5344CB8AC3E}">
        <p14:creationId xmlns:p14="http://schemas.microsoft.com/office/powerpoint/2010/main" val="101685951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831850" y="1709738"/>
            <a:ext cx="10515600" cy="2852737"/>
          </a:xfrm>
        </p:spPr>
        <p:txBody>
          <a:bodyPr anchor="b"/>
          <a:lstStyle>
            <a:lvl1pPr>
              <a:defRPr sz="6000"/>
            </a:lvl1pPr>
          </a:lstStyle>
          <a:p>
            <a:r>
              <a:rPr lang="fr-FR"/>
              <a:t>Modifiez le style du titre</a:t>
            </a:r>
            <a:endParaRPr lang="en-US"/>
          </a:p>
        </p:txBody>
      </p:sp>
      <p:sp>
        <p:nvSpPr>
          <p:cNvPr id="3" name="Espace réservé du texte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Modifier les styles du texte du masque</a:t>
            </a:r>
          </a:p>
        </p:txBody>
      </p:sp>
      <p:sp>
        <p:nvSpPr>
          <p:cNvPr id="4" name="Espace réservé de la date 3"/>
          <p:cNvSpPr>
            <a:spLocks noGrp="1"/>
          </p:cNvSpPr>
          <p:nvPr>
            <p:ph type="dt" sz="half" idx="10"/>
          </p:nvPr>
        </p:nvSpPr>
        <p:spPr/>
        <p:txBody>
          <a:bodyPr/>
          <a:lstStyle/>
          <a:p>
            <a:endParaRPr lang="en-US" dirty="0">
              <a:solidFill>
                <a:prstClr val="black">
                  <a:tint val="75000"/>
                </a:prstClr>
              </a:solidFill>
            </a:endParaRPr>
          </a:p>
        </p:txBody>
      </p:sp>
      <p:sp>
        <p:nvSpPr>
          <p:cNvPr id="5" name="Espace réservé du pied de page 4"/>
          <p:cNvSpPr>
            <a:spLocks noGrp="1"/>
          </p:cNvSpPr>
          <p:nvPr>
            <p:ph type="ftr" sz="quarter" idx="11"/>
          </p:nvPr>
        </p:nvSpPr>
        <p:spPr/>
        <p:txBody>
          <a:bodyPr/>
          <a:lstStyle/>
          <a:p>
            <a:endParaRPr lang="en-US" dirty="0">
              <a:solidFill>
                <a:prstClr val="black">
                  <a:tint val="75000"/>
                </a:prstClr>
              </a:solidFill>
            </a:endParaRPr>
          </a:p>
        </p:txBody>
      </p:sp>
      <p:sp>
        <p:nvSpPr>
          <p:cNvPr id="6" name="Espace réservé du numéro de diapositive 5"/>
          <p:cNvSpPr>
            <a:spLocks noGrp="1"/>
          </p:cNvSpPr>
          <p:nvPr>
            <p:ph type="sldNum" sz="quarter" idx="12"/>
          </p:nvPr>
        </p:nvSpPr>
        <p:spPr/>
        <p:txBody>
          <a:bodyPr/>
          <a:lstStyle/>
          <a:p>
            <a:fld id="{B9902624-945D-4BF9-AF49-E915AA8C07FB}" type="slidenum">
              <a:rPr lang="en-US" smtClean="0">
                <a:solidFill>
                  <a:prstClr val="black">
                    <a:tint val="75000"/>
                  </a:prstClr>
                </a:solidFill>
              </a:rPr>
              <a:pPr/>
              <a:t>‹N°›</a:t>
            </a:fld>
            <a:endParaRPr lang="en-US" dirty="0">
              <a:solidFill>
                <a:prstClr val="black">
                  <a:tint val="75000"/>
                </a:prstClr>
              </a:solidFill>
            </a:endParaRPr>
          </a:p>
        </p:txBody>
      </p:sp>
    </p:spTree>
    <p:extLst>
      <p:ext uri="{BB962C8B-B14F-4D97-AF65-F5344CB8AC3E}">
        <p14:creationId xmlns:p14="http://schemas.microsoft.com/office/powerpoint/2010/main" val="40645920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endParaRPr lang="en-US"/>
          </a:p>
        </p:txBody>
      </p:sp>
      <p:sp>
        <p:nvSpPr>
          <p:cNvPr id="3" name="Espace réservé du contenu 2"/>
          <p:cNvSpPr>
            <a:spLocks noGrp="1"/>
          </p:cNvSpPr>
          <p:nvPr>
            <p:ph sz="half" idx="1"/>
          </p:nvPr>
        </p:nvSpPr>
        <p:spPr>
          <a:xfrm>
            <a:off x="838200" y="1825625"/>
            <a:ext cx="5181600" cy="435133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Espace réservé du contenu 3"/>
          <p:cNvSpPr>
            <a:spLocks noGrp="1"/>
          </p:cNvSpPr>
          <p:nvPr>
            <p:ph sz="half" idx="2"/>
          </p:nvPr>
        </p:nvSpPr>
        <p:spPr>
          <a:xfrm>
            <a:off x="6172200" y="1825625"/>
            <a:ext cx="5181600" cy="435133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Espace réservé de la date 4"/>
          <p:cNvSpPr>
            <a:spLocks noGrp="1"/>
          </p:cNvSpPr>
          <p:nvPr>
            <p:ph type="dt" sz="half" idx="10"/>
          </p:nvPr>
        </p:nvSpPr>
        <p:spPr/>
        <p:txBody>
          <a:bodyPr/>
          <a:lstStyle/>
          <a:p>
            <a:endParaRPr lang="en-US" dirty="0">
              <a:solidFill>
                <a:prstClr val="black">
                  <a:tint val="75000"/>
                </a:prstClr>
              </a:solidFill>
            </a:endParaRPr>
          </a:p>
        </p:txBody>
      </p:sp>
      <p:sp>
        <p:nvSpPr>
          <p:cNvPr id="6" name="Espace réservé du pied de page 5"/>
          <p:cNvSpPr>
            <a:spLocks noGrp="1"/>
          </p:cNvSpPr>
          <p:nvPr>
            <p:ph type="ftr" sz="quarter" idx="11"/>
          </p:nvPr>
        </p:nvSpPr>
        <p:spPr/>
        <p:txBody>
          <a:bodyPr/>
          <a:lstStyle/>
          <a:p>
            <a:endParaRPr lang="en-US" dirty="0">
              <a:solidFill>
                <a:prstClr val="black">
                  <a:tint val="75000"/>
                </a:prstClr>
              </a:solidFill>
            </a:endParaRPr>
          </a:p>
        </p:txBody>
      </p:sp>
      <p:sp>
        <p:nvSpPr>
          <p:cNvPr id="7" name="Espace réservé du numéro de diapositive 6"/>
          <p:cNvSpPr>
            <a:spLocks noGrp="1"/>
          </p:cNvSpPr>
          <p:nvPr>
            <p:ph type="sldNum" sz="quarter" idx="12"/>
          </p:nvPr>
        </p:nvSpPr>
        <p:spPr/>
        <p:txBody>
          <a:bodyPr/>
          <a:lstStyle/>
          <a:p>
            <a:fld id="{B9902624-945D-4BF9-AF49-E915AA8C07FB}" type="slidenum">
              <a:rPr lang="en-US" smtClean="0">
                <a:solidFill>
                  <a:prstClr val="black">
                    <a:tint val="75000"/>
                  </a:prstClr>
                </a:solidFill>
              </a:rPr>
              <a:pPr/>
              <a:t>‹N°›</a:t>
            </a:fld>
            <a:endParaRPr lang="en-US" dirty="0">
              <a:solidFill>
                <a:prstClr val="black">
                  <a:tint val="75000"/>
                </a:prstClr>
              </a:solidFill>
            </a:endParaRPr>
          </a:p>
        </p:txBody>
      </p:sp>
    </p:spTree>
    <p:extLst>
      <p:ext uri="{BB962C8B-B14F-4D97-AF65-F5344CB8AC3E}">
        <p14:creationId xmlns:p14="http://schemas.microsoft.com/office/powerpoint/2010/main" val="340699492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839788" y="365125"/>
            <a:ext cx="10515600" cy="1325563"/>
          </a:xfrm>
        </p:spPr>
        <p:txBody>
          <a:bodyPr/>
          <a:lstStyle/>
          <a:p>
            <a:r>
              <a:rPr lang="fr-FR"/>
              <a:t>Modifiez le style du titre</a:t>
            </a:r>
            <a:endParaRPr lang="en-US"/>
          </a:p>
        </p:txBody>
      </p:sp>
      <p:sp>
        <p:nvSpPr>
          <p:cNvPr id="3" name="Espace réservé du texte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r les styles du texte du masque</a:t>
            </a:r>
          </a:p>
        </p:txBody>
      </p:sp>
      <p:sp>
        <p:nvSpPr>
          <p:cNvPr id="4" name="Espace réservé du contenu 3"/>
          <p:cNvSpPr>
            <a:spLocks noGrp="1"/>
          </p:cNvSpPr>
          <p:nvPr>
            <p:ph sz="half" idx="2"/>
          </p:nvPr>
        </p:nvSpPr>
        <p:spPr>
          <a:xfrm>
            <a:off x="839788" y="2505075"/>
            <a:ext cx="5157787" cy="368458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Espace réservé du texte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r les styles du texte du masque</a:t>
            </a:r>
          </a:p>
        </p:txBody>
      </p:sp>
      <p:sp>
        <p:nvSpPr>
          <p:cNvPr id="6" name="Espace réservé du contenu 5"/>
          <p:cNvSpPr>
            <a:spLocks noGrp="1"/>
          </p:cNvSpPr>
          <p:nvPr>
            <p:ph sz="quarter" idx="4"/>
          </p:nvPr>
        </p:nvSpPr>
        <p:spPr>
          <a:xfrm>
            <a:off x="6172200" y="2505075"/>
            <a:ext cx="5183188" cy="368458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7" name="Espace réservé de la date 6"/>
          <p:cNvSpPr>
            <a:spLocks noGrp="1"/>
          </p:cNvSpPr>
          <p:nvPr>
            <p:ph type="dt" sz="half" idx="10"/>
          </p:nvPr>
        </p:nvSpPr>
        <p:spPr/>
        <p:txBody>
          <a:bodyPr/>
          <a:lstStyle/>
          <a:p>
            <a:endParaRPr lang="en-US" dirty="0">
              <a:solidFill>
                <a:prstClr val="black">
                  <a:tint val="75000"/>
                </a:prstClr>
              </a:solidFill>
            </a:endParaRPr>
          </a:p>
        </p:txBody>
      </p:sp>
      <p:sp>
        <p:nvSpPr>
          <p:cNvPr id="8" name="Espace réservé du pied de page 7"/>
          <p:cNvSpPr>
            <a:spLocks noGrp="1"/>
          </p:cNvSpPr>
          <p:nvPr>
            <p:ph type="ftr" sz="quarter" idx="11"/>
          </p:nvPr>
        </p:nvSpPr>
        <p:spPr/>
        <p:txBody>
          <a:bodyPr/>
          <a:lstStyle/>
          <a:p>
            <a:endParaRPr lang="en-US" dirty="0">
              <a:solidFill>
                <a:prstClr val="black">
                  <a:tint val="75000"/>
                </a:prstClr>
              </a:solidFill>
            </a:endParaRPr>
          </a:p>
        </p:txBody>
      </p:sp>
      <p:sp>
        <p:nvSpPr>
          <p:cNvPr id="9" name="Espace réservé du numéro de diapositive 8"/>
          <p:cNvSpPr>
            <a:spLocks noGrp="1"/>
          </p:cNvSpPr>
          <p:nvPr>
            <p:ph type="sldNum" sz="quarter" idx="12"/>
          </p:nvPr>
        </p:nvSpPr>
        <p:spPr/>
        <p:txBody>
          <a:bodyPr/>
          <a:lstStyle/>
          <a:p>
            <a:fld id="{B9902624-945D-4BF9-AF49-E915AA8C07FB}" type="slidenum">
              <a:rPr lang="en-US" smtClean="0">
                <a:solidFill>
                  <a:prstClr val="black">
                    <a:tint val="75000"/>
                  </a:prstClr>
                </a:solidFill>
              </a:rPr>
              <a:pPr/>
              <a:t>‹N°›</a:t>
            </a:fld>
            <a:endParaRPr lang="en-US" dirty="0">
              <a:solidFill>
                <a:prstClr val="black">
                  <a:tint val="75000"/>
                </a:prstClr>
              </a:solidFill>
            </a:endParaRPr>
          </a:p>
        </p:txBody>
      </p:sp>
    </p:spTree>
    <p:extLst>
      <p:ext uri="{BB962C8B-B14F-4D97-AF65-F5344CB8AC3E}">
        <p14:creationId xmlns:p14="http://schemas.microsoft.com/office/powerpoint/2010/main" val="298879250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endParaRPr lang="en-US"/>
          </a:p>
        </p:txBody>
      </p:sp>
      <p:sp>
        <p:nvSpPr>
          <p:cNvPr id="3" name="Espace réservé de la date 2"/>
          <p:cNvSpPr>
            <a:spLocks noGrp="1"/>
          </p:cNvSpPr>
          <p:nvPr>
            <p:ph type="dt" sz="half" idx="10"/>
          </p:nvPr>
        </p:nvSpPr>
        <p:spPr/>
        <p:txBody>
          <a:bodyPr/>
          <a:lstStyle/>
          <a:p>
            <a:endParaRPr lang="en-US" dirty="0">
              <a:solidFill>
                <a:prstClr val="black">
                  <a:tint val="75000"/>
                </a:prstClr>
              </a:solidFill>
            </a:endParaRPr>
          </a:p>
        </p:txBody>
      </p:sp>
      <p:sp>
        <p:nvSpPr>
          <p:cNvPr id="4" name="Espace réservé du pied de page 3"/>
          <p:cNvSpPr>
            <a:spLocks noGrp="1"/>
          </p:cNvSpPr>
          <p:nvPr>
            <p:ph type="ftr" sz="quarter" idx="11"/>
          </p:nvPr>
        </p:nvSpPr>
        <p:spPr/>
        <p:txBody>
          <a:bodyPr/>
          <a:lstStyle/>
          <a:p>
            <a:endParaRPr lang="en-US" dirty="0">
              <a:solidFill>
                <a:prstClr val="black">
                  <a:tint val="75000"/>
                </a:prstClr>
              </a:solidFill>
            </a:endParaRPr>
          </a:p>
        </p:txBody>
      </p:sp>
      <p:sp>
        <p:nvSpPr>
          <p:cNvPr id="5" name="Espace réservé du numéro de diapositive 4"/>
          <p:cNvSpPr>
            <a:spLocks noGrp="1"/>
          </p:cNvSpPr>
          <p:nvPr>
            <p:ph type="sldNum" sz="quarter" idx="12"/>
          </p:nvPr>
        </p:nvSpPr>
        <p:spPr/>
        <p:txBody>
          <a:bodyPr/>
          <a:lstStyle/>
          <a:p>
            <a:fld id="{B9902624-945D-4BF9-AF49-E915AA8C07FB}" type="slidenum">
              <a:rPr lang="en-US" smtClean="0">
                <a:solidFill>
                  <a:prstClr val="black">
                    <a:tint val="75000"/>
                  </a:prstClr>
                </a:solidFill>
              </a:rPr>
              <a:pPr/>
              <a:t>‹N°›</a:t>
            </a:fld>
            <a:endParaRPr lang="en-US" dirty="0">
              <a:solidFill>
                <a:prstClr val="black">
                  <a:tint val="75000"/>
                </a:prstClr>
              </a:solidFill>
            </a:endParaRPr>
          </a:p>
        </p:txBody>
      </p:sp>
    </p:spTree>
    <p:extLst>
      <p:ext uri="{BB962C8B-B14F-4D97-AF65-F5344CB8AC3E}">
        <p14:creationId xmlns:p14="http://schemas.microsoft.com/office/powerpoint/2010/main" val="260062124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endParaRPr lang="en-US" dirty="0">
              <a:solidFill>
                <a:prstClr val="black">
                  <a:tint val="75000"/>
                </a:prstClr>
              </a:solidFill>
            </a:endParaRPr>
          </a:p>
        </p:txBody>
      </p:sp>
      <p:sp>
        <p:nvSpPr>
          <p:cNvPr id="3" name="Espace réservé du pied de page 2"/>
          <p:cNvSpPr>
            <a:spLocks noGrp="1"/>
          </p:cNvSpPr>
          <p:nvPr>
            <p:ph type="ftr" sz="quarter" idx="11"/>
          </p:nvPr>
        </p:nvSpPr>
        <p:spPr/>
        <p:txBody>
          <a:bodyPr/>
          <a:lstStyle/>
          <a:p>
            <a:endParaRPr lang="en-US" dirty="0">
              <a:solidFill>
                <a:prstClr val="black">
                  <a:tint val="75000"/>
                </a:prstClr>
              </a:solidFill>
            </a:endParaRPr>
          </a:p>
        </p:txBody>
      </p:sp>
      <p:sp>
        <p:nvSpPr>
          <p:cNvPr id="4" name="Espace réservé du numéro de diapositive 3"/>
          <p:cNvSpPr>
            <a:spLocks noGrp="1"/>
          </p:cNvSpPr>
          <p:nvPr>
            <p:ph type="sldNum" sz="quarter" idx="12"/>
          </p:nvPr>
        </p:nvSpPr>
        <p:spPr/>
        <p:txBody>
          <a:bodyPr/>
          <a:lstStyle/>
          <a:p>
            <a:fld id="{B9902624-945D-4BF9-AF49-E915AA8C07FB}" type="slidenum">
              <a:rPr lang="en-US" smtClean="0">
                <a:solidFill>
                  <a:prstClr val="black">
                    <a:tint val="75000"/>
                  </a:prstClr>
                </a:solidFill>
              </a:rPr>
              <a:pPr/>
              <a:t>‹N°›</a:t>
            </a:fld>
            <a:endParaRPr lang="en-US" dirty="0">
              <a:solidFill>
                <a:prstClr val="black">
                  <a:tint val="75000"/>
                </a:prstClr>
              </a:solidFill>
            </a:endParaRPr>
          </a:p>
        </p:txBody>
      </p:sp>
    </p:spTree>
    <p:extLst>
      <p:ext uri="{BB962C8B-B14F-4D97-AF65-F5344CB8AC3E}">
        <p14:creationId xmlns:p14="http://schemas.microsoft.com/office/powerpoint/2010/main" val="161511725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839788" y="457200"/>
            <a:ext cx="3932237" cy="1600200"/>
          </a:xfrm>
        </p:spPr>
        <p:txBody>
          <a:bodyPr anchor="b"/>
          <a:lstStyle>
            <a:lvl1pPr>
              <a:defRPr sz="3200"/>
            </a:lvl1pPr>
          </a:lstStyle>
          <a:p>
            <a:r>
              <a:rPr lang="fr-FR"/>
              <a:t>Modifiez le style du titre</a:t>
            </a:r>
            <a:endParaRPr lang="en-US"/>
          </a:p>
        </p:txBody>
      </p:sp>
      <p:sp>
        <p:nvSpPr>
          <p:cNvPr id="3" name="Espace réservé du contenu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Espace réservé du texte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Modifier les styles du texte du masque</a:t>
            </a:r>
          </a:p>
        </p:txBody>
      </p:sp>
      <p:sp>
        <p:nvSpPr>
          <p:cNvPr id="5" name="Espace réservé de la date 4"/>
          <p:cNvSpPr>
            <a:spLocks noGrp="1"/>
          </p:cNvSpPr>
          <p:nvPr>
            <p:ph type="dt" sz="half" idx="10"/>
          </p:nvPr>
        </p:nvSpPr>
        <p:spPr/>
        <p:txBody>
          <a:bodyPr/>
          <a:lstStyle/>
          <a:p>
            <a:endParaRPr lang="en-US" dirty="0">
              <a:solidFill>
                <a:prstClr val="black">
                  <a:tint val="75000"/>
                </a:prstClr>
              </a:solidFill>
            </a:endParaRPr>
          </a:p>
        </p:txBody>
      </p:sp>
      <p:sp>
        <p:nvSpPr>
          <p:cNvPr id="6" name="Espace réservé du pied de page 5"/>
          <p:cNvSpPr>
            <a:spLocks noGrp="1"/>
          </p:cNvSpPr>
          <p:nvPr>
            <p:ph type="ftr" sz="quarter" idx="11"/>
          </p:nvPr>
        </p:nvSpPr>
        <p:spPr/>
        <p:txBody>
          <a:bodyPr/>
          <a:lstStyle/>
          <a:p>
            <a:endParaRPr lang="en-US" dirty="0">
              <a:solidFill>
                <a:prstClr val="black">
                  <a:tint val="75000"/>
                </a:prstClr>
              </a:solidFill>
            </a:endParaRPr>
          </a:p>
        </p:txBody>
      </p:sp>
      <p:sp>
        <p:nvSpPr>
          <p:cNvPr id="7" name="Espace réservé du numéro de diapositive 6"/>
          <p:cNvSpPr>
            <a:spLocks noGrp="1"/>
          </p:cNvSpPr>
          <p:nvPr>
            <p:ph type="sldNum" sz="quarter" idx="12"/>
          </p:nvPr>
        </p:nvSpPr>
        <p:spPr/>
        <p:txBody>
          <a:bodyPr/>
          <a:lstStyle/>
          <a:p>
            <a:fld id="{B9902624-945D-4BF9-AF49-E915AA8C07FB}" type="slidenum">
              <a:rPr lang="en-US" smtClean="0">
                <a:solidFill>
                  <a:prstClr val="black">
                    <a:tint val="75000"/>
                  </a:prstClr>
                </a:solidFill>
              </a:rPr>
              <a:pPr/>
              <a:t>‹N°›</a:t>
            </a:fld>
            <a:endParaRPr lang="en-US" dirty="0">
              <a:solidFill>
                <a:prstClr val="black">
                  <a:tint val="75000"/>
                </a:prstClr>
              </a:solidFill>
            </a:endParaRPr>
          </a:p>
        </p:txBody>
      </p:sp>
    </p:spTree>
    <p:extLst>
      <p:ext uri="{BB962C8B-B14F-4D97-AF65-F5344CB8AC3E}">
        <p14:creationId xmlns:p14="http://schemas.microsoft.com/office/powerpoint/2010/main" val="126660258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fld id="{5EF27816-6426-453E-A161-5D470619F954}" type="datetimeFigureOut">
              <a:rPr lang="fr-FR" smtClean="0"/>
              <a:t>15/05/2024</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60D50290-7864-48CB-90FD-CA3D03E700D4}" type="slidenum">
              <a:rPr lang="fr-FR" smtClean="0"/>
              <a:t>‹N°›</a:t>
            </a:fld>
            <a:endParaRPr lang="fr-FR"/>
          </a:p>
        </p:txBody>
      </p:sp>
    </p:spTree>
    <p:extLst>
      <p:ext uri="{BB962C8B-B14F-4D97-AF65-F5344CB8AC3E}">
        <p14:creationId xmlns:p14="http://schemas.microsoft.com/office/powerpoint/2010/main" val="367570829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839788" y="457200"/>
            <a:ext cx="3932237" cy="1600200"/>
          </a:xfrm>
        </p:spPr>
        <p:txBody>
          <a:bodyPr anchor="b"/>
          <a:lstStyle>
            <a:lvl1pPr>
              <a:defRPr sz="3200"/>
            </a:lvl1pPr>
          </a:lstStyle>
          <a:p>
            <a:r>
              <a:rPr lang="fr-FR"/>
              <a:t>Modifiez le style du titre</a:t>
            </a:r>
            <a:endParaRPr lang="en-US"/>
          </a:p>
        </p:txBody>
      </p:sp>
      <p:sp>
        <p:nvSpPr>
          <p:cNvPr id="3" name="Espace réservé pour une image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Espace réservé du texte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Modifier les styles du texte du masque</a:t>
            </a:r>
          </a:p>
        </p:txBody>
      </p:sp>
      <p:sp>
        <p:nvSpPr>
          <p:cNvPr id="5" name="Espace réservé de la date 4"/>
          <p:cNvSpPr>
            <a:spLocks noGrp="1"/>
          </p:cNvSpPr>
          <p:nvPr>
            <p:ph type="dt" sz="half" idx="10"/>
          </p:nvPr>
        </p:nvSpPr>
        <p:spPr/>
        <p:txBody>
          <a:bodyPr/>
          <a:lstStyle/>
          <a:p>
            <a:endParaRPr lang="en-US" dirty="0">
              <a:solidFill>
                <a:prstClr val="black">
                  <a:tint val="75000"/>
                </a:prstClr>
              </a:solidFill>
            </a:endParaRPr>
          </a:p>
        </p:txBody>
      </p:sp>
      <p:sp>
        <p:nvSpPr>
          <p:cNvPr id="6" name="Espace réservé du pied de page 5"/>
          <p:cNvSpPr>
            <a:spLocks noGrp="1"/>
          </p:cNvSpPr>
          <p:nvPr>
            <p:ph type="ftr" sz="quarter" idx="11"/>
          </p:nvPr>
        </p:nvSpPr>
        <p:spPr/>
        <p:txBody>
          <a:bodyPr/>
          <a:lstStyle/>
          <a:p>
            <a:endParaRPr lang="en-US" dirty="0">
              <a:solidFill>
                <a:prstClr val="black">
                  <a:tint val="75000"/>
                </a:prstClr>
              </a:solidFill>
            </a:endParaRPr>
          </a:p>
        </p:txBody>
      </p:sp>
      <p:sp>
        <p:nvSpPr>
          <p:cNvPr id="7" name="Espace réservé du numéro de diapositive 6"/>
          <p:cNvSpPr>
            <a:spLocks noGrp="1"/>
          </p:cNvSpPr>
          <p:nvPr>
            <p:ph type="sldNum" sz="quarter" idx="12"/>
          </p:nvPr>
        </p:nvSpPr>
        <p:spPr/>
        <p:txBody>
          <a:bodyPr/>
          <a:lstStyle/>
          <a:p>
            <a:fld id="{B9902624-945D-4BF9-AF49-E915AA8C07FB}" type="slidenum">
              <a:rPr lang="en-US" smtClean="0">
                <a:solidFill>
                  <a:prstClr val="black">
                    <a:tint val="75000"/>
                  </a:prstClr>
                </a:solidFill>
              </a:rPr>
              <a:pPr/>
              <a:t>‹N°›</a:t>
            </a:fld>
            <a:endParaRPr lang="en-US" dirty="0">
              <a:solidFill>
                <a:prstClr val="black">
                  <a:tint val="75000"/>
                </a:prstClr>
              </a:solidFill>
            </a:endParaRPr>
          </a:p>
        </p:txBody>
      </p:sp>
    </p:spTree>
    <p:extLst>
      <p:ext uri="{BB962C8B-B14F-4D97-AF65-F5344CB8AC3E}">
        <p14:creationId xmlns:p14="http://schemas.microsoft.com/office/powerpoint/2010/main" val="42331549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endParaRPr lang="en-US"/>
          </a:p>
        </p:txBody>
      </p:sp>
      <p:sp>
        <p:nvSpPr>
          <p:cNvPr id="3" name="Espace réservé du texte vertical 2"/>
          <p:cNvSpPr>
            <a:spLocks noGrp="1"/>
          </p:cNvSpPr>
          <p:nvPr>
            <p:ph type="body" orient="vert" idx="1"/>
          </p:nvPr>
        </p:nvSpPr>
        <p:spPr/>
        <p:txBody>
          <a:bodyPr vert="eaVert"/>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Espace réservé de la date 3"/>
          <p:cNvSpPr>
            <a:spLocks noGrp="1"/>
          </p:cNvSpPr>
          <p:nvPr>
            <p:ph type="dt" sz="half" idx="10"/>
          </p:nvPr>
        </p:nvSpPr>
        <p:spPr/>
        <p:txBody>
          <a:bodyPr/>
          <a:lstStyle/>
          <a:p>
            <a:endParaRPr lang="en-US" dirty="0">
              <a:solidFill>
                <a:prstClr val="black">
                  <a:tint val="75000"/>
                </a:prstClr>
              </a:solidFill>
            </a:endParaRPr>
          </a:p>
        </p:txBody>
      </p:sp>
      <p:sp>
        <p:nvSpPr>
          <p:cNvPr id="5" name="Espace réservé du pied de page 4"/>
          <p:cNvSpPr>
            <a:spLocks noGrp="1"/>
          </p:cNvSpPr>
          <p:nvPr>
            <p:ph type="ftr" sz="quarter" idx="11"/>
          </p:nvPr>
        </p:nvSpPr>
        <p:spPr/>
        <p:txBody>
          <a:bodyPr/>
          <a:lstStyle/>
          <a:p>
            <a:endParaRPr lang="en-US" dirty="0">
              <a:solidFill>
                <a:prstClr val="black">
                  <a:tint val="75000"/>
                </a:prstClr>
              </a:solidFill>
            </a:endParaRPr>
          </a:p>
        </p:txBody>
      </p:sp>
      <p:sp>
        <p:nvSpPr>
          <p:cNvPr id="6" name="Espace réservé du numéro de diapositive 5"/>
          <p:cNvSpPr>
            <a:spLocks noGrp="1"/>
          </p:cNvSpPr>
          <p:nvPr>
            <p:ph type="sldNum" sz="quarter" idx="12"/>
          </p:nvPr>
        </p:nvSpPr>
        <p:spPr/>
        <p:txBody>
          <a:bodyPr/>
          <a:lstStyle/>
          <a:p>
            <a:fld id="{B9902624-945D-4BF9-AF49-E915AA8C07FB}" type="slidenum">
              <a:rPr lang="en-US" smtClean="0">
                <a:solidFill>
                  <a:prstClr val="black">
                    <a:tint val="75000"/>
                  </a:prstClr>
                </a:solidFill>
              </a:rPr>
              <a:pPr/>
              <a:t>‹N°›</a:t>
            </a:fld>
            <a:endParaRPr lang="en-US" dirty="0">
              <a:solidFill>
                <a:prstClr val="black">
                  <a:tint val="75000"/>
                </a:prstClr>
              </a:solidFill>
            </a:endParaRPr>
          </a:p>
        </p:txBody>
      </p:sp>
    </p:spTree>
    <p:extLst>
      <p:ext uri="{BB962C8B-B14F-4D97-AF65-F5344CB8AC3E}">
        <p14:creationId xmlns:p14="http://schemas.microsoft.com/office/powerpoint/2010/main" val="230728831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724900" y="365125"/>
            <a:ext cx="2628900" cy="5811838"/>
          </a:xfrm>
        </p:spPr>
        <p:txBody>
          <a:bodyPr vert="eaVert"/>
          <a:lstStyle/>
          <a:p>
            <a:r>
              <a:rPr lang="fr-FR"/>
              <a:t>Modifiez le style du titre</a:t>
            </a:r>
            <a:endParaRPr lang="en-US"/>
          </a:p>
        </p:txBody>
      </p:sp>
      <p:sp>
        <p:nvSpPr>
          <p:cNvPr id="3" name="Espace réservé du texte vertical 2"/>
          <p:cNvSpPr>
            <a:spLocks noGrp="1"/>
          </p:cNvSpPr>
          <p:nvPr>
            <p:ph type="body" orient="vert" idx="1"/>
          </p:nvPr>
        </p:nvSpPr>
        <p:spPr>
          <a:xfrm>
            <a:off x="838200" y="365125"/>
            <a:ext cx="7734300" cy="5811838"/>
          </a:xfrm>
        </p:spPr>
        <p:txBody>
          <a:bodyPr vert="eaVert"/>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Espace réservé de la date 3"/>
          <p:cNvSpPr>
            <a:spLocks noGrp="1"/>
          </p:cNvSpPr>
          <p:nvPr>
            <p:ph type="dt" sz="half" idx="10"/>
          </p:nvPr>
        </p:nvSpPr>
        <p:spPr/>
        <p:txBody>
          <a:bodyPr/>
          <a:lstStyle/>
          <a:p>
            <a:endParaRPr lang="en-US" dirty="0">
              <a:solidFill>
                <a:prstClr val="black">
                  <a:tint val="75000"/>
                </a:prstClr>
              </a:solidFill>
            </a:endParaRPr>
          </a:p>
        </p:txBody>
      </p:sp>
      <p:sp>
        <p:nvSpPr>
          <p:cNvPr id="5" name="Espace réservé du pied de page 4"/>
          <p:cNvSpPr>
            <a:spLocks noGrp="1"/>
          </p:cNvSpPr>
          <p:nvPr>
            <p:ph type="ftr" sz="quarter" idx="11"/>
          </p:nvPr>
        </p:nvSpPr>
        <p:spPr/>
        <p:txBody>
          <a:bodyPr/>
          <a:lstStyle/>
          <a:p>
            <a:endParaRPr lang="en-US" dirty="0">
              <a:solidFill>
                <a:prstClr val="black">
                  <a:tint val="75000"/>
                </a:prstClr>
              </a:solidFill>
            </a:endParaRPr>
          </a:p>
        </p:txBody>
      </p:sp>
      <p:sp>
        <p:nvSpPr>
          <p:cNvPr id="6" name="Espace réservé du numéro de diapositive 5"/>
          <p:cNvSpPr>
            <a:spLocks noGrp="1"/>
          </p:cNvSpPr>
          <p:nvPr>
            <p:ph type="sldNum" sz="quarter" idx="12"/>
          </p:nvPr>
        </p:nvSpPr>
        <p:spPr/>
        <p:txBody>
          <a:bodyPr/>
          <a:lstStyle/>
          <a:p>
            <a:fld id="{B9902624-945D-4BF9-AF49-E915AA8C07FB}" type="slidenum">
              <a:rPr lang="en-US" smtClean="0">
                <a:solidFill>
                  <a:prstClr val="black">
                    <a:tint val="75000"/>
                  </a:prstClr>
                </a:solidFill>
              </a:rPr>
              <a:pPr/>
              <a:t>‹N°›</a:t>
            </a:fld>
            <a:endParaRPr lang="en-US" dirty="0">
              <a:solidFill>
                <a:prstClr val="black">
                  <a:tint val="75000"/>
                </a:prstClr>
              </a:solidFill>
            </a:endParaRPr>
          </a:p>
        </p:txBody>
      </p:sp>
    </p:spTree>
    <p:extLst>
      <p:ext uri="{BB962C8B-B14F-4D97-AF65-F5344CB8AC3E}">
        <p14:creationId xmlns:p14="http://schemas.microsoft.com/office/powerpoint/2010/main" val="414182992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Disposition personnalisée">
    <p:spTree>
      <p:nvGrpSpPr>
        <p:cNvPr id="1" name=""/>
        <p:cNvGrpSpPr/>
        <p:nvPr/>
      </p:nvGrpSpPr>
      <p:grpSpPr>
        <a:xfrm>
          <a:off x="0" y="0"/>
          <a:ext cx="0" cy="0"/>
          <a:chOff x="0" y="0"/>
          <a:chExt cx="0" cy="0"/>
        </a:xfrm>
      </p:grpSpPr>
    </p:spTree>
    <p:extLst>
      <p:ext uri="{BB962C8B-B14F-4D97-AF65-F5344CB8AC3E}">
        <p14:creationId xmlns:p14="http://schemas.microsoft.com/office/powerpoint/2010/main" val="37643165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Disposition personnalisée">
    <p:spTree>
      <p:nvGrpSpPr>
        <p:cNvPr id="1" name=""/>
        <p:cNvGrpSpPr/>
        <p:nvPr/>
      </p:nvGrpSpPr>
      <p:grpSpPr>
        <a:xfrm>
          <a:off x="0" y="0"/>
          <a:ext cx="0" cy="0"/>
          <a:chOff x="0" y="0"/>
          <a:chExt cx="0" cy="0"/>
        </a:xfrm>
      </p:grpSpPr>
      <p:pic>
        <p:nvPicPr>
          <p:cNvPr id="7" name="Image 6"/>
          <p:cNvPicPr>
            <a:picLocks noChangeAspect="1"/>
          </p:cNvPicPr>
          <p:nvPr userDrawn="1"/>
        </p:nvPicPr>
        <p:blipFill rotWithShape="1">
          <a:blip r:embed="rId2">
            <a:extLst>
              <a:ext uri="{28A0092B-C50C-407E-A947-70E740481C1C}">
                <a14:useLocalDpi xmlns:a14="http://schemas.microsoft.com/office/drawing/2010/main" val="0"/>
              </a:ext>
            </a:extLst>
          </a:blip>
          <a:srcRect l="35474" t="-176" r="37132" b="-26"/>
          <a:stretch/>
        </p:blipFill>
        <p:spPr>
          <a:xfrm>
            <a:off x="9112663" y="522267"/>
            <a:ext cx="3079337" cy="6335733"/>
          </a:xfrm>
          <a:prstGeom prst="rect">
            <a:avLst/>
          </a:prstGeom>
        </p:spPr>
      </p:pic>
      <p:pic>
        <p:nvPicPr>
          <p:cNvPr id="8" name="Image 7"/>
          <p:cNvPicPr>
            <a:picLocks noChangeAspect="1"/>
          </p:cNvPicPr>
          <p:nvPr userDrawn="1"/>
        </p:nvPicPr>
        <p:blipFill rotWithShape="1">
          <a:blip r:embed="rId3" cstate="print">
            <a:extLst>
              <a:ext uri="{28A0092B-C50C-407E-A947-70E740481C1C}">
                <a14:useLocalDpi xmlns:a14="http://schemas.microsoft.com/office/drawing/2010/main" val="0"/>
              </a:ext>
            </a:extLst>
          </a:blip>
          <a:srcRect l="57673" t="301" r="19871" b="-1"/>
          <a:stretch/>
        </p:blipFill>
        <p:spPr>
          <a:xfrm>
            <a:off x="3036220" y="533400"/>
            <a:ext cx="3038221" cy="6321048"/>
          </a:xfrm>
          <a:prstGeom prst="rect">
            <a:avLst/>
          </a:prstGeom>
        </p:spPr>
      </p:pic>
      <p:pic>
        <p:nvPicPr>
          <p:cNvPr id="9" name="Image 8">
            <a:extLst>
              <a:ext uri="{FF2B5EF4-FFF2-40B4-BE49-F238E27FC236}">
                <a16:creationId xmlns:a16="http://schemas.microsoft.com/office/drawing/2014/main" id="{0B4BFA3F-5D58-374A-8AC3-CFB06E8C8DF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14415" t="356" r="49688" b="-1"/>
          <a:stretch/>
        </p:blipFill>
        <p:spPr>
          <a:xfrm>
            <a:off x="0" y="533400"/>
            <a:ext cx="3036218" cy="6321048"/>
          </a:xfrm>
          <a:prstGeom prst="rect">
            <a:avLst/>
          </a:prstGeom>
        </p:spPr>
      </p:pic>
      <p:pic>
        <p:nvPicPr>
          <p:cNvPr id="10" name="Image 9"/>
          <p:cNvPicPr>
            <a:picLocks noChangeAspect="1"/>
          </p:cNvPicPr>
          <p:nvPr userDrawn="1"/>
        </p:nvPicPr>
        <p:blipFill rotWithShape="1">
          <a:blip r:embed="rId5" cstate="print">
            <a:extLst>
              <a:ext uri="{28A0092B-C50C-407E-A947-70E740481C1C}">
                <a14:useLocalDpi xmlns:a14="http://schemas.microsoft.com/office/drawing/2010/main" val="0"/>
              </a:ext>
            </a:extLst>
          </a:blip>
          <a:srcRect l="17406" t="38480" r="40341" b="3029"/>
          <a:stretch/>
        </p:blipFill>
        <p:spPr>
          <a:xfrm>
            <a:off x="6074442" y="533400"/>
            <a:ext cx="3039165" cy="6321048"/>
          </a:xfrm>
          <a:prstGeom prst="rect">
            <a:avLst/>
          </a:prstGeom>
        </p:spPr>
      </p:pic>
      <p:sp>
        <p:nvSpPr>
          <p:cNvPr id="6" name="Rectangle 5"/>
          <p:cNvSpPr/>
          <p:nvPr userDrawn="1"/>
        </p:nvSpPr>
        <p:spPr>
          <a:xfrm>
            <a:off x="0" y="0"/>
            <a:ext cx="12192000" cy="6858000"/>
          </a:xfrm>
          <a:prstGeom prst="rect">
            <a:avLst/>
          </a:prstGeom>
          <a:solidFill>
            <a:schemeClr val="bg1">
              <a:alpha val="70000"/>
            </a:schemeClr>
          </a:solidFill>
          <a:ln>
            <a:noFill/>
          </a:ln>
          <a:effectLst>
            <a:glow>
              <a:schemeClr val="accent1"/>
            </a:glow>
          </a:effectLst>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eaLnBrk="0" fontAlgn="base" hangingPunct="0">
              <a:spcBef>
                <a:spcPct val="0"/>
              </a:spcBef>
              <a:spcAft>
                <a:spcPct val="0"/>
              </a:spcAft>
              <a:defRPr/>
            </a:pPr>
            <a:endParaRPr lang="fr-FR" dirty="0">
              <a:solidFill>
                <a:prstClr val="white"/>
              </a:solidFill>
            </a:endParaRPr>
          </a:p>
        </p:txBody>
      </p:sp>
    </p:spTree>
    <p:extLst>
      <p:ext uri="{BB962C8B-B14F-4D97-AF65-F5344CB8AC3E}">
        <p14:creationId xmlns:p14="http://schemas.microsoft.com/office/powerpoint/2010/main" val="350315585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1524000" y="1122363"/>
            <a:ext cx="9144000" cy="2387600"/>
          </a:xfrm>
        </p:spPr>
        <p:txBody>
          <a:bodyPr anchor="b"/>
          <a:lstStyle>
            <a:lvl1pPr algn="ctr">
              <a:defRPr sz="6000"/>
            </a:lvl1pPr>
          </a:lstStyle>
          <a:p>
            <a:r>
              <a:rPr lang="fr-FR"/>
              <a:t>Modifiez le style du titre</a:t>
            </a:r>
            <a:endParaRPr lang="en-US"/>
          </a:p>
        </p:txBody>
      </p:sp>
      <p:sp>
        <p:nvSpPr>
          <p:cNvPr id="3" name="Sous-titr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r le style des sous-titres du masque</a:t>
            </a:r>
            <a:endParaRPr lang="en-US"/>
          </a:p>
        </p:txBody>
      </p:sp>
      <p:sp>
        <p:nvSpPr>
          <p:cNvPr id="4" name="Espace réservé de la date 3"/>
          <p:cNvSpPr>
            <a:spLocks noGrp="1"/>
          </p:cNvSpPr>
          <p:nvPr>
            <p:ph type="dt" sz="half" idx="10"/>
          </p:nvPr>
        </p:nvSpPr>
        <p:spPr/>
        <p:txBody>
          <a:bodyPr/>
          <a:lstStyle/>
          <a:p>
            <a:endParaRPr lang="en-US" dirty="0">
              <a:solidFill>
                <a:prstClr val="black">
                  <a:tint val="75000"/>
                </a:prstClr>
              </a:solidFill>
            </a:endParaRPr>
          </a:p>
        </p:txBody>
      </p:sp>
      <p:sp>
        <p:nvSpPr>
          <p:cNvPr id="5" name="Espace réservé du pied de page 4"/>
          <p:cNvSpPr>
            <a:spLocks noGrp="1"/>
          </p:cNvSpPr>
          <p:nvPr>
            <p:ph type="ftr" sz="quarter" idx="11"/>
          </p:nvPr>
        </p:nvSpPr>
        <p:spPr/>
        <p:txBody>
          <a:bodyPr/>
          <a:lstStyle/>
          <a:p>
            <a:endParaRPr lang="en-US" dirty="0">
              <a:solidFill>
                <a:prstClr val="black">
                  <a:tint val="75000"/>
                </a:prstClr>
              </a:solidFill>
            </a:endParaRPr>
          </a:p>
        </p:txBody>
      </p:sp>
      <p:sp>
        <p:nvSpPr>
          <p:cNvPr id="6" name="Espace réservé du numéro de diapositive 5"/>
          <p:cNvSpPr>
            <a:spLocks noGrp="1"/>
          </p:cNvSpPr>
          <p:nvPr>
            <p:ph type="sldNum" sz="quarter" idx="12"/>
          </p:nvPr>
        </p:nvSpPr>
        <p:spPr/>
        <p:txBody>
          <a:bodyPr/>
          <a:lstStyle/>
          <a:p>
            <a:fld id="{B9902624-945D-4BF9-AF49-E915AA8C07FB}" type="slidenum">
              <a:rPr lang="en-US" smtClean="0">
                <a:solidFill>
                  <a:prstClr val="black">
                    <a:tint val="75000"/>
                  </a:prstClr>
                </a:solidFill>
              </a:rPr>
              <a:pPr/>
              <a:t>‹N°›</a:t>
            </a:fld>
            <a:endParaRPr lang="en-US" dirty="0">
              <a:solidFill>
                <a:prstClr val="black">
                  <a:tint val="75000"/>
                </a:prstClr>
              </a:solidFill>
            </a:endParaRPr>
          </a:p>
        </p:txBody>
      </p:sp>
    </p:spTree>
    <p:extLst>
      <p:ext uri="{BB962C8B-B14F-4D97-AF65-F5344CB8AC3E}">
        <p14:creationId xmlns:p14="http://schemas.microsoft.com/office/powerpoint/2010/main" val="191588238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endParaRPr lang="en-US"/>
          </a:p>
        </p:txBody>
      </p:sp>
      <p:sp>
        <p:nvSpPr>
          <p:cNvPr id="3" name="Espace réservé du contenu 2"/>
          <p:cNvSpPr>
            <a:spLocks noGrp="1"/>
          </p:cNvSpPr>
          <p:nvPr>
            <p:ph idx="1"/>
          </p:nvPr>
        </p:nvSpPr>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Espace réservé de la date 3"/>
          <p:cNvSpPr>
            <a:spLocks noGrp="1"/>
          </p:cNvSpPr>
          <p:nvPr>
            <p:ph type="dt" sz="half" idx="10"/>
          </p:nvPr>
        </p:nvSpPr>
        <p:spPr/>
        <p:txBody>
          <a:bodyPr/>
          <a:lstStyle/>
          <a:p>
            <a:endParaRPr lang="en-US" dirty="0">
              <a:solidFill>
                <a:prstClr val="black">
                  <a:tint val="75000"/>
                </a:prstClr>
              </a:solidFill>
            </a:endParaRPr>
          </a:p>
        </p:txBody>
      </p:sp>
      <p:sp>
        <p:nvSpPr>
          <p:cNvPr id="5" name="Espace réservé du pied de page 4"/>
          <p:cNvSpPr>
            <a:spLocks noGrp="1"/>
          </p:cNvSpPr>
          <p:nvPr>
            <p:ph type="ftr" sz="quarter" idx="11"/>
          </p:nvPr>
        </p:nvSpPr>
        <p:spPr/>
        <p:txBody>
          <a:bodyPr/>
          <a:lstStyle/>
          <a:p>
            <a:endParaRPr lang="en-US" dirty="0">
              <a:solidFill>
                <a:prstClr val="black">
                  <a:tint val="75000"/>
                </a:prstClr>
              </a:solidFill>
            </a:endParaRPr>
          </a:p>
        </p:txBody>
      </p:sp>
      <p:sp>
        <p:nvSpPr>
          <p:cNvPr id="6" name="Espace réservé du numéro de diapositive 5"/>
          <p:cNvSpPr>
            <a:spLocks noGrp="1"/>
          </p:cNvSpPr>
          <p:nvPr>
            <p:ph type="sldNum" sz="quarter" idx="12"/>
          </p:nvPr>
        </p:nvSpPr>
        <p:spPr/>
        <p:txBody>
          <a:bodyPr/>
          <a:lstStyle/>
          <a:p>
            <a:fld id="{B9902624-945D-4BF9-AF49-E915AA8C07FB}" type="slidenum">
              <a:rPr lang="en-US" smtClean="0">
                <a:solidFill>
                  <a:prstClr val="black">
                    <a:tint val="75000"/>
                  </a:prstClr>
                </a:solidFill>
              </a:rPr>
              <a:pPr/>
              <a:t>‹N°›</a:t>
            </a:fld>
            <a:endParaRPr lang="en-US" dirty="0">
              <a:solidFill>
                <a:prstClr val="black">
                  <a:tint val="75000"/>
                </a:prstClr>
              </a:solidFill>
            </a:endParaRPr>
          </a:p>
        </p:txBody>
      </p:sp>
    </p:spTree>
    <p:extLst>
      <p:ext uri="{BB962C8B-B14F-4D97-AF65-F5344CB8AC3E}">
        <p14:creationId xmlns:p14="http://schemas.microsoft.com/office/powerpoint/2010/main" val="285411936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831850" y="1709738"/>
            <a:ext cx="10515600" cy="2852737"/>
          </a:xfrm>
        </p:spPr>
        <p:txBody>
          <a:bodyPr anchor="b"/>
          <a:lstStyle>
            <a:lvl1pPr>
              <a:defRPr sz="6000"/>
            </a:lvl1pPr>
          </a:lstStyle>
          <a:p>
            <a:r>
              <a:rPr lang="fr-FR"/>
              <a:t>Modifiez le style du titre</a:t>
            </a:r>
            <a:endParaRPr lang="en-US"/>
          </a:p>
        </p:txBody>
      </p:sp>
      <p:sp>
        <p:nvSpPr>
          <p:cNvPr id="3" name="Espace réservé du texte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Modifier les styles du texte du masque</a:t>
            </a:r>
          </a:p>
        </p:txBody>
      </p:sp>
      <p:sp>
        <p:nvSpPr>
          <p:cNvPr id="4" name="Espace réservé de la date 3"/>
          <p:cNvSpPr>
            <a:spLocks noGrp="1"/>
          </p:cNvSpPr>
          <p:nvPr>
            <p:ph type="dt" sz="half" idx="10"/>
          </p:nvPr>
        </p:nvSpPr>
        <p:spPr/>
        <p:txBody>
          <a:bodyPr/>
          <a:lstStyle/>
          <a:p>
            <a:endParaRPr lang="en-US" dirty="0">
              <a:solidFill>
                <a:prstClr val="black">
                  <a:tint val="75000"/>
                </a:prstClr>
              </a:solidFill>
            </a:endParaRPr>
          </a:p>
        </p:txBody>
      </p:sp>
      <p:sp>
        <p:nvSpPr>
          <p:cNvPr id="5" name="Espace réservé du pied de page 4"/>
          <p:cNvSpPr>
            <a:spLocks noGrp="1"/>
          </p:cNvSpPr>
          <p:nvPr>
            <p:ph type="ftr" sz="quarter" idx="11"/>
          </p:nvPr>
        </p:nvSpPr>
        <p:spPr/>
        <p:txBody>
          <a:bodyPr/>
          <a:lstStyle/>
          <a:p>
            <a:endParaRPr lang="en-US" dirty="0">
              <a:solidFill>
                <a:prstClr val="black">
                  <a:tint val="75000"/>
                </a:prstClr>
              </a:solidFill>
            </a:endParaRPr>
          </a:p>
        </p:txBody>
      </p:sp>
      <p:sp>
        <p:nvSpPr>
          <p:cNvPr id="6" name="Espace réservé du numéro de diapositive 5"/>
          <p:cNvSpPr>
            <a:spLocks noGrp="1"/>
          </p:cNvSpPr>
          <p:nvPr>
            <p:ph type="sldNum" sz="quarter" idx="12"/>
          </p:nvPr>
        </p:nvSpPr>
        <p:spPr/>
        <p:txBody>
          <a:bodyPr/>
          <a:lstStyle/>
          <a:p>
            <a:fld id="{B9902624-945D-4BF9-AF49-E915AA8C07FB}" type="slidenum">
              <a:rPr lang="en-US" smtClean="0">
                <a:solidFill>
                  <a:prstClr val="black">
                    <a:tint val="75000"/>
                  </a:prstClr>
                </a:solidFill>
              </a:rPr>
              <a:pPr/>
              <a:t>‹N°›</a:t>
            </a:fld>
            <a:endParaRPr lang="en-US" dirty="0">
              <a:solidFill>
                <a:prstClr val="black">
                  <a:tint val="75000"/>
                </a:prstClr>
              </a:solidFill>
            </a:endParaRPr>
          </a:p>
        </p:txBody>
      </p:sp>
    </p:spTree>
    <p:extLst>
      <p:ext uri="{BB962C8B-B14F-4D97-AF65-F5344CB8AC3E}">
        <p14:creationId xmlns:p14="http://schemas.microsoft.com/office/powerpoint/2010/main" val="311229059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endParaRPr lang="en-US"/>
          </a:p>
        </p:txBody>
      </p:sp>
      <p:sp>
        <p:nvSpPr>
          <p:cNvPr id="3" name="Espace réservé du contenu 2"/>
          <p:cNvSpPr>
            <a:spLocks noGrp="1"/>
          </p:cNvSpPr>
          <p:nvPr>
            <p:ph sz="half" idx="1"/>
          </p:nvPr>
        </p:nvSpPr>
        <p:spPr>
          <a:xfrm>
            <a:off x="838200" y="1825625"/>
            <a:ext cx="5181600" cy="435133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Espace réservé du contenu 3"/>
          <p:cNvSpPr>
            <a:spLocks noGrp="1"/>
          </p:cNvSpPr>
          <p:nvPr>
            <p:ph sz="half" idx="2"/>
          </p:nvPr>
        </p:nvSpPr>
        <p:spPr>
          <a:xfrm>
            <a:off x="6172200" y="1825625"/>
            <a:ext cx="5181600" cy="435133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Espace réservé de la date 4"/>
          <p:cNvSpPr>
            <a:spLocks noGrp="1"/>
          </p:cNvSpPr>
          <p:nvPr>
            <p:ph type="dt" sz="half" idx="10"/>
          </p:nvPr>
        </p:nvSpPr>
        <p:spPr/>
        <p:txBody>
          <a:bodyPr/>
          <a:lstStyle/>
          <a:p>
            <a:endParaRPr lang="en-US" dirty="0">
              <a:solidFill>
                <a:prstClr val="black">
                  <a:tint val="75000"/>
                </a:prstClr>
              </a:solidFill>
            </a:endParaRPr>
          </a:p>
        </p:txBody>
      </p:sp>
      <p:sp>
        <p:nvSpPr>
          <p:cNvPr id="6" name="Espace réservé du pied de page 5"/>
          <p:cNvSpPr>
            <a:spLocks noGrp="1"/>
          </p:cNvSpPr>
          <p:nvPr>
            <p:ph type="ftr" sz="quarter" idx="11"/>
          </p:nvPr>
        </p:nvSpPr>
        <p:spPr/>
        <p:txBody>
          <a:bodyPr/>
          <a:lstStyle/>
          <a:p>
            <a:endParaRPr lang="en-US" dirty="0">
              <a:solidFill>
                <a:prstClr val="black">
                  <a:tint val="75000"/>
                </a:prstClr>
              </a:solidFill>
            </a:endParaRPr>
          </a:p>
        </p:txBody>
      </p:sp>
      <p:sp>
        <p:nvSpPr>
          <p:cNvPr id="7" name="Espace réservé du numéro de diapositive 6"/>
          <p:cNvSpPr>
            <a:spLocks noGrp="1"/>
          </p:cNvSpPr>
          <p:nvPr>
            <p:ph type="sldNum" sz="quarter" idx="12"/>
          </p:nvPr>
        </p:nvSpPr>
        <p:spPr/>
        <p:txBody>
          <a:bodyPr/>
          <a:lstStyle/>
          <a:p>
            <a:fld id="{B9902624-945D-4BF9-AF49-E915AA8C07FB}" type="slidenum">
              <a:rPr lang="en-US" smtClean="0">
                <a:solidFill>
                  <a:prstClr val="black">
                    <a:tint val="75000"/>
                  </a:prstClr>
                </a:solidFill>
              </a:rPr>
              <a:pPr/>
              <a:t>‹N°›</a:t>
            </a:fld>
            <a:endParaRPr lang="en-US" dirty="0">
              <a:solidFill>
                <a:prstClr val="black">
                  <a:tint val="75000"/>
                </a:prstClr>
              </a:solidFill>
            </a:endParaRPr>
          </a:p>
        </p:txBody>
      </p:sp>
    </p:spTree>
    <p:extLst>
      <p:ext uri="{BB962C8B-B14F-4D97-AF65-F5344CB8AC3E}">
        <p14:creationId xmlns:p14="http://schemas.microsoft.com/office/powerpoint/2010/main" val="156568966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839788" y="365125"/>
            <a:ext cx="10515600" cy="1325563"/>
          </a:xfrm>
        </p:spPr>
        <p:txBody>
          <a:bodyPr/>
          <a:lstStyle/>
          <a:p>
            <a:r>
              <a:rPr lang="fr-FR"/>
              <a:t>Modifiez le style du titre</a:t>
            </a:r>
            <a:endParaRPr lang="en-US"/>
          </a:p>
        </p:txBody>
      </p:sp>
      <p:sp>
        <p:nvSpPr>
          <p:cNvPr id="3" name="Espace réservé du texte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r les styles du texte du masque</a:t>
            </a:r>
          </a:p>
        </p:txBody>
      </p:sp>
      <p:sp>
        <p:nvSpPr>
          <p:cNvPr id="4" name="Espace réservé du contenu 3"/>
          <p:cNvSpPr>
            <a:spLocks noGrp="1"/>
          </p:cNvSpPr>
          <p:nvPr>
            <p:ph sz="half" idx="2"/>
          </p:nvPr>
        </p:nvSpPr>
        <p:spPr>
          <a:xfrm>
            <a:off x="839788" y="2505075"/>
            <a:ext cx="5157787" cy="368458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Espace réservé du texte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r les styles du texte du masque</a:t>
            </a:r>
          </a:p>
        </p:txBody>
      </p:sp>
      <p:sp>
        <p:nvSpPr>
          <p:cNvPr id="6" name="Espace réservé du contenu 5"/>
          <p:cNvSpPr>
            <a:spLocks noGrp="1"/>
          </p:cNvSpPr>
          <p:nvPr>
            <p:ph sz="quarter" idx="4"/>
          </p:nvPr>
        </p:nvSpPr>
        <p:spPr>
          <a:xfrm>
            <a:off x="6172200" y="2505075"/>
            <a:ext cx="5183188" cy="368458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7" name="Espace réservé de la date 6"/>
          <p:cNvSpPr>
            <a:spLocks noGrp="1"/>
          </p:cNvSpPr>
          <p:nvPr>
            <p:ph type="dt" sz="half" idx="10"/>
          </p:nvPr>
        </p:nvSpPr>
        <p:spPr/>
        <p:txBody>
          <a:bodyPr/>
          <a:lstStyle/>
          <a:p>
            <a:endParaRPr lang="en-US" dirty="0">
              <a:solidFill>
                <a:prstClr val="black">
                  <a:tint val="75000"/>
                </a:prstClr>
              </a:solidFill>
            </a:endParaRPr>
          </a:p>
        </p:txBody>
      </p:sp>
      <p:sp>
        <p:nvSpPr>
          <p:cNvPr id="8" name="Espace réservé du pied de page 7"/>
          <p:cNvSpPr>
            <a:spLocks noGrp="1"/>
          </p:cNvSpPr>
          <p:nvPr>
            <p:ph type="ftr" sz="quarter" idx="11"/>
          </p:nvPr>
        </p:nvSpPr>
        <p:spPr/>
        <p:txBody>
          <a:bodyPr/>
          <a:lstStyle/>
          <a:p>
            <a:endParaRPr lang="en-US" dirty="0">
              <a:solidFill>
                <a:prstClr val="black">
                  <a:tint val="75000"/>
                </a:prstClr>
              </a:solidFill>
            </a:endParaRPr>
          </a:p>
        </p:txBody>
      </p:sp>
      <p:sp>
        <p:nvSpPr>
          <p:cNvPr id="9" name="Espace réservé du numéro de diapositive 8"/>
          <p:cNvSpPr>
            <a:spLocks noGrp="1"/>
          </p:cNvSpPr>
          <p:nvPr>
            <p:ph type="sldNum" sz="quarter" idx="12"/>
          </p:nvPr>
        </p:nvSpPr>
        <p:spPr/>
        <p:txBody>
          <a:bodyPr/>
          <a:lstStyle/>
          <a:p>
            <a:fld id="{B9902624-945D-4BF9-AF49-E915AA8C07FB}" type="slidenum">
              <a:rPr lang="en-US" smtClean="0">
                <a:solidFill>
                  <a:prstClr val="black">
                    <a:tint val="75000"/>
                  </a:prstClr>
                </a:solidFill>
              </a:rPr>
              <a:pPr/>
              <a:t>‹N°›</a:t>
            </a:fld>
            <a:endParaRPr lang="en-US" dirty="0">
              <a:solidFill>
                <a:prstClr val="black">
                  <a:tint val="75000"/>
                </a:prstClr>
              </a:solidFill>
            </a:endParaRPr>
          </a:p>
        </p:txBody>
      </p:sp>
    </p:spTree>
    <p:extLst>
      <p:ext uri="{BB962C8B-B14F-4D97-AF65-F5344CB8AC3E}">
        <p14:creationId xmlns:p14="http://schemas.microsoft.com/office/powerpoint/2010/main" val="254588173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831850" y="1709738"/>
            <a:ext cx="10515600" cy="2852737"/>
          </a:xfrm>
        </p:spPr>
        <p:txBody>
          <a:bodyPr anchor="b"/>
          <a:lstStyle>
            <a:lvl1pPr>
              <a:defRPr sz="6000"/>
            </a:lvl1pPr>
          </a:lstStyle>
          <a:p>
            <a:r>
              <a:rPr lang="fr-FR"/>
              <a:t>Modifiez le style du titre</a:t>
            </a:r>
          </a:p>
        </p:txBody>
      </p:sp>
      <p:sp>
        <p:nvSpPr>
          <p:cNvPr id="3" name="Espace réservé du texte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Modifiez les styles du texte du masque</a:t>
            </a:r>
          </a:p>
        </p:txBody>
      </p:sp>
      <p:sp>
        <p:nvSpPr>
          <p:cNvPr id="4" name="Espace réservé de la date 3"/>
          <p:cNvSpPr>
            <a:spLocks noGrp="1"/>
          </p:cNvSpPr>
          <p:nvPr>
            <p:ph type="dt" sz="half" idx="10"/>
          </p:nvPr>
        </p:nvSpPr>
        <p:spPr/>
        <p:txBody>
          <a:bodyPr/>
          <a:lstStyle/>
          <a:p>
            <a:fld id="{5EF27816-6426-453E-A161-5D470619F954}" type="datetimeFigureOut">
              <a:rPr lang="fr-FR" smtClean="0"/>
              <a:t>15/05/2024</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60D50290-7864-48CB-90FD-CA3D03E700D4}" type="slidenum">
              <a:rPr lang="fr-FR" smtClean="0"/>
              <a:t>‹N°›</a:t>
            </a:fld>
            <a:endParaRPr lang="fr-FR"/>
          </a:p>
        </p:txBody>
      </p:sp>
    </p:spTree>
    <p:extLst>
      <p:ext uri="{BB962C8B-B14F-4D97-AF65-F5344CB8AC3E}">
        <p14:creationId xmlns:p14="http://schemas.microsoft.com/office/powerpoint/2010/main" val="229032679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endParaRPr lang="en-US"/>
          </a:p>
        </p:txBody>
      </p:sp>
      <p:sp>
        <p:nvSpPr>
          <p:cNvPr id="3" name="Espace réservé de la date 2"/>
          <p:cNvSpPr>
            <a:spLocks noGrp="1"/>
          </p:cNvSpPr>
          <p:nvPr>
            <p:ph type="dt" sz="half" idx="10"/>
          </p:nvPr>
        </p:nvSpPr>
        <p:spPr/>
        <p:txBody>
          <a:bodyPr/>
          <a:lstStyle/>
          <a:p>
            <a:endParaRPr lang="en-US" dirty="0">
              <a:solidFill>
                <a:prstClr val="black">
                  <a:tint val="75000"/>
                </a:prstClr>
              </a:solidFill>
            </a:endParaRPr>
          </a:p>
        </p:txBody>
      </p:sp>
      <p:sp>
        <p:nvSpPr>
          <p:cNvPr id="4" name="Espace réservé du pied de page 3"/>
          <p:cNvSpPr>
            <a:spLocks noGrp="1"/>
          </p:cNvSpPr>
          <p:nvPr>
            <p:ph type="ftr" sz="quarter" idx="11"/>
          </p:nvPr>
        </p:nvSpPr>
        <p:spPr/>
        <p:txBody>
          <a:bodyPr/>
          <a:lstStyle/>
          <a:p>
            <a:endParaRPr lang="en-US" dirty="0">
              <a:solidFill>
                <a:prstClr val="black">
                  <a:tint val="75000"/>
                </a:prstClr>
              </a:solidFill>
            </a:endParaRPr>
          </a:p>
        </p:txBody>
      </p:sp>
      <p:sp>
        <p:nvSpPr>
          <p:cNvPr id="5" name="Espace réservé du numéro de diapositive 4"/>
          <p:cNvSpPr>
            <a:spLocks noGrp="1"/>
          </p:cNvSpPr>
          <p:nvPr>
            <p:ph type="sldNum" sz="quarter" idx="12"/>
          </p:nvPr>
        </p:nvSpPr>
        <p:spPr/>
        <p:txBody>
          <a:bodyPr/>
          <a:lstStyle/>
          <a:p>
            <a:fld id="{B9902624-945D-4BF9-AF49-E915AA8C07FB}" type="slidenum">
              <a:rPr lang="en-US" smtClean="0">
                <a:solidFill>
                  <a:prstClr val="black">
                    <a:tint val="75000"/>
                  </a:prstClr>
                </a:solidFill>
              </a:rPr>
              <a:pPr/>
              <a:t>‹N°›</a:t>
            </a:fld>
            <a:endParaRPr lang="en-US" dirty="0">
              <a:solidFill>
                <a:prstClr val="black">
                  <a:tint val="75000"/>
                </a:prstClr>
              </a:solidFill>
            </a:endParaRPr>
          </a:p>
        </p:txBody>
      </p:sp>
    </p:spTree>
    <p:extLst>
      <p:ext uri="{BB962C8B-B14F-4D97-AF65-F5344CB8AC3E}">
        <p14:creationId xmlns:p14="http://schemas.microsoft.com/office/powerpoint/2010/main" val="307722012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endParaRPr lang="en-US" dirty="0">
              <a:solidFill>
                <a:prstClr val="black">
                  <a:tint val="75000"/>
                </a:prstClr>
              </a:solidFill>
            </a:endParaRPr>
          </a:p>
        </p:txBody>
      </p:sp>
      <p:sp>
        <p:nvSpPr>
          <p:cNvPr id="3" name="Espace réservé du pied de page 2"/>
          <p:cNvSpPr>
            <a:spLocks noGrp="1"/>
          </p:cNvSpPr>
          <p:nvPr>
            <p:ph type="ftr" sz="quarter" idx="11"/>
          </p:nvPr>
        </p:nvSpPr>
        <p:spPr/>
        <p:txBody>
          <a:bodyPr/>
          <a:lstStyle/>
          <a:p>
            <a:endParaRPr lang="en-US" dirty="0">
              <a:solidFill>
                <a:prstClr val="black">
                  <a:tint val="75000"/>
                </a:prstClr>
              </a:solidFill>
            </a:endParaRPr>
          </a:p>
        </p:txBody>
      </p:sp>
      <p:sp>
        <p:nvSpPr>
          <p:cNvPr id="4" name="Espace réservé du numéro de diapositive 3"/>
          <p:cNvSpPr>
            <a:spLocks noGrp="1"/>
          </p:cNvSpPr>
          <p:nvPr>
            <p:ph type="sldNum" sz="quarter" idx="12"/>
          </p:nvPr>
        </p:nvSpPr>
        <p:spPr/>
        <p:txBody>
          <a:bodyPr/>
          <a:lstStyle/>
          <a:p>
            <a:fld id="{B9902624-945D-4BF9-AF49-E915AA8C07FB}" type="slidenum">
              <a:rPr lang="en-US" smtClean="0">
                <a:solidFill>
                  <a:prstClr val="black">
                    <a:tint val="75000"/>
                  </a:prstClr>
                </a:solidFill>
              </a:rPr>
              <a:pPr/>
              <a:t>‹N°›</a:t>
            </a:fld>
            <a:endParaRPr lang="en-US" dirty="0">
              <a:solidFill>
                <a:prstClr val="black">
                  <a:tint val="75000"/>
                </a:prstClr>
              </a:solidFill>
            </a:endParaRPr>
          </a:p>
        </p:txBody>
      </p:sp>
    </p:spTree>
    <p:extLst>
      <p:ext uri="{BB962C8B-B14F-4D97-AF65-F5344CB8AC3E}">
        <p14:creationId xmlns:p14="http://schemas.microsoft.com/office/powerpoint/2010/main" val="162858248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839788" y="457200"/>
            <a:ext cx="3932237" cy="1600200"/>
          </a:xfrm>
        </p:spPr>
        <p:txBody>
          <a:bodyPr anchor="b"/>
          <a:lstStyle>
            <a:lvl1pPr>
              <a:defRPr sz="3200"/>
            </a:lvl1pPr>
          </a:lstStyle>
          <a:p>
            <a:r>
              <a:rPr lang="fr-FR"/>
              <a:t>Modifiez le style du titre</a:t>
            </a:r>
            <a:endParaRPr lang="en-US"/>
          </a:p>
        </p:txBody>
      </p:sp>
      <p:sp>
        <p:nvSpPr>
          <p:cNvPr id="3" name="Espace réservé du contenu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Espace réservé du texte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Modifier les styles du texte du masque</a:t>
            </a:r>
          </a:p>
        </p:txBody>
      </p:sp>
      <p:sp>
        <p:nvSpPr>
          <p:cNvPr id="5" name="Espace réservé de la date 4"/>
          <p:cNvSpPr>
            <a:spLocks noGrp="1"/>
          </p:cNvSpPr>
          <p:nvPr>
            <p:ph type="dt" sz="half" idx="10"/>
          </p:nvPr>
        </p:nvSpPr>
        <p:spPr/>
        <p:txBody>
          <a:bodyPr/>
          <a:lstStyle/>
          <a:p>
            <a:endParaRPr lang="en-US" dirty="0">
              <a:solidFill>
                <a:prstClr val="black">
                  <a:tint val="75000"/>
                </a:prstClr>
              </a:solidFill>
            </a:endParaRPr>
          </a:p>
        </p:txBody>
      </p:sp>
      <p:sp>
        <p:nvSpPr>
          <p:cNvPr id="6" name="Espace réservé du pied de page 5"/>
          <p:cNvSpPr>
            <a:spLocks noGrp="1"/>
          </p:cNvSpPr>
          <p:nvPr>
            <p:ph type="ftr" sz="quarter" idx="11"/>
          </p:nvPr>
        </p:nvSpPr>
        <p:spPr/>
        <p:txBody>
          <a:bodyPr/>
          <a:lstStyle/>
          <a:p>
            <a:endParaRPr lang="en-US" dirty="0">
              <a:solidFill>
                <a:prstClr val="black">
                  <a:tint val="75000"/>
                </a:prstClr>
              </a:solidFill>
            </a:endParaRPr>
          </a:p>
        </p:txBody>
      </p:sp>
      <p:sp>
        <p:nvSpPr>
          <p:cNvPr id="7" name="Espace réservé du numéro de diapositive 6"/>
          <p:cNvSpPr>
            <a:spLocks noGrp="1"/>
          </p:cNvSpPr>
          <p:nvPr>
            <p:ph type="sldNum" sz="quarter" idx="12"/>
          </p:nvPr>
        </p:nvSpPr>
        <p:spPr/>
        <p:txBody>
          <a:bodyPr/>
          <a:lstStyle/>
          <a:p>
            <a:fld id="{B9902624-945D-4BF9-AF49-E915AA8C07FB}" type="slidenum">
              <a:rPr lang="en-US" smtClean="0">
                <a:solidFill>
                  <a:prstClr val="black">
                    <a:tint val="75000"/>
                  </a:prstClr>
                </a:solidFill>
              </a:rPr>
              <a:pPr/>
              <a:t>‹N°›</a:t>
            </a:fld>
            <a:endParaRPr lang="en-US" dirty="0">
              <a:solidFill>
                <a:prstClr val="black">
                  <a:tint val="75000"/>
                </a:prstClr>
              </a:solidFill>
            </a:endParaRPr>
          </a:p>
        </p:txBody>
      </p:sp>
    </p:spTree>
    <p:extLst>
      <p:ext uri="{BB962C8B-B14F-4D97-AF65-F5344CB8AC3E}">
        <p14:creationId xmlns:p14="http://schemas.microsoft.com/office/powerpoint/2010/main" val="5195000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839788" y="457200"/>
            <a:ext cx="3932237" cy="1600200"/>
          </a:xfrm>
        </p:spPr>
        <p:txBody>
          <a:bodyPr anchor="b"/>
          <a:lstStyle>
            <a:lvl1pPr>
              <a:defRPr sz="3200"/>
            </a:lvl1pPr>
          </a:lstStyle>
          <a:p>
            <a:r>
              <a:rPr lang="fr-FR"/>
              <a:t>Modifiez le style du titre</a:t>
            </a:r>
            <a:endParaRPr lang="en-US"/>
          </a:p>
        </p:txBody>
      </p:sp>
      <p:sp>
        <p:nvSpPr>
          <p:cNvPr id="3" name="Espace réservé pour une image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Espace réservé du texte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Modifier les styles du texte du masque</a:t>
            </a:r>
          </a:p>
        </p:txBody>
      </p:sp>
      <p:sp>
        <p:nvSpPr>
          <p:cNvPr id="5" name="Espace réservé de la date 4"/>
          <p:cNvSpPr>
            <a:spLocks noGrp="1"/>
          </p:cNvSpPr>
          <p:nvPr>
            <p:ph type="dt" sz="half" idx="10"/>
          </p:nvPr>
        </p:nvSpPr>
        <p:spPr/>
        <p:txBody>
          <a:bodyPr/>
          <a:lstStyle/>
          <a:p>
            <a:endParaRPr lang="en-US" dirty="0">
              <a:solidFill>
                <a:prstClr val="black">
                  <a:tint val="75000"/>
                </a:prstClr>
              </a:solidFill>
            </a:endParaRPr>
          </a:p>
        </p:txBody>
      </p:sp>
      <p:sp>
        <p:nvSpPr>
          <p:cNvPr id="6" name="Espace réservé du pied de page 5"/>
          <p:cNvSpPr>
            <a:spLocks noGrp="1"/>
          </p:cNvSpPr>
          <p:nvPr>
            <p:ph type="ftr" sz="quarter" idx="11"/>
          </p:nvPr>
        </p:nvSpPr>
        <p:spPr/>
        <p:txBody>
          <a:bodyPr/>
          <a:lstStyle/>
          <a:p>
            <a:endParaRPr lang="en-US" dirty="0">
              <a:solidFill>
                <a:prstClr val="black">
                  <a:tint val="75000"/>
                </a:prstClr>
              </a:solidFill>
            </a:endParaRPr>
          </a:p>
        </p:txBody>
      </p:sp>
      <p:sp>
        <p:nvSpPr>
          <p:cNvPr id="7" name="Espace réservé du numéro de diapositive 6"/>
          <p:cNvSpPr>
            <a:spLocks noGrp="1"/>
          </p:cNvSpPr>
          <p:nvPr>
            <p:ph type="sldNum" sz="quarter" idx="12"/>
          </p:nvPr>
        </p:nvSpPr>
        <p:spPr/>
        <p:txBody>
          <a:bodyPr/>
          <a:lstStyle/>
          <a:p>
            <a:fld id="{B9902624-945D-4BF9-AF49-E915AA8C07FB}" type="slidenum">
              <a:rPr lang="en-US" smtClean="0">
                <a:solidFill>
                  <a:prstClr val="black">
                    <a:tint val="75000"/>
                  </a:prstClr>
                </a:solidFill>
              </a:rPr>
              <a:pPr/>
              <a:t>‹N°›</a:t>
            </a:fld>
            <a:endParaRPr lang="en-US" dirty="0">
              <a:solidFill>
                <a:prstClr val="black">
                  <a:tint val="75000"/>
                </a:prstClr>
              </a:solidFill>
            </a:endParaRPr>
          </a:p>
        </p:txBody>
      </p:sp>
    </p:spTree>
    <p:extLst>
      <p:ext uri="{BB962C8B-B14F-4D97-AF65-F5344CB8AC3E}">
        <p14:creationId xmlns:p14="http://schemas.microsoft.com/office/powerpoint/2010/main" val="426821028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endParaRPr lang="en-US"/>
          </a:p>
        </p:txBody>
      </p:sp>
      <p:sp>
        <p:nvSpPr>
          <p:cNvPr id="3" name="Espace réservé du texte vertical 2"/>
          <p:cNvSpPr>
            <a:spLocks noGrp="1"/>
          </p:cNvSpPr>
          <p:nvPr>
            <p:ph type="body" orient="vert" idx="1"/>
          </p:nvPr>
        </p:nvSpPr>
        <p:spPr/>
        <p:txBody>
          <a:bodyPr vert="eaVert"/>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Espace réservé de la date 3"/>
          <p:cNvSpPr>
            <a:spLocks noGrp="1"/>
          </p:cNvSpPr>
          <p:nvPr>
            <p:ph type="dt" sz="half" idx="10"/>
          </p:nvPr>
        </p:nvSpPr>
        <p:spPr/>
        <p:txBody>
          <a:bodyPr/>
          <a:lstStyle/>
          <a:p>
            <a:endParaRPr lang="en-US" dirty="0">
              <a:solidFill>
                <a:prstClr val="black">
                  <a:tint val="75000"/>
                </a:prstClr>
              </a:solidFill>
            </a:endParaRPr>
          </a:p>
        </p:txBody>
      </p:sp>
      <p:sp>
        <p:nvSpPr>
          <p:cNvPr id="5" name="Espace réservé du pied de page 4"/>
          <p:cNvSpPr>
            <a:spLocks noGrp="1"/>
          </p:cNvSpPr>
          <p:nvPr>
            <p:ph type="ftr" sz="quarter" idx="11"/>
          </p:nvPr>
        </p:nvSpPr>
        <p:spPr/>
        <p:txBody>
          <a:bodyPr/>
          <a:lstStyle/>
          <a:p>
            <a:endParaRPr lang="en-US" dirty="0">
              <a:solidFill>
                <a:prstClr val="black">
                  <a:tint val="75000"/>
                </a:prstClr>
              </a:solidFill>
            </a:endParaRPr>
          </a:p>
        </p:txBody>
      </p:sp>
      <p:sp>
        <p:nvSpPr>
          <p:cNvPr id="6" name="Espace réservé du numéro de diapositive 5"/>
          <p:cNvSpPr>
            <a:spLocks noGrp="1"/>
          </p:cNvSpPr>
          <p:nvPr>
            <p:ph type="sldNum" sz="quarter" idx="12"/>
          </p:nvPr>
        </p:nvSpPr>
        <p:spPr/>
        <p:txBody>
          <a:bodyPr/>
          <a:lstStyle/>
          <a:p>
            <a:fld id="{B9902624-945D-4BF9-AF49-E915AA8C07FB}" type="slidenum">
              <a:rPr lang="en-US" smtClean="0">
                <a:solidFill>
                  <a:prstClr val="black">
                    <a:tint val="75000"/>
                  </a:prstClr>
                </a:solidFill>
              </a:rPr>
              <a:pPr/>
              <a:t>‹N°›</a:t>
            </a:fld>
            <a:endParaRPr lang="en-US" dirty="0">
              <a:solidFill>
                <a:prstClr val="black">
                  <a:tint val="75000"/>
                </a:prstClr>
              </a:solidFill>
            </a:endParaRPr>
          </a:p>
        </p:txBody>
      </p:sp>
    </p:spTree>
    <p:extLst>
      <p:ext uri="{BB962C8B-B14F-4D97-AF65-F5344CB8AC3E}">
        <p14:creationId xmlns:p14="http://schemas.microsoft.com/office/powerpoint/2010/main" val="407884992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724900" y="365125"/>
            <a:ext cx="2628900" cy="5811838"/>
          </a:xfrm>
        </p:spPr>
        <p:txBody>
          <a:bodyPr vert="eaVert"/>
          <a:lstStyle/>
          <a:p>
            <a:r>
              <a:rPr lang="fr-FR"/>
              <a:t>Modifiez le style du titre</a:t>
            </a:r>
            <a:endParaRPr lang="en-US"/>
          </a:p>
        </p:txBody>
      </p:sp>
      <p:sp>
        <p:nvSpPr>
          <p:cNvPr id="3" name="Espace réservé du texte vertical 2"/>
          <p:cNvSpPr>
            <a:spLocks noGrp="1"/>
          </p:cNvSpPr>
          <p:nvPr>
            <p:ph type="body" orient="vert" idx="1"/>
          </p:nvPr>
        </p:nvSpPr>
        <p:spPr>
          <a:xfrm>
            <a:off x="838200" y="365125"/>
            <a:ext cx="7734300" cy="5811838"/>
          </a:xfrm>
        </p:spPr>
        <p:txBody>
          <a:bodyPr vert="eaVert"/>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Espace réservé de la date 3"/>
          <p:cNvSpPr>
            <a:spLocks noGrp="1"/>
          </p:cNvSpPr>
          <p:nvPr>
            <p:ph type="dt" sz="half" idx="10"/>
          </p:nvPr>
        </p:nvSpPr>
        <p:spPr/>
        <p:txBody>
          <a:bodyPr/>
          <a:lstStyle/>
          <a:p>
            <a:endParaRPr lang="en-US" dirty="0">
              <a:solidFill>
                <a:prstClr val="black">
                  <a:tint val="75000"/>
                </a:prstClr>
              </a:solidFill>
            </a:endParaRPr>
          </a:p>
        </p:txBody>
      </p:sp>
      <p:sp>
        <p:nvSpPr>
          <p:cNvPr id="5" name="Espace réservé du pied de page 4"/>
          <p:cNvSpPr>
            <a:spLocks noGrp="1"/>
          </p:cNvSpPr>
          <p:nvPr>
            <p:ph type="ftr" sz="quarter" idx="11"/>
          </p:nvPr>
        </p:nvSpPr>
        <p:spPr/>
        <p:txBody>
          <a:bodyPr/>
          <a:lstStyle/>
          <a:p>
            <a:endParaRPr lang="en-US" dirty="0">
              <a:solidFill>
                <a:prstClr val="black">
                  <a:tint val="75000"/>
                </a:prstClr>
              </a:solidFill>
            </a:endParaRPr>
          </a:p>
        </p:txBody>
      </p:sp>
      <p:sp>
        <p:nvSpPr>
          <p:cNvPr id="6" name="Espace réservé du numéro de diapositive 5"/>
          <p:cNvSpPr>
            <a:spLocks noGrp="1"/>
          </p:cNvSpPr>
          <p:nvPr>
            <p:ph type="sldNum" sz="quarter" idx="12"/>
          </p:nvPr>
        </p:nvSpPr>
        <p:spPr/>
        <p:txBody>
          <a:bodyPr/>
          <a:lstStyle/>
          <a:p>
            <a:fld id="{B9902624-945D-4BF9-AF49-E915AA8C07FB}" type="slidenum">
              <a:rPr lang="en-US" smtClean="0">
                <a:solidFill>
                  <a:prstClr val="black">
                    <a:tint val="75000"/>
                  </a:prstClr>
                </a:solidFill>
              </a:rPr>
              <a:pPr/>
              <a:t>‹N°›</a:t>
            </a:fld>
            <a:endParaRPr lang="en-US" dirty="0">
              <a:solidFill>
                <a:prstClr val="black">
                  <a:tint val="75000"/>
                </a:prstClr>
              </a:solidFill>
            </a:endParaRPr>
          </a:p>
        </p:txBody>
      </p:sp>
    </p:spTree>
    <p:extLst>
      <p:ext uri="{BB962C8B-B14F-4D97-AF65-F5344CB8AC3E}">
        <p14:creationId xmlns:p14="http://schemas.microsoft.com/office/powerpoint/2010/main" val="349541357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Disposition personnalisée">
    <p:spTree>
      <p:nvGrpSpPr>
        <p:cNvPr id="1" name=""/>
        <p:cNvGrpSpPr/>
        <p:nvPr/>
      </p:nvGrpSpPr>
      <p:grpSpPr>
        <a:xfrm>
          <a:off x="0" y="0"/>
          <a:ext cx="0" cy="0"/>
          <a:chOff x="0" y="0"/>
          <a:chExt cx="0" cy="0"/>
        </a:xfrm>
      </p:grpSpPr>
    </p:spTree>
    <p:extLst>
      <p:ext uri="{BB962C8B-B14F-4D97-AF65-F5344CB8AC3E}">
        <p14:creationId xmlns:p14="http://schemas.microsoft.com/office/powerpoint/2010/main" val="18608837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Disposition personnalisée">
    <p:spTree>
      <p:nvGrpSpPr>
        <p:cNvPr id="1" name=""/>
        <p:cNvGrpSpPr/>
        <p:nvPr/>
      </p:nvGrpSpPr>
      <p:grpSpPr>
        <a:xfrm>
          <a:off x="0" y="0"/>
          <a:ext cx="0" cy="0"/>
          <a:chOff x="0" y="0"/>
          <a:chExt cx="0" cy="0"/>
        </a:xfrm>
      </p:grpSpPr>
      <p:pic>
        <p:nvPicPr>
          <p:cNvPr id="7" name="Image 6"/>
          <p:cNvPicPr>
            <a:picLocks noChangeAspect="1"/>
          </p:cNvPicPr>
          <p:nvPr userDrawn="1"/>
        </p:nvPicPr>
        <p:blipFill rotWithShape="1">
          <a:blip r:embed="rId2">
            <a:extLst>
              <a:ext uri="{28A0092B-C50C-407E-A947-70E740481C1C}">
                <a14:useLocalDpi xmlns:a14="http://schemas.microsoft.com/office/drawing/2010/main" val="0"/>
              </a:ext>
            </a:extLst>
          </a:blip>
          <a:srcRect l="35474" t="-176" r="37132" b="-26"/>
          <a:stretch/>
        </p:blipFill>
        <p:spPr>
          <a:xfrm>
            <a:off x="9112663" y="522267"/>
            <a:ext cx="3079337" cy="6335733"/>
          </a:xfrm>
          <a:prstGeom prst="rect">
            <a:avLst/>
          </a:prstGeom>
        </p:spPr>
      </p:pic>
      <p:pic>
        <p:nvPicPr>
          <p:cNvPr id="8" name="Image 7"/>
          <p:cNvPicPr>
            <a:picLocks noChangeAspect="1"/>
          </p:cNvPicPr>
          <p:nvPr userDrawn="1"/>
        </p:nvPicPr>
        <p:blipFill rotWithShape="1">
          <a:blip r:embed="rId3" cstate="print">
            <a:extLst>
              <a:ext uri="{28A0092B-C50C-407E-A947-70E740481C1C}">
                <a14:useLocalDpi xmlns:a14="http://schemas.microsoft.com/office/drawing/2010/main" val="0"/>
              </a:ext>
            </a:extLst>
          </a:blip>
          <a:srcRect l="57673" t="301" r="19871" b="-1"/>
          <a:stretch/>
        </p:blipFill>
        <p:spPr>
          <a:xfrm>
            <a:off x="3036220" y="533400"/>
            <a:ext cx="3038221" cy="6321048"/>
          </a:xfrm>
          <a:prstGeom prst="rect">
            <a:avLst/>
          </a:prstGeom>
        </p:spPr>
      </p:pic>
      <p:pic>
        <p:nvPicPr>
          <p:cNvPr id="9" name="Image 8">
            <a:extLst>
              <a:ext uri="{FF2B5EF4-FFF2-40B4-BE49-F238E27FC236}">
                <a16:creationId xmlns:a16="http://schemas.microsoft.com/office/drawing/2014/main" id="{0B4BFA3F-5D58-374A-8AC3-CFB06E8C8DF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14415" t="356" r="49688" b="-1"/>
          <a:stretch/>
        </p:blipFill>
        <p:spPr>
          <a:xfrm>
            <a:off x="0" y="533400"/>
            <a:ext cx="3036218" cy="6321048"/>
          </a:xfrm>
          <a:prstGeom prst="rect">
            <a:avLst/>
          </a:prstGeom>
        </p:spPr>
      </p:pic>
      <p:pic>
        <p:nvPicPr>
          <p:cNvPr id="10" name="Image 9"/>
          <p:cNvPicPr>
            <a:picLocks noChangeAspect="1"/>
          </p:cNvPicPr>
          <p:nvPr userDrawn="1"/>
        </p:nvPicPr>
        <p:blipFill rotWithShape="1">
          <a:blip r:embed="rId5" cstate="print">
            <a:extLst>
              <a:ext uri="{28A0092B-C50C-407E-A947-70E740481C1C}">
                <a14:useLocalDpi xmlns:a14="http://schemas.microsoft.com/office/drawing/2010/main" val="0"/>
              </a:ext>
            </a:extLst>
          </a:blip>
          <a:srcRect l="17406" t="38480" r="40341" b="3029"/>
          <a:stretch/>
        </p:blipFill>
        <p:spPr>
          <a:xfrm>
            <a:off x="6074442" y="533400"/>
            <a:ext cx="3039165" cy="6321048"/>
          </a:xfrm>
          <a:prstGeom prst="rect">
            <a:avLst/>
          </a:prstGeom>
        </p:spPr>
      </p:pic>
      <p:sp>
        <p:nvSpPr>
          <p:cNvPr id="6" name="Rectangle 5"/>
          <p:cNvSpPr/>
          <p:nvPr userDrawn="1"/>
        </p:nvSpPr>
        <p:spPr>
          <a:xfrm>
            <a:off x="0" y="0"/>
            <a:ext cx="12192000" cy="6858000"/>
          </a:xfrm>
          <a:prstGeom prst="rect">
            <a:avLst/>
          </a:prstGeom>
          <a:solidFill>
            <a:schemeClr val="bg1">
              <a:alpha val="70000"/>
            </a:schemeClr>
          </a:solidFill>
          <a:ln>
            <a:noFill/>
          </a:ln>
          <a:effectLst>
            <a:glow>
              <a:schemeClr val="accent1"/>
            </a:glow>
          </a:effectLst>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eaLnBrk="0" fontAlgn="base" hangingPunct="0">
              <a:spcBef>
                <a:spcPct val="0"/>
              </a:spcBef>
              <a:spcAft>
                <a:spcPct val="0"/>
              </a:spcAft>
              <a:defRPr/>
            </a:pPr>
            <a:endParaRPr lang="fr-FR" dirty="0">
              <a:solidFill>
                <a:prstClr val="white"/>
              </a:solidFill>
            </a:endParaRPr>
          </a:p>
        </p:txBody>
      </p:sp>
    </p:spTree>
    <p:extLst>
      <p:ext uri="{BB962C8B-B14F-4D97-AF65-F5344CB8AC3E}">
        <p14:creationId xmlns:p14="http://schemas.microsoft.com/office/powerpoint/2010/main" val="56488531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15/2024</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N°›</a:t>
            </a:fld>
            <a:endParaRPr/>
          </a:p>
        </p:txBody>
      </p:sp>
    </p:spTree>
    <p:extLst>
      <p:ext uri="{BB962C8B-B14F-4D97-AF65-F5344CB8AC3E}">
        <p14:creationId xmlns:p14="http://schemas.microsoft.com/office/powerpoint/2010/main" val="66919175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userDrawn="1">
  <p:cSld name="Title Only">
    <p:bg>
      <p:bgPr>
        <a:solidFill>
          <a:schemeClr val="bg1"/>
        </a:solidFill>
        <a:effectLst/>
      </p:bgPr>
    </p:bg>
    <p:spTree>
      <p:nvGrpSpPr>
        <p:cNvPr id="1" name=""/>
        <p:cNvGrpSpPr/>
        <p:nvPr/>
      </p:nvGrpSpPr>
      <p:grpSpPr>
        <a:xfrm>
          <a:off x="0" y="0"/>
          <a:ext cx="0" cy="0"/>
          <a:chOff x="0" y="0"/>
          <a:chExt cx="0" cy="0"/>
        </a:xfrm>
      </p:grpSpPr>
      <p:sp>
        <p:nvSpPr>
          <p:cNvPr id="20" name="bk object 20"/>
          <p:cNvSpPr/>
          <p:nvPr/>
        </p:nvSpPr>
        <p:spPr>
          <a:xfrm>
            <a:off x="11814492" y="5759299"/>
            <a:ext cx="127850" cy="400467"/>
          </a:xfrm>
          <a:custGeom>
            <a:avLst/>
            <a:gdLst/>
            <a:ahLst/>
            <a:cxnLst/>
            <a:rect l="l" t="t" r="r" b="b"/>
            <a:pathLst>
              <a:path w="210819" h="660400">
                <a:moveTo>
                  <a:pt x="208747" y="121964"/>
                </a:moveTo>
                <a:lnTo>
                  <a:pt x="194789" y="121964"/>
                </a:lnTo>
                <a:lnTo>
                  <a:pt x="194789" y="231856"/>
                </a:lnTo>
                <a:lnTo>
                  <a:pt x="1748" y="231856"/>
                </a:lnTo>
                <a:lnTo>
                  <a:pt x="1748" y="247563"/>
                </a:lnTo>
                <a:lnTo>
                  <a:pt x="208747" y="247563"/>
                </a:lnTo>
                <a:lnTo>
                  <a:pt x="208747" y="121964"/>
                </a:lnTo>
                <a:close/>
              </a:path>
              <a:path w="210819" h="660400">
                <a:moveTo>
                  <a:pt x="1748" y="0"/>
                </a:moveTo>
                <a:lnTo>
                  <a:pt x="1748" y="16858"/>
                </a:lnTo>
                <a:lnTo>
                  <a:pt x="106405" y="68322"/>
                </a:lnTo>
                <a:lnTo>
                  <a:pt x="1748" y="120938"/>
                </a:lnTo>
                <a:lnTo>
                  <a:pt x="1748" y="137807"/>
                </a:lnTo>
                <a:lnTo>
                  <a:pt x="122980" y="76751"/>
                </a:lnTo>
                <a:lnTo>
                  <a:pt x="208747" y="76751"/>
                </a:lnTo>
                <a:lnTo>
                  <a:pt x="208747" y="61055"/>
                </a:lnTo>
                <a:lnTo>
                  <a:pt x="122980" y="61055"/>
                </a:lnTo>
                <a:lnTo>
                  <a:pt x="1748" y="0"/>
                </a:lnTo>
                <a:close/>
              </a:path>
              <a:path w="210819" h="660400">
                <a:moveTo>
                  <a:pt x="208747" y="311519"/>
                </a:moveTo>
                <a:lnTo>
                  <a:pt x="1748" y="311519"/>
                </a:lnTo>
                <a:lnTo>
                  <a:pt x="1748" y="327215"/>
                </a:lnTo>
                <a:lnTo>
                  <a:pt x="181114" y="327215"/>
                </a:lnTo>
                <a:lnTo>
                  <a:pt x="1748" y="446698"/>
                </a:lnTo>
                <a:lnTo>
                  <a:pt x="1748" y="462404"/>
                </a:lnTo>
                <a:lnTo>
                  <a:pt x="208747" y="462404"/>
                </a:lnTo>
                <a:lnTo>
                  <a:pt x="208747" y="446698"/>
                </a:lnTo>
                <a:lnTo>
                  <a:pt x="28784" y="446698"/>
                </a:lnTo>
                <a:lnTo>
                  <a:pt x="208747" y="327215"/>
                </a:lnTo>
                <a:lnTo>
                  <a:pt x="208747" y="311519"/>
                </a:lnTo>
                <a:close/>
              </a:path>
              <a:path w="210819" h="660400">
                <a:moveTo>
                  <a:pt x="105242" y="518214"/>
                </a:moveTo>
                <a:lnTo>
                  <a:pt x="52769" y="520722"/>
                </a:lnTo>
                <a:lnTo>
                  <a:pt x="12143" y="548514"/>
                </a:lnTo>
                <a:lnTo>
                  <a:pt x="0" y="589154"/>
                </a:lnTo>
                <a:lnTo>
                  <a:pt x="1394" y="603535"/>
                </a:lnTo>
                <a:lnTo>
                  <a:pt x="21224" y="640901"/>
                </a:lnTo>
                <a:lnTo>
                  <a:pt x="75027" y="659743"/>
                </a:lnTo>
                <a:lnTo>
                  <a:pt x="105242" y="660084"/>
                </a:lnTo>
                <a:lnTo>
                  <a:pt x="135460" y="659743"/>
                </a:lnTo>
                <a:lnTo>
                  <a:pt x="157720" y="657576"/>
                </a:lnTo>
                <a:lnTo>
                  <a:pt x="174746" y="651868"/>
                </a:lnTo>
                <a:lnTo>
                  <a:pt x="184646" y="644388"/>
                </a:lnTo>
                <a:lnTo>
                  <a:pt x="105242" y="644388"/>
                </a:lnTo>
                <a:lnTo>
                  <a:pt x="76797" y="643975"/>
                </a:lnTo>
                <a:lnTo>
                  <a:pt x="29946" y="628399"/>
                </a:lnTo>
                <a:lnTo>
                  <a:pt x="13957" y="589154"/>
                </a:lnTo>
                <a:lnTo>
                  <a:pt x="14983" y="578238"/>
                </a:lnTo>
                <a:lnTo>
                  <a:pt x="41711" y="541150"/>
                </a:lnTo>
                <a:lnTo>
                  <a:pt x="105242" y="533910"/>
                </a:lnTo>
                <a:lnTo>
                  <a:pt x="184646" y="533910"/>
                </a:lnTo>
                <a:lnTo>
                  <a:pt x="174746" y="526430"/>
                </a:lnTo>
                <a:lnTo>
                  <a:pt x="157720" y="520722"/>
                </a:lnTo>
                <a:lnTo>
                  <a:pt x="135460" y="518555"/>
                </a:lnTo>
                <a:lnTo>
                  <a:pt x="105242" y="518214"/>
                </a:lnTo>
                <a:close/>
              </a:path>
              <a:path w="210819" h="660400">
                <a:moveTo>
                  <a:pt x="184646" y="533910"/>
                </a:moveTo>
                <a:lnTo>
                  <a:pt x="105242" y="533910"/>
                </a:lnTo>
                <a:lnTo>
                  <a:pt x="133688" y="534323"/>
                </a:lnTo>
                <a:lnTo>
                  <a:pt x="154011" y="536346"/>
                </a:lnTo>
                <a:lnTo>
                  <a:pt x="187454" y="558369"/>
                </a:lnTo>
                <a:lnTo>
                  <a:pt x="196528" y="589154"/>
                </a:lnTo>
                <a:lnTo>
                  <a:pt x="195502" y="600069"/>
                </a:lnTo>
                <a:lnTo>
                  <a:pt x="168773" y="637153"/>
                </a:lnTo>
                <a:lnTo>
                  <a:pt x="105242" y="644388"/>
                </a:lnTo>
                <a:lnTo>
                  <a:pt x="184646" y="644388"/>
                </a:lnTo>
                <a:lnTo>
                  <a:pt x="209090" y="603535"/>
                </a:lnTo>
                <a:lnTo>
                  <a:pt x="210485" y="589154"/>
                </a:lnTo>
                <a:lnTo>
                  <a:pt x="209090" y="574774"/>
                </a:lnTo>
                <a:lnTo>
                  <a:pt x="204997" y="561100"/>
                </a:lnTo>
                <a:lnTo>
                  <a:pt x="198342" y="548514"/>
                </a:lnTo>
                <a:lnTo>
                  <a:pt x="189261" y="537397"/>
                </a:lnTo>
                <a:lnTo>
                  <a:pt x="184646" y="533910"/>
                </a:lnTo>
                <a:close/>
              </a:path>
            </a:pathLst>
          </a:custGeom>
          <a:solidFill>
            <a:srgbClr val="FFFFFF"/>
          </a:solidFill>
        </p:spPr>
        <p:txBody>
          <a:bodyPr wrap="square" lIns="0" tIns="0" rIns="0" bIns="0" rtlCol="0"/>
          <a:lstStyle/>
          <a:p>
            <a:endParaRPr sz="1092"/>
          </a:p>
        </p:txBody>
      </p:sp>
    </p:spTree>
    <p:extLst>
      <p:ext uri="{BB962C8B-B14F-4D97-AF65-F5344CB8AC3E}">
        <p14:creationId xmlns:p14="http://schemas.microsoft.com/office/powerpoint/2010/main" val="261236103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sz="half" idx="1"/>
          </p:nvPr>
        </p:nvSpPr>
        <p:spPr>
          <a:xfrm>
            <a:off x="838200" y="1825625"/>
            <a:ext cx="5181600" cy="4351338"/>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p:cNvSpPr>
            <a:spLocks noGrp="1"/>
          </p:cNvSpPr>
          <p:nvPr>
            <p:ph sz="half" idx="2"/>
          </p:nvPr>
        </p:nvSpPr>
        <p:spPr>
          <a:xfrm>
            <a:off x="6172200" y="1825625"/>
            <a:ext cx="5181600" cy="4351338"/>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e la date 4"/>
          <p:cNvSpPr>
            <a:spLocks noGrp="1"/>
          </p:cNvSpPr>
          <p:nvPr>
            <p:ph type="dt" sz="half" idx="10"/>
          </p:nvPr>
        </p:nvSpPr>
        <p:spPr/>
        <p:txBody>
          <a:bodyPr/>
          <a:lstStyle/>
          <a:p>
            <a:fld id="{5EF27816-6426-453E-A161-5D470619F954}" type="datetimeFigureOut">
              <a:rPr lang="fr-FR" smtClean="0"/>
              <a:t>15/05/2024</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60D50290-7864-48CB-90FD-CA3D03E700D4}" type="slidenum">
              <a:rPr lang="fr-FR" smtClean="0"/>
              <a:t>‹N°›</a:t>
            </a:fld>
            <a:endParaRPr lang="fr-FR"/>
          </a:p>
        </p:txBody>
      </p:sp>
    </p:spTree>
    <p:extLst>
      <p:ext uri="{BB962C8B-B14F-4D97-AF65-F5344CB8AC3E}">
        <p14:creationId xmlns:p14="http://schemas.microsoft.com/office/powerpoint/2010/main" val="95450416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1524000" y="1122363"/>
            <a:ext cx="9144000" cy="2387600"/>
          </a:xfrm>
        </p:spPr>
        <p:txBody>
          <a:bodyPr anchor="b"/>
          <a:lstStyle>
            <a:lvl1pPr algn="ctr">
              <a:defRPr sz="4500"/>
            </a:lvl1pPr>
          </a:lstStyle>
          <a:p>
            <a:r>
              <a:rPr lang="fr-FR"/>
              <a:t>Modifiez le style du titre</a:t>
            </a:r>
            <a:endParaRPr lang="en-US"/>
          </a:p>
        </p:txBody>
      </p:sp>
      <p:sp>
        <p:nvSpPr>
          <p:cNvPr id="3" name="Sous-titre 2"/>
          <p:cNvSpPr>
            <a:spLocks noGrp="1"/>
          </p:cNvSpPr>
          <p:nvPr>
            <p:ph type="subTitle" idx="1"/>
          </p:nvPr>
        </p:nvSpPr>
        <p:spPr>
          <a:xfrm>
            <a:off x="1524000" y="3602038"/>
            <a:ext cx="9144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fr-FR"/>
              <a:t>Modifier le style des sous-titres du masque</a:t>
            </a:r>
            <a:endParaRPr lang="en-US"/>
          </a:p>
        </p:txBody>
      </p:sp>
      <p:sp>
        <p:nvSpPr>
          <p:cNvPr id="4" name="Espace réservé de la date 3"/>
          <p:cNvSpPr>
            <a:spLocks noGrp="1"/>
          </p:cNvSpPr>
          <p:nvPr>
            <p:ph type="dt" sz="half" idx="10"/>
          </p:nvPr>
        </p:nvSpPr>
        <p:spPr/>
        <p:txBody>
          <a:bodyPr/>
          <a:lstStyle/>
          <a:p>
            <a:endParaRPr lang="en-US" dirty="0">
              <a:solidFill>
                <a:prstClr val="black">
                  <a:tint val="75000"/>
                </a:prstClr>
              </a:solidFill>
            </a:endParaRPr>
          </a:p>
        </p:txBody>
      </p:sp>
      <p:sp>
        <p:nvSpPr>
          <p:cNvPr id="5" name="Espace réservé du pied de page 4"/>
          <p:cNvSpPr>
            <a:spLocks noGrp="1"/>
          </p:cNvSpPr>
          <p:nvPr>
            <p:ph type="ftr" sz="quarter" idx="11"/>
          </p:nvPr>
        </p:nvSpPr>
        <p:spPr/>
        <p:txBody>
          <a:bodyPr/>
          <a:lstStyle/>
          <a:p>
            <a:endParaRPr lang="en-US" dirty="0">
              <a:solidFill>
                <a:prstClr val="black">
                  <a:tint val="75000"/>
                </a:prstClr>
              </a:solidFill>
            </a:endParaRPr>
          </a:p>
        </p:txBody>
      </p:sp>
      <p:sp>
        <p:nvSpPr>
          <p:cNvPr id="6" name="Espace réservé du numéro de diapositive 5"/>
          <p:cNvSpPr>
            <a:spLocks noGrp="1"/>
          </p:cNvSpPr>
          <p:nvPr>
            <p:ph type="sldNum" sz="quarter" idx="12"/>
          </p:nvPr>
        </p:nvSpPr>
        <p:spPr/>
        <p:txBody>
          <a:bodyPr/>
          <a:lstStyle/>
          <a:p>
            <a:fld id="{B9902624-945D-4BF9-AF49-E915AA8C07FB}" type="slidenum">
              <a:rPr lang="en-US" smtClean="0">
                <a:solidFill>
                  <a:prstClr val="black">
                    <a:tint val="75000"/>
                  </a:prstClr>
                </a:solidFill>
              </a:rPr>
              <a:pPr/>
              <a:t>‹N°›</a:t>
            </a:fld>
            <a:endParaRPr lang="en-US" dirty="0">
              <a:solidFill>
                <a:prstClr val="black">
                  <a:tint val="75000"/>
                </a:prstClr>
              </a:solidFill>
            </a:endParaRPr>
          </a:p>
        </p:txBody>
      </p:sp>
    </p:spTree>
    <p:extLst>
      <p:ext uri="{BB962C8B-B14F-4D97-AF65-F5344CB8AC3E}">
        <p14:creationId xmlns:p14="http://schemas.microsoft.com/office/powerpoint/2010/main" val="390095088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endParaRPr lang="en-US"/>
          </a:p>
        </p:txBody>
      </p:sp>
      <p:sp>
        <p:nvSpPr>
          <p:cNvPr id="3" name="Espace réservé du contenu 2"/>
          <p:cNvSpPr>
            <a:spLocks noGrp="1"/>
          </p:cNvSpPr>
          <p:nvPr>
            <p:ph idx="1"/>
          </p:nvPr>
        </p:nvSpPr>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Espace réservé de la date 3"/>
          <p:cNvSpPr>
            <a:spLocks noGrp="1"/>
          </p:cNvSpPr>
          <p:nvPr>
            <p:ph type="dt" sz="half" idx="10"/>
          </p:nvPr>
        </p:nvSpPr>
        <p:spPr/>
        <p:txBody>
          <a:bodyPr/>
          <a:lstStyle/>
          <a:p>
            <a:endParaRPr lang="en-US" dirty="0">
              <a:solidFill>
                <a:prstClr val="black">
                  <a:tint val="75000"/>
                </a:prstClr>
              </a:solidFill>
            </a:endParaRPr>
          </a:p>
        </p:txBody>
      </p:sp>
      <p:sp>
        <p:nvSpPr>
          <p:cNvPr id="5" name="Espace réservé du pied de page 4"/>
          <p:cNvSpPr>
            <a:spLocks noGrp="1"/>
          </p:cNvSpPr>
          <p:nvPr>
            <p:ph type="ftr" sz="quarter" idx="11"/>
          </p:nvPr>
        </p:nvSpPr>
        <p:spPr/>
        <p:txBody>
          <a:bodyPr/>
          <a:lstStyle/>
          <a:p>
            <a:endParaRPr lang="en-US" dirty="0">
              <a:solidFill>
                <a:prstClr val="black">
                  <a:tint val="75000"/>
                </a:prstClr>
              </a:solidFill>
            </a:endParaRPr>
          </a:p>
        </p:txBody>
      </p:sp>
      <p:sp>
        <p:nvSpPr>
          <p:cNvPr id="6" name="Espace réservé du numéro de diapositive 5"/>
          <p:cNvSpPr>
            <a:spLocks noGrp="1"/>
          </p:cNvSpPr>
          <p:nvPr>
            <p:ph type="sldNum" sz="quarter" idx="12"/>
          </p:nvPr>
        </p:nvSpPr>
        <p:spPr/>
        <p:txBody>
          <a:bodyPr/>
          <a:lstStyle/>
          <a:p>
            <a:fld id="{B9902624-945D-4BF9-AF49-E915AA8C07FB}" type="slidenum">
              <a:rPr lang="en-US" smtClean="0">
                <a:solidFill>
                  <a:prstClr val="black">
                    <a:tint val="75000"/>
                  </a:prstClr>
                </a:solidFill>
              </a:rPr>
              <a:pPr/>
              <a:t>‹N°›</a:t>
            </a:fld>
            <a:endParaRPr lang="en-US" dirty="0">
              <a:solidFill>
                <a:prstClr val="black">
                  <a:tint val="75000"/>
                </a:prstClr>
              </a:solidFill>
            </a:endParaRPr>
          </a:p>
        </p:txBody>
      </p:sp>
    </p:spTree>
    <p:extLst>
      <p:ext uri="{BB962C8B-B14F-4D97-AF65-F5344CB8AC3E}">
        <p14:creationId xmlns:p14="http://schemas.microsoft.com/office/powerpoint/2010/main" val="410676071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831851" y="1709740"/>
            <a:ext cx="10515600" cy="2852737"/>
          </a:xfrm>
        </p:spPr>
        <p:txBody>
          <a:bodyPr anchor="b"/>
          <a:lstStyle>
            <a:lvl1pPr>
              <a:defRPr sz="4500"/>
            </a:lvl1pPr>
          </a:lstStyle>
          <a:p>
            <a:r>
              <a:rPr lang="fr-FR"/>
              <a:t>Modifiez le style du titre</a:t>
            </a:r>
            <a:endParaRPr lang="en-US"/>
          </a:p>
        </p:txBody>
      </p:sp>
      <p:sp>
        <p:nvSpPr>
          <p:cNvPr id="3" name="Espace réservé du texte 2"/>
          <p:cNvSpPr>
            <a:spLocks noGrp="1"/>
          </p:cNvSpPr>
          <p:nvPr>
            <p:ph type="body" idx="1"/>
          </p:nvPr>
        </p:nvSpPr>
        <p:spPr>
          <a:xfrm>
            <a:off x="831851" y="4589465"/>
            <a:ext cx="105156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fr-FR"/>
              <a:t>Modifier les styles du texte du masque</a:t>
            </a:r>
          </a:p>
        </p:txBody>
      </p:sp>
      <p:sp>
        <p:nvSpPr>
          <p:cNvPr id="4" name="Espace réservé de la date 3"/>
          <p:cNvSpPr>
            <a:spLocks noGrp="1"/>
          </p:cNvSpPr>
          <p:nvPr>
            <p:ph type="dt" sz="half" idx="10"/>
          </p:nvPr>
        </p:nvSpPr>
        <p:spPr/>
        <p:txBody>
          <a:bodyPr/>
          <a:lstStyle/>
          <a:p>
            <a:endParaRPr lang="en-US" dirty="0">
              <a:solidFill>
                <a:prstClr val="black">
                  <a:tint val="75000"/>
                </a:prstClr>
              </a:solidFill>
            </a:endParaRPr>
          </a:p>
        </p:txBody>
      </p:sp>
      <p:sp>
        <p:nvSpPr>
          <p:cNvPr id="5" name="Espace réservé du pied de page 4"/>
          <p:cNvSpPr>
            <a:spLocks noGrp="1"/>
          </p:cNvSpPr>
          <p:nvPr>
            <p:ph type="ftr" sz="quarter" idx="11"/>
          </p:nvPr>
        </p:nvSpPr>
        <p:spPr/>
        <p:txBody>
          <a:bodyPr/>
          <a:lstStyle/>
          <a:p>
            <a:endParaRPr lang="en-US" dirty="0">
              <a:solidFill>
                <a:prstClr val="black">
                  <a:tint val="75000"/>
                </a:prstClr>
              </a:solidFill>
            </a:endParaRPr>
          </a:p>
        </p:txBody>
      </p:sp>
      <p:sp>
        <p:nvSpPr>
          <p:cNvPr id="6" name="Espace réservé du numéro de diapositive 5"/>
          <p:cNvSpPr>
            <a:spLocks noGrp="1"/>
          </p:cNvSpPr>
          <p:nvPr>
            <p:ph type="sldNum" sz="quarter" idx="12"/>
          </p:nvPr>
        </p:nvSpPr>
        <p:spPr/>
        <p:txBody>
          <a:bodyPr/>
          <a:lstStyle/>
          <a:p>
            <a:fld id="{B9902624-945D-4BF9-AF49-E915AA8C07FB}" type="slidenum">
              <a:rPr lang="en-US" smtClean="0">
                <a:solidFill>
                  <a:prstClr val="black">
                    <a:tint val="75000"/>
                  </a:prstClr>
                </a:solidFill>
              </a:rPr>
              <a:pPr/>
              <a:t>‹N°›</a:t>
            </a:fld>
            <a:endParaRPr lang="en-US" dirty="0">
              <a:solidFill>
                <a:prstClr val="black">
                  <a:tint val="75000"/>
                </a:prstClr>
              </a:solidFill>
            </a:endParaRPr>
          </a:p>
        </p:txBody>
      </p:sp>
    </p:spTree>
    <p:extLst>
      <p:ext uri="{BB962C8B-B14F-4D97-AF65-F5344CB8AC3E}">
        <p14:creationId xmlns:p14="http://schemas.microsoft.com/office/powerpoint/2010/main" val="391710741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endParaRPr lang="en-US"/>
          </a:p>
        </p:txBody>
      </p:sp>
      <p:sp>
        <p:nvSpPr>
          <p:cNvPr id="3" name="Espace réservé du contenu 2"/>
          <p:cNvSpPr>
            <a:spLocks noGrp="1"/>
          </p:cNvSpPr>
          <p:nvPr>
            <p:ph sz="half" idx="1"/>
          </p:nvPr>
        </p:nvSpPr>
        <p:spPr>
          <a:xfrm>
            <a:off x="838200" y="1825625"/>
            <a:ext cx="5181600" cy="435133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Espace réservé du contenu 3"/>
          <p:cNvSpPr>
            <a:spLocks noGrp="1"/>
          </p:cNvSpPr>
          <p:nvPr>
            <p:ph sz="half" idx="2"/>
          </p:nvPr>
        </p:nvSpPr>
        <p:spPr>
          <a:xfrm>
            <a:off x="6172200" y="1825625"/>
            <a:ext cx="5181600" cy="435133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Espace réservé de la date 4"/>
          <p:cNvSpPr>
            <a:spLocks noGrp="1"/>
          </p:cNvSpPr>
          <p:nvPr>
            <p:ph type="dt" sz="half" idx="10"/>
          </p:nvPr>
        </p:nvSpPr>
        <p:spPr/>
        <p:txBody>
          <a:bodyPr/>
          <a:lstStyle/>
          <a:p>
            <a:endParaRPr lang="en-US" dirty="0">
              <a:solidFill>
                <a:prstClr val="black">
                  <a:tint val="75000"/>
                </a:prstClr>
              </a:solidFill>
            </a:endParaRPr>
          </a:p>
        </p:txBody>
      </p:sp>
      <p:sp>
        <p:nvSpPr>
          <p:cNvPr id="6" name="Espace réservé du pied de page 5"/>
          <p:cNvSpPr>
            <a:spLocks noGrp="1"/>
          </p:cNvSpPr>
          <p:nvPr>
            <p:ph type="ftr" sz="quarter" idx="11"/>
          </p:nvPr>
        </p:nvSpPr>
        <p:spPr/>
        <p:txBody>
          <a:bodyPr/>
          <a:lstStyle/>
          <a:p>
            <a:endParaRPr lang="en-US" dirty="0">
              <a:solidFill>
                <a:prstClr val="black">
                  <a:tint val="75000"/>
                </a:prstClr>
              </a:solidFill>
            </a:endParaRPr>
          </a:p>
        </p:txBody>
      </p:sp>
      <p:sp>
        <p:nvSpPr>
          <p:cNvPr id="7" name="Espace réservé du numéro de diapositive 6"/>
          <p:cNvSpPr>
            <a:spLocks noGrp="1"/>
          </p:cNvSpPr>
          <p:nvPr>
            <p:ph type="sldNum" sz="quarter" idx="12"/>
          </p:nvPr>
        </p:nvSpPr>
        <p:spPr/>
        <p:txBody>
          <a:bodyPr/>
          <a:lstStyle/>
          <a:p>
            <a:fld id="{B9902624-945D-4BF9-AF49-E915AA8C07FB}" type="slidenum">
              <a:rPr lang="en-US" smtClean="0">
                <a:solidFill>
                  <a:prstClr val="black">
                    <a:tint val="75000"/>
                  </a:prstClr>
                </a:solidFill>
              </a:rPr>
              <a:pPr/>
              <a:t>‹N°›</a:t>
            </a:fld>
            <a:endParaRPr lang="en-US" dirty="0">
              <a:solidFill>
                <a:prstClr val="black">
                  <a:tint val="75000"/>
                </a:prstClr>
              </a:solidFill>
            </a:endParaRPr>
          </a:p>
        </p:txBody>
      </p:sp>
    </p:spTree>
    <p:extLst>
      <p:ext uri="{BB962C8B-B14F-4D97-AF65-F5344CB8AC3E}">
        <p14:creationId xmlns:p14="http://schemas.microsoft.com/office/powerpoint/2010/main" val="21714215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839788" y="365127"/>
            <a:ext cx="10515600" cy="1325563"/>
          </a:xfrm>
        </p:spPr>
        <p:txBody>
          <a:bodyPr/>
          <a:lstStyle/>
          <a:p>
            <a:r>
              <a:rPr lang="fr-FR"/>
              <a:t>Modifiez le style du titre</a:t>
            </a:r>
            <a:endParaRPr lang="en-US"/>
          </a:p>
        </p:txBody>
      </p:sp>
      <p:sp>
        <p:nvSpPr>
          <p:cNvPr id="3" name="Espace réservé du texte 2"/>
          <p:cNvSpPr>
            <a:spLocks noGrp="1"/>
          </p:cNvSpPr>
          <p:nvPr>
            <p:ph type="body" idx="1"/>
          </p:nvPr>
        </p:nvSpPr>
        <p:spPr>
          <a:xfrm>
            <a:off x="839789" y="1681163"/>
            <a:ext cx="5157787"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fr-FR"/>
              <a:t>Modifier les styles du texte du masque</a:t>
            </a:r>
          </a:p>
        </p:txBody>
      </p:sp>
      <p:sp>
        <p:nvSpPr>
          <p:cNvPr id="4" name="Espace réservé du contenu 3"/>
          <p:cNvSpPr>
            <a:spLocks noGrp="1"/>
          </p:cNvSpPr>
          <p:nvPr>
            <p:ph sz="half" idx="2"/>
          </p:nvPr>
        </p:nvSpPr>
        <p:spPr>
          <a:xfrm>
            <a:off x="839789" y="2505075"/>
            <a:ext cx="5157787" cy="368458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Espace réservé du texte 4"/>
          <p:cNvSpPr>
            <a:spLocks noGrp="1"/>
          </p:cNvSpPr>
          <p:nvPr>
            <p:ph type="body" sz="quarter" idx="3"/>
          </p:nvPr>
        </p:nvSpPr>
        <p:spPr>
          <a:xfrm>
            <a:off x="6172201" y="1681163"/>
            <a:ext cx="5183188"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fr-FR"/>
              <a:t>Modifier les styles du texte du masque</a:t>
            </a:r>
          </a:p>
        </p:txBody>
      </p:sp>
      <p:sp>
        <p:nvSpPr>
          <p:cNvPr id="6" name="Espace réservé du contenu 5"/>
          <p:cNvSpPr>
            <a:spLocks noGrp="1"/>
          </p:cNvSpPr>
          <p:nvPr>
            <p:ph sz="quarter" idx="4"/>
          </p:nvPr>
        </p:nvSpPr>
        <p:spPr>
          <a:xfrm>
            <a:off x="6172201" y="2505075"/>
            <a:ext cx="5183188" cy="368458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7" name="Espace réservé de la date 6"/>
          <p:cNvSpPr>
            <a:spLocks noGrp="1"/>
          </p:cNvSpPr>
          <p:nvPr>
            <p:ph type="dt" sz="half" idx="10"/>
          </p:nvPr>
        </p:nvSpPr>
        <p:spPr/>
        <p:txBody>
          <a:bodyPr/>
          <a:lstStyle/>
          <a:p>
            <a:endParaRPr lang="en-US" dirty="0">
              <a:solidFill>
                <a:prstClr val="black">
                  <a:tint val="75000"/>
                </a:prstClr>
              </a:solidFill>
            </a:endParaRPr>
          </a:p>
        </p:txBody>
      </p:sp>
      <p:sp>
        <p:nvSpPr>
          <p:cNvPr id="8" name="Espace réservé du pied de page 7"/>
          <p:cNvSpPr>
            <a:spLocks noGrp="1"/>
          </p:cNvSpPr>
          <p:nvPr>
            <p:ph type="ftr" sz="quarter" idx="11"/>
          </p:nvPr>
        </p:nvSpPr>
        <p:spPr/>
        <p:txBody>
          <a:bodyPr/>
          <a:lstStyle/>
          <a:p>
            <a:endParaRPr lang="en-US" dirty="0">
              <a:solidFill>
                <a:prstClr val="black">
                  <a:tint val="75000"/>
                </a:prstClr>
              </a:solidFill>
            </a:endParaRPr>
          </a:p>
        </p:txBody>
      </p:sp>
      <p:sp>
        <p:nvSpPr>
          <p:cNvPr id="9" name="Espace réservé du numéro de diapositive 8"/>
          <p:cNvSpPr>
            <a:spLocks noGrp="1"/>
          </p:cNvSpPr>
          <p:nvPr>
            <p:ph type="sldNum" sz="quarter" idx="12"/>
          </p:nvPr>
        </p:nvSpPr>
        <p:spPr/>
        <p:txBody>
          <a:bodyPr/>
          <a:lstStyle/>
          <a:p>
            <a:fld id="{B9902624-945D-4BF9-AF49-E915AA8C07FB}" type="slidenum">
              <a:rPr lang="en-US" smtClean="0">
                <a:solidFill>
                  <a:prstClr val="black">
                    <a:tint val="75000"/>
                  </a:prstClr>
                </a:solidFill>
              </a:rPr>
              <a:pPr/>
              <a:t>‹N°›</a:t>
            </a:fld>
            <a:endParaRPr lang="en-US" dirty="0">
              <a:solidFill>
                <a:prstClr val="black">
                  <a:tint val="75000"/>
                </a:prstClr>
              </a:solidFill>
            </a:endParaRPr>
          </a:p>
        </p:txBody>
      </p:sp>
    </p:spTree>
    <p:extLst>
      <p:ext uri="{BB962C8B-B14F-4D97-AF65-F5344CB8AC3E}">
        <p14:creationId xmlns:p14="http://schemas.microsoft.com/office/powerpoint/2010/main" val="278082021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endParaRPr lang="en-US"/>
          </a:p>
        </p:txBody>
      </p:sp>
      <p:sp>
        <p:nvSpPr>
          <p:cNvPr id="3" name="Espace réservé de la date 2"/>
          <p:cNvSpPr>
            <a:spLocks noGrp="1"/>
          </p:cNvSpPr>
          <p:nvPr>
            <p:ph type="dt" sz="half" idx="10"/>
          </p:nvPr>
        </p:nvSpPr>
        <p:spPr/>
        <p:txBody>
          <a:bodyPr/>
          <a:lstStyle/>
          <a:p>
            <a:endParaRPr lang="en-US" dirty="0">
              <a:solidFill>
                <a:prstClr val="black">
                  <a:tint val="75000"/>
                </a:prstClr>
              </a:solidFill>
            </a:endParaRPr>
          </a:p>
        </p:txBody>
      </p:sp>
      <p:sp>
        <p:nvSpPr>
          <p:cNvPr id="4" name="Espace réservé du pied de page 3"/>
          <p:cNvSpPr>
            <a:spLocks noGrp="1"/>
          </p:cNvSpPr>
          <p:nvPr>
            <p:ph type="ftr" sz="quarter" idx="11"/>
          </p:nvPr>
        </p:nvSpPr>
        <p:spPr/>
        <p:txBody>
          <a:bodyPr/>
          <a:lstStyle/>
          <a:p>
            <a:endParaRPr lang="en-US" dirty="0">
              <a:solidFill>
                <a:prstClr val="black">
                  <a:tint val="75000"/>
                </a:prstClr>
              </a:solidFill>
            </a:endParaRPr>
          </a:p>
        </p:txBody>
      </p:sp>
      <p:sp>
        <p:nvSpPr>
          <p:cNvPr id="5" name="Espace réservé du numéro de diapositive 4"/>
          <p:cNvSpPr>
            <a:spLocks noGrp="1"/>
          </p:cNvSpPr>
          <p:nvPr>
            <p:ph type="sldNum" sz="quarter" idx="12"/>
          </p:nvPr>
        </p:nvSpPr>
        <p:spPr/>
        <p:txBody>
          <a:bodyPr/>
          <a:lstStyle/>
          <a:p>
            <a:fld id="{B9902624-945D-4BF9-AF49-E915AA8C07FB}" type="slidenum">
              <a:rPr lang="en-US" smtClean="0">
                <a:solidFill>
                  <a:prstClr val="black">
                    <a:tint val="75000"/>
                  </a:prstClr>
                </a:solidFill>
              </a:rPr>
              <a:pPr/>
              <a:t>‹N°›</a:t>
            </a:fld>
            <a:endParaRPr lang="en-US" dirty="0">
              <a:solidFill>
                <a:prstClr val="black">
                  <a:tint val="75000"/>
                </a:prstClr>
              </a:solidFill>
            </a:endParaRPr>
          </a:p>
        </p:txBody>
      </p:sp>
    </p:spTree>
    <p:extLst>
      <p:ext uri="{BB962C8B-B14F-4D97-AF65-F5344CB8AC3E}">
        <p14:creationId xmlns:p14="http://schemas.microsoft.com/office/powerpoint/2010/main" val="15314139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endParaRPr lang="en-US" dirty="0">
              <a:solidFill>
                <a:prstClr val="black">
                  <a:tint val="75000"/>
                </a:prstClr>
              </a:solidFill>
            </a:endParaRPr>
          </a:p>
        </p:txBody>
      </p:sp>
      <p:sp>
        <p:nvSpPr>
          <p:cNvPr id="3" name="Espace réservé du pied de page 2"/>
          <p:cNvSpPr>
            <a:spLocks noGrp="1"/>
          </p:cNvSpPr>
          <p:nvPr>
            <p:ph type="ftr" sz="quarter" idx="11"/>
          </p:nvPr>
        </p:nvSpPr>
        <p:spPr/>
        <p:txBody>
          <a:bodyPr/>
          <a:lstStyle/>
          <a:p>
            <a:endParaRPr lang="en-US" dirty="0">
              <a:solidFill>
                <a:prstClr val="black">
                  <a:tint val="75000"/>
                </a:prstClr>
              </a:solidFill>
            </a:endParaRPr>
          </a:p>
        </p:txBody>
      </p:sp>
      <p:sp>
        <p:nvSpPr>
          <p:cNvPr id="4" name="Espace réservé du numéro de diapositive 3"/>
          <p:cNvSpPr>
            <a:spLocks noGrp="1"/>
          </p:cNvSpPr>
          <p:nvPr>
            <p:ph type="sldNum" sz="quarter" idx="12"/>
          </p:nvPr>
        </p:nvSpPr>
        <p:spPr/>
        <p:txBody>
          <a:bodyPr/>
          <a:lstStyle/>
          <a:p>
            <a:fld id="{B9902624-945D-4BF9-AF49-E915AA8C07FB}" type="slidenum">
              <a:rPr lang="en-US" smtClean="0">
                <a:solidFill>
                  <a:prstClr val="black">
                    <a:tint val="75000"/>
                  </a:prstClr>
                </a:solidFill>
              </a:rPr>
              <a:pPr/>
              <a:t>‹N°›</a:t>
            </a:fld>
            <a:endParaRPr lang="en-US" dirty="0">
              <a:solidFill>
                <a:prstClr val="black">
                  <a:tint val="75000"/>
                </a:prstClr>
              </a:solidFill>
            </a:endParaRPr>
          </a:p>
        </p:txBody>
      </p:sp>
    </p:spTree>
    <p:extLst>
      <p:ext uri="{BB962C8B-B14F-4D97-AF65-F5344CB8AC3E}">
        <p14:creationId xmlns:p14="http://schemas.microsoft.com/office/powerpoint/2010/main" val="43806442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839788" y="457200"/>
            <a:ext cx="3932237" cy="1600200"/>
          </a:xfrm>
        </p:spPr>
        <p:txBody>
          <a:bodyPr anchor="b"/>
          <a:lstStyle>
            <a:lvl1pPr>
              <a:defRPr sz="2400"/>
            </a:lvl1pPr>
          </a:lstStyle>
          <a:p>
            <a:r>
              <a:rPr lang="fr-FR"/>
              <a:t>Modifiez le style du titre</a:t>
            </a:r>
            <a:endParaRPr lang="en-US"/>
          </a:p>
        </p:txBody>
      </p:sp>
      <p:sp>
        <p:nvSpPr>
          <p:cNvPr id="3" name="Espace réservé du contenu 2"/>
          <p:cNvSpPr>
            <a:spLocks noGrp="1"/>
          </p:cNvSpPr>
          <p:nvPr>
            <p:ph idx="1"/>
          </p:nvPr>
        </p:nvSpPr>
        <p:spPr>
          <a:xfrm>
            <a:off x="5183188" y="987427"/>
            <a:ext cx="617220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Espace réservé du texte 3"/>
          <p:cNvSpPr>
            <a:spLocks noGrp="1"/>
          </p:cNvSpPr>
          <p:nvPr>
            <p:ph type="body" sz="half" idx="2"/>
          </p:nvPr>
        </p:nvSpPr>
        <p:spPr>
          <a:xfrm>
            <a:off x="839788" y="2057400"/>
            <a:ext cx="3932237"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fr-FR"/>
              <a:t>Modifier les styles du texte du masque</a:t>
            </a:r>
          </a:p>
        </p:txBody>
      </p:sp>
      <p:sp>
        <p:nvSpPr>
          <p:cNvPr id="5" name="Espace réservé de la date 4"/>
          <p:cNvSpPr>
            <a:spLocks noGrp="1"/>
          </p:cNvSpPr>
          <p:nvPr>
            <p:ph type="dt" sz="half" idx="10"/>
          </p:nvPr>
        </p:nvSpPr>
        <p:spPr/>
        <p:txBody>
          <a:bodyPr/>
          <a:lstStyle/>
          <a:p>
            <a:endParaRPr lang="en-US" dirty="0">
              <a:solidFill>
                <a:prstClr val="black">
                  <a:tint val="75000"/>
                </a:prstClr>
              </a:solidFill>
            </a:endParaRPr>
          </a:p>
        </p:txBody>
      </p:sp>
      <p:sp>
        <p:nvSpPr>
          <p:cNvPr id="6" name="Espace réservé du pied de page 5"/>
          <p:cNvSpPr>
            <a:spLocks noGrp="1"/>
          </p:cNvSpPr>
          <p:nvPr>
            <p:ph type="ftr" sz="quarter" idx="11"/>
          </p:nvPr>
        </p:nvSpPr>
        <p:spPr/>
        <p:txBody>
          <a:bodyPr/>
          <a:lstStyle/>
          <a:p>
            <a:endParaRPr lang="en-US" dirty="0">
              <a:solidFill>
                <a:prstClr val="black">
                  <a:tint val="75000"/>
                </a:prstClr>
              </a:solidFill>
            </a:endParaRPr>
          </a:p>
        </p:txBody>
      </p:sp>
      <p:sp>
        <p:nvSpPr>
          <p:cNvPr id="7" name="Espace réservé du numéro de diapositive 6"/>
          <p:cNvSpPr>
            <a:spLocks noGrp="1"/>
          </p:cNvSpPr>
          <p:nvPr>
            <p:ph type="sldNum" sz="quarter" idx="12"/>
          </p:nvPr>
        </p:nvSpPr>
        <p:spPr/>
        <p:txBody>
          <a:bodyPr/>
          <a:lstStyle/>
          <a:p>
            <a:fld id="{B9902624-945D-4BF9-AF49-E915AA8C07FB}" type="slidenum">
              <a:rPr lang="en-US" smtClean="0">
                <a:solidFill>
                  <a:prstClr val="black">
                    <a:tint val="75000"/>
                  </a:prstClr>
                </a:solidFill>
              </a:rPr>
              <a:pPr/>
              <a:t>‹N°›</a:t>
            </a:fld>
            <a:endParaRPr lang="en-US" dirty="0">
              <a:solidFill>
                <a:prstClr val="black">
                  <a:tint val="75000"/>
                </a:prstClr>
              </a:solidFill>
            </a:endParaRPr>
          </a:p>
        </p:txBody>
      </p:sp>
    </p:spTree>
    <p:extLst>
      <p:ext uri="{BB962C8B-B14F-4D97-AF65-F5344CB8AC3E}">
        <p14:creationId xmlns:p14="http://schemas.microsoft.com/office/powerpoint/2010/main" val="86708099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839788" y="457200"/>
            <a:ext cx="3932237" cy="1600200"/>
          </a:xfrm>
        </p:spPr>
        <p:txBody>
          <a:bodyPr anchor="b"/>
          <a:lstStyle>
            <a:lvl1pPr>
              <a:defRPr sz="2400"/>
            </a:lvl1pPr>
          </a:lstStyle>
          <a:p>
            <a:r>
              <a:rPr lang="fr-FR"/>
              <a:t>Modifiez le style du titre</a:t>
            </a:r>
            <a:endParaRPr lang="en-US"/>
          </a:p>
        </p:txBody>
      </p:sp>
      <p:sp>
        <p:nvSpPr>
          <p:cNvPr id="3" name="Espace réservé pour une image  2"/>
          <p:cNvSpPr>
            <a:spLocks noGrp="1"/>
          </p:cNvSpPr>
          <p:nvPr>
            <p:ph type="pic" idx="1"/>
          </p:nvPr>
        </p:nvSpPr>
        <p:spPr>
          <a:xfrm>
            <a:off x="5183188" y="987427"/>
            <a:ext cx="617220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dirty="0"/>
          </a:p>
        </p:txBody>
      </p:sp>
      <p:sp>
        <p:nvSpPr>
          <p:cNvPr id="4" name="Espace réservé du texte 3"/>
          <p:cNvSpPr>
            <a:spLocks noGrp="1"/>
          </p:cNvSpPr>
          <p:nvPr>
            <p:ph type="body" sz="half" idx="2"/>
          </p:nvPr>
        </p:nvSpPr>
        <p:spPr>
          <a:xfrm>
            <a:off x="839788" y="2057400"/>
            <a:ext cx="3932237"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fr-FR"/>
              <a:t>Modifier les styles du texte du masque</a:t>
            </a:r>
          </a:p>
        </p:txBody>
      </p:sp>
      <p:sp>
        <p:nvSpPr>
          <p:cNvPr id="5" name="Espace réservé de la date 4"/>
          <p:cNvSpPr>
            <a:spLocks noGrp="1"/>
          </p:cNvSpPr>
          <p:nvPr>
            <p:ph type="dt" sz="half" idx="10"/>
          </p:nvPr>
        </p:nvSpPr>
        <p:spPr/>
        <p:txBody>
          <a:bodyPr/>
          <a:lstStyle/>
          <a:p>
            <a:endParaRPr lang="en-US" dirty="0">
              <a:solidFill>
                <a:prstClr val="black">
                  <a:tint val="75000"/>
                </a:prstClr>
              </a:solidFill>
            </a:endParaRPr>
          </a:p>
        </p:txBody>
      </p:sp>
      <p:sp>
        <p:nvSpPr>
          <p:cNvPr id="6" name="Espace réservé du pied de page 5"/>
          <p:cNvSpPr>
            <a:spLocks noGrp="1"/>
          </p:cNvSpPr>
          <p:nvPr>
            <p:ph type="ftr" sz="quarter" idx="11"/>
          </p:nvPr>
        </p:nvSpPr>
        <p:spPr/>
        <p:txBody>
          <a:bodyPr/>
          <a:lstStyle/>
          <a:p>
            <a:endParaRPr lang="en-US" dirty="0">
              <a:solidFill>
                <a:prstClr val="black">
                  <a:tint val="75000"/>
                </a:prstClr>
              </a:solidFill>
            </a:endParaRPr>
          </a:p>
        </p:txBody>
      </p:sp>
      <p:sp>
        <p:nvSpPr>
          <p:cNvPr id="7" name="Espace réservé du numéro de diapositive 6"/>
          <p:cNvSpPr>
            <a:spLocks noGrp="1"/>
          </p:cNvSpPr>
          <p:nvPr>
            <p:ph type="sldNum" sz="quarter" idx="12"/>
          </p:nvPr>
        </p:nvSpPr>
        <p:spPr/>
        <p:txBody>
          <a:bodyPr/>
          <a:lstStyle/>
          <a:p>
            <a:fld id="{B9902624-945D-4BF9-AF49-E915AA8C07FB}" type="slidenum">
              <a:rPr lang="en-US" smtClean="0">
                <a:solidFill>
                  <a:prstClr val="black">
                    <a:tint val="75000"/>
                  </a:prstClr>
                </a:solidFill>
              </a:rPr>
              <a:pPr/>
              <a:t>‹N°›</a:t>
            </a:fld>
            <a:endParaRPr lang="en-US" dirty="0">
              <a:solidFill>
                <a:prstClr val="black">
                  <a:tint val="75000"/>
                </a:prstClr>
              </a:solidFill>
            </a:endParaRPr>
          </a:p>
        </p:txBody>
      </p:sp>
    </p:spTree>
    <p:extLst>
      <p:ext uri="{BB962C8B-B14F-4D97-AF65-F5344CB8AC3E}">
        <p14:creationId xmlns:p14="http://schemas.microsoft.com/office/powerpoint/2010/main" val="332843408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endParaRPr lang="en-US"/>
          </a:p>
        </p:txBody>
      </p:sp>
      <p:sp>
        <p:nvSpPr>
          <p:cNvPr id="3" name="Espace réservé du texte vertical 2"/>
          <p:cNvSpPr>
            <a:spLocks noGrp="1"/>
          </p:cNvSpPr>
          <p:nvPr>
            <p:ph type="body" orient="vert" idx="1"/>
          </p:nvPr>
        </p:nvSpPr>
        <p:spPr/>
        <p:txBody>
          <a:bodyPr vert="eaVert"/>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Espace réservé de la date 3"/>
          <p:cNvSpPr>
            <a:spLocks noGrp="1"/>
          </p:cNvSpPr>
          <p:nvPr>
            <p:ph type="dt" sz="half" idx="10"/>
          </p:nvPr>
        </p:nvSpPr>
        <p:spPr/>
        <p:txBody>
          <a:bodyPr/>
          <a:lstStyle/>
          <a:p>
            <a:endParaRPr lang="en-US" dirty="0">
              <a:solidFill>
                <a:prstClr val="black">
                  <a:tint val="75000"/>
                </a:prstClr>
              </a:solidFill>
            </a:endParaRPr>
          </a:p>
        </p:txBody>
      </p:sp>
      <p:sp>
        <p:nvSpPr>
          <p:cNvPr id="5" name="Espace réservé du pied de page 4"/>
          <p:cNvSpPr>
            <a:spLocks noGrp="1"/>
          </p:cNvSpPr>
          <p:nvPr>
            <p:ph type="ftr" sz="quarter" idx="11"/>
          </p:nvPr>
        </p:nvSpPr>
        <p:spPr/>
        <p:txBody>
          <a:bodyPr/>
          <a:lstStyle/>
          <a:p>
            <a:endParaRPr lang="en-US" dirty="0">
              <a:solidFill>
                <a:prstClr val="black">
                  <a:tint val="75000"/>
                </a:prstClr>
              </a:solidFill>
            </a:endParaRPr>
          </a:p>
        </p:txBody>
      </p:sp>
      <p:sp>
        <p:nvSpPr>
          <p:cNvPr id="6" name="Espace réservé du numéro de diapositive 5"/>
          <p:cNvSpPr>
            <a:spLocks noGrp="1"/>
          </p:cNvSpPr>
          <p:nvPr>
            <p:ph type="sldNum" sz="quarter" idx="12"/>
          </p:nvPr>
        </p:nvSpPr>
        <p:spPr/>
        <p:txBody>
          <a:bodyPr/>
          <a:lstStyle/>
          <a:p>
            <a:fld id="{B9902624-945D-4BF9-AF49-E915AA8C07FB}" type="slidenum">
              <a:rPr lang="en-US" smtClean="0">
                <a:solidFill>
                  <a:prstClr val="black">
                    <a:tint val="75000"/>
                  </a:prstClr>
                </a:solidFill>
              </a:rPr>
              <a:pPr/>
              <a:t>‹N°›</a:t>
            </a:fld>
            <a:endParaRPr lang="en-US" dirty="0">
              <a:solidFill>
                <a:prstClr val="black">
                  <a:tint val="75000"/>
                </a:prstClr>
              </a:solidFill>
            </a:endParaRPr>
          </a:p>
        </p:txBody>
      </p:sp>
    </p:spTree>
    <p:extLst>
      <p:ext uri="{BB962C8B-B14F-4D97-AF65-F5344CB8AC3E}">
        <p14:creationId xmlns:p14="http://schemas.microsoft.com/office/powerpoint/2010/main" val="21718813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839788" y="365125"/>
            <a:ext cx="10515600" cy="1325563"/>
          </a:xfrm>
        </p:spPr>
        <p:txBody>
          <a:bodyPr/>
          <a:lstStyle/>
          <a:p>
            <a:r>
              <a:rPr lang="fr-FR"/>
              <a:t>Modifiez le style du titre</a:t>
            </a:r>
          </a:p>
        </p:txBody>
      </p:sp>
      <p:sp>
        <p:nvSpPr>
          <p:cNvPr id="3" name="Espace réservé du texte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z les styles du texte du masque</a:t>
            </a:r>
          </a:p>
        </p:txBody>
      </p:sp>
      <p:sp>
        <p:nvSpPr>
          <p:cNvPr id="4" name="Espace réservé du contenu 3"/>
          <p:cNvSpPr>
            <a:spLocks noGrp="1"/>
          </p:cNvSpPr>
          <p:nvPr>
            <p:ph sz="half" idx="2"/>
          </p:nvPr>
        </p:nvSpPr>
        <p:spPr>
          <a:xfrm>
            <a:off x="839788" y="2505075"/>
            <a:ext cx="5157787" cy="3684588"/>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z les styles du texte du masque</a:t>
            </a:r>
          </a:p>
        </p:txBody>
      </p:sp>
      <p:sp>
        <p:nvSpPr>
          <p:cNvPr id="6" name="Espace réservé du contenu 5"/>
          <p:cNvSpPr>
            <a:spLocks noGrp="1"/>
          </p:cNvSpPr>
          <p:nvPr>
            <p:ph sz="quarter" idx="4"/>
          </p:nvPr>
        </p:nvSpPr>
        <p:spPr>
          <a:xfrm>
            <a:off x="6172200" y="2505075"/>
            <a:ext cx="5183188" cy="3684588"/>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p:cNvSpPr>
            <a:spLocks noGrp="1"/>
          </p:cNvSpPr>
          <p:nvPr>
            <p:ph type="dt" sz="half" idx="10"/>
          </p:nvPr>
        </p:nvSpPr>
        <p:spPr/>
        <p:txBody>
          <a:bodyPr/>
          <a:lstStyle/>
          <a:p>
            <a:fld id="{5EF27816-6426-453E-A161-5D470619F954}" type="datetimeFigureOut">
              <a:rPr lang="fr-FR" smtClean="0"/>
              <a:t>15/05/2024</a:t>
            </a:fld>
            <a:endParaRPr lang="fr-FR"/>
          </a:p>
        </p:txBody>
      </p:sp>
      <p:sp>
        <p:nvSpPr>
          <p:cNvPr id="8" name="Espace réservé du pied de page 7"/>
          <p:cNvSpPr>
            <a:spLocks noGrp="1"/>
          </p:cNvSpPr>
          <p:nvPr>
            <p:ph type="ftr" sz="quarter" idx="11"/>
          </p:nvPr>
        </p:nvSpPr>
        <p:spPr/>
        <p:txBody>
          <a:bodyPr/>
          <a:lstStyle/>
          <a:p>
            <a:endParaRPr lang="fr-FR"/>
          </a:p>
        </p:txBody>
      </p:sp>
      <p:sp>
        <p:nvSpPr>
          <p:cNvPr id="9" name="Espace réservé du numéro de diapositive 8"/>
          <p:cNvSpPr>
            <a:spLocks noGrp="1"/>
          </p:cNvSpPr>
          <p:nvPr>
            <p:ph type="sldNum" sz="quarter" idx="12"/>
          </p:nvPr>
        </p:nvSpPr>
        <p:spPr/>
        <p:txBody>
          <a:bodyPr/>
          <a:lstStyle/>
          <a:p>
            <a:fld id="{60D50290-7864-48CB-90FD-CA3D03E700D4}" type="slidenum">
              <a:rPr lang="fr-FR" smtClean="0"/>
              <a:t>‹N°›</a:t>
            </a:fld>
            <a:endParaRPr lang="fr-FR"/>
          </a:p>
        </p:txBody>
      </p:sp>
    </p:spTree>
    <p:extLst>
      <p:ext uri="{BB962C8B-B14F-4D97-AF65-F5344CB8AC3E}">
        <p14:creationId xmlns:p14="http://schemas.microsoft.com/office/powerpoint/2010/main" val="399775559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724901" y="365125"/>
            <a:ext cx="2628900" cy="5811838"/>
          </a:xfrm>
        </p:spPr>
        <p:txBody>
          <a:bodyPr vert="eaVert"/>
          <a:lstStyle/>
          <a:p>
            <a:r>
              <a:rPr lang="fr-FR"/>
              <a:t>Modifiez le style du titre</a:t>
            </a:r>
            <a:endParaRPr lang="en-US"/>
          </a:p>
        </p:txBody>
      </p:sp>
      <p:sp>
        <p:nvSpPr>
          <p:cNvPr id="3" name="Espace réservé du texte vertical 2"/>
          <p:cNvSpPr>
            <a:spLocks noGrp="1"/>
          </p:cNvSpPr>
          <p:nvPr>
            <p:ph type="body" orient="vert" idx="1"/>
          </p:nvPr>
        </p:nvSpPr>
        <p:spPr>
          <a:xfrm>
            <a:off x="838201" y="365125"/>
            <a:ext cx="7734300" cy="5811838"/>
          </a:xfrm>
        </p:spPr>
        <p:txBody>
          <a:bodyPr vert="eaVert"/>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Espace réservé de la date 3"/>
          <p:cNvSpPr>
            <a:spLocks noGrp="1"/>
          </p:cNvSpPr>
          <p:nvPr>
            <p:ph type="dt" sz="half" idx="10"/>
          </p:nvPr>
        </p:nvSpPr>
        <p:spPr/>
        <p:txBody>
          <a:bodyPr/>
          <a:lstStyle/>
          <a:p>
            <a:endParaRPr lang="en-US" dirty="0">
              <a:solidFill>
                <a:prstClr val="black">
                  <a:tint val="75000"/>
                </a:prstClr>
              </a:solidFill>
            </a:endParaRPr>
          </a:p>
        </p:txBody>
      </p:sp>
      <p:sp>
        <p:nvSpPr>
          <p:cNvPr id="5" name="Espace réservé du pied de page 4"/>
          <p:cNvSpPr>
            <a:spLocks noGrp="1"/>
          </p:cNvSpPr>
          <p:nvPr>
            <p:ph type="ftr" sz="quarter" idx="11"/>
          </p:nvPr>
        </p:nvSpPr>
        <p:spPr/>
        <p:txBody>
          <a:bodyPr/>
          <a:lstStyle/>
          <a:p>
            <a:endParaRPr lang="en-US" dirty="0">
              <a:solidFill>
                <a:prstClr val="black">
                  <a:tint val="75000"/>
                </a:prstClr>
              </a:solidFill>
            </a:endParaRPr>
          </a:p>
        </p:txBody>
      </p:sp>
      <p:sp>
        <p:nvSpPr>
          <p:cNvPr id="6" name="Espace réservé du numéro de diapositive 5"/>
          <p:cNvSpPr>
            <a:spLocks noGrp="1"/>
          </p:cNvSpPr>
          <p:nvPr>
            <p:ph type="sldNum" sz="quarter" idx="12"/>
          </p:nvPr>
        </p:nvSpPr>
        <p:spPr/>
        <p:txBody>
          <a:bodyPr/>
          <a:lstStyle/>
          <a:p>
            <a:fld id="{B9902624-945D-4BF9-AF49-E915AA8C07FB}" type="slidenum">
              <a:rPr lang="en-US" smtClean="0">
                <a:solidFill>
                  <a:prstClr val="black">
                    <a:tint val="75000"/>
                  </a:prstClr>
                </a:solidFill>
              </a:rPr>
              <a:pPr/>
              <a:t>‹N°›</a:t>
            </a:fld>
            <a:endParaRPr lang="en-US" dirty="0">
              <a:solidFill>
                <a:prstClr val="black">
                  <a:tint val="75000"/>
                </a:prstClr>
              </a:solidFill>
            </a:endParaRPr>
          </a:p>
        </p:txBody>
      </p:sp>
    </p:spTree>
    <p:extLst>
      <p:ext uri="{BB962C8B-B14F-4D97-AF65-F5344CB8AC3E}">
        <p14:creationId xmlns:p14="http://schemas.microsoft.com/office/powerpoint/2010/main" val="358142731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Disposition personnalisée">
    <p:spTree>
      <p:nvGrpSpPr>
        <p:cNvPr id="1" name=""/>
        <p:cNvGrpSpPr/>
        <p:nvPr/>
      </p:nvGrpSpPr>
      <p:grpSpPr>
        <a:xfrm>
          <a:off x="0" y="0"/>
          <a:ext cx="0" cy="0"/>
          <a:chOff x="0" y="0"/>
          <a:chExt cx="0" cy="0"/>
        </a:xfrm>
      </p:grpSpPr>
      <p:pic>
        <p:nvPicPr>
          <p:cNvPr id="7" name="Image 6"/>
          <p:cNvPicPr>
            <a:picLocks noChangeAspect="1"/>
          </p:cNvPicPr>
          <p:nvPr userDrawn="1"/>
        </p:nvPicPr>
        <p:blipFill rotWithShape="1">
          <a:blip r:embed="rId2">
            <a:extLst>
              <a:ext uri="{28A0092B-C50C-407E-A947-70E740481C1C}">
                <a14:useLocalDpi xmlns:a14="http://schemas.microsoft.com/office/drawing/2010/main" val="0"/>
              </a:ext>
            </a:extLst>
          </a:blip>
          <a:srcRect l="35474" t="-176" r="37132" b="-26"/>
          <a:stretch/>
        </p:blipFill>
        <p:spPr>
          <a:xfrm>
            <a:off x="9112665" y="522269"/>
            <a:ext cx="3079337" cy="6335733"/>
          </a:xfrm>
          <a:prstGeom prst="rect">
            <a:avLst/>
          </a:prstGeom>
        </p:spPr>
      </p:pic>
      <p:pic>
        <p:nvPicPr>
          <p:cNvPr id="8" name="Image 7"/>
          <p:cNvPicPr>
            <a:picLocks noChangeAspect="1"/>
          </p:cNvPicPr>
          <p:nvPr userDrawn="1"/>
        </p:nvPicPr>
        <p:blipFill rotWithShape="1">
          <a:blip r:embed="rId3" cstate="print">
            <a:extLst>
              <a:ext uri="{28A0092B-C50C-407E-A947-70E740481C1C}">
                <a14:useLocalDpi xmlns:a14="http://schemas.microsoft.com/office/drawing/2010/main" val="0"/>
              </a:ext>
            </a:extLst>
          </a:blip>
          <a:srcRect l="57673" t="301" r="19871" b="-1"/>
          <a:stretch/>
        </p:blipFill>
        <p:spPr>
          <a:xfrm>
            <a:off x="3036220" y="533400"/>
            <a:ext cx="3038221" cy="6321048"/>
          </a:xfrm>
          <a:prstGeom prst="rect">
            <a:avLst/>
          </a:prstGeom>
        </p:spPr>
      </p:pic>
      <p:pic>
        <p:nvPicPr>
          <p:cNvPr id="9" name="Image 8">
            <a:extLst>
              <a:ext uri="{FF2B5EF4-FFF2-40B4-BE49-F238E27FC236}">
                <a16:creationId xmlns:a16="http://schemas.microsoft.com/office/drawing/2014/main" id="{0B4BFA3F-5D58-374A-8AC3-CFB06E8C8DF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14415" t="356" r="49688" b="-1"/>
          <a:stretch/>
        </p:blipFill>
        <p:spPr>
          <a:xfrm>
            <a:off x="0" y="533400"/>
            <a:ext cx="3036219" cy="6321048"/>
          </a:xfrm>
          <a:prstGeom prst="rect">
            <a:avLst/>
          </a:prstGeom>
        </p:spPr>
      </p:pic>
      <p:pic>
        <p:nvPicPr>
          <p:cNvPr id="10" name="Image 9"/>
          <p:cNvPicPr>
            <a:picLocks noChangeAspect="1"/>
          </p:cNvPicPr>
          <p:nvPr userDrawn="1"/>
        </p:nvPicPr>
        <p:blipFill rotWithShape="1">
          <a:blip r:embed="rId5" cstate="print">
            <a:extLst>
              <a:ext uri="{28A0092B-C50C-407E-A947-70E740481C1C}">
                <a14:useLocalDpi xmlns:a14="http://schemas.microsoft.com/office/drawing/2010/main" val="0"/>
              </a:ext>
            </a:extLst>
          </a:blip>
          <a:srcRect l="17406" t="38480" r="40341" b="3029"/>
          <a:stretch/>
        </p:blipFill>
        <p:spPr>
          <a:xfrm>
            <a:off x="6074443" y="533400"/>
            <a:ext cx="3039165" cy="6321048"/>
          </a:xfrm>
          <a:prstGeom prst="rect">
            <a:avLst/>
          </a:prstGeom>
        </p:spPr>
      </p:pic>
      <p:sp>
        <p:nvSpPr>
          <p:cNvPr id="6" name="Rectangle 5"/>
          <p:cNvSpPr/>
          <p:nvPr userDrawn="1"/>
        </p:nvSpPr>
        <p:spPr>
          <a:xfrm>
            <a:off x="0" y="0"/>
            <a:ext cx="12192000" cy="6858000"/>
          </a:xfrm>
          <a:prstGeom prst="rect">
            <a:avLst/>
          </a:prstGeom>
          <a:solidFill>
            <a:schemeClr val="bg1">
              <a:alpha val="70000"/>
            </a:schemeClr>
          </a:solidFill>
          <a:ln>
            <a:noFill/>
          </a:ln>
          <a:effectLst>
            <a:glow>
              <a:schemeClr val="accent1"/>
            </a:glow>
          </a:effectLst>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eaLnBrk="0" fontAlgn="base" hangingPunct="0">
              <a:spcBef>
                <a:spcPct val="0"/>
              </a:spcBef>
              <a:spcAft>
                <a:spcPct val="0"/>
              </a:spcAft>
              <a:defRPr/>
            </a:pPr>
            <a:endParaRPr lang="fr-FR" sz="1800" dirty="0">
              <a:solidFill>
                <a:prstClr val="white"/>
              </a:solidFill>
            </a:endParaRPr>
          </a:p>
        </p:txBody>
      </p:sp>
    </p:spTree>
    <p:extLst>
      <p:ext uri="{BB962C8B-B14F-4D97-AF65-F5344CB8AC3E}">
        <p14:creationId xmlns:p14="http://schemas.microsoft.com/office/powerpoint/2010/main" val="41909071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1524000" y="1122363"/>
            <a:ext cx="9144000" cy="2387600"/>
          </a:xfrm>
        </p:spPr>
        <p:txBody>
          <a:bodyPr anchor="b"/>
          <a:lstStyle>
            <a:lvl1pPr algn="ctr">
              <a:defRPr sz="4500"/>
            </a:lvl1pPr>
          </a:lstStyle>
          <a:p>
            <a:r>
              <a:rPr lang="fr-FR"/>
              <a:t>Modifiez le style du titre</a:t>
            </a:r>
            <a:endParaRPr lang="en-US"/>
          </a:p>
        </p:txBody>
      </p:sp>
      <p:sp>
        <p:nvSpPr>
          <p:cNvPr id="3" name="Sous-titre 2"/>
          <p:cNvSpPr>
            <a:spLocks noGrp="1"/>
          </p:cNvSpPr>
          <p:nvPr>
            <p:ph type="subTitle" idx="1"/>
          </p:nvPr>
        </p:nvSpPr>
        <p:spPr>
          <a:xfrm>
            <a:off x="1524000" y="3602037"/>
            <a:ext cx="9144000" cy="1655763"/>
          </a:xfrm>
        </p:spPr>
        <p:txBody>
          <a:bodyPr/>
          <a:lstStyle>
            <a:lvl1pPr marL="0" indent="0" algn="ctr">
              <a:buNone/>
              <a:defRPr sz="1800"/>
            </a:lvl1pPr>
            <a:lvl2pPr marL="342891" indent="0" algn="ctr">
              <a:buNone/>
              <a:defRPr sz="1500"/>
            </a:lvl2pPr>
            <a:lvl3pPr marL="685783" indent="0" algn="ctr">
              <a:buNone/>
              <a:defRPr sz="1351"/>
            </a:lvl3pPr>
            <a:lvl4pPr marL="1028674" indent="0" algn="ctr">
              <a:buNone/>
              <a:defRPr sz="1200"/>
            </a:lvl4pPr>
            <a:lvl5pPr marL="1371566" indent="0" algn="ctr">
              <a:buNone/>
              <a:defRPr sz="1200"/>
            </a:lvl5pPr>
            <a:lvl6pPr marL="1714457" indent="0" algn="ctr">
              <a:buNone/>
              <a:defRPr sz="1200"/>
            </a:lvl6pPr>
            <a:lvl7pPr marL="2057349" indent="0" algn="ctr">
              <a:buNone/>
              <a:defRPr sz="1200"/>
            </a:lvl7pPr>
            <a:lvl8pPr marL="2400240" indent="0" algn="ctr">
              <a:buNone/>
              <a:defRPr sz="1200"/>
            </a:lvl8pPr>
            <a:lvl9pPr marL="2743131" indent="0" algn="ctr">
              <a:buNone/>
              <a:defRPr sz="1200"/>
            </a:lvl9pPr>
          </a:lstStyle>
          <a:p>
            <a:r>
              <a:rPr lang="fr-FR"/>
              <a:t>Modifier le style des sous-titres du masque</a:t>
            </a:r>
            <a:endParaRPr lang="en-US"/>
          </a:p>
        </p:txBody>
      </p:sp>
      <p:sp>
        <p:nvSpPr>
          <p:cNvPr id="4" name="Espace réservé de la date 3"/>
          <p:cNvSpPr>
            <a:spLocks noGrp="1"/>
          </p:cNvSpPr>
          <p:nvPr>
            <p:ph type="dt" sz="half" idx="10"/>
          </p:nvPr>
        </p:nvSpPr>
        <p:spPr/>
        <p:txBody>
          <a:bodyPr/>
          <a:lstStyle/>
          <a:p>
            <a:endParaRPr lang="en-US" dirty="0">
              <a:solidFill>
                <a:prstClr val="black">
                  <a:tint val="75000"/>
                </a:prstClr>
              </a:solidFill>
            </a:endParaRPr>
          </a:p>
        </p:txBody>
      </p:sp>
      <p:sp>
        <p:nvSpPr>
          <p:cNvPr id="5" name="Espace réservé du pied de page 4"/>
          <p:cNvSpPr>
            <a:spLocks noGrp="1"/>
          </p:cNvSpPr>
          <p:nvPr>
            <p:ph type="ftr" sz="quarter" idx="11"/>
          </p:nvPr>
        </p:nvSpPr>
        <p:spPr/>
        <p:txBody>
          <a:bodyPr/>
          <a:lstStyle/>
          <a:p>
            <a:endParaRPr lang="en-US" dirty="0">
              <a:solidFill>
                <a:prstClr val="black">
                  <a:tint val="75000"/>
                </a:prstClr>
              </a:solidFill>
            </a:endParaRPr>
          </a:p>
        </p:txBody>
      </p:sp>
      <p:sp>
        <p:nvSpPr>
          <p:cNvPr id="6" name="Espace réservé du numéro de diapositive 5"/>
          <p:cNvSpPr>
            <a:spLocks noGrp="1"/>
          </p:cNvSpPr>
          <p:nvPr>
            <p:ph type="sldNum" sz="quarter" idx="12"/>
          </p:nvPr>
        </p:nvSpPr>
        <p:spPr/>
        <p:txBody>
          <a:bodyPr/>
          <a:lstStyle/>
          <a:p>
            <a:fld id="{B9902624-945D-4BF9-AF49-E915AA8C07FB}" type="slidenum">
              <a:rPr lang="en-US" smtClean="0">
                <a:solidFill>
                  <a:prstClr val="black">
                    <a:tint val="75000"/>
                  </a:prstClr>
                </a:solidFill>
              </a:rPr>
              <a:pPr/>
              <a:t>‹N°›</a:t>
            </a:fld>
            <a:endParaRPr lang="en-US" dirty="0">
              <a:solidFill>
                <a:prstClr val="black">
                  <a:tint val="75000"/>
                </a:prstClr>
              </a:solidFill>
            </a:endParaRPr>
          </a:p>
        </p:txBody>
      </p:sp>
    </p:spTree>
    <p:extLst>
      <p:ext uri="{BB962C8B-B14F-4D97-AF65-F5344CB8AC3E}">
        <p14:creationId xmlns:p14="http://schemas.microsoft.com/office/powerpoint/2010/main" val="65441890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endParaRPr lang="en-US"/>
          </a:p>
        </p:txBody>
      </p:sp>
      <p:sp>
        <p:nvSpPr>
          <p:cNvPr id="3" name="Espace réservé du contenu 2"/>
          <p:cNvSpPr>
            <a:spLocks noGrp="1"/>
          </p:cNvSpPr>
          <p:nvPr>
            <p:ph idx="1"/>
          </p:nvPr>
        </p:nvSpPr>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Espace réservé de la date 3"/>
          <p:cNvSpPr>
            <a:spLocks noGrp="1"/>
          </p:cNvSpPr>
          <p:nvPr>
            <p:ph type="dt" sz="half" idx="10"/>
          </p:nvPr>
        </p:nvSpPr>
        <p:spPr/>
        <p:txBody>
          <a:bodyPr/>
          <a:lstStyle/>
          <a:p>
            <a:endParaRPr lang="en-US" dirty="0">
              <a:solidFill>
                <a:prstClr val="black">
                  <a:tint val="75000"/>
                </a:prstClr>
              </a:solidFill>
            </a:endParaRPr>
          </a:p>
        </p:txBody>
      </p:sp>
      <p:sp>
        <p:nvSpPr>
          <p:cNvPr id="5" name="Espace réservé du pied de page 4"/>
          <p:cNvSpPr>
            <a:spLocks noGrp="1"/>
          </p:cNvSpPr>
          <p:nvPr>
            <p:ph type="ftr" sz="quarter" idx="11"/>
          </p:nvPr>
        </p:nvSpPr>
        <p:spPr/>
        <p:txBody>
          <a:bodyPr/>
          <a:lstStyle/>
          <a:p>
            <a:endParaRPr lang="en-US" dirty="0">
              <a:solidFill>
                <a:prstClr val="black">
                  <a:tint val="75000"/>
                </a:prstClr>
              </a:solidFill>
            </a:endParaRPr>
          </a:p>
        </p:txBody>
      </p:sp>
      <p:sp>
        <p:nvSpPr>
          <p:cNvPr id="6" name="Espace réservé du numéro de diapositive 5"/>
          <p:cNvSpPr>
            <a:spLocks noGrp="1"/>
          </p:cNvSpPr>
          <p:nvPr>
            <p:ph type="sldNum" sz="quarter" idx="12"/>
          </p:nvPr>
        </p:nvSpPr>
        <p:spPr/>
        <p:txBody>
          <a:bodyPr/>
          <a:lstStyle/>
          <a:p>
            <a:fld id="{B9902624-945D-4BF9-AF49-E915AA8C07FB}" type="slidenum">
              <a:rPr lang="en-US" smtClean="0">
                <a:solidFill>
                  <a:prstClr val="black">
                    <a:tint val="75000"/>
                  </a:prstClr>
                </a:solidFill>
              </a:rPr>
              <a:pPr/>
              <a:t>‹N°›</a:t>
            </a:fld>
            <a:endParaRPr lang="en-US" dirty="0">
              <a:solidFill>
                <a:prstClr val="black">
                  <a:tint val="75000"/>
                </a:prstClr>
              </a:solidFill>
            </a:endParaRPr>
          </a:p>
        </p:txBody>
      </p:sp>
    </p:spTree>
    <p:extLst>
      <p:ext uri="{BB962C8B-B14F-4D97-AF65-F5344CB8AC3E}">
        <p14:creationId xmlns:p14="http://schemas.microsoft.com/office/powerpoint/2010/main" val="327718146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831851" y="1709741"/>
            <a:ext cx="10515600" cy="2852737"/>
          </a:xfrm>
        </p:spPr>
        <p:txBody>
          <a:bodyPr anchor="b"/>
          <a:lstStyle>
            <a:lvl1pPr>
              <a:defRPr sz="4500"/>
            </a:lvl1pPr>
          </a:lstStyle>
          <a:p>
            <a:r>
              <a:rPr lang="fr-FR"/>
              <a:t>Modifiez le style du titre</a:t>
            </a:r>
            <a:endParaRPr lang="en-US"/>
          </a:p>
        </p:txBody>
      </p:sp>
      <p:sp>
        <p:nvSpPr>
          <p:cNvPr id="3" name="Espace réservé du texte 2"/>
          <p:cNvSpPr>
            <a:spLocks noGrp="1"/>
          </p:cNvSpPr>
          <p:nvPr>
            <p:ph type="body" idx="1"/>
          </p:nvPr>
        </p:nvSpPr>
        <p:spPr>
          <a:xfrm>
            <a:off x="831851" y="4589465"/>
            <a:ext cx="10515600" cy="1500187"/>
          </a:xfrm>
        </p:spPr>
        <p:txBody>
          <a:bodyPr/>
          <a:lstStyle>
            <a:lvl1pPr marL="0" indent="0">
              <a:buNone/>
              <a:defRPr sz="1800">
                <a:solidFill>
                  <a:schemeClr val="tx1">
                    <a:tint val="75000"/>
                  </a:schemeClr>
                </a:solidFill>
              </a:defRPr>
            </a:lvl1pPr>
            <a:lvl2pPr marL="342891" indent="0">
              <a:buNone/>
              <a:defRPr sz="1500">
                <a:solidFill>
                  <a:schemeClr val="tx1">
                    <a:tint val="75000"/>
                  </a:schemeClr>
                </a:solidFill>
              </a:defRPr>
            </a:lvl2pPr>
            <a:lvl3pPr marL="685783" indent="0">
              <a:buNone/>
              <a:defRPr sz="1351">
                <a:solidFill>
                  <a:schemeClr val="tx1">
                    <a:tint val="75000"/>
                  </a:schemeClr>
                </a:solidFill>
              </a:defRPr>
            </a:lvl3pPr>
            <a:lvl4pPr marL="1028674" indent="0">
              <a:buNone/>
              <a:defRPr sz="1200">
                <a:solidFill>
                  <a:schemeClr val="tx1">
                    <a:tint val="75000"/>
                  </a:schemeClr>
                </a:solidFill>
              </a:defRPr>
            </a:lvl4pPr>
            <a:lvl5pPr marL="1371566" indent="0">
              <a:buNone/>
              <a:defRPr sz="1200">
                <a:solidFill>
                  <a:schemeClr val="tx1">
                    <a:tint val="75000"/>
                  </a:schemeClr>
                </a:solidFill>
              </a:defRPr>
            </a:lvl5pPr>
            <a:lvl6pPr marL="1714457" indent="0">
              <a:buNone/>
              <a:defRPr sz="1200">
                <a:solidFill>
                  <a:schemeClr val="tx1">
                    <a:tint val="75000"/>
                  </a:schemeClr>
                </a:solidFill>
              </a:defRPr>
            </a:lvl6pPr>
            <a:lvl7pPr marL="2057349" indent="0">
              <a:buNone/>
              <a:defRPr sz="1200">
                <a:solidFill>
                  <a:schemeClr val="tx1">
                    <a:tint val="75000"/>
                  </a:schemeClr>
                </a:solidFill>
              </a:defRPr>
            </a:lvl7pPr>
            <a:lvl8pPr marL="2400240" indent="0">
              <a:buNone/>
              <a:defRPr sz="1200">
                <a:solidFill>
                  <a:schemeClr val="tx1">
                    <a:tint val="75000"/>
                  </a:schemeClr>
                </a:solidFill>
              </a:defRPr>
            </a:lvl8pPr>
            <a:lvl9pPr marL="2743131" indent="0">
              <a:buNone/>
              <a:defRPr sz="1200">
                <a:solidFill>
                  <a:schemeClr val="tx1">
                    <a:tint val="75000"/>
                  </a:schemeClr>
                </a:solidFill>
              </a:defRPr>
            </a:lvl9pPr>
          </a:lstStyle>
          <a:p>
            <a:pPr lvl="0"/>
            <a:r>
              <a:rPr lang="fr-FR"/>
              <a:t>Modifier les styles du texte du masque</a:t>
            </a:r>
          </a:p>
        </p:txBody>
      </p:sp>
      <p:sp>
        <p:nvSpPr>
          <p:cNvPr id="4" name="Espace réservé de la date 3"/>
          <p:cNvSpPr>
            <a:spLocks noGrp="1"/>
          </p:cNvSpPr>
          <p:nvPr>
            <p:ph type="dt" sz="half" idx="10"/>
          </p:nvPr>
        </p:nvSpPr>
        <p:spPr/>
        <p:txBody>
          <a:bodyPr/>
          <a:lstStyle/>
          <a:p>
            <a:endParaRPr lang="en-US" dirty="0">
              <a:solidFill>
                <a:prstClr val="black">
                  <a:tint val="75000"/>
                </a:prstClr>
              </a:solidFill>
            </a:endParaRPr>
          </a:p>
        </p:txBody>
      </p:sp>
      <p:sp>
        <p:nvSpPr>
          <p:cNvPr id="5" name="Espace réservé du pied de page 4"/>
          <p:cNvSpPr>
            <a:spLocks noGrp="1"/>
          </p:cNvSpPr>
          <p:nvPr>
            <p:ph type="ftr" sz="quarter" idx="11"/>
          </p:nvPr>
        </p:nvSpPr>
        <p:spPr/>
        <p:txBody>
          <a:bodyPr/>
          <a:lstStyle/>
          <a:p>
            <a:endParaRPr lang="en-US" dirty="0">
              <a:solidFill>
                <a:prstClr val="black">
                  <a:tint val="75000"/>
                </a:prstClr>
              </a:solidFill>
            </a:endParaRPr>
          </a:p>
        </p:txBody>
      </p:sp>
      <p:sp>
        <p:nvSpPr>
          <p:cNvPr id="6" name="Espace réservé du numéro de diapositive 5"/>
          <p:cNvSpPr>
            <a:spLocks noGrp="1"/>
          </p:cNvSpPr>
          <p:nvPr>
            <p:ph type="sldNum" sz="quarter" idx="12"/>
          </p:nvPr>
        </p:nvSpPr>
        <p:spPr/>
        <p:txBody>
          <a:bodyPr/>
          <a:lstStyle/>
          <a:p>
            <a:fld id="{B9902624-945D-4BF9-AF49-E915AA8C07FB}" type="slidenum">
              <a:rPr lang="en-US" smtClean="0">
                <a:solidFill>
                  <a:prstClr val="black">
                    <a:tint val="75000"/>
                  </a:prstClr>
                </a:solidFill>
              </a:rPr>
              <a:pPr/>
              <a:t>‹N°›</a:t>
            </a:fld>
            <a:endParaRPr lang="en-US" dirty="0">
              <a:solidFill>
                <a:prstClr val="black">
                  <a:tint val="75000"/>
                </a:prstClr>
              </a:solidFill>
            </a:endParaRPr>
          </a:p>
        </p:txBody>
      </p:sp>
    </p:spTree>
    <p:extLst>
      <p:ext uri="{BB962C8B-B14F-4D97-AF65-F5344CB8AC3E}">
        <p14:creationId xmlns:p14="http://schemas.microsoft.com/office/powerpoint/2010/main" val="140939180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endParaRPr lang="en-US"/>
          </a:p>
        </p:txBody>
      </p:sp>
      <p:sp>
        <p:nvSpPr>
          <p:cNvPr id="3" name="Espace réservé du contenu 2"/>
          <p:cNvSpPr>
            <a:spLocks noGrp="1"/>
          </p:cNvSpPr>
          <p:nvPr>
            <p:ph sz="half" idx="1"/>
          </p:nvPr>
        </p:nvSpPr>
        <p:spPr>
          <a:xfrm>
            <a:off x="838200" y="1825625"/>
            <a:ext cx="5181600" cy="4351339"/>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Espace réservé du contenu 3"/>
          <p:cNvSpPr>
            <a:spLocks noGrp="1"/>
          </p:cNvSpPr>
          <p:nvPr>
            <p:ph sz="half" idx="2"/>
          </p:nvPr>
        </p:nvSpPr>
        <p:spPr>
          <a:xfrm>
            <a:off x="6172200" y="1825625"/>
            <a:ext cx="5181600" cy="4351339"/>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Espace réservé de la date 4"/>
          <p:cNvSpPr>
            <a:spLocks noGrp="1"/>
          </p:cNvSpPr>
          <p:nvPr>
            <p:ph type="dt" sz="half" idx="10"/>
          </p:nvPr>
        </p:nvSpPr>
        <p:spPr/>
        <p:txBody>
          <a:bodyPr/>
          <a:lstStyle/>
          <a:p>
            <a:endParaRPr lang="en-US" dirty="0">
              <a:solidFill>
                <a:prstClr val="black">
                  <a:tint val="75000"/>
                </a:prstClr>
              </a:solidFill>
            </a:endParaRPr>
          </a:p>
        </p:txBody>
      </p:sp>
      <p:sp>
        <p:nvSpPr>
          <p:cNvPr id="6" name="Espace réservé du pied de page 5"/>
          <p:cNvSpPr>
            <a:spLocks noGrp="1"/>
          </p:cNvSpPr>
          <p:nvPr>
            <p:ph type="ftr" sz="quarter" idx="11"/>
          </p:nvPr>
        </p:nvSpPr>
        <p:spPr/>
        <p:txBody>
          <a:bodyPr/>
          <a:lstStyle/>
          <a:p>
            <a:endParaRPr lang="en-US" dirty="0">
              <a:solidFill>
                <a:prstClr val="black">
                  <a:tint val="75000"/>
                </a:prstClr>
              </a:solidFill>
            </a:endParaRPr>
          </a:p>
        </p:txBody>
      </p:sp>
      <p:sp>
        <p:nvSpPr>
          <p:cNvPr id="7" name="Espace réservé du numéro de diapositive 6"/>
          <p:cNvSpPr>
            <a:spLocks noGrp="1"/>
          </p:cNvSpPr>
          <p:nvPr>
            <p:ph type="sldNum" sz="quarter" idx="12"/>
          </p:nvPr>
        </p:nvSpPr>
        <p:spPr/>
        <p:txBody>
          <a:bodyPr/>
          <a:lstStyle/>
          <a:p>
            <a:fld id="{B9902624-945D-4BF9-AF49-E915AA8C07FB}" type="slidenum">
              <a:rPr lang="en-US" smtClean="0">
                <a:solidFill>
                  <a:prstClr val="black">
                    <a:tint val="75000"/>
                  </a:prstClr>
                </a:solidFill>
              </a:rPr>
              <a:pPr/>
              <a:t>‹N°›</a:t>
            </a:fld>
            <a:endParaRPr lang="en-US" dirty="0">
              <a:solidFill>
                <a:prstClr val="black">
                  <a:tint val="75000"/>
                </a:prstClr>
              </a:solidFill>
            </a:endParaRPr>
          </a:p>
        </p:txBody>
      </p:sp>
    </p:spTree>
    <p:extLst>
      <p:ext uri="{BB962C8B-B14F-4D97-AF65-F5344CB8AC3E}">
        <p14:creationId xmlns:p14="http://schemas.microsoft.com/office/powerpoint/2010/main" val="201164203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839788" y="365127"/>
            <a:ext cx="10515600" cy="1325563"/>
          </a:xfrm>
        </p:spPr>
        <p:txBody>
          <a:bodyPr/>
          <a:lstStyle/>
          <a:p>
            <a:r>
              <a:rPr lang="fr-FR"/>
              <a:t>Modifiez le style du titre</a:t>
            </a:r>
            <a:endParaRPr lang="en-US"/>
          </a:p>
        </p:txBody>
      </p:sp>
      <p:sp>
        <p:nvSpPr>
          <p:cNvPr id="3" name="Espace réservé du texte 2"/>
          <p:cNvSpPr>
            <a:spLocks noGrp="1"/>
          </p:cNvSpPr>
          <p:nvPr>
            <p:ph type="body" idx="1"/>
          </p:nvPr>
        </p:nvSpPr>
        <p:spPr>
          <a:xfrm>
            <a:off x="839789" y="1681163"/>
            <a:ext cx="5157787" cy="823912"/>
          </a:xfrm>
        </p:spPr>
        <p:txBody>
          <a:bodyPr anchor="b"/>
          <a:lstStyle>
            <a:lvl1pPr marL="0" indent="0">
              <a:buNone/>
              <a:defRPr sz="1800" b="1"/>
            </a:lvl1pPr>
            <a:lvl2pPr marL="342891" indent="0">
              <a:buNone/>
              <a:defRPr sz="1500" b="1"/>
            </a:lvl2pPr>
            <a:lvl3pPr marL="685783" indent="0">
              <a:buNone/>
              <a:defRPr sz="1351" b="1"/>
            </a:lvl3pPr>
            <a:lvl4pPr marL="1028674" indent="0">
              <a:buNone/>
              <a:defRPr sz="1200" b="1"/>
            </a:lvl4pPr>
            <a:lvl5pPr marL="1371566" indent="0">
              <a:buNone/>
              <a:defRPr sz="1200" b="1"/>
            </a:lvl5pPr>
            <a:lvl6pPr marL="1714457" indent="0">
              <a:buNone/>
              <a:defRPr sz="1200" b="1"/>
            </a:lvl6pPr>
            <a:lvl7pPr marL="2057349" indent="0">
              <a:buNone/>
              <a:defRPr sz="1200" b="1"/>
            </a:lvl7pPr>
            <a:lvl8pPr marL="2400240" indent="0">
              <a:buNone/>
              <a:defRPr sz="1200" b="1"/>
            </a:lvl8pPr>
            <a:lvl9pPr marL="2743131" indent="0">
              <a:buNone/>
              <a:defRPr sz="1200" b="1"/>
            </a:lvl9pPr>
          </a:lstStyle>
          <a:p>
            <a:pPr lvl="0"/>
            <a:r>
              <a:rPr lang="fr-FR"/>
              <a:t>Modifier les styles du texte du masque</a:t>
            </a:r>
          </a:p>
        </p:txBody>
      </p:sp>
      <p:sp>
        <p:nvSpPr>
          <p:cNvPr id="4" name="Espace réservé du contenu 3"/>
          <p:cNvSpPr>
            <a:spLocks noGrp="1"/>
          </p:cNvSpPr>
          <p:nvPr>
            <p:ph sz="half" idx="2"/>
          </p:nvPr>
        </p:nvSpPr>
        <p:spPr>
          <a:xfrm>
            <a:off x="839789" y="2505075"/>
            <a:ext cx="5157787" cy="368458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Espace réservé du texte 4"/>
          <p:cNvSpPr>
            <a:spLocks noGrp="1"/>
          </p:cNvSpPr>
          <p:nvPr>
            <p:ph type="body" sz="quarter" idx="3"/>
          </p:nvPr>
        </p:nvSpPr>
        <p:spPr>
          <a:xfrm>
            <a:off x="6172202" y="1681163"/>
            <a:ext cx="5183188" cy="823912"/>
          </a:xfrm>
        </p:spPr>
        <p:txBody>
          <a:bodyPr anchor="b"/>
          <a:lstStyle>
            <a:lvl1pPr marL="0" indent="0">
              <a:buNone/>
              <a:defRPr sz="1800" b="1"/>
            </a:lvl1pPr>
            <a:lvl2pPr marL="342891" indent="0">
              <a:buNone/>
              <a:defRPr sz="1500" b="1"/>
            </a:lvl2pPr>
            <a:lvl3pPr marL="685783" indent="0">
              <a:buNone/>
              <a:defRPr sz="1351" b="1"/>
            </a:lvl3pPr>
            <a:lvl4pPr marL="1028674" indent="0">
              <a:buNone/>
              <a:defRPr sz="1200" b="1"/>
            </a:lvl4pPr>
            <a:lvl5pPr marL="1371566" indent="0">
              <a:buNone/>
              <a:defRPr sz="1200" b="1"/>
            </a:lvl5pPr>
            <a:lvl6pPr marL="1714457" indent="0">
              <a:buNone/>
              <a:defRPr sz="1200" b="1"/>
            </a:lvl6pPr>
            <a:lvl7pPr marL="2057349" indent="0">
              <a:buNone/>
              <a:defRPr sz="1200" b="1"/>
            </a:lvl7pPr>
            <a:lvl8pPr marL="2400240" indent="0">
              <a:buNone/>
              <a:defRPr sz="1200" b="1"/>
            </a:lvl8pPr>
            <a:lvl9pPr marL="2743131" indent="0">
              <a:buNone/>
              <a:defRPr sz="1200" b="1"/>
            </a:lvl9pPr>
          </a:lstStyle>
          <a:p>
            <a:pPr lvl="0"/>
            <a:r>
              <a:rPr lang="fr-FR"/>
              <a:t>Modifier les styles du texte du masque</a:t>
            </a:r>
          </a:p>
        </p:txBody>
      </p:sp>
      <p:sp>
        <p:nvSpPr>
          <p:cNvPr id="6" name="Espace réservé du contenu 5"/>
          <p:cNvSpPr>
            <a:spLocks noGrp="1"/>
          </p:cNvSpPr>
          <p:nvPr>
            <p:ph sz="quarter" idx="4"/>
          </p:nvPr>
        </p:nvSpPr>
        <p:spPr>
          <a:xfrm>
            <a:off x="6172202" y="2505075"/>
            <a:ext cx="5183188" cy="368458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7" name="Espace réservé de la date 6"/>
          <p:cNvSpPr>
            <a:spLocks noGrp="1"/>
          </p:cNvSpPr>
          <p:nvPr>
            <p:ph type="dt" sz="half" idx="10"/>
          </p:nvPr>
        </p:nvSpPr>
        <p:spPr/>
        <p:txBody>
          <a:bodyPr/>
          <a:lstStyle/>
          <a:p>
            <a:endParaRPr lang="en-US" dirty="0">
              <a:solidFill>
                <a:prstClr val="black">
                  <a:tint val="75000"/>
                </a:prstClr>
              </a:solidFill>
            </a:endParaRPr>
          </a:p>
        </p:txBody>
      </p:sp>
      <p:sp>
        <p:nvSpPr>
          <p:cNvPr id="8" name="Espace réservé du pied de page 7"/>
          <p:cNvSpPr>
            <a:spLocks noGrp="1"/>
          </p:cNvSpPr>
          <p:nvPr>
            <p:ph type="ftr" sz="quarter" idx="11"/>
          </p:nvPr>
        </p:nvSpPr>
        <p:spPr/>
        <p:txBody>
          <a:bodyPr/>
          <a:lstStyle/>
          <a:p>
            <a:endParaRPr lang="en-US" dirty="0">
              <a:solidFill>
                <a:prstClr val="black">
                  <a:tint val="75000"/>
                </a:prstClr>
              </a:solidFill>
            </a:endParaRPr>
          </a:p>
        </p:txBody>
      </p:sp>
      <p:sp>
        <p:nvSpPr>
          <p:cNvPr id="9" name="Espace réservé du numéro de diapositive 8"/>
          <p:cNvSpPr>
            <a:spLocks noGrp="1"/>
          </p:cNvSpPr>
          <p:nvPr>
            <p:ph type="sldNum" sz="quarter" idx="12"/>
          </p:nvPr>
        </p:nvSpPr>
        <p:spPr/>
        <p:txBody>
          <a:bodyPr/>
          <a:lstStyle/>
          <a:p>
            <a:fld id="{B9902624-945D-4BF9-AF49-E915AA8C07FB}" type="slidenum">
              <a:rPr lang="en-US" smtClean="0">
                <a:solidFill>
                  <a:prstClr val="black">
                    <a:tint val="75000"/>
                  </a:prstClr>
                </a:solidFill>
              </a:rPr>
              <a:pPr/>
              <a:t>‹N°›</a:t>
            </a:fld>
            <a:endParaRPr lang="en-US" dirty="0">
              <a:solidFill>
                <a:prstClr val="black">
                  <a:tint val="75000"/>
                </a:prstClr>
              </a:solidFill>
            </a:endParaRPr>
          </a:p>
        </p:txBody>
      </p:sp>
    </p:spTree>
    <p:extLst>
      <p:ext uri="{BB962C8B-B14F-4D97-AF65-F5344CB8AC3E}">
        <p14:creationId xmlns:p14="http://schemas.microsoft.com/office/powerpoint/2010/main" val="176551200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endParaRPr lang="en-US"/>
          </a:p>
        </p:txBody>
      </p:sp>
      <p:sp>
        <p:nvSpPr>
          <p:cNvPr id="3" name="Espace réservé de la date 2"/>
          <p:cNvSpPr>
            <a:spLocks noGrp="1"/>
          </p:cNvSpPr>
          <p:nvPr>
            <p:ph type="dt" sz="half" idx="10"/>
          </p:nvPr>
        </p:nvSpPr>
        <p:spPr/>
        <p:txBody>
          <a:bodyPr/>
          <a:lstStyle/>
          <a:p>
            <a:endParaRPr lang="en-US" dirty="0">
              <a:solidFill>
                <a:prstClr val="black">
                  <a:tint val="75000"/>
                </a:prstClr>
              </a:solidFill>
            </a:endParaRPr>
          </a:p>
        </p:txBody>
      </p:sp>
      <p:sp>
        <p:nvSpPr>
          <p:cNvPr id="4" name="Espace réservé du pied de page 3"/>
          <p:cNvSpPr>
            <a:spLocks noGrp="1"/>
          </p:cNvSpPr>
          <p:nvPr>
            <p:ph type="ftr" sz="quarter" idx="11"/>
          </p:nvPr>
        </p:nvSpPr>
        <p:spPr/>
        <p:txBody>
          <a:bodyPr/>
          <a:lstStyle/>
          <a:p>
            <a:endParaRPr lang="en-US" dirty="0">
              <a:solidFill>
                <a:prstClr val="black">
                  <a:tint val="75000"/>
                </a:prstClr>
              </a:solidFill>
            </a:endParaRPr>
          </a:p>
        </p:txBody>
      </p:sp>
      <p:sp>
        <p:nvSpPr>
          <p:cNvPr id="5" name="Espace réservé du numéro de diapositive 4"/>
          <p:cNvSpPr>
            <a:spLocks noGrp="1"/>
          </p:cNvSpPr>
          <p:nvPr>
            <p:ph type="sldNum" sz="quarter" idx="12"/>
          </p:nvPr>
        </p:nvSpPr>
        <p:spPr/>
        <p:txBody>
          <a:bodyPr/>
          <a:lstStyle/>
          <a:p>
            <a:fld id="{B9902624-945D-4BF9-AF49-E915AA8C07FB}" type="slidenum">
              <a:rPr lang="en-US" smtClean="0">
                <a:solidFill>
                  <a:prstClr val="black">
                    <a:tint val="75000"/>
                  </a:prstClr>
                </a:solidFill>
              </a:rPr>
              <a:pPr/>
              <a:t>‹N°›</a:t>
            </a:fld>
            <a:endParaRPr lang="en-US" dirty="0">
              <a:solidFill>
                <a:prstClr val="black">
                  <a:tint val="75000"/>
                </a:prstClr>
              </a:solidFill>
            </a:endParaRPr>
          </a:p>
        </p:txBody>
      </p:sp>
    </p:spTree>
    <p:extLst>
      <p:ext uri="{BB962C8B-B14F-4D97-AF65-F5344CB8AC3E}">
        <p14:creationId xmlns:p14="http://schemas.microsoft.com/office/powerpoint/2010/main" val="69862082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endParaRPr lang="en-US" dirty="0">
              <a:solidFill>
                <a:prstClr val="black">
                  <a:tint val="75000"/>
                </a:prstClr>
              </a:solidFill>
            </a:endParaRPr>
          </a:p>
        </p:txBody>
      </p:sp>
      <p:sp>
        <p:nvSpPr>
          <p:cNvPr id="3" name="Espace réservé du pied de page 2"/>
          <p:cNvSpPr>
            <a:spLocks noGrp="1"/>
          </p:cNvSpPr>
          <p:nvPr>
            <p:ph type="ftr" sz="quarter" idx="11"/>
          </p:nvPr>
        </p:nvSpPr>
        <p:spPr/>
        <p:txBody>
          <a:bodyPr/>
          <a:lstStyle/>
          <a:p>
            <a:endParaRPr lang="en-US" dirty="0">
              <a:solidFill>
                <a:prstClr val="black">
                  <a:tint val="75000"/>
                </a:prstClr>
              </a:solidFill>
            </a:endParaRPr>
          </a:p>
        </p:txBody>
      </p:sp>
      <p:sp>
        <p:nvSpPr>
          <p:cNvPr id="4" name="Espace réservé du numéro de diapositive 3"/>
          <p:cNvSpPr>
            <a:spLocks noGrp="1"/>
          </p:cNvSpPr>
          <p:nvPr>
            <p:ph type="sldNum" sz="quarter" idx="12"/>
          </p:nvPr>
        </p:nvSpPr>
        <p:spPr/>
        <p:txBody>
          <a:bodyPr/>
          <a:lstStyle/>
          <a:p>
            <a:fld id="{B9902624-945D-4BF9-AF49-E915AA8C07FB}" type="slidenum">
              <a:rPr lang="en-US" smtClean="0">
                <a:solidFill>
                  <a:prstClr val="black">
                    <a:tint val="75000"/>
                  </a:prstClr>
                </a:solidFill>
              </a:rPr>
              <a:pPr/>
              <a:t>‹N°›</a:t>
            </a:fld>
            <a:endParaRPr lang="en-US" dirty="0">
              <a:solidFill>
                <a:prstClr val="black">
                  <a:tint val="75000"/>
                </a:prstClr>
              </a:solidFill>
            </a:endParaRPr>
          </a:p>
        </p:txBody>
      </p:sp>
    </p:spTree>
    <p:extLst>
      <p:ext uri="{BB962C8B-B14F-4D97-AF65-F5344CB8AC3E}">
        <p14:creationId xmlns:p14="http://schemas.microsoft.com/office/powerpoint/2010/main" val="374282662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839788" y="457200"/>
            <a:ext cx="3932237" cy="1600200"/>
          </a:xfrm>
        </p:spPr>
        <p:txBody>
          <a:bodyPr anchor="b"/>
          <a:lstStyle>
            <a:lvl1pPr>
              <a:defRPr sz="2400"/>
            </a:lvl1pPr>
          </a:lstStyle>
          <a:p>
            <a:r>
              <a:rPr lang="fr-FR"/>
              <a:t>Modifiez le style du titre</a:t>
            </a:r>
            <a:endParaRPr lang="en-US"/>
          </a:p>
        </p:txBody>
      </p:sp>
      <p:sp>
        <p:nvSpPr>
          <p:cNvPr id="3" name="Espace réservé du contenu 2"/>
          <p:cNvSpPr>
            <a:spLocks noGrp="1"/>
          </p:cNvSpPr>
          <p:nvPr>
            <p:ph idx="1"/>
          </p:nvPr>
        </p:nvSpPr>
        <p:spPr>
          <a:xfrm>
            <a:off x="5183188" y="987428"/>
            <a:ext cx="617220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Espace réservé du texte 3"/>
          <p:cNvSpPr>
            <a:spLocks noGrp="1"/>
          </p:cNvSpPr>
          <p:nvPr>
            <p:ph type="body" sz="half" idx="2"/>
          </p:nvPr>
        </p:nvSpPr>
        <p:spPr>
          <a:xfrm>
            <a:off x="839788" y="2057401"/>
            <a:ext cx="3932237" cy="3811588"/>
          </a:xfrm>
        </p:spPr>
        <p:txBody>
          <a:bodyPr/>
          <a:lstStyle>
            <a:lvl1pPr marL="0" indent="0">
              <a:buNone/>
              <a:defRPr sz="1200"/>
            </a:lvl1pPr>
            <a:lvl2pPr marL="342891" indent="0">
              <a:buNone/>
              <a:defRPr sz="1051"/>
            </a:lvl2pPr>
            <a:lvl3pPr marL="685783" indent="0">
              <a:buNone/>
              <a:defRPr sz="900"/>
            </a:lvl3pPr>
            <a:lvl4pPr marL="1028674" indent="0">
              <a:buNone/>
              <a:defRPr sz="751"/>
            </a:lvl4pPr>
            <a:lvl5pPr marL="1371566" indent="0">
              <a:buNone/>
              <a:defRPr sz="751"/>
            </a:lvl5pPr>
            <a:lvl6pPr marL="1714457" indent="0">
              <a:buNone/>
              <a:defRPr sz="751"/>
            </a:lvl6pPr>
            <a:lvl7pPr marL="2057349" indent="0">
              <a:buNone/>
              <a:defRPr sz="751"/>
            </a:lvl7pPr>
            <a:lvl8pPr marL="2400240" indent="0">
              <a:buNone/>
              <a:defRPr sz="751"/>
            </a:lvl8pPr>
            <a:lvl9pPr marL="2743131" indent="0">
              <a:buNone/>
              <a:defRPr sz="751"/>
            </a:lvl9pPr>
          </a:lstStyle>
          <a:p>
            <a:pPr lvl="0"/>
            <a:r>
              <a:rPr lang="fr-FR"/>
              <a:t>Modifier les styles du texte du masque</a:t>
            </a:r>
          </a:p>
        </p:txBody>
      </p:sp>
      <p:sp>
        <p:nvSpPr>
          <p:cNvPr id="5" name="Espace réservé de la date 4"/>
          <p:cNvSpPr>
            <a:spLocks noGrp="1"/>
          </p:cNvSpPr>
          <p:nvPr>
            <p:ph type="dt" sz="half" idx="10"/>
          </p:nvPr>
        </p:nvSpPr>
        <p:spPr/>
        <p:txBody>
          <a:bodyPr/>
          <a:lstStyle/>
          <a:p>
            <a:endParaRPr lang="en-US" dirty="0">
              <a:solidFill>
                <a:prstClr val="black">
                  <a:tint val="75000"/>
                </a:prstClr>
              </a:solidFill>
            </a:endParaRPr>
          </a:p>
        </p:txBody>
      </p:sp>
      <p:sp>
        <p:nvSpPr>
          <p:cNvPr id="6" name="Espace réservé du pied de page 5"/>
          <p:cNvSpPr>
            <a:spLocks noGrp="1"/>
          </p:cNvSpPr>
          <p:nvPr>
            <p:ph type="ftr" sz="quarter" idx="11"/>
          </p:nvPr>
        </p:nvSpPr>
        <p:spPr/>
        <p:txBody>
          <a:bodyPr/>
          <a:lstStyle/>
          <a:p>
            <a:endParaRPr lang="en-US" dirty="0">
              <a:solidFill>
                <a:prstClr val="black">
                  <a:tint val="75000"/>
                </a:prstClr>
              </a:solidFill>
            </a:endParaRPr>
          </a:p>
        </p:txBody>
      </p:sp>
      <p:sp>
        <p:nvSpPr>
          <p:cNvPr id="7" name="Espace réservé du numéro de diapositive 6"/>
          <p:cNvSpPr>
            <a:spLocks noGrp="1"/>
          </p:cNvSpPr>
          <p:nvPr>
            <p:ph type="sldNum" sz="quarter" idx="12"/>
          </p:nvPr>
        </p:nvSpPr>
        <p:spPr/>
        <p:txBody>
          <a:bodyPr/>
          <a:lstStyle/>
          <a:p>
            <a:fld id="{B9902624-945D-4BF9-AF49-E915AA8C07FB}" type="slidenum">
              <a:rPr lang="en-US" smtClean="0">
                <a:solidFill>
                  <a:prstClr val="black">
                    <a:tint val="75000"/>
                  </a:prstClr>
                </a:solidFill>
              </a:rPr>
              <a:pPr/>
              <a:t>‹N°›</a:t>
            </a:fld>
            <a:endParaRPr lang="en-US" dirty="0">
              <a:solidFill>
                <a:prstClr val="black">
                  <a:tint val="75000"/>
                </a:prstClr>
              </a:solidFill>
            </a:endParaRPr>
          </a:p>
        </p:txBody>
      </p:sp>
    </p:spTree>
    <p:extLst>
      <p:ext uri="{BB962C8B-B14F-4D97-AF65-F5344CB8AC3E}">
        <p14:creationId xmlns:p14="http://schemas.microsoft.com/office/powerpoint/2010/main" val="244145426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e la date 2"/>
          <p:cNvSpPr>
            <a:spLocks noGrp="1"/>
          </p:cNvSpPr>
          <p:nvPr>
            <p:ph type="dt" sz="half" idx="10"/>
          </p:nvPr>
        </p:nvSpPr>
        <p:spPr/>
        <p:txBody>
          <a:bodyPr/>
          <a:lstStyle/>
          <a:p>
            <a:fld id="{5EF27816-6426-453E-A161-5D470619F954}" type="datetimeFigureOut">
              <a:rPr lang="fr-FR" smtClean="0"/>
              <a:t>15/05/2024</a:t>
            </a:fld>
            <a:endParaRPr lang="fr-FR"/>
          </a:p>
        </p:txBody>
      </p:sp>
      <p:sp>
        <p:nvSpPr>
          <p:cNvPr id="4" name="Espace réservé du pied de page 3"/>
          <p:cNvSpPr>
            <a:spLocks noGrp="1"/>
          </p:cNvSpPr>
          <p:nvPr>
            <p:ph type="ftr" sz="quarter" idx="11"/>
          </p:nvPr>
        </p:nvSpPr>
        <p:spPr/>
        <p:txBody>
          <a:bodyPr/>
          <a:lstStyle/>
          <a:p>
            <a:endParaRPr lang="fr-FR"/>
          </a:p>
        </p:txBody>
      </p:sp>
      <p:sp>
        <p:nvSpPr>
          <p:cNvPr id="5" name="Espace réservé du numéro de diapositive 4"/>
          <p:cNvSpPr>
            <a:spLocks noGrp="1"/>
          </p:cNvSpPr>
          <p:nvPr>
            <p:ph type="sldNum" sz="quarter" idx="12"/>
          </p:nvPr>
        </p:nvSpPr>
        <p:spPr/>
        <p:txBody>
          <a:bodyPr/>
          <a:lstStyle/>
          <a:p>
            <a:fld id="{60D50290-7864-48CB-90FD-CA3D03E700D4}" type="slidenum">
              <a:rPr lang="fr-FR" smtClean="0"/>
              <a:t>‹N°›</a:t>
            </a:fld>
            <a:endParaRPr lang="fr-FR"/>
          </a:p>
        </p:txBody>
      </p:sp>
    </p:spTree>
    <p:extLst>
      <p:ext uri="{BB962C8B-B14F-4D97-AF65-F5344CB8AC3E}">
        <p14:creationId xmlns:p14="http://schemas.microsoft.com/office/powerpoint/2010/main" val="179578018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839788" y="457200"/>
            <a:ext cx="3932237" cy="1600200"/>
          </a:xfrm>
        </p:spPr>
        <p:txBody>
          <a:bodyPr anchor="b"/>
          <a:lstStyle>
            <a:lvl1pPr>
              <a:defRPr sz="2400"/>
            </a:lvl1pPr>
          </a:lstStyle>
          <a:p>
            <a:r>
              <a:rPr lang="fr-FR"/>
              <a:t>Modifiez le style du titre</a:t>
            </a:r>
            <a:endParaRPr lang="en-US"/>
          </a:p>
        </p:txBody>
      </p:sp>
      <p:sp>
        <p:nvSpPr>
          <p:cNvPr id="3" name="Espace réservé pour une image  2"/>
          <p:cNvSpPr>
            <a:spLocks noGrp="1"/>
          </p:cNvSpPr>
          <p:nvPr>
            <p:ph type="pic" idx="1"/>
          </p:nvPr>
        </p:nvSpPr>
        <p:spPr>
          <a:xfrm>
            <a:off x="5183188" y="987428"/>
            <a:ext cx="6172200" cy="4873625"/>
          </a:xfrm>
        </p:spPr>
        <p:txBody>
          <a:bodyPr/>
          <a:lstStyle>
            <a:lvl1pPr marL="0" indent="0">
              <a:buNone/>
              <a:defRPr sz="2400"/>
            </a:lvl1pPr>
            <a:lvl2pPr marL="342891" indent="0">
              <a:buNone/>
              <a:defRPr sz="2100"/>
            </a:lvl2pPr>
            <a:lvl3pPr marL="685783" indent="0">
              <a:buNone/>
              <a:defRPr sz="1800"/>
            </a:lvl3pPr>
            <a:lvl4pPr marL="1028674" indent="0">
              <a:buNone/>
              <a:defRPr sz="1500"/>
            </a:lvl4pPr>
            <a:lvl5pPr marL="1371566" indent="0">
              <a:buNone/>
              <a:defRPr sz="1500"/>
            </a:lvl5pPr>
            <a:lvl6pPr marL="1714457" indent="0">
              <a:buNone/>
              <a:defRPr sz="1500"/>
            </a:lvl6pPr>
            <a:lvl7pPr marL="2057349" indent="0">
              <a:buNone/>
              <a:defRPr sz="1500"/>
            </a:lvl7pPr>
            <a:lvl8pPr marL="2400240" indent="0">
              <a:buNone/>
              <a:defRPr sz="1500"/>
            </a:lvl8pPr>
            <a:lvl9pPr marL="2743131" indent="0">
              <a:buNone/>
              <a:defRPr sz="1500"/>
            </a:lvl9pPr>
          </a:lstStyle>
          <a:p>
            <a:endParaRPr lang="en-US" dirty="0"/>
          </a:p>
        </p:txBody>
      </p:sp>
      <p:sp>
        <p:nvSpPr>
          <p:cNvPr id="4" name="Espace réservé du texte 3"/>
          <p:cNvSpPr>
            <a:spLocks noGrp="1"/>
          </p:cNvSpPr>
          <p:nvPr>
            <p:ph type="body" sz="half" idx="2"/>
          </p:nvPr>
        </p:nvSpPr>
        <p:spPr>
          <a:xfrm>
            <a:off x="839788" y="2057401"/>
            <a:ext cx="3932237" cy="3811588"/>
          </a:xfrm>
        </p:spPr>
        <p:txBody>
          <a:bodyPr/>
          <a:lstStyle>
            <a:lvl1pPr marL="0" indent="0">
              <a:buNone/>
              <a:defRPr sz="1200"/>
            </a:lvl1pPr>
            <a:lvl2pPr marL="342891" indent="0">
              <a:buNone/>
              <a:defRPr sz="1051"/>
            </a:lvl2pPr>
            <a:lvl3pPr marL="685783" indent="0">
              <a:buNone/>
              <a:defRPr sz="900"/>
            </a:lvl3pPr>
            <a:lvl4pPr marL="1028674" indent="0">
              <a:buNone/>
              <a:defRPr sz="751"/>
            </a:lvl4pPr>
            <a:lvl5pPr marL="1371566" indent="0">
              <a:buNone/>
              <a:defRPr sz="751"/>
            </a:lvl5pPr>
            <a:lvl6pPr marL="1714457" indent="0">
              <a:buNone/>
              <a:defRPr sz="751"/>
            </a:lvl6pPr>
            <a:lvl7pPr marL="2057349" indent="0">
              <a:buNone/>
              <a:defRPr sz="751"/>
            </a:lvl7pPr>
            <a:lvl8pPr marL="2400240" indent="0">
              <a:buNone/>
              <a:defRPr sz="751"/>
            </a:lvl8pPr>
            <a:lvl9pPr marL="2743131" indent="0">
              <a:buNone/>
              <a:defRPr sz="751"/>
            </a:lvl9pPr>
          </a:lstStyle>
          <a:p>
            <a:pPr lvl="0"/>
            <a:r>
              <a:rPr lang="fr-FR"/>
              <a:t>Modifier les styles du texte du masque</a:t>
            </a:r>
          </a:p>
        </p:txBody>
      </p:sp>
      <p:sp>
        <p:nvSpPr>
          <p:cNvPr id="5" name="Espace réservé de la date 4"/>
          <p:cNvSpPr>
            <a:spLocks noGrp="1"/>
          </p:cNvSpPr>
          <p:nvPr>
            <p:ph type="dt" sz="half" idx="10"/>
          </p:nvPr>
        </p:nvSpPr>
        <p:spPr/>
        <p:txBody>
          <a:bodyPr/>
          <a:lstStyle/>
          <a:p>
            <a:endParaRPr lang="en-US" dirty="0">
              <a:solidFill>
                <a:prstClr val="black">
                  <a:tint val="75000"/>
                </a:prstClr>
              </a:solidFill>
            </a:endParaRPr>
          </a:p>
        </p:txBody>
      </p:sp>
      <p:sp>
        <p:nvSpPr>
          <p:cNvPr id="6" name="Espace réservé du pied de page 5"/>
          <p:cNvSpPr>
            <a:spLocks noGrp="1"/>
          </p:cNvSpPr>
          <p:nvPr>
            <p:ph type="ftr" sz="quarter" idx="11"/>
          </p:nvPr>
        </p:nvSpPr>
        <p:spPr/>
        <p:txBody>
          <a:bodyPr/>
          <a:lstStyle/>
          <a:p>
            <a:endParaRPr lang="en-US" dirty="0">
              <a:solidFill>
                <a:prstClr val="black">
                  <a:tint val="75000"/>
                </a:prstClr>
              </a:solidFill>
            </a:endParaRPr>
          </a:p>
        </p:txBody>
      </p:sp>
      <p:sp>
        <p:nvSpPr>
          <p:cNvPr id="7" name="Espace réservé du numéro de diapositive 6"/>
          <p:cNvSpPr>
            <a:spLocks noGrp="1"/>
          </p:cNvSpPr>
          <p:nvPr>
            <p:ph type="sldNum" sz="quarter" idx="12"/>
          </p:nvPr>
        </p:nvSpPr>
        <p:spPr/>
        <p:txBody>
          <a:bodyPr/>
          <a:lstStyle/>
          <a:p>
            <a:fld id="{B9902624-945D-4BF9-AF49-E915AA8C07FB}" type="slidenum">
              <a:rPr lang="en-US" smtClean="0">
                <a:solidFill>
                  <a:prstClr val="black">
                    <a:tint val="75000"/>
                  </a:prstClr>
                </a:solidFill>
              </a:rPr>
              <a:pPr/>
              <a:t>‹N°›</a:t>
            </a:fld>
            <a:endParaRPr lang="en-US" dirty="0">
              <a:solidFill>
                <a:prstClr val="black">
                  <a:tint val="75000"/>
                </a:prstClr>
              </a:solidFill>
            </a:endParaRPr>
          </a:p>
        </p:txBody>
      </p:sp>
    </p:spTree>
    <p:extLst>
      <p:ext uri="{BB962C8B-B14F-4D97-AF65-F5344CB8AC3E}">
        <p14:creationId xmlns:p14="http://schemas.microsoft.com/office/powerpoint/2010/main" val="144321298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endParaRPr lang="en-US"/>
          </a:p>
        </p:txBody>
      </p:sp>
      <p:sp>
        <p:nvSpPr>
          <p:cNvPr id="3" name="Espace réservé du texte vertical 2"/>
          <p:cNvSpPr>
            <a:spLocks noGrp="1"/>
          </p:cNvSpPr>
          <p:nvPr>
            <p:ph type="body" orient="vert" idx="1"/>
          </p:nvPr>
        </p:nvSpPr>
        <p:spPr/>
        <p:txBody>
          <a:bodyPr vert="eaVert"/>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Espace réservé de la date 3"/>
          <p:cNvSpPr>
            <a:spLocks noGrp="1"/>
          </p:cNvSpPr>
          <p:nvPr>
            <p:ph type="dt" sz="half" idx="10"/>
          </p:nvPr>
        </p:nvSpPr>
        <p:spPr/>
        <p:txBody>
          <a:bodyPr/>
          <a:lstStyle/>
          <a:p>
            <a:endParaRPr lang="en-US" dirty="0">
              <a:solidFill>
                <a:prstClr val="black">
                  <a:tint val="75000"/>
                </a:prstClr>
              </a:solidFill>
            </a:endParaRPr>
          </a:p>
        </p:txBody>
      </p:sp>
      <p:sp>
        <p:nvSpPr>
          <p:cNvPr id="5" name="Espace réservé du pied de page 4"/>
          <p:cNvSpPr>
            <a:spLocks noGrp="1"/>
          </p:cNvSpPr>
          <p:nvPr>
            <p:ph type="ftr" sz="quarter" idx="11"/>
          </p:nvPr>
        </p:nvSpPr>
        <p:spPr/>
        <p:txBody>
          <a:bodyPr/>
          <a:lstStyle/>
          <a:p>
            <a:endParaRPr lang="en-US" dirty="0">
              <a:solidFill>
                <a:prstClr val="black">
                  <a:tint val="75000"/>
                </a:prstClr>
              </a:solidFill>
            </a:endParaRPr>
          </a:p>
        </p:txBody>
      </p:sp>
      <p:sp>
        <p:nvSpPr>
          <p:cNvPr id="6" name="Espace réservé du numéro de diapositive 5"/>
          <p:cNvSpPr>
            <a:spLocks noGrp="1"/>
          </p:cNvSpPr>
          <p:nvPr>
            <p:ph type="sldNum" sz="quarter" idx="12"/>
          </p:nvPr>
        </p:nvSpPr>
        <p:spPr/>
        <p:txBody>
          <a:bodyPr/>
          <a:lstStyle/>
          <a:p>
            <a:fld id="{B9902624-945D-4BF9-AF49-E915AA8C07FB}" type="slidenum">
              <a:rPr lang="en-US" smtClean="0">
                <a:solidFill>
                  <a:prstClr val="black">
                    <a:tint val="75000"/>
                  </a:prstClr>
                </a:solidFill>
              </a:rPr>
              <a:pPr/>
              <a:t>‹N°›</a:t>
            </a:fld>
            <a:endParaRPr lang="en-US" dirty="0">
              <a:solidFill>
                <a:prstClr val="black">
                  <a:tint val="75000"/>
                </a:prstClr>
              </a:solidFill>
            </a:endParaRPr>
          </a:p>
        </p:txBody>
      </p:sp>
    </p:spTree>
    <p:extLst>
      <p:ext uri="{BB962C8B-B14F-4D97-AF65-F5344CB8AC3E}">
        <p14:creationId xmlns:p14="http://schemas.microsoft.com/office/powerpoint/2010/main" val="272156375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724902" y="365126"/>
            <a:ext cx="2628900" cy="5811839"/>
          </a:xfrm>
        </p:spPr>
        <p:txBody>
          <a:bodyPr vert="eaVert"/>
          <a:lstStyle/>
          <a:p>
            <a:r>
              <a:rPr lang="fr-FR"/>
              <a:t>Modifiez le style du titre</a:t>
            </a:r>
            <a:endParaRPr lang="en-US"/>
          </a:p>
        </p:txBody>
      </p:sp>
      <p:sp>
        <p:nvSpPr>
          <p:cNvPr id="3" name="Espace réservé du texte vertical 2"/>
          <p:cNvSpPr>
            <a:spLocks noGrp="1"/>
          </p:cNvSpPr>
          <p:nvPr>
            <p:ph type="body" orient="vert" idx="1"/>
          </p:nvPr>
        </p:nvSpPr>
        <p:spPr>
          <a:xfrm>
            <a:off x="838202" y="365126"/>
            <a:ext cx="7734300" cy="5811839"/>
          </a:xfrm>
        </p:spPr>
        <p:txBody>
          <a:bodyPr vert="eaVert"/>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Espace réservé de la date 3"/>
          <p:cNvSpPr>
            <a:spLocks noGrp="1"/>
          </p:cNvSpPr>
          <p:nvPr>
            <p:ph type="dt" sz="half" idx="10"/>
          </p:nvPr>
        </p:nvSpPr>
        <p:spPr/>
        <p:txBody>
          <a:bodyPr/>
          <a:lstStyle/>
          <a:p>
            <a:endParaRPr lang="en-US" dirty="0">
              <a:solidFill>
                <a:prstClr val="black">
                  <a:tint val="75000"/>
                </a:prstClr>
              </a:solidFill>
            </a:endParaRPr>
          </a:p>
        </p:txBody>
      </p:sp>
      <p:sp>
        <p:nvSpPr>
          <p:cNvPr id="5" name="Espace réservé du pied de page 4"/>
          <p:cNvSpPr>
            <a:spLocks noGrp="1"/>
          </p:cNvSpPr>
          <p:nvPr>
            <p:ph type="ftr" sz="quarter" idx="11"/>
          </p:nvPr>
        </p:nvSpPr>
        <p:spPr/>
        <p:txBody>
          <a:bodyPr/>
          <a:lstStyle/>
          <a:p>
            <a:endParaRPr lang="en-US" dirty="0">
              <a:solidFill>
                <a:prstClr val="black">
                  <a:tint val="75000"/>
                </a:prstClr>
              </a:solidFill>
            </a:endParaRPr>
          </a:p>
        </p:txBody>
      </p:sp>
      <p:sp>
        <p:nvSpPr>
          <p:cNvPr id="6" name="Espace réservé du numéro de diapositive 5"/>
          <p:cNvSpPr>
            <a:spLocks noGrp="1"/>
          </p:cNvSpPr>
          <p:nvPr>
            <p:ph type="sldNum" sz="quarter" idx="12"/>
          </p:nvPr>
        </p:nvSpPr>
        <p:spPr/>
        <p:txBody>
          <a:bodyPr/>
          <a:lstStyle/>
          <a:p>
            <a:fld id="{B9902624-945D-4BF9-AF49-E915AA8C07FB}" type="slidenum">
              <a:rPr lang="en-US" smtClean="0">
                <a:solidFill>
                  <a:prstClr val="black">
                    <a:tint val="75000"/>
                  </a:prstClr>
                </a:solidFill>
              </a:rPr>
              <a:pPr/>
              <a:t>‹N°›</a:t>
            </a:fld>
            <a:endParaRPr lang="en-US" dirty="0">
              <a:solidFill>
                <a:prstClr val="black">
                  <a:tint val="75000"/>
                </a:prstClr>
              </a:solidFill>
            </a:endParaRPr>
          </a:p>
        </p:txBody>
      </p:sp>
    </p:spTree>
    <p:extLst>
      <p:ext uri="{BB962C8B-B14F-4D97-AF65-F5344CB8AC3E}">
        <p14:creationId xmlns:p14="http://schemas.microsoft.com/office/powerpoint/2010/main" val="375341807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Disposition personnalisée">
    <p:spTree>
      <p:nvGrpSpPr>
        <p:cNvPr id="1" name=""/>
        <p:cNvGrpSpPr/>
        <p:nvPr/>
      </p:nvGrpSpPr>
      <p:grpSpPr>
        <a:xfrm>
          <a:off x="0" y="0"/>
          <a:ext cx="0" cy="0"/>
          <a:chOff x="0" y="0"/>
          <a:chExt cx="0" cy="0"/>
        </a:xfrm>
      </p:grpSpPr>
    </p:spTree>
    <p:extLst>
      <p:ext uri="{BB962C8B-B14F-4D97-AF65-F5344CB8AC3E}">
        <p14:creationId xmlns:p14="http://schemas.microsoft.com/office/powerpoint/2010/main" val="381742687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Disposition personnalisée">
    <p:spTree>
      <p:nvGrpSpPr>
        <p:cNvPr id="1" name=""/>
        <p:cNvGrpSpPr/>
        <p:nvPr/>
      </p:nvGrpSpPr>
      <p:grpSpPr>
        <a:xfrm>
          <a:off x="0" y="0"/>
          <a:ext cx="0" cy="0"/>
          <a:chOff x="0" y="0"/>
          <a:chExt cx="0" cy="0"/>
        </a:xfrm>
      </p:grpSpPr>
      <p:pic>
        <p:nvPicPr>
          <p:cNvPr id="7" name="Image 6"/>
          <p:cNvPicPr>
            <a:picLocks noChangeAspect="1"/>
          </p:cNvPicPr>
          <p:nvPr userDrawn="1"/>
        </p:nvPicPr>
        <p:blipFill rotWithShape="1">
          <a:blip r:embed="rId2">
            <a:extLst>
              <a:ext uri="{28A0092B-C50C-407E-A947-70E740481C1C}">
                <a14:useLocalDpi xmlns:a14="http://schemas.microsoft.com/office/drawing/2010/main" val="0"/>
              </a:ext>
            </a:extLst>
          </a:blip>
          <a:srcRect l="35474" t="-176" r="37132" b="-26"/>
          <a:stretch/>
        </p:blipFill>
        <p:spPr>
          <a:xfrm>
            <a:off x="9112666" y="522268"/>
            <a:ext cx="3079337" cy="6335733"/>
          </a:xfrm>
          <a:prstGeom prst="rect">
            <a:avLst/>
          </a:prstGeom>
        </p:spPr>
      </p:pic>
      <p:pic>
        <p:nvPicPr>
          <p:cNvPr id="8" name="Image 7"/>
          <p:cNvPicPr>
            <a:picLocks noChangeAspect="1"/>
          </p:cNvPicPr>
          <p:nvPr userDrawn="1"/>
        </p:nvPicPr>
        <p:blipFill rotWithShape="1">
          <a:blip r:embed="rId3" cstate="print">
            <a:extLst>
              <a:ext uri="{28A0092B-C50C-407E-A947-70E740481C1C}">
                <a14:useLocalDpi xmlns:a14="http://schemas.microsoft.com/office/drawing/2010/main" val="0"/>
              </a:ext>
            </a:extLst>
          </a:blip>
          <a:srcRect l="57673" t="301" r="19871" b="-1"/>
          <a:stretch/>
        </p:blipFill>
        <p:spPr>
          <a:xfrm>
            <a:off x="3036220" y="533400"/>
            <a:ext cx="3038221" cy="6321048"/>
          </a:xfrm>
          <a:prstGeom prst="rect">
            <a:avLst/>
          </a:prstGeom>
        </p:spPr>
      </p:pic>
      <p:pic>
        <p:nvPicPr>
          <p:cNvPr id="9" name="Image 8">
            <a:extLst>
              <a:ext uri="{FF2B5EF4-FFF2-40B4-BE49-F238E27FC236}">
                <a16:creationId xmlns:a16="http://schemas.microsoft.com/office/drawing/2014/main" id="{0B4BFA3F-5D58-374A-8AC3-CFB06E8C8DF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14415" t="356" r="49688" b="-1"/>
          <a:stretch/>
        </p:blipFill>
        <p:spPr>
          <a:xfrm>
            <a:off x="0" y="533400"/>
            <a:ext cx="3036219" cy="6321048"/>
          </a:xfrm>
          <a:prstGeom prst="rect">
            <a:avLst/>
          </a:prstGeom>
        </p:spPr>
      </p:pic>
      <p:pic>
        <p:nvPicPr>
          <p:cNvPr id="10" name="Image 9"/>
          <p:cNvPicPr>
            <a:picLocks noChangeAspect="1"/>
          </p:cNvPicPr>
          <p:nvPr userDrawn="1"/>
        </p:nvPicPr>
        <p:blipFill rotWithShape="1">
          <a:blip r:embed="rId5" cstate="print">
            <a:extLst>
              <a:ext uri="{28A0092B-C50C-407E-A947-70E740481C1C}">
                <a14:useLocalDpi xmlns:a14="http://schemas.microsoft.com/office/drawing/2010/main" val="0"/>
              </a:ext>
            </a:extLst>
          </a:blip>
          <a:srcRect l="17406" t="38480" r="40341" b="3029"/>
          <a:stretch/>
        </p:blipFill>
        <p:spPr>
          <a:xfrm>
            <a:off x="6074443" y="533400"/>
            <a:ext cx="3039165" cy="6321048"/>
          </a:xfrm>
          <a:prstGeom prst="rect">
            <a:avLst/>
          </a:prstGeom>
        </p:spPr>
      </p:pic>
      <p:sp>
        <p:nvSpPr>
          <p:cNvPr id="6" name="Rectangle 5"/>
          <p:cNvSpPr/>
          <p:nvPr userDrawn="1"/>
        </p:nvSpPr>
        <p:spPr>
          <a:xfrm>
            <a:off x="0" y="0"/>
            <a:ext cx="12192000" cy="6858000"/>
          </a:xfrm>
          <a:prstGeom prst="rect">
            <a:avLst/>
          </a:prstGeom>
          <a:solidFill>
            <a:schemeClr val="bg1">
              <a:alpha val="70000"/>
            </a:schemeClr>
          </a:solidFill>
          <a:ln>
            <a:noFill/>
          </a:ln>
          <a:effectLst>
            <a:glow>
              <a:schemeClr val="accent1"/>
            </a:glow>
          </a:effectLst>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defTabSz="914377" eaLnBrk="0" fontAlgn="base" hangingPunct="0">
              <a:spcBef>
                <a:spcPct val="0"/>
              </a:spcBef>
              <a:spcAft>
                <a:spcPct val="0"/>
              </a:spcAft>
              <a:defRPr/>
            </a:pPr>
            <a:endParaRPr lang="fr-FR" sz="1800" dirty="0">
              <a:solidFill>
                <a:prstClr val="white"/>
              </a:solidFill>
            </a:endParaRPr>
          </a:p>
        </p:txBody>
      </p:sp>
    </p:spTree>
    <p:extLst>
      <p:ext uri="{BB962C8B-B14F-4D97-AF65-F5344CB8AC3E}">
        <p14:creationId xmlns:p14="http://schemas.microsoft.com/office/powerpoint/2010/main" val="290958196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fr-FR"/>
              <a:t>Modifiez le style du titr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7" indent="0" algn="ctr">
              <a:buNone/>
              <a:defRPr sz="1600"/>
            </a:lvl9pPr>
          </a:lstStyle>
          <a:p>
            <a:r>
              <a:rPr lang="fr-FR"/>
              <a:t>Modifiez le style des sous-titres du masque</a:t>
            </a:r>
            <a:endParaRPr lang="en-US" dirty="0"/>
          </a:p>
        </p:txBody>
      </p:sp>
      <p:sp>
        <p:nvSpPr>
          <p:cNvPr id="4" name="Date Placeholder 3"/>
          <p:cNvSpPr>
            <a:spLocks noGrp="1"/>
          </p:cNvSpPr>
          <p:nvPr>
            <p:ph type="dt" sz="half" idx="10"/>
          </p:nvPr>
        </p:nvSpPr>
        <p:spPr/>
        <p:txBody>
          <a:bodyPr/>
          <a:lstStyle/>
          <a:p>
            <a:fld id="{C3B9F36C-161F-4433-A36A-BF3A1E029F36}" type="datetimeFigureOut">
              <a:rPr lang="fr-FR" smtClean="0">
                <a:solidFill>
                  <a:prstClr val="black">
                    <a:tint val="75000"/>
                  </a:prstClr>
                </a:solidFill>
              </a:rPr>
              <a:pPr/>
              <a:t>15/05/2024</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FC6D314B-A1B1-4DC3-BDC1-6FB82851D41C}" type="slidenum">
              <a:rPr lang="fr-FR" smtClean="0">
                <a:solidFill>
                  <a:prstClr val="black">
                    <a:tint val="75000"/>
                  </a:prstClr>
                </a:solidFill>
              </a:rPr>
              <a:pPr/>
              <a:t>‹N°›</a:t>
            </a:fld>
            <a:endParaRPr lang="fr-FR">
              <a:solidFill>
                <a:prstClr val="black">
                  <a:tint val="75000"/>
                </a:prstClr>
              </a:solidFill>
            </a:endParaRPr>
          </a:p>
        </p:txBody>
      </p:sp>
    </p:spTree>
    <p:extLst>
      <p:ext uri="{BB962C8B-B14F-4D97-AF65-F5344CB8AC3E}">
        <p14:creationId xmlns:p14="http://schemas.microsoft.com/office/powerpoint/2010/main" val="240207200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dirty="0"/>
          </a:p>
        </p:txBody>
      </p:sp>
      <p:sp>
        <p:nvSpPr>
          <p:cNvPr id="3" name="Content Placeholder 2"/>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Date Placeholder 3"/>
          <p:cNvSpPr>
            <a:spLocks noGrp="1"/>
          </p:cNvSpPr>
          <p:nvPr>
            <p:ph type="dt" sz="half" idx="10"/>
          </p:nvPr>
        </p:nvSpPr>
        <p:spPr/>
        <p:txBody>
          <a:bodyPr/>
          <a:lstStyle/>
          <a:p>
            <a:fld id="{C3B9F36C-161F-4433-A36A-BF3A1E029F36}" type="datetimeFigureOut">
              <a:rPr lang="fr-FR" smtClean="0">
                <a:solidFill>
                  <a:prstClr val="black">
                    <a:tint val="75000"/>
                  </a:prstClr>
                </a:solidFill>
              </a:rPr>
              <a:pPr/>
              <a:t>15/05/2024</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FC6D314B-A1B1-4DC3-BDC1-6FB82851D41C}" type="slidenum">
              <a:rPr lang="fr-FR" smtClean="0">
                <a:solidFill>
                  <a:prstClr val="black">
                    <a:tint val="75000"/>
                  </a:prstClr>
                </a:solidFill>
              </a:rPr>
              <a:pPr/>
              <a:t>‹N°›</a:t>
            </a:fld>
            <a:endParaRPr lang="fr-FR">
              <a:solidFill>
                <a:prstClr val="black">
                  <a:tint val="75000"/>
                </a:prstClr>
              </a:solidFill>
            </a:endParaRPr>
          </a:p>
        </p:txBody>
      </p:sp>
    </p:spTree>
    <p:extLst>
      <p:ext uri="{BB962C8B-B14F-4D97-AF65-F5344CB8AC3E}">
        <p14:creationId xmlns:p14="http://schemas.microsoft.com/office/powerpoint/2010/main" val="256714993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6000"/>
            </a:lvl1pPr>
          </a:lstStyle>
          <a:p>
            <a:r>
              <a:rPr lang="fr-FR"/>
              <a:t>Modifiez le style du titre</a:t>
            </a:r>
            <a:endParaRPr lang="en-US" dirty="0"/>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77" indent="0">
              <a:buNone/>
              <a:defRPr sz="2000">
                <a:solidFill>
                  <a:schemeClr val="tx1">
                    <a:tint val="75000"/>
                  </a:schemeClr>
                </a:solidFill>
              </a:defRPr>
            </a:lvl2pPr>
            <a:lvl3pPr marL="914355"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3" indent="0">
              <a:buNone/>
              <a:defRPr sz="1600">
                <a:solidFill>
                  <a:schemeClr val="tx1">
                    <a:tint val="75000"/>
                  </a:schemeClr>
                </a:solidFill>
              </a:defRPr>
            </a:lvl7pPr>
            <a:lvl8pPr marL="3200240" indent="0">
              <a:buNone/>
              <a:defRPr sz="1600">
                <a:solidFill>
                  <a:schemeClr val="tx1">
                    <a:tint val="75000"/>
                  </a:schemeClr>
                </a:solidFill>
              </a:defRPr>
            </a:lvl8pPr>
            <a:lvl9pPr marL="3657417" indent="0">
              <a:buNone/>
              <a:defRPr sz="1600">
                <a:solidFill>
                  <a:schemeClr val="tx1">
                    <a:tint val="75000"/>
                  </a:schemeClr>
                </a:solidFill>
              </a:defRPr>
            </a:lvl9pPr>
          </a:lstStyle>
          <a:p>
            <a:pPr lvl="0"/>
            <a:r>
              <a:rPr lang="fr-FR"/>
              <a:t>Cliquez pour modifier les styles du texte du masque</a:t>
            </a:r>
          </a:p>
        </p:txBody>
      </p:sp>
      <p:sp>
        <p:nvSpPr>
          <p:cNvPr id="4" name="Date Placeholder 3"/>
          <p:cNvSpPr>
            <a:spLocks noGrp="1"/>
          </p:cNvSpPr>
          <p:nvPr>
            <p:ph type="dt" sz="half" idx="10"/>
          </p:nvPr>
        </p:nvSpPr>
        <p:spPr/>
        <p:txBody>
          <a:bodyPr/>
          <a:lstStyle/>
          <a:p>
            <a:fld id="{C3B9F36C-161F-4433-A36A-BF3A1E029F36}" type="datetimeFigureOut">
              <a:rPr lang="fr-FR" smtClean="0">
                <a:solidFill>
                  <a:prstClr val="black">
                    <a:tint val="75000"/>
                  </a:prstClr>
                </a:solidFill>
              </a:rPr>
              <a:pPr/>
              <a:t>15/05/2024</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FC6D314B-A1B1-4DC3-BDC1-6FB82851D41C}" type="slidenum">
              <a:rPr lang="fr-FR" smtClean="0">
                <a:solidFill>
                  <a:prstClr val="black">
                    <a:tint val="75000"/>
                  </a:prstClr>
                </a:solidFill>
              </a:rPr>
              <a:pPr/>
              <a:t>‹N°›</a:t>
            </a:fld>
            <a:endParaRPr lang="fr-FR">
              <a:solidFill>
                <a:prstClr val="black">
                  <a:tint val="75000"/>
                </a:prstClr>
              </a:solidFill>
            </a:endParaRPr>
          </a:p>
        </p:txBody>
      </p:sp>
    </p:spTree>
    <p:extLst>
      <p:ext uri="{BB962C8B-B14F-4D97-AF65-F5344CB8AC3E}">
        <p14:creationId xmlns:p14="http://schemas.microsoft.com/office/powerpoint/2010/main" val="45343972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Date Placeholder 4"/>
          <p:cNvSpPr>
            <a:spLocks noGrp="1"/>
          </p:cNvSpPr>
          <p:nvPr>
            <p:ph type="dt" sz="half" idx="10"/>
          </p:nvPr>
        </p:nvSpPr>
        <p:spPr/>
        <p:txBody>
          <a:bodyPr/>
          <a:lstStyle/>
          <a:p>
            <a:fld id="{C3B9F36C-161F-4433-A36A-BF3A1E029F36}" type="datetimeFigureOut">
              <a:rPr lang="fr-FR" smtClean="0">
                <a:solidFill>
                  <a:prstClr val="black">
                    <a:tint val="75000"/>
                  </a:prstClr>
                </a:solidFill>
              </a:rPr>
              <a:pPr/>
              <a:t>15/05/2024</a:t>
            </a:fld>
            <a:endParaRPr lang="fr-FR">
              <a:solidFill>
                <a:prstClr val="black">
                  <a:tint val="75000"/>
                </a:prstClr>
              </a:solidFill>
            </a:endParaRPr>
          </a:p>
        </p:txBody>
      </p:sp>
      <p:sp>
        <p:nvSpPr>
          <p:cNvPr id="6" name="Footer Placeholder 5"/>
          <p:cNvSpPr>
            <a:spLocks noGrp="1"/>
          </p:cNvSpPr>
          <p:nvPr>
            <p:ph type="ftr" sz="quarter" idx="11"/>
          </p:nvPr>
        </p:nvSpPr>
        <p:spPr/>
        <p:txBody>
          <a:bodyPr/>
          <a:lstStyle/>
          <a:p>
            <a:endParaRPr lang="fr-FR">
              <a:solidFill>
                <a:prstClr val="black">
                  <a:tint val="75000"/>
                </a:prstClr>
              </a:solidFill>
            </a:endParaRPr>
          </a:p>
        </p:txBody>
      </p:sp>
      <p:sp>
        <p:nvSpPr>
          <p:cNvPr id="7" name="Slide Number Placeholder 6"/>
          <p:cNvSpPr>
            <a:spLocks noGrp="1"/>
          </p:cNvSpPr>
          <p:nvPr>
            <p:ph type="sldNum" sz="quarter" idx="12"/>
          </p:nvPr>
        </p:nvSpPr>
        <p:spPr/>
        <p:txBody>
          <a:bodyPr/>
          <a:lstStyle/>
          <a:p>
            <a:fld id="{FC6D314B-A1B1-4DC3-BDC1-6FB82851D41C}" type="slidenum">
              <a:rPr lang="fr-FR" smtClean="0">
                <a:solidFill>
                  <a:prstClr val="black">
                    <a:tint val="75000"/>
                  </a:prstClr>
                </a:solidFill>
              </a:rPr>
              <a:pPr/>
              <a:t>‹N°›</a:t>
            </a:fld>
            <a:endParaRPr lang="fr-FR">
              <a:solidFill>
                <a:prstClr val="black">
                  <a:tint val="75000"/>
                </a:prstClr>
              </a:solidFill>
            </a:endParaRPr>
          </a:p>
        </p:txBody>
      </p:sp>
    </p:spTree>
    <p:extLst>
      <p:ext uri="{BB962C8B-B14F-4D97-AF65-F5344CB8AC3E}">
        <p14:creationId xmlns:p14="http://schemas.microsoft.com/office/powerpoint/2010/main" val="89003367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fr-FR"/>
              <a:t>Modifiez le style du titre</a:t>
            </a:r>
            <a:endParaRPr lang="en-US" dirty="0"/>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77" indent="0">
              <a:buNone/>
              <a:defRPr sz="2000" b="1"/>
            </a:lvl2pPr>
            <a:lvl3pPr marL="914355" indent="0">
              <a:buNone/>
              <a:defRPr sz="1800" b="1"/>
            </a:lvl3pPr>
            <a:lvl4pPr marL="1371532" indent="0">
              <a:buNone/>
              <a:defRPr sz="1600" b="1"/>
            </a:lvl4pPr>
            <a:lvl5pPr marL="1828709" indent="0">
              <a:buNone/>
              <a:defRPr sz="1600" b="1"/>
            </a:lvl5pPr>
            <a:lvl6pPr marL="2285886" indent="0">
              <a:buNone/>
              <a:defRPr sz="1600" b="1"/>
            </a:lvl6pPr>
            <a:lvl7pPr marL="2743063" indent="0">
              <a:buNone/>
              <a:defRPr sz="1600" b="1"/>
            </a:lvl7pPr>
            <a:lvl8pPr marL="3200240" indent="0">
              <a:buNone/>
              <a:defRPr sz="1600" b="1"/>
            </a:lvl8pPr>
            <a:lvl9pPr marL="3657417" indent="0">
              <a:buNone/>
              <a:defRPr sz="1600" b="1"/>
            </a:lvl9pPr>
          </a:lstStyle>
          <a:p>
            <a:pPr lvl="0"/>
            <a:r>
              <a:rPr lang="fr-FR"/>
              <a:t>Cliquez pour modifier les styles du texte du masque</a:t>
            </a:r>
          </a:p>
        </p:txBody>
      </p:sp>
      <p:sp>
        <p:nvSpPr>
          <p:cNvPr id="4" name="Content Placeholder 3"/>
          <p:cNvSpPr>
            <a:spLocks noGrp="1"/>
          </p:cNvSpPr>
          <p:nvPr>
            <p:ph sz="half" idx="2"/>
          </p:nvPr>
        </p:nvSpPr>
        <p:spPr>
          <a:xfrm>
            <a:off x="839789" y="2505075"/>
            <a:ext cx="5157787"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77" indent="0">
              <a:buNone/>
              <a:defRPr sz="2000" b="1"/>
            </a:lvl2pPr>
            <a:lvl3pPr marL="914355" indent="0">
              <a:buNone/>
              <a:defRPr sz="1800" b="1"/>
            </a:lvl3pPr>
            <a:lvl4pPr marL="1371532" indent="0">
              <a:buNone/>
              <a:defRPr sz="1600" b="1"/>
            </a:lvl4pPr>
            <a:lvl5pPr marL="1828709" indent="0">
              <a:buNone/>
              <a:defRPr sz="1600" b="1"/>
            </a:lvl5pPr>
            <a:lvl6pPr marL="2285886" indent="0">
              <a:buNone/>
              <a:defRPr sz="1600" b="1"/>
            </a:lvl6pPr>
            <a:lvl7pPr marL="2743063" indent="0">
              <a:buNone/>
              <a:defRPr sz="1600" b="1"/>
            </a:lvl7pPr>
            <a:lvl8pPr marL="3200240" indent="0">
              <a:buNone/>
              <a:defRPr sz="1600" b="1"/>
            </a:lvl8pPr>
            <a:lvl9pPr marL="3657417" indent="0">
              <a:buNone/>
              <a:defRPr sz="1600" b="1"/>
            </a:lvl9pPr>
          </a:lstStyle>
          <a:p>
            <a:pPr lvl="0"/>
            <a:r>
              <a:rPr lang="fr-FR"/>
              <a:t>Cliquez pour modifier les styles du texte du masque</a:t>
            </a:r>
          </a:p>
        </p:txBody>
      </p:sp>
      <p:sp>
        <p:nvSpPr>
          <p:cNvPr id="6" name="Content Placeholder 5"/>
          <p:cNvSpPr>
            <a:spLocks noGrp="1"/>
          </p:cNvSpPr>
          <p:nvPr>
            <p:ph sz="quarter" idx="4"/>
          </p:nvPr>
        </p:nvSpPr>
        <p:spPr>
          <a:xfrm>
            <a:off x="6172200" y="2505075"/>
            <a:ext cx="5183188"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7" name="Date Placeholder 6"/>
          <p:cNvSpPr>
            <a:spLocks noGrp="1"/>
          </p:cNvSpPr>
          <p:nvPr>
            <p:ph type="dt" sz="half" idx="10"/>
          </p:nvPr>
        </p:nvSpPr>
        <p:spPr/>
        <p:txBody>
          <a:bodyPr/>
          <a:lstStyle/>
          <a:p>
            <a:fld id="{C3B9F36C-161F-4433-A36A-BF3A1E029F36}" type="datetimeFigureOut">
              <a:rPr lang="fr-FR" smtClean="0">
                <a:solidFill>
                  <a:prstClr val="black">
                    <a:tint val="75000"/>
                  </a:prstClr>
                </a:solidFill>
              </a:rPr>
              <a:pPr/>
              <a:t>15/05/2024</a:t>
            </a:fld>
            <a:endParaRPr lang="fr-FR">
              <a:solidFill>
                <a:prstClr val="black">
                  <a:tint val="75000"/>
                </a:prstClr>
              </a:solidFill>
            </a:endParaRPr>
          </a:p>
        </p:txBody>
      </p:sp>
      <p:sp>
        <p:nvSpPr>
          <p:cNvPr id="8" name="Footer Placeholder 7"/>
          <p:cNvSpPr>
            <a:spLocks noGrp="1"/>
          </p:cNvSpPr>
          <p:nvPr>
            <p:ph type="ftr" sz="quarter" idx="11"/>
          </p:nvPr>
        </p:nvSpPr>
        <p:spPr/>
        <p:txBody>
          <a:bodyPr/>
          <a:lstStyle/>
          <a:p>
            <a:endParaRPr lang="fr-FR">
              <a:solidFill>
                <a:prstClr val="black">
                  <a:tint val="75000"/>
                </a:prstClr>
              </a:solidFill>
            </a:endParaRPr>
          </a:p>
        </p:txBody>
      </p:sp>
      <p:sp>
        <p:nvSpPr>
          <p:cNvPr id="9" name="Slide Number Placeholder 8"/>
          <p:cNvSpPr>
            <a:spLocks noGrp="1"/>
          </p:cNvSpPr>
          <p:nvPr>
            <p:ph type="sldNum" sz="quarter" idx="12"/>
          </p:nvPr>
        </p:nvSpPr>
        <p:spPr/>
        <p:txBody>
          <a:bodyPr/>
          <a:lstStyle/>
          <a:p>
            <a:fld id="{FC6D314B-A1B1-4DC3-BDC1-6FB82851D41C}" type="slidenum">
              <a:rPr lang="fr-FR" smtClean="0">
                <a:solidFill>
                  <a:prstClr val="black">
                    <a:tint val="75000"/>
                  </a:prstClr>
                </a:solidFill>
              </a:rPr>
              <a:pPr/>
              <a:t>‹N°›</a:t>
            </a:fld>
            <a:endParaRPr lang="fr-FR">
              <a:solidFill>
                <a:prstClr val="black">
                  <a:tint val="75000"/>
                </a:prstClr>
              </a:solidFill>
            </a:endParaRPr>
          </a:p>
        </p:txBody>
      </p:sp>
    </p:spTree>
    <p:extLst>
      <p:ext uri="{BB962C8B-B14F-4D97-AF65-F5344CB8AC3E}">
        <p14:creationId xmlns:p14="http://schemas.microsoft.com/office/powerpoint/2010/main" val="283542188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fld id="{5EF27816-6426-453E-A161-5D470619F954}" type="datetimeFigureOut">
              <a:rPr lang="fr-FR" smtClean="0"/>
              <a:t>15/05/2024</a:t>
            </a:fld>
            <a:endParaRPr lang="fr-FR"/>
          </a:p>
        </p:txBody>
      </p:sp>
      <p:sp>
        <p:nvSpPr>
          <p:cNvPr id="3" name="Espace réservé du pied de page 2"/>
          <p:cNvSpPr>
            <a:spLocks noGrp="1"/>
          </p:cNvSpPr>
          <p:nvPr>
            <p:ph type="ftr" sz="quarter" idx="11"/>
          </p:nvPr>
        </p:nvSpPr>
        <p:spPr/>
        <p:txBody>
          <a:bodyPr/>
          <a:lstStyle/>
          <a:p>
            <a:endParaRPr lang="fr-FR"/>
          </a:p>
        </p:txBody>
      </p:sp>
      <p:sp>
        <p:nvSpPr>
          <p:cNvPr id="4" name="Espace réservé du numéro de diapositive 3"/>
          <p:cNvSpPr>
            <a:spLocks noGrp="1"/>
          </p:cNvSpPr>
          <p:nvPr>
            <p:ph type="sldNum" sz="quarter" idx="12"/>
          </p:nvPr>
        </p:nvSpPr>
        <p:spPr/>
        <p:txBody>
          <a:bodyPr/>
          <a:lstStyle/>
          <a:p>
            <a:fld id="{60D50290-7864-48CB-90FD-CA3D03E700D4}" type="slidenum">
              <a:rPr lang="fr-FR" smtClean="0"/>
              <a:t>‹N°›</a:t>
            </a:fld>
            <a:endParaRPr lang="fr-FR"/>
          </a:p>
        </p:txBody>
      </p:sp>
    </p:spTree>
    <p:extLst>
      <p:ext uri="{BB962C8B-B14F-4D97-AF65-F5344CB8AC3E}">
        <p14:creationId xmlns:p14="http://schemas.microsoft.com/office/powerpoint/2010/main" val="26893696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dirty="0"/>
          </a:p>
        </p:txBody>
      </p:sp>
      <p:sp>
        <p:nvSpPr>
          <p:cNvPr id="3" name="Date Placeholder 2"/>
          <p:cNvSpPr>
            <a:spLocks noGrp="1"/>
          </p:cNvSpPr>
          <p:nvPr>
            <p:ph type="dt" sz="half" idx="10"/>
          </p:nvPr>
        </p:nvSpPr>
        <p:spPr/>
        <p:txBody>
          <a:bodyPr/>
          <a:lstStyle/>
          <a:p>
            <a:fld id="{C3B9F36C-161F-4433-A36A-BF3A1E029F36}" type="datetimeFigureOut">
              <a:rPr lang="fr-FR" smtClean="0">
                <a:solidFill>
                  <a:prstClr val="black">
                    <a:tint val="75000"/>
                  </a:prstClr>
                </a:solidFill>
              </a:rPr>
              <a:pPr/>
              <a:t>15/05/2024</a:t>
            </a:fld>
            <a:endParaRPr lang="fr-FR">
              <a:solidFill>
                <a:prstClr val="black">
                  <a:tint val="75000"/>
                </a:prstClr>
              </a:solidFill>
            </a:endParaRPr>
          </a:p>
        </p:txBody>
      </p:sp>
      <p:sp>
        <p:nvSpPr>
          <p:cNvPr id="4" name="Footer Placeholder 3"/>
          <p:cNvSpPr>
            <a:spLocks noGrp="1"/>
          </p:cNvSpPr>
          <p:nvPr>
            <p:ph type="ftr" sz="quarter" idx="11"/>
          </p:nvPr>
        </p:nvSpPr>
        <p:spPr/>
        <p:txBody>
          <a:bodyPr/>
          <a:lstStyle/>
          <a:p>
            <a:endParaRPr lang="fr-FR">
              <a:solidFill>
                <a:prstClr val="black">
                  <a:tint val="75000"/>
                </a:prstClr>
              </a:solidFill>
            </a:endParaRPr>
          </a:p>
        </p:txBody>
      </p:sp>
      <p:sp>
        <p:nvSpPr>
          <p:cNvPr id="5" name="Slide Number Placeholder 4"/>
          <p:cNvSpPr>
            <a:spLocks noGrp="1"/>
          </p:cNvSpPr>
          <p:nvPr>
            <p:ph type="sldNum" sz="quarter" idx="12"/>
          </p:nvPr>
        </p:nvSpPr>
        <p:spPr/>
        <p:txBody>
          <a:bodyPr/>
          <a:lstStyle/>
          <a:p>
            <a:fld id="{FC6D314B-A1B1-4DC3-BDC1-6FB82851D41C}" type="slidenum">
              <a:rPr lang="fr-FR" smtClean="0">
                <a:solidFill>
                  <a:prstClr val="black">
                    <a:tint val="75000"/>
                  </a:prstClr>
                </a:solidFill>
              </a:rPr>
              <a:pPr/>
              <a:t>‹N°›</a:t>
            </a:fld>
            <a:endParaRPr lang="fr-FR">
              <a:solidFill>
                <a:prstClr val="black">
                  <a:tint val="75000"/>
                </a:prstClr>
              </a:solidFill>
            </a:endParaRPr>
          </a:p>
        </p:txBody>
      </p:sp>
    </p:spTree>
    <p:extLst>
      <p:ext uri="{BB962C8B-B14F-4D97-AF65-F5344CB8AC3E}">
        <p14:creationId xmlns:p14="http://schemas.microsoft.com/office/powerpoint/2010/main" val="135432364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3B9F36C-161F-4433-A36A-BF3A1E029F36}" type="datetimeFigureOut">
              <a:rPr lang="fr-FR" smtClean="0">
                <a:solidFill>
                  <a:prstClr val="black">
                    <a:tint val="75000"/>
                  </a:prstClr>
                </a:solidFill>
              </a:rPr>
              <a:pPr/>
              <a:t>15/05/2024</a:t>
            </a:fld>
            <a:endParaRPr lang="fr-FR">
              <a:solidFill>
                <a:prstClr val="black">
                  <a:tint val="75000"/>
                </a:prstClr>
              </a:solidFill>
            </a:endParaRPr>
          </a:p>
        </p:txBody>
      </p:sp>
      <p:sp>
        <p:nvSpPr>
          <p:cNvPr id="3" name="Footer Placeholder 2"/>
          <p:cNvSpPr>
            <a:spLocks noGrp="1"/>
          </p:cNvSpPr>
          <p:nvPr>
            <p:ph type="ftr" sz="quarter" idx="11"/>
          </p:nvPr>
        </p:nvSpPr>
        <p:spPr/>
        <p:txBody>
          <a:bodyPr/>
          <a:lstStyle/>
          <a:p>
            <a:endParaRPr lang="fr-FR">
              <a:solidFill>
                <a:prstClr val="black">
                  <a:tint val="75000"/>
                </a:prstClr>
              </a:solidFill>
            </a:endParaRPr>
          </a:p>
        </p:txBody>
      </p:sp>
      <p:sp>
        <p:nvSpPr>
          <p:cNvPr id="4" name="Slide Number Placeholder 3"/>
          <p:cNvSpPr>
            <a:spLocks noGrp="1"/>
          </p:cNvSpPr>
          <p:nvPr>
            <p:ph type="sldNum" sz="quarter" idx="12"/>
          </p:nvPr>
        </p:nvSpPr>
        <p:spPr/>
        <p:txBody>
          <a:bodyPr/>
          <a:lstStyle/>
          <a:p>
            <a:fld id="{FC6D314B-A1B1-4DC3-BDC1-6FB82851D41C}" type="slidenum">
              <a:rPr lang="fr-FR" smtClean="0">
                <a:solidFill>
                  <a:prstClr val="black">
                    <a:tint val="75000"/>
                  </a:prstClr>
                </a:solidFill>
              </a:rPr>
              <a:pPr/>
              <a:t>‹N°›</a:t>
            </a:fld>
            <a:endParaRPr lang="fr-FR">
              <a:solidFill>
                <a:prstClr val="black">
                  <a:tint val="75000"/>
                </a:prstClr>
              </a:solidFill>
            </a:endParaRPr>
          </a:p>
        </p:txBody>
      </p:sp>
    </p:spTree>
    <p:extLst>
      <p:ext uri="{BB962C8B-B14F-4D97-AF65-F5344CB8AC3E}">
        <p14:creationId xmlns:p14="http://schemas.microsoft.com/office/powerpoint/2010/main" val="116840309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fr-FR"/>
              <a:t>Modifiez le style du titre</a:t>
            </a:r>
            <a:endParaRPr lang="en-US" dirty="0"/>
          </a:p>
        </p:txBody>
      </p:sp>
      <p:sp>
        <p:nvSpPr>
          <p:cNvPr id="3" name="Content Placeholder 2"/>
          <p:cNvSpPr>
            <a:spLocks noGrp="1"/>
          </p:cNvSpPr>
          <p:nvPr>
            <p:ph idx="1"/>
          </p:nvPr>
        </p:nvSpPr>
        <p:spPr>
          <a:xfrm>
            <a:off x="5183188"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77" indent="0">
              <a:buNone/>
              <a:defRPr sz="1400"/>
            </a:lvl2pPr>
            <a:lvl3pPr marL="914355" indent="0">
              <a:buNone/>
              <a:defRPr sz="1200"/>
            </a:lvl3pPr>
            <a:lvl4pPr marL="1371532" indent="0">
              <a:buNone/>
              <a:defRPr sz="1000"/>
            </a:lvl4pPr>
            <a:lvl5pPr marL="1828709" indent="0">
              <a:buNone/>
              <a:defRPr sz="1000"/>
            </a:lvl5pPr>
            <a:lvl6pPr marL="2285886" indent="0">
              <a:buNone/>
              <a:defRPr sz="1000"/>
            </a:lvl6pPr>
            <a:lvl7pPr marL="2743063" indent="0">
              <a:buNone/>
              <a:defRPr sz="1000"/>
            </a:lvl7pPr>
            <a:lvl8pPr marL="3200240" indent="0">
              <a:buNone/>
              <a:defRPr sz="1000"/>
            </a:lvl8pPr>
            <a:lvl9pPr marL="3657417" indent="0">
              <a:buNone/>
              <a:defRPr sz="1000"/>
            </a:lvl9pPr>
          </a:lstStyle>
          <a:p>
            <a:pPr lvl="0"/>
            <a:r>
              <a:rPr lang="fr-FR"/>
              <a:t>Cliquez pour modifier les styles du texte du masque</a:t>
            </a:r>
          </a:p>
        </p:txBody>
      </p:sp>
      <p:sp>
        <p:nvSpPr>
          <p:cNvPr id="5" name="Date Placeholder 4"/>
          <p:cNvSpPr>
            <a:spLocks noGrp="1"/>
          </p:cNvSpPr>
          <p:nvPr>
            <p:ph type="dt" sz="half" idx="10"/>
          </p:nvPr>
        </p:nvSpPr>
        <p:spPr/>
        <p:txBody>
          <a:bodyPr/>
          <a:lstStyle/>
          <a:p>
            <a:fld id="{C3B9F36C-161F-4433-A36A-BF3A1E029F36}" type="datetimeFigureOut">
              <a:rPr lang="fr-FR" smtClean="0">
                <a:solidFill>
                  <a:prstClr val="black">
                    <a:tint val="75000"/>
                  </a:prstClr>
                </a:solidFill>
              </a:rPr>
              <a:pPr/>
              <a:t>15/05/2024</a:t>
            </a:fld>
            <a:endParaRPr lang="fr-FR">
              <a:solidFill>
                <a:prstClr val="black">
                  <a:tint val="75000"/>
                </a:prstClr>
              </a:solidFill>
            </a:endParaRPr>
          </a:p>
        </p:txBody>
      </p:sp>
      <p:sp>
        <p:nvSpPr>
          <p:cNvPr id="6" name="Footer Placeholder 5"/>
          <p:cNvSpPr>
            <a:spLocks noGrp="1"/>
          </p:cNvSpPr>
          <p:nvPr>
            <p:ph type="ftr" sz="quarter" idx="11"/>
          </p:nvPr>
        </p:nvSpPr>
        <p:spPr/>
        <p:txBody>
          <a:bodyPr/>
          <a:lstStyle/>
          <a:p>
            <a:endParaRPr lang="fr-FR">
              <a:solidFill>
                <a:prstClr val="black">
                  <a:tint val="75000"/>
                </a:prstClr>
              </a:solidFill>
            </a:endParaRPr>
          </a:p>
        </p:txBody>
      </p:sp>
      <p:sp>
        <p:nvSpPr>
          <p:cNvPr id="7" name="Slide Number Placeholder 6"/>
          <p:cNvSpPr>
            <a:spLocks noGrp="1"/>
          </p:cNvSpPr>
          <p:nvPr>
            <p:ph type="sldNum" sz="quarter" idx="12"/>
          </p:nvPr>
        </p:nvSpPr>
        <p:spPr/>
        <p:txBody>
          <a:bodyPr/>
          <a:lstStyle/>
          <a:p>
            <a:fld id="{FC6D314B-A1B1-4DC3-BDC1-6FB82851D41C}" type="slidenum">
              <a:rPr lang="fr-FR" smtClean="0">
                <a:solidFill>
                  <a:prstClr val="black">
                    <a:tint val="75000"/>
                  </a:prstClr>
                </a:solidFill>
              </a:rPr>
              <a:pPr/>
              <a:t>‹N°›</a:t>
            </a:fld>
            <a:endParaRPr lang="fr-FR">
              <a:solidFill>
                <a:prstClr val="black">
                  <a:tint val="75000"/>
                </a:prstClr>
              </a:solidFill>
            </a:endParaRPr>
          </a:p>
        </p:txBody>
      </p:sp>
    </p:spTree>
    <p:extLst>
      <p:ext uri="{BB962C8B-B14F-4D97-AF65-F5344CB8AC3E}">
        <p14:creationId xmlns:p14="http://schemas.microsoft.com/office/powerpoint/2010/main" val="255097613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fr-FR"/>
              <a:t>Modifiez le style du titre</a:t>
            </a:r>
            <a:endParaRPr lang="en-US" dirty="0"/>
          </a:p>
        </p:txBody>
      </p:sp>
      <p:sp>
        <p:nvSpPr>
          <p:cNvPr id="3" name="Picture Placeholder 2"/>
          <p:cNvSpPr>
            <a:spLocks noGrp="1" noChangeAspect="1"/>
          </p:cNvSpPr>
          <p:nvPr>
            <p:ph type="pic" idx="1"/>
          </p:nvPr>
        </p:nvSpPr>
        <p:spPr>
          <a:xfrm>
            <a:off x="5183188" y="987426"/>
            <a:ext cx="6172200" cy="4873625"/>
          </a:xfrm>
        </p:spPr>
        <p:txBody>
          <a:bodyPr anchor="t"/>
          <a:lstStyle>
            <a:lvl1pPr marL="0" indent="0">
              <a:buNone/>
              <a:defRPr sz="3200"/>
            </a:lvl1pPr>
            <a:lvl2pPr marL="457177" indent="0">
              <a:buNone/>
              <a:defRPr sz="2800"/>
            </a:lvl2pPr>
            <a:lvl3pPr marL="914355" indent="0">
              <a:buNone/>
              <a:defRPr sz="2400"/>
            </a:lvl3pPr>
            <a:lvl4pPr marL="1371532" indent="0">
              <a:buNone/>
              <a:defRPr sz="2000"/>
            </a:lvl4pPr>
            <a:lvl5pPr marL="1828709" indent="0">
              <a:buNone/>
              <a:defRPr sz="2000"/>
            </a:lvl5pPr>
            <a:lvl6pPr marL="2285886" indent="0">
              <a:buNone/>
              <a:defRPr sz="2000"/>
            </a:lvl6pPr>
            <a:lvl7pPr marL="2743063" indent="0">
              <a:buNone/>
              <a:defRPr sz="2000"/>
            </a:lvl7pPr>
            <a:lvl8pPr marL="3200240" indent="0">
              <a:buNone/>
              <a:defRPr sz="2000"/>
            </a:lvl8pPr>
            <a:lvl9pPr marL="3657417" indent="0">
              <a:buNone/>
              <a:defRPr sz="2000"/>
            </a:lvl9pPr>
          </a:lstStyle>
          <a:p>
            <a:r>
              <a:rPr lang="fr-FR"/>
              <a:t>Cliquez sur l'icône pour ajouter une image</a:t>
            </a:r>
            <a:endParaRPr lang="en-US" dirty="0"/>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77" indent="0">
              <a:buNone/>
              <a:defRPr sz="1400"/>
            </a:lvl2pPr>
            <a:lvl3pPr marL="914355" indent="0">
              <a:buNone/>
              <a:defRPr sz="1200"/>
            </a:lvl3pPr>
            <a:lvl4pPr marL="1371532" indent="0">
              <a:buNone/>
              <a:defRPr sz="1000"/>
            </a:lvl4pPr>
            <a:lvl5pPr marL="1828709" indent="0">
              <a:buNone/>
              <a:defRPr sz="1000"/>
            </a:lvl5pPr>
            <a:lvl6pPr marL="2285886" indent="0">
              <a:buNone/>
              <a:defRPr sz="1000"/>
            </a:lvl6pPr>
            <a:lvl7pPr marL="2743063" indent="0">
              <a:buNone/>
              <a:defRPr sz="1000"/>
            </a:lvl7pPr>
            <a:lvl8pPr marL="3200240" indent="0">
              <a:buNone/>
              <a:defRPr sz="1000"/>
            </a:lvl8pPr>
            <a:lvl9pPr marL="3657417" indent="0">
              <a:buNone/>
              <a:defRPr sz="1000"/>
            </a:lvl9pPr>
          </a:lstStyle>
          <a:p>
            <a:pPr lvl="0"/>
            <a:r>
              <a:rPr lang="fr-FR"/>
              <a:t>Cliquez pour modifier les styles du texte du masque</a:t>
            </a:r>
          </a:p>
        </p:txBody>
      </p:sp>
      <p:sp>
        <p:nvSpPr>
          <p:cNvPr id="5" name="Date Placeholder 4"/>
          <p:cNvSpPr>
            <a:spLocks noGrp="1"/>
          </p:cNvSpPr>
          <p:nvPr>
            <p:ph type="dt" sz="half" idx="10"/>
          </p:nvPr>
        </p:nvSpPr>
        <p:spPr/>
        <p:txBody>
          <a:bodyPr/>
          <a:lstStyle/>
          <a:p>
            <a:fld id="{C3B9F36C-161F-4433-A36A-BF3A1E029F36}" type="datetimeFigureOut">
              <a:rPr lang="fr-FR" smtClean="0">
                <a:solidFill>
                  <a:prstClr val="black">
                    <a:tint val="75000"/>
                  </a:prstClr>
                </a:solidFill>
              </a:rPr>
              <a:pPr/>
              <a:t>15/05/2024</a:t>
            </a:fld>
            <a:endParaRPr lang="fr-FR">
              <a:solidFill>
                <a:prstClr val="black">
                  <a:tint val="75000"/>
                </a:prstClr>
              </a:solidFill>
            </a:endParaRPr>
          </a:p>
        </p:txBody>
      </p:sp>
      <p:sp>
        <p:nvSpPr>
          <p:cNvPr id="6" name="Footer Placeholder 5"/>
          <p:cNvSpPr>
            <a:spLocks noGrp="1"/>
          </p:cNvSpPr>
          <p:nvPr>
            <p:ph type="ftr" sz="quarter" idx="11"/>
          </p:nvPr>
        </p:nvSpPr>
        <p:spPr/>
        <p:txBody>
          <a:bodyPr/>
          <a:lstStyle/>
          <a:p>
            <a:endParaRPr lang="fr-FR">
              <a:solidFill>
                <a:prstClr val="black">
                  <a:tint val="75000"/>
                </a:prstClr>
              </a:solidFill>
            </a:endParaRPr>
          </a:p>
        </p:txBody>
      </p:sp>
      <p:sp>
        <p:nvSpPr>
          <p:cNvPr id="7" name="Slide Number Placeholder 6"/>
          <p:cNvSpPr>
            <a:spLocks noGrp="1"/>
          </p:cNvSpPr>
          <p:nvPr>
            <p:ph type="sldNum" sz="quarter" idx="12"/>
          </p:nvPr>
        </p:nvSpPr>
        <p:spPr/>
        <p:txBody>
          <a:bodyPr/>
          <a:lstStyle/>
          <a:p>
            <a:fld id="{FC6D314B-A1B1-4DC3-BDC1-6FB82851D41C}" type="slidenum">
              <a:rPr lang="fr-FR" smtClean="0">
                <a:solidFill>
                  <a:prstClr val="black">
                    <a:tint val="75000"/>
                  </a:prstClr>
                </a:solidFill>
              </a:rPr>
              <a:pPr/>
              <a:t>‹N°›</a:t>
            </a:fld>
            <a:endParaRPr lang="fr-FR">
              <a:solidFill>
                <a:prstClr val="black">
                  <a:tint val="75000"/>
                </a:prstClr>
              </a:solidFill>
            </a:endParaRPr>
          </a:p>
        </p:txBody>
      </p:sp>
    </p:spTree>
    <p:extLst>
      <p:ext uri="{BB962C8B-B14F-4D97-AF65-F5344CB8AC3E}">
        <p14:creationId xmlns:p14="http://schemas.microsoft.com/office/powerpoint/2010/main" val="247367543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dirty="0"/>
          </a:p>
        </p:txBody>
      </p:sp>
      <p:sp>
        <p:nvSpPr>
          <p:cNvPr id="3" name="Vertical Text Placeholder 2"/>
          <p:cNvSpPr>
            <a:spLocks noGrp="1"/>
          </p:cNvSpPr>
          <p:nvPr>
            <p:ph type="body" orient="vert" idx="1"/>
          </p:nvPr>
        </p:nvSpPr>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Date Placeholder 3"/>
          <p:cNvSpPr>
            <a:spLocks noGrp="1"/>
          </p:cNvSpPr>
          <p:nvPr>
            <p:ph type="dt" sz="half" idx="10"/>
          </p:nvPr>
        </p:nvSpPr>
        <p:spPr/>
        <p:txBody>
          <a:bodyPr/>
          <a:lstStyle/>
          <a:p>
            <a:fld id="{C3B9F36C-161F-4433-A36A-BF3A1E029F36}" type="datetimeFigureOut">
              <a:rPr lang="fr-FR" smtClean="0">
                <a:solidFill>
                  <a:prstClr val="black">
                    <a:tint val="75000"/>
                  </a:prstClr>
                </a:solidFill>
              </a:rPr>
              <a:pPr/>
              <a:t>15/05/2024</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FC6D314B-A1B1-4DC3-BDC1-6FB82851D41C}" type="slidenum">
              <a:rPr lang="fr-FR" smtClean="0">
                <a:solidFill>
                  <a:prstClr val="black">
                    <a:tint val="75000"/>
                  </a:prstClr>
                </a:solidFill>
              </a:rPr>
              <a:pPr/>
              <a:t>‹N°›</a:t>
            </a:fld>
            <a:endParaRPr lang="fr-FR">
              <a:solidFill>
                <a:prstClr val="black">
                  <a:tint val="75000"/>
                </a:prstClr>
              </a:solidFill>
            </a:endParaRPr>
          </a:p>
        </p:txBody>
      </p:sp>
    </p:spTree>
    <p:extLst>
      <p:ext uri="{BB962C8B-B14F-4D97-AF65-F5344CB8AC3E}">
        <p14:creationId xmlns:p14="http://schemas.microsoft.com/office/powerpoint/2010/main" val="333952648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fr-FR"/>
              <a:t>Modifiez le style du titr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Date Placeholder 3"/>
          <p:cNvSpPr>
            <a:spLocks noGrp="1"/>
          </p:cNvSpPr>
          <p:nvPr>
            <p:ph type="dt" sz="half" idx="10"/>
          </p:nvPr>
        </p:nvSpPr>
        <p:spPr/>
        <p:txBody>
          <a:bodyPr/>
          <a:lstStyle/>
          <a:p>
            <a:fld id="{C3B9F36C-161F-4433-A36A-BF3A1E029F36}" type="datetimeFigureOut">
              <a:rPr lang="fr-FR" smtClean="0">
                <a:solidFill>
                  <a:prstClr val="black">
                    <a:tint val="75000"/>
                  </a:prstClr>
                </a:solidFill>
              </a:rPr>
              <a:pPr/>
              <a:t>15/05/2024</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FC6D314B-A1B1-4DC3-BDC1-6FB82851D41C}" type="slidenum">
              <a:rPr lang="fr-FR" smtClean="0">
                <a:solidFill>
                  <a:prstClr val="black">
                    <a:tint val="75000"/>
                  </a:prstClr>
                </a:solidFill>
              </a:rPr>
              <a:pPr/>
              <a:t>‹N°›</a:t>
            </a:fld>
            <a:endParaRPr lang="fr-FR">
              <a:solidFill>
                <a:prstClr val="black">
                  <a:tint val="75000"/>
                </a:prstClr>
              </a:solidFill>
            </a:endParaRPr>
          </a:p>
        </p:txBody>
      </p:sp>
    </p:spTree>
    <p:extLst>
      <p:ext uri="{BB962C8B-B14F-4D97-AF65-F5344CB8AC3E}">
        <p14:creationId xmlns:p14="http://schemas.microsoft.com/office/powerpoint/2010/main" val="70431952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1_Comparaison">
    <p:spTree>
      <p:nvGrpSpPr>
        <p:cNvPr id="1" name=""/>
        <p:cNvGrpSpPr/>
        <p:nvPr/>
      </p:nvGrpSpPr>
      <p:grpSpPr>
        <a:xfrm>
          <a:off x="0" y="0"/>
          <a:ext cx="0" cy="0"/>
          <a:chOff x="0" y="0"/>
          <a:chExt cx="0" cy="0"/>
        </a:xfrm>
      </p:grpSpPr>
    </p:spTree>
    <p:extLst>
      <p:ext uri="{BB962C8B-B14F-4D97-AF65-F5344CB8AC3E}">
        <p14:creationId xmlns:p14="http://schemas.microsoft.com/office/powerpoint/2010/main" val="401871742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cSld name="Slide contenu blanch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29476" y="1923307"/>
            <a:ext cx="3423853" cy="2935579"/>
          </a:xfrm>
        </p:spPr>
        <p:txBody>
          <a:bodyPr>
            <a:noAutofit/>
          </a:bodyPr>
          <a:lstStyle>
            <a:lvl1pPr algn="l">
              <a:defRPr sz="2100" b="0" i="0" baseline="0">
                <a:solidFill>
                  <a:srgbClr val="D51317"/>
                </a:solidFill>
                <a:latin typeface="Arial Black"/>
                <a:cs typeface="Arial Black"/>
              </a:defRPr>
            </a:lvl1pPr>
          </a:lstStyle>
          <a:p>
            <a:r>
              <a:rPr lang="en-US" dirty="0"/>
              <a:t>TITRE </a:t>
            </a:r>
            <a:br>
              <a:rPr lang="en-US" dirty="0"/>
            </a:br>
            <a:r>
              <a:rPr lang="en-US" dirty="0"/>
              <a:t>SUR UNE</a:t>
            </a:r>
            <a:br>
              <a:rPr lang="en-US" dirty="0"/>
            </a:br>
            <a:r>
              <a:rPr lang="en-US" dirty="0"/>
              <a:t>OU DEUX LIGNES</a:t>
            </a:r>
          </a:p>
        </p:txBody>
      </p:sp>
      <p:sp>
        <p:nvSpPr>
          <p:cNvPr id="11" name="Espace réservé du texte 6"/>
          <p:cNvSpPr>
            <a:spLocks noGrp="1"/>
          </p:cNvSpPr>
          <p:nvPr>
            <p:ph type="body" sz="quarter" idx="13"/>
          </p:nvPr>
        </p:nvSpPr>
        <p:spPr>
          <a:xfrm>
            <a:off x="7751233" y="1786428"/>
            <a:ext cx="3360000" cy="3270933"/>
          </a:xfrm>
        </p:spPr>
        <p:txBody>
          <a:bodyPr>
            <a:noAutofit/>
          </a:bodyPr>
          <a:lstStyle>
            <a:lvl1pPr marL="0" indent="67863">
              <a:buClr>
                <a:schemeClr val="bg2"/>
              </a:buClr>
              <a:buFont typeface="Wingdings" charset="2"/>
              <a:buChar char="§"/>
              <a:defRPr lang="fr-FR" sz="750" b="0" smtClean="0">
                <a:solidFill>
                  <a:srgbClr val="000000"/>
                </a:solidFill>
                <a:effectLst/>
              </a:defRPr>
            </a:lvl1pPr>
            <a:lvl2pPr marL="202396" indent="-134535">
              <a:buClr>
                <a:schemeClr val="bg2"/>
              </a:buClr>
              <a:defRPr sz="750"/>
            </a:lvl2pPr>
            <a:lvl3pPr marL="270260" indent="-67863">
              <a:buClr>
                <a:schemeClr val="bg2"/>
              </a:buClr>
              <a:defRPr sz="750"/>
            </a:lvl3pPr>
          </a:lstStyle>
          <a:p>
            <a:pPr lvl="0"/>
            <a:r>
              <a:rPr lang="fr-FR" dirty="0"/>
              <a:t>Cliquez pour modifier les styles du texte du masque</a:t>
            </a:r>
          </a:p>
          <a:p>
            <a:pPr lvl="1"/>
            <a:r>
              <a:rPr lang="fr-FR" dirty="0"/>
              <a:t>Deuxième niveau</a:t>
            </a:r>
          </a:p>
          <a:p>
            <a:pPr lvl="1"/>
            <a:r>
              <a:rPr lang="fr-FR" dirty="0"/>
              <a:t>Deuxième niveau</a:t>
            </a:r>
          </a:p>
          <a:p>
            <a:pPr lvl="2"/>
            <a:r>
              <a:rPr lang="fr-FR" dirty="0"/>
              <a:t>Troisième niveau</a:t>
            </a:r>
          </a:p>
          <a:p>
            <a:endParaRPr lang="fr-FR" dirty="0"/>
          </a:p>
        </p:txBody>
      </p:sp>
      <p:sp>
        <p:nvSpPr>
          <p:cNvPr id="12" name="Espace réservé du texte 11"/>
          <p:cNvSpPr>
            <a:spLocks noGrp="1"/>
          </p:cNvSpPr>
          <p:nvPr>
            <p:ph type="body" sz="quarter" idx="14" hasCustomPrompt="1"/>
          </p:nvPr>
        </p:nvSpPr>
        <p:spPr>
          <a:xfrm>
            <a:off x="342842" y="277284"/>
            <a:ext cx="2715684" cy="304800"/>
          </a:xfrm>
        </p:spPr>
        <p:txBody>
          <a:bodyPr>
            <a:noAutofit/>
          </a:bodyPr>
          <a:lstStyle>
            <a:lvl1pPr marL="0" indent="0">
              <a:buNone/>
              <a:defRPr sz="525" baseline="0">
                <a:solidFill>
                  <a:srgbClr val="000000"/>
                </a:solidFill>
                <a:latin typeface="Arial"/>
                <a:cs typeface="Arial"/>
              </a:defRPr>
            </a:lvl1pPr>
          </a:lstStyle>
          <a:p>
            <a:pPr lvl="0"/>
            <a:r>
              <a:rPr lang="fr-FR" dirty="0"/>
              <a:t>01. TITRE DU CHAPITRE</a:t>
            </a:r>
          </a:p>
        </p:txBody>
      </p:sp>
      <p:sp>
        <p:nvSpPr>
          <p:cNvPr id="13" name="Slide Number Placeholder 5"/>
          <p:cNvSpPr>
            <a:spLocks noGrp="1"/>
          </p:cNvSpPr>
          <p:nvPr>
            <p:ph type="sldNum" sz="quarter" idx="4"/>
          </p:nvPr>
        </p:nvSpPr>
        <p:spPr>
          <a:xfrm>
            <a:off x="10738585" y="6209068"/>
            <a:ext cx="764464" cy="365125"/>
          </a:xfrm>
          <a:prstGeom prst="rect">
            <a:avLst/>
          </a:prstGeom>
        </p:spPr>
        <p:txBody>
          <a:bodyPr vert="horz" lIns="91440" tIns="45720" rIns="91440" bIns="45720" rtlCol="0" anchor="ctr"/>
          <a:lstStyle>
            <a:lvl1pPr algn="l">
              <a:defRPr sz="525">
                <a:solidFill>
                  <a:srgbClr val="404040"/>
                </a:solidFill>
              </a:defRPr>
            </a:lvl1pPr>
          </a:lstStyle>
          <a:p>
            <a:fld id="{2066355A-084C-D24E-9AD2-7E4FC41EA627}" type="slidenum">
              <a:rPr lang="en-US" smtClean="0"/>
              <a:pPr/>
              <a:t>‹N°›</a:t>
            </a:fld>
            <a:endParaRPr lang="en-US" dirty="0"/>
          </a:p>
        </p:txBody>
      </p:sp>
      <p:sp>
        <p:nvSpPr>
          <p:cNvPr id="14" name="Espace réservé du texte 6"/>
          <p:cNvSpPr>
            <a:spLocks noGrp="1"/>
          </p:cNvSpPr>
          <p:nvPr>
            <p:ph type="body" sz="quarter" idx="15"/>
          </p:nvPr>
        </p:nvSpPr>
        <p:spPr>
          <a:xfrm>
            <a:off x="4295653" y="1786428"/>
            <a:ext cx="3360000" cy="3270933"/>
          </a:xfrm>
        </p:spPr>
        <p:txBody>
          <a:bodyPr>
            <a:noAutofit/>
          </a:bodyPr>
          <a:lstStyle>
            <a:lvl1pPr marL="0" indent="67863">
              <a:buClr>
                <a:schemeClr val="bg2"/>
              </a:buClr>
              <a:buFont typeface="Wingdings" charset="2"/>
              <a:buChar char="§"/>
              <a:defRPr lang="fr-FR" sz="750" b="0" smtClean="0">
                <a:solidFill>
                  <a:srgbClr val="000000"/>
                </a:solidFill>
                <a:effectLst/>
              </a:defRPr>
            </a:lvl1pPr>
            <a:lvl2pPr marL="202396" indent="-134535">
              <a:buClr>
                <a:schemeClr val="bg2"/>
              </a:buClr>
              <a:defRPr sz="750"/>
            </a:lvl2pPr>
            <a:lvl3pPr marL="270260" indent="-67863">
              <a:buClr>
                <a:schemeClr val="bg2"/>
              </a:buClr>
              <a:buFont typeface="Arial"/>
              <a:buChar char="•"/>
              <a:defRPr sz="750"/>
            </a:lvl3pPr>
          </a:lstStyle>
          <a:p>
            <a:pPr lvl="0"/>
            <a:r>
              <a:rPr lang="fr-FR" dirty="0"/>
              <a:t>Cliquez pour modifier les styles du texte du masque</a:t>
            </a:r>
          </a:p>
          <a:p>
            <a:pPr lvl="1"/>
            <a:r>
              <a:rPr lang="fr-FR" dirty="0"/>
              <a:t>Deuxième niveau</a:t>
            </a:r>
          </a:p>
          <a:p>
            <a:pPr lvl="1"/>
            <a:r>
              <a:rPr lang="fr-FR" dirty="0"/>
              <a:t>Deuxième niveau</a:t>
            </a:r>
          </a:p>
          <a:p>
            <a:pPr lvl="2"/>
            <a:r>
              <a:rPr lang="fr-FR" dirty="0"/>
              <a:t>Troisième niveau</a:t>
            </a:r>
          </a:p>
          <a:p>
            <a:endParaRPr lang="fr-FR" dirty="0"/>
          </a:p>
        </p:txBody>
      </p:sp>
    </p:spTree>
    <p:extLst>
      <p:ext uri="{BB962C8B-B14F-4D97-AF65-F5344CB8AC3E}">
        <p14:creationId xmlns:p14="http://schemas.microsoft.com/office/powerpoint/2010/main" val="3085434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du contenu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Modifiez les styles du texte du masque</a:t>
            </a:r>
          </a:p>
        </p:txBody>
      </p:sp>
      <p:sp>
        <p:nvSpPr>
          <p:cNvPr id="5" name="Espace réservé de la date 4"/>
          <p:cNvSpPr>
            <a:spLocks noGrp="1"/>
          </p:cNvSpPr>
          <p:nvPr>
            <p:ph type="dt" sz="half" idx="10"/>
          </p:nvPr>
        </p:nvSpPr>
        <p:spPr/>
        <p:txBody>
          <a:bodyPr/>
          <a:lstStyle/>
          <a:p>
            <a:fld id="{5EF27816-6426-453E-A161-5D470619F954}" type="datetimeFigureOut">
              <a:rPr lang="fr-FR" smtClean="0"/>
              <a:t>15/05/2024</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60D50290-7864-48CB-90FD-CA3D03E700D4}" type="slidenum">
              <a:rPr lang="fr-FR" smtClean="0"/>
              <a:t>‹N°›</a:t>
            </a:fld>
            <a:endParaRPr lang="fr-FR"/>
          </a:p>
        </p:txBody>
      </p:sp>
    </p:spTree>
    <p:extLst>
      <p:ext uri="{BB962C8B-B14F-4D97-AF65-F5344CB8AC3E}">
        <p14:creationId xmlns:p14="http://schemas.microsoft.com/office/powerpoint/2010/main" val="115987536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pour une image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Espace réservé du texte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Modifiez les styles du texte du masque</a:t>
            </a:r>
          </a:p>
        </p:txBody>
      </p:sp>
      <p:sp>
        <p:nvSpPr>
          <p:cNvPr id="5" name="Espace réservé de la date 4"/>
          <p:cNvSpPr>
            <a:spLocks noGrp="1"/>
          </p:cNvSpPr>
          <p:nvPr>
            <p:ph type="dt" sz="half" idx="10"/>
          </p:nvPr>
        </p:nvSpPr>
        <p:spPr/>
        <p:txBody>
          <a:bodyPr/>
          <a:lstStyle/>
          <a:p>
            <a:fld id="{5EF27816-6426-453E-A161-5D470619F954}" type="datetimeFigureOut">
              <a:rPr lang="fr-FR" smtClean="0"/>
              <a:t>15/05/2024</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60D50290-7864-48CB-90FD-CA3D03E700D4}" type="slidenum">
              <a:rPr lang="fr-FR" smtClean="0"/>
              <a:t>‹N°›</a:t>
            </a:fld>
            <a:endParaRPr lang="fr-FR"/>
          </a:p>
        </p:txBody>
      </p:sp>
    </p:spTree>
    <p:extLst>
      <p:ext uri="{BB962C8B-B14F-4D97-AF65-F5344CB8AC3E}">
        <p14:creationId xmlns:p14="http://schemas.microsoft.com/office/powerpoint/2010/main" val="21972938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2" Type="http://schemas.openxmlformats.org/officeDocument/2006/relationships/slideLayout" Target="../slideLayouts/slideLayout26.xml"/><Relationship Id="rId16" Type="http://schemas.openxmlformats.org/officeDocument/2006/relationships/theme" Target="../theme/theme3.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theme" Target="../theme/theme4.xml"/><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0" Type="http://schemas.openxmlformats.org/officeDocument/2006/relationships/slideLayout" Target="../slideLayouts/slideLayout49.xml"/><Relationship Id="rId4" Type="http://schemas.openxmlformats.org/officeDocument/2006/relationships/slideLayout" Target="../slideLayouts/slideLayout43.xml"/><Relationship Id="rId9" Type="http://schemas.openxmlformats.org/officeDocument/2006/relationships/slideLayout" Target="../slideLayouts/slideLayout4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slideLayout" Target="../slideLayouts/slideLayout64.xml"/><Relationship Id="rId3" Type="http://schemas.openxmlformats.org/officeDocument/2006/relationships/slideLayout" Target="../slideLayouts/slideLayout54.xml"/><Relationship Id="rId7" Type="http://schemas.openxmlformats.org/officeDocument/2006/relationships/slideLayout" Target="../slideLayouts/slideLayout58.xml"/><Relationship Id="rId12" Type="http://schemas.openxmlformats.org/officeDocument/2006/relationships/slideLayout" Target="../slideLayouts/slideLayout63.xml"/><Relationship Id="rId2" Type="http://schemas.openxmlformats.org/officeDocument/2006/relationships/slideLayout" Target="../slideLayouts/slideLayout53.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5" Type="http://schemas.openxmlformats.org/officeDocument/2006/relationships/slideLayout" Target="../slideLayouts/slideLayout56.xml"/><Relationship Id="rId10" Type="http://schemas.openxmlformats.org/officeDocument/2006/relationships/slideLayout" Target="../slideLayouts/slideLayout61.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slideLayout" Target="../slideLayouts/slideLayout77.xml"/><Relationship Id="rId3" Type="http://schemas.openxmlformats.org/officeDocument/2006/relationships/slideLayout" Target="../slideLayouts/slideLayout67.xml"/><Relationship Id="rId7" Type="http://schemas.openxmlformats.org/officeDocument/2006/relationships/slideLayout" Target="../slideLayouts/slideLayout71.xml"/><Relationship Id="rId12" Type="http://schemas.openxmlformats.org/officeDocument/2006/relationships/slideLayout" Target="../slideLayouts/slideLayout76.xml"/><Relationship Id="rId2" Type="http://schemas.openxmlformats.org/officeDocument/2006/relationships/slideLayout" Target="../slideLayouts/slideLayout66.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5" Type="http://schemas.openxmlformats.org/officeDocument/2006/relationships/slideLayout" Target="../slideLayouts/slideLayout69.xml"/><Relationship Id="rId10" Type="http://schemas.openxmlformats.org/officeDocument/2006/relationships/slideLayout" Target="../slideLayouts/slideLayout74.xml"/><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theme" Target="../theme/theme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r-FR"/>
              <a:t>Modifiez le style du titre</a:t>
            </a:r>
          </a:p>
        </p:txBody>
      </p:sp>
      <p:sp>
        <p:nvSpPr>
          <p:cNvPr id="3" name="Espace réservé du texte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EF27816-6426-453E-A161-5D470619F954}" type="datetimeFigureOut">
              <a:rPr lang="fr-FR" smtClean="0"/>
              <a:t>15/05/2024</a:t>
            </a:fld>
            <a:endParaRPr lang="fr-FR"/>
          </a:p>
        </p:txBody>
      </p:sp>
      <p:sp>
        <p:nvSpPr>
          <p:cNvPr id="5" name="Espace réservé du pied de page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FR"/>
          </a:p>
        </p:txBody>
      </p:sp>
      <p:sp>
        <p:nvSpPr>
          <p:cNvPr id="6" name="Espace réservé du numéro de diapositive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0D50290-7864-48CB-90FD-CA3D03E700D4}" type="slidenum">
              <a:rPr lang="fr-FR" smtClean="0"/>
              <a:t>‹N°›</a:t>
            </a:fld>
            <a:endParaRPr lang="fr-FR"/>
          </a:p>
        </p:txBody>
      </p:sp>
    </p:spTree>
    <p:extLst>
      <p:ext uri="{BB962C8B-B14F-4D97-AF65-F5344CB8AC3E}">
        <p14:creationId xmlns:p14="http://schemas.microsoft.com/office/powerpoint/2010/main" val="185212492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r-FR"/>
              <a:t>Modifiez le style du titre</a:t>
            </a:r>
            <a:endParaRPr lang="en-US"/>
          </a:p>
        </p:txBody>
      </p:sp>
      <p:sp>
        <p:nvSpPr>
          <p:cNvPr id="3" name="Espace réservé du texte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Espace réservé de la date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eaLnBrk="0" fontAlgn="base" hangingPunct="0">
              <a:spcBef>
                <a:spcPct val="0"/>
              </a:spcBef>
              <a:spcAft>
                <a:spcPct val="0"/>
              </a:spcAft>
            </a:pPr>
            <a:endParaRPr lang="en-US" dirty="0">
              <a:solidFill>
                <a:prstClr val="black">
                  <a:tint val="75000"/>
                </a:prstClr>
              </a:solidFill>
              <a:latin typeface="Arial Narrow" pitchFamily="34" charset="0"/>
            </a:endParaRPr>
          </a:p>
        </p:txBody>
      </p:sp>
      <p:sp>
        <p:nvSpPr>
          <p:cNvPr id="5" name="Espace réservé du pied de page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eaLnBrk="0" fontAlgn="base" hangingPunct="0">
              <a:spcBef>
                <a:spcPct val="0"/>
              </a:spcBef>
              <a:spcAft>
                <a:spcPct val="0"/>
              </a:spcAft>
            </a:pPr>
            <a:endParaRPr lang="en-US" dirty="0">
              <a:solidFill>
                <a:prstClr val="black">
                  <a:tint val="75000"/>
                </a:prstClr>
              </a:solidFill>
              <a:latin typeface="Arial Narrow" pitchFamily="34" charset="0"/>
            </a:endParaRPr>
          </a:p>
        </p:txBody>
      </p:sp>
      <p:sp>
        <p:nvSpPr>
          <p:cNvPr id="6" name="Espace réservé du numéro de diapositive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eaLnBrk="0" fontAlgn="base" hangingPunct="0">
              <a:spcBef>
                <a:spcPct val="0"/>
              </a:spcBef>
              <a:spcAft>
                <a:spcPct val="0"/>
              </a:spcAft>
            </a:pPr>
            <a:fld id="{B9902624-945D-4BF9-AF49-E915AA8C07FB}" type="slidenum">
              <a:rPr lang="en-US" smtClean="0">
                <a:solidFill>
                  <a:prstClr val="black">
                    <a:tint val="75000"/>
                  </a:prstClr>
                </a:solidFill>
                <a:latin typeface="Arial Narrow" pitchFamily="34" charset="0"/>
              </a:rPr>
              <a:pPr eaLnBrk="0" fontAlgn="base" hangingPunct="0">
                <a:spcBef>
                  <a:spcPct val="0"/>
                </a:spcBef>
                <a:spcAft>
                  <a:spcPct val="0"/>
                </a:spcAft>
              </a:pPr>
              <a:t>‹N°›</a:t>
            </a:fld>
            <a:endParaRPr lang="en-US" dirty="0">
              <a:solidFill>
                <a:prstClr val="black">
                  <a:tint val="75000"/>
                </a:prstClr>
              </a:solidFill>
              <a:latin typeface="Arial Narrow" pitchFamily="34" charset="0"/>
            </a:endParaRPr>
          </a:p>
        </p:txBody>
      </p:sp>
    </p:spTree>
    <p:extLst>
      <p:ext uri="{BB962C8B-B14F-4D97-AF65-F5344CB8AC3E}">
        <p14:creationId xmlns:p14="http://schemas.microsoft.com/office/powerpoint/2010/main" val="419187537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r-FR"/>
              <a:t>Modifiez le style du titre</a:t>
            </a:r>
            <a:endParaRPr lang="en-US"/>
          </a:p>
        </p:txBody>
      </p:sp>
      <p:sp>
        <p:nvSpPr>
          <p:cNvPr id="3" name="Espace réservé du texte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Espace réservé de la date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eaLnBrk="0" fontAlgn="base" hangingPunct="0">
              <a:spcBef>
                <a:spcPct val="0"/>
              </a:spcBef>
              <a:spcAft>
                <a:spcPct val="0"/>
              </a:spcAft>
            </a:pPr>
            <a:endParaRPr lang="en-US" dirty="0">
              <a:solidFill>
                <a:prstClr val="black">
                  <a:tint val="75000"/>
                </a:prstClr>
              </a:solidFill>
              <a:latin typeface="Arial Narrow" pitchFamily="34" charset="0"/>
            </a:endParaRPr>
          </a:p>
        </p:txBody>
      </p:sp>
      <p:sp>
        <p:nvSpPr>
          <p:cNvPr id="5" name="Espace réservé du pied de page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eaLnBrk="0" fontAlgn="base" hangingPunct="0">
              <a:spcBef>
                <a:spcPct val="0"/>
              </a:spcBef>
              <a:spcAft>
                <a:spcPct val="0"/>
              </a:spcAft>
            </a:pPr>
            <a:endParaRPr lang="en-US" dirty="0">
              <a:solidFill>
                <a:prstClr val="black">
                  <a:tint val="75000"/>
                </a:prstClr>
              </a:solidFill>
              <a:latin typeface="Arial Narrow" pitchFamily="34" charset="0"/>
            </a:endParaRPr>
          </a:p>
        </p:txBody>
      </p:sp>
      <p:sp>
        <p:nvSpPr>
          <p:cNvPr id="6" name="Espace réservé du numéro de diapositive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eaLnBrk="0" fontAlgn="base" hangingPunct="0">
              <a:spcBef>
                <a:spcPct val="0"/>
              </a:spcBef>
              <a:spcAft>
                <a:spcPct val="0"/>
              </a:spcAft>
            </a:pPr>
            <a:fld id="{B9902624-945D-4BF9-AF49-E915AA8C07FB}" type="slidenum">
              <a:rPr lang="en-US" smtClean="0">
                <a:solidFill>
                  <a:prstClr val="black">
                    <a:tint val="75000"/>
                  </a:prstClr>
                </a:solidFill>
                <a:latin typeface="Arial Narrow" pitchFamily="34" charset="0"/>
              </a:rPr>
              <a:pPr eaLnBrk="0" fontAlgn="base" hangingPunct="0">
                <a:spcBef>
                  <a:spcPct val="0"/>
                </a:spcBef>
                <a:spcAft>
                  <a:spcPct val="0"/>
                </a:spcAft>
              </a:pPr>
              <a:t>‹N°›</a:t>
            </a:fld>
            <a:endParaRPr lang="en-US" dirty="0">
              <a:solidFill>
                <a:prstClr val="black">
                  <a:tint val="75000"/>
                </a:prstClr>
              </a:solidFill>
              <a:latin typeface="Arial Narrow" pitchFamily="34" charset="0"/>
            </a:endParaRPr>
          </a:p>
        </p:txBody>
      </p:sp>
    </p:spTree>
    <p:extLst>
      <p:ext uri="{BB962C8B-B14F-4D97-AF65-F5344CB8AC3E}">
        <p14:creationId xmlns:p14="http://schemas.microsoft.com/office/powerpoint/2010/main" val="1861473907"/>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 id="2147483686" r:id="rId12"/>
    <p:sldLayoutId id="2147483687" r:id="rId13"/>
    <p:sldLayoutId id="2147483773" r:id="rId14"/>
    <p:sldLayoutId id="2147483774" r:id="rId15"/>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fr-FR"/>
              <a:t>Modifiez le style du titre</a:t>
            </a:r>
            <a:endParaRPr lang="en-US"/>
          </a:p>
        </p:txBody>
      </p:sp>
      <p:sp>
        <p:nvSpPr>
          <p:cNvPr id="3" name="Espace réservé du texte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Espace réservé de la date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900">
                <a:solidFill>
                  <a:schemeClr val="tx1">
                    <a:tint val="75000"/>
                  </a:schemeClr>
                </a:solidFill>
              </a:defRPr>
            </a:lvl1pPr>
          </a:lstStyle>
          <a:p>
            <a:pPr eaLnBrk="0" fontAlgn="base" hangingPunct="0">
              <a:spcBef>
                <a:spcPct val="0"/>
              </a:spcBef>
              <a:spcAft>
                <a:spcPct val="0"/>
              </a:spcAft>
            </a:pPr>
            <a:endParaRPr lang="en-US" dirty="0">
              <a:solidFill>
                <a:prstClr val="black">
                  <a:tint val="75000"/>
                </a:prstClr>
              </a:solidFill>
              <a:latin typeface="Arial Narrow" pitchFamily="34" charset="0"/>
              <a:cs typeface="Arial" panose="020B0604020202020204" pitchFamily="34" charset="0"/>
            </a:endParaRPr>
          </a:p>
        </p:txBody>
      </p:sp>
      <p:sp>
        <p:nvSpPr>
          <p:cNvPr id="5" name="Espace réservé du pied de page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pPr eaLnBrk="0" fontAlgn="base" hangingPunct="0">
              <a:spcBef>
                <a:spcPct val="0"/>
              </a:spcBef>
              <a:spcAft>
                <a:spcPct val="0"/>
              </a:spcAft>
            </a:pPr>
            <a:endParaRPr lang="en-US" dirty="0">
              <a:solidFill>
                <a:prstClr val="black">
                  <a:tint val="75000"/>
                </a:prstClr>
              </a:solidFill>
              <a:latin typeface="Arial Narrow" pitchFamily="34" charset="0"/>
              <a:cs typeface="Arial" panose="020B0604020202020204" pitchFamily="34" charset="0"/>
            </a:endParaRPr>
          </a:p>
        </p:txBody>
      </p:sp>
      <p:sp>
        <p:nvSpPr>
          <p:cNvPr id="6" name="Espace réservé du numéro de diapositive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900">
                <a:solidFill>
                  <a:schemeClr val="tx1">
                    <a:tint val="75000"/>
                  </a:schemeClr>
                </a:solidFill>
              </a:defRPr>
            </a:lvl1pPr>
          </a:lstStyle>
          <a:p>
            <a:pPr eaLnBrk="0" fontAlgn="base" hangingPunct="0">
              <a:spcBef>
                <a:spcPct val="0"/>
              </a:spcBef>
              <a:spcAft>
                <a:spcPct val="0"/>
              </a:spcAft>
            </a:pPr>
            <a:fld id="{B9902624-945D-4BF9-AF49-E915AA8C07FB}" type="slidenum">
              <a:rPr lang="en-US" smtClean="0">
                <a:solidFill>
                  <a:prstClr val="black">
                    <a:tint val="75000"/>
                  </a:prstClr>
                </a:solidFill>
                <a:latin typeface="Arial Narrow" pitchFamily="34" charset="0"/>
                <a:cs typeface="Arial" panose="020B0604020202020204" pitchFamily="34" charset="0"/>
              </a:rPr>
              <a:pPr eaLnBrk="0" fontAlgn="base" hangingPunct="0">
                <a:spcBef>
                  <a:spcPct val="0"/>
                </a:spcBef>
                <a:spcAft>
                  <a:spcPct val="0"/>
                </a:spcAft>
              </a:pPr>
              <a:t>‹N°›</a:t>
            </a:fld>
            <a:endParaRPr lang="en-US" dirty="0">
              <a:solidFill>
                <a:prstClr val="black">
                  <a:tint val="75000"/>
                </a:prstClr>
              </a:solidFill>
              <a:latin typeface="Arial Narrow" pitchFamily="34" charset="0"/>
              <a:cs typeface="Arial" panose="020B0604020202020204" pitchFamily="34" charset="0"/>
            </a:endParaRPr>
          </a:p>
        </p:txBody>
      </p:sp>
    </p:spTree>
    <p:extLst>
      <p:ext uri="{BB962C8B-B14F-4D97-AF65-F5344CB8AC3E}">
        <p14:creationId xmlns:p14="http://schemas.microsoft.com/office/powerpoint/2010/main" val="1566195301"/>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3" r:id="rId12"/>
  </p:sldLayoutIdLst>
  <p:hf hd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fr-FR"/>
              <a:t>Modifiez le style du titre</a:t>
            </a:r>
            <a:endParaRPr lang="en-US"/>
          </a:p>
        </p:txBody>
      </p:sp>
      <p:sp>
        <p:nvSpPr>
          <p:cNvPr id="3" name="Espace réservé du texte 2"/>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Espace réservé de la date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900">
                <a:solidFill>
                  <a:schemeClr val="tx1">
                    <a:tint val="75000"/>
                  </a:schemeClr>
                </a:solidFill>
              </a:defRPr>
            </a:lvl1pPr>
          </a:lstStyle>
          <a:p>
            <a:pPr defTabSz="914377" eaLnBrk="0" fontAlgn="base" hangingPunct="0">
              <a:spcBef>
                <a:spcPct val="0"/>
              </a:spcBef>
              <a:spcAft>
                <a:spcPct val="0"/>
              </a:spcAft>
            </a:pPr>
            <a:endParaRPr lang="en-US" dirty="0">
              <a:solidFill>
                <a:prstClr val="black">
                  <a:tint val="75000"/>
                </a:prstClr>
              </a:solidFill>
              <a:latin typeface="Arial Narrow" pitchFamily="34" charset="0"/>
              <a:cs typeface="Arial" panose="020B0604020202020204" pitchFamily="34" charset="0"/>
            </a:endParaRPr>
          </a:p>
        </p:txBody>
      </p:sp>
      <p:sp>
        <p:nvSpPr>
          <p:cNvPr id="5" name="Espace réservé du pied de page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pPr defTabSz="914377" eaLnBrk="0" fontAlgn="base" hangingPunct="0">
              <a:spcBef>
                <a:spcPct val="0"/>
              </a:spcBef>
              <a:spcAft>
                <a:spcPct val="0"/>
              </a:spcAft>
            </a:pPr>
            <a:endParaRPr lang="en-US" dirty="0">
              <a:solidFill>
                <a:prstClr val="black">
                  <a:tint val="75000"/>
                </a:prstClr>
              </a:solidFill>
              <a:latin typeface="Arial Narrow" pitchFamily="34" charset="0"/>
              <a:cs typeface="Arial" panose="020B0604020202020204" pitchFamily="34" charset="0"/>
            </a:endParaRPr>
          </a:p>
        </p:txBody>
      </p:sp>
      <p:sp>
        <p:nvSpPr>
          <p:cNvPr id="6" name="Espace réservé du numéro de diapositive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900">
                <a:solidFill>
                  <a:schemeClr val="tx1">
                    <a:tint val="75000"/>
                  </a:schemeClr>
                </a:solidFill>
              </a:defRPr>
            </a:lvl1pPr>
          </a:lstStyle>
          <a:p>
            <a:pPr defTabSz="914377" eaLnBrk="0" fontAlgn="base" hangingPunct="0">
              <a:spcBef>
                <a:spcPct val="0"/>
              </a:spcBef>
              <a:spcAft>
                <a:spcPct val="0"/>
              </a:spcAft>
            </a:pPr>
            <a:fld id="{B9902624-945D-4BF9-AF49-E915AA8C07FB}" type="slidenum">
              <a:rPr lang="en-US" smtClean="0">
                <a:solidFill>
                  <a:prstClr val="black">
                    <a:tint val="75000"/>
                  </a:prstClr>
                </a:solidFill>
                <a:latin typeface="Arial Narrow" pitchFamily="34" charset="0"/>
                <a:cs typeface="Arial" panose="020B0604020202020204" pitchFamily="34" charset="0"/>
              </a:rPr>
              <a:pPr defTabSz="914377" eaLnBrk="0" fontAlgn="base" hangingPunct="0">
                <a:spcBef>
                  <a:spcPct val="0"/>
                </a:spcBef>
                <a:spcAft>
                  <a:spcPct val="0"/>
                </a:spcAft>
              </a:pPr>
              <a:t>‹N°›</a:t>
            </a:fld>
            <a:endParaRPr lang="en-US" dirty="0">
              <a:solidFill>
                <a:prstClr val="black">
                  <a:tint val="75000"/>
                </a:prstClr>
              </a:solidFill>
              <a:latin typeface="Arial Narrow" pitchFamily="34" charset="0"/>
              <a:cs typeface="Arial" panose="020B0604020202020204" pitchFamily="34" charset="0"/>
            </a:endParaRPr>
          </a:p>
        </p:txBody>
      </p:sp>
    </p:spTree>
    <p:extLst>
      <p:ext uri="{BB962C8B-B14F-4D97-AF65-F5344CB8AC3E}">
        <p14:creationId xmlns:p14="http://schemas.microsoft.com/office/powerpoint/2010/main" val="1060358938"/>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Lst>
  <p:hf hdr="0" dt="0"/>
  <p:txStyles>
    <p:titleStyle>
      <a:lvl1pPr algn="l" defTabSz="685783"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46" indent="-171446" algn="l" defTabSz="685783" rtl="0" eaLnBrk="1" latinLnBrk="0" hangingPunct="1">
        <a:lnSpc>
          <a:spcPct val="90000"/>
        </a:lnSpc>
        <a:spcBef>
          <a:spcPts val="751"/>
        </a:spcBef>
        <a:buFont typeface="Arial" panose="020B0604020202020204" pitchFamily="34" charset="0"/>
        <a:buChar char="•"/>
        <a:defRPr sz="2100" kern="1200">
          <a:solidFill>
            <a:schemeClr val="tx1"/>
          </a:solidFill>
          <a:latin typeface="+mn-lt"/>
          <a:ea typeface="+mn-ea"/>
          <a:cs typeface="+mn-cs"/>
        </a:defRPr>
      </a:lvl1pPr>
      <a:lvl2pPr marL="514338" indent="-171446" algn="l" defTabSz="685783"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29" indent="-171446" algn="l" defTabSz="685783"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21" indent="-171446" algn="l" defTabSz="685783"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4pPr>
      <a:lvl5pPr marL="1543012" indent="-171446" algn="l" defTabSz="685783"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5pPr>
      <a:lvl6pPr marL="1885904" indent="-171446" algn="l" defTabSz="685783"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8pPr>
      <a:lvl9pPr marL="2914578" indent="-171446" algn="l" defTabSz="685783"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9pPr>
    </p:bodyStyle>
    <p:otherStyle>
      <a:defPPr>
        <a:defRPr lang="en-US"/>
      </a:defPPr>
      <a:lvl1pPr marL="0" algn="l" defTabSz="685783" rtl="0" eaLnBrk="1" latinLnBrk="0" hangingPunct="1">
        <a:defRPr sz="1351" kern="1200">
          <a:solidFill>
            <a:schemeClr val="tx1"/>
          </a:solidFill>
          <a:latin typeface="+mn-lt"/>
          <a:ea typeface="+mn-ea"/>
          <a:cs typeface="+mn-cs"/>
        </a:defRPr>
      </a:lvl1pPr>
      <a:lvl2pPr marL="342891" algn="l" defTabSz="685783" rtl="0" eaLnBrk="1" latinLnBrk="0" hangingPunct="1">
        <a:defRPr sz="1351" kern="1200">
          <a:solidFill>
            <a:schemeClr val="tx1"/>
          </a:solidFill>
          <a:latin typeface="+mn-lt"/>
          <a:ea typeface="+mn-ea"/>
          <a:cs typeface="+mn-cs"/>
        </a:defRPr>
      </a:lvl2pPr>
      <a:lvl3pPr marL="685783" algn="l" defTabSz="685783" rtl="0" eaLnBrk="1" latinLnBrk="0" hangingPunct="1">
        <a:defRPr sz="1351" kern="1200">
          <a:solidFill>
            <a:schemeClr val="tx1"/>
          </a:solidFill>
          <a:latin typeface="+mn-lt"/>
          <a:ea typeface="+mn-ea"/>
          <a:cs typeface="+mn-cs"/>
        </a:defRPr>
      </a:lvl3pPr>
      <a:lvl4pPr marL="1028674" algn="l" defTabSz="685783" rtl="0" eaLnBrk="1" latinLnBrk="0" hangingPunct="1">
        <a:defRPr sz="1351" kern="1200">
          <a:solidFill>
            <a:schemeClr val="tx1"/>
          </a:solidFill>
          <a:latin typeface="+mn-lt"/>
          <a:ea typeface="+mn-ea"/>
          <a:cs typeface="+mn-cs"/>
        </a:defRPr>
      </a:lvl4pPr>
      <a:lvl5pPr marL="1371566" algn="l" defTabSz="685783" rtl="0" eaLnBrk="1" latinLnBrk="0" hangingPunct="1">
        <a:defRPr sz="1351" kern="1200">
          <a:solidFill>
            <a:schemeClr val="tx1"/>
          </a:solidFill>
          <a:latin typeface="+mn-lt"/>
          <a:ea typeface="+mn-ea"/>
          <a:cs typeface="+mn-cs"/>
        </a:defRPr>
      </a:lvl5pPr>
      <a:lvl6pPr marL="1714457" algn="l" defTabSz="685783" rtl="0" eaLnBrk="1" latinLnBrk="0" hangingPunct="1">
        <a:defRPr sz="1351" kern="1200">
          <a:solidFill>
            <a:schemeClr val="tx1"/>
          </a:solidFill>
          <a:latin typeface="+mn-lt"/>
          <a:ea typeface="+mn-ea"/>
          <a:cs typeface="+mn-cs"/>
        </a:defRPr>
      </a:lvl6pPr>
      <a:lvl7pPr marL="2057349" algn="l" defTabSz="685783" rtl="0" eaLnBrk="1" latinLnBrk="0" hangingPunct="1">
        <a:defRPr sz="1351" kern="1200">
          <a:solidFill>
            <a:schemeClr val="tx1"/>
          </a:solidFill>
          <a:latin typeface="+mn-lt"/>
          <a:ea typeface="+mn-ea"/>
          <a:cs typeface="+mn-cs"/>
        </a:defRPr>
      </a:lvl7pPr>
      <a:lvl8pPr marL="2400240" algn="l" defTabSz="685783" rtl="0" eaLnBrk="1" latinLnBrk="0" hangingPunct="1">
        <a:defRPr sz="1351" kern="1200">
          <a:solidFill>
            <a:schemeClr val="tx1"/>
          </a:solidFill>
          <a:latin typeface="+mn-lt"/>
          <a:ea typeface="+mn-ea"/>
          <a:cs typeface="+mn-cs"/>
        </a:defRPr>
      </a:lvl8pPr>
      <a:lvl9pPr marL="2743131" algn="l" defTabSz="685783" rtl="0" eaLnBrk="1" latinLnBrk="0" hangingPunct="1">
        <a:defRPr sz="1351"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fr-FR"/>
              <a:t>Modifiez le style du titr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Date Placeholder 3"/>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228600"/>
            <a:fld id="{C3B9F36C-161F-4433-A36A-BF3A1E029F36}" type="datetimeFigureOut">
              <a:rPr lang="fr-FR" smtClean="0">
                <a:solidFill>
                  <a:prstClr val="black">
                    <a:tint val="75000"/>
                  </a:prstClr>
                </a:solidFill>
              </a:rPr>
              <a:pPr defTabSz="228600"/>
              <a:t>15/05/2024</a:t>
            </a:fld>
            <a:endParaRPr lang="fr-FR">
              <a:solidFill>
                <a:prstClr val="black">
                  <a:tint val="75000"/>
                </a:prstClr>
              </a:solidFill>
            </a:endParaRPr>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228600"/>
            <a:endParaRPr lang="fr-FR">
              <a:solidFill>
                <a:prstClr val="black">
                  <a:tint val="75000"/>
                </a:prstClr>
              </a:solidFill>
            </a:endParaRPr>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228600"/>
            <a:fld id="{FC6D314B-A1B1-4DC3-BDC1-6FB82851D41C}" type="slidenum">
              <a:rPr lang="fr-FR" smtClean="0">
                <a:solidFill>
                  <a:prstClr val="black">
                    <a:tint val="75000"/>
                  </a:prstClr>
                </a:solidFill>
              </a:rPr>
              <a:pPr defTabSz="228600"/>
              <a:t>‹N°›</a:t>
            </a:fld>
            <a:endParaRPr lang="fr-FR">
              <a:solidFill>
                <a:prstClr val="black">
                  <a:tint val="75000"/>
                </a:prstClr>
              </a:solidFill>
            </a:endParaRPr>
          </a:p>
        </p:txBody>
      </p:sp>
    </p:spTree>
    <p:extLst>
      <p:ext uri="{BB962C8B-B14F-4D97-AF65-F5344CB8AC3E}">
        <p14:creationId xmlns:p14="http://schemas.microsoft.com/office/powerpoint/2010/main" val="932896180"/>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51" r:id="rId3"/>
    <p:sldLayoutId id="2147483752" r:id="rId4"/>
    <p:sldLayoutId id="2147483753" r:id="rId5"/>
    <p:sldLayoutId id="2147483754" r:id="rId6"/>
    <p:sldLayoutId id="2147483755" r:id="rId7"/>
    <p:sldLayoutId id="2147483756" r:id="rId8"/>
    <p:sldLayoutId id="2147483757" r:id="rId9"/>
    <p:sldLayoutId id="2147483758" r:id="rId10"/>
    <p:sldLayoutId id="2147483759" r:id="rId11"/>
    <p:sldLayoutId id="2147483775" r:id="rId12"/>
    <p:sldLayoutId id="2147483776" r:id="rId13"/>
  </p:sldLayoutIdLst>
  <p:txStyles>
    <p:titleStyle>
      <a:lvl1pPr algn="l" defTabSz="91435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89" indent="-228589" algn="l" defTabSz="91435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66" indent="-228589" algn="l" defTabSz="91435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43" indent="-228589" algn="l" defTabSz="91435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20" indent="-228589" algn="l" defTabSz="91435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97" indent="-228589" algn="l" defTabSz="91435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75" indent="-228589" algn="l" defTabSz="91435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55" rtl="0" eaLnBrk="1" latinLnBrk="0" hangingPunct="1">
        <a:defRPr sz="1800" kern="1200">
          <a:solidFill>
            <a:schemeClr val="tx1"/>
          </a:solidFill>
          <a:latin typeface="+mn-lt"/>
          <a:ea typeface="+mn-ea"/>
          <a:cs typeface="+mn-cs"/>
        </a:defRPr>
      </a:lvl1pPr>
      <a:lvl2pPr marL="457177" algn="l" defTabSz="914355" rtl="0" eaLnBrk="1" latinLnBrk="0" hangingPunct="1">
        <a:defRPr sz="1800" kern="1200">
          <a:solidFill>
            <a:schemeClr val="tx1"/>
          </a:solidFill>
          <a:latin typeface="+mn-lt"/>
          <a:ea typeface="+mn-ea"/>
          <a:cs typeface="+mn-cs"/>
        </a:defRPr>
      </a:lvl2pPr>
      <a:lvl3pPr marL="914355" algn="l" defTabSz="914355" rtl="0" eaLnBrk="1" latinLnBrk="0" hangingPunct="1">
        <a:defRPr sz="1800" kern="1200">
          <a:solidFill>
            <a:schemeClr val="tx1"/>
          </a:solidFill>
          <a:latin typeface="+mn-lt"/>
          <a:ea typeface="+mn-ea"/>
          <a:cs typeface="+mn-cs"/>
        </a:defRPr>
      </a:lvl3pPr>
      <a:lvl4pPr marL="1371532" algn="l" defTabSz="914355" rtl="0" eaLnBrk="1" latinLnBrk="0" hangingPunct="1">
        <a:defRPr sz="1800" kern="1200">
          <a:solidFill>
            <a:schemeClr val="tx1"/>
          </a:solidFill>
          <a:latin typeface="+mn-lt"/>
          <a:ea typeface="+mn-ea"/>
          <a:cs typeface="+mn-cs"/>
        </a:defRPr>
      </a:lvl4pPr>
      <a:lvl5pPr marL="1828709" algn="l" defTabSz="914355" rtl="0" eaLnBrk="1" latinLnBrk="0" hangingPunct="1">
        <a:defRPr sz="1800" kern="1200">
          <a:solidFill>
            <a:schemeClr val="tx1"/>
          </a:solidFill>
          <a:latin typeface="+mn-lt"/>
          <a:ea typeface="+mn-ea"/>
          <a:cs typeface="+mn-cs"/>
        </a:defRPr>
      </a:lvl5pPr>
      <a:lvl6pPr marL="2285886" algn="l" defTabSz="914355" rtl="0" eaLnBrk="1" latinLnBrk="0" hangingPunct="1">
        <a:defRPr sz="1800" kern="1200">
          <a:solidFill>
            <a:schemeClr val="tx1"/>
          </a:solidFill>
          <a:latin typeface="+mn-lt"/>
          <a:ea typeface="+mn-ea"/>
          <a:cs typeface="+mn-cs"/>
        </a:defRPr>
      </a:lvl6pPr>
      <a:lvl7pPr marL="2743063" algn="l" defTabSz="914355" rtl="0" eaLnBrk="1" latinLnBrk="0" hangingPunct="1">
        <a:defRPr sz="1800" kern="1200">
          <a:solidFill>
            <a:schemeClr val="tx1"/>
          </a:solidFill>
          <a:latin typeface="+mn-lt"/>
          <a:ea typeface="+mn-ea"/>
          <a:cs typeface="+mn-cs"/>
        </a:defRPr>
      </a:lvl7pPr>
      <a:lvl8pPr marL="3200240" algn="l" defTabSz="914355" rtl="0" eaLnBrk="1" latinLnBrk="0" hangingPunct="1">
        <a:defRPr sz="1800" kern="1200">
          <a:solidFill>
            <a:schemeClr val="tx1"/>
          </a:solidFill>
          <a:latin typeface="+mn-lt"/>
          <a:ea typeface="+mn-ea"/>
          <a:cs typeface="+mn-cs"/>
        </a:defRPr>
      </a:lvl8pPr>
      <a:lvl9pPr marL="3657417" algn="l" defTabSz="914355"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320">
          <p15:clr>
            <a:srgbClr val="F26B43"/>
          </p15:clr>
        </p15:guide>
        <p15:guide id="2" pos="767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9.xml"/><Relationship Id="rId1" Type="http://schemas.openxmlformats.org/officeDocument/2006/relationships/slideLayout" Target="../slideLayouts/slideLayout31.xml"/><Relationship Id="rId6" Type="http://schemas.openxmlformats.org/officeDocument/2006/relationships/image" Target="../media/image21.svg"/><Relationship Id="rId5" Type="http://schemas.openxmlformats.org/officeDocument/2006/relationships/image" Target="../media/image20.png"/><Relationship Id="rId4" Type="http://schemas.openxmlformats.org/officeDocument/2006/relationships/image" Target="../media/image25.png"/></Relationships>
</file>

<file path=ppt/slides/_rels/slide11.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10.xml"/><Relationship Id="rId1" Type="http://schemas.openxmlformats.org/officeDocument/2006/relationships/slideLayout" Target="../slideLayouts/slideLayout38.xml"/><Relationship Id="rId5" Type="http://schemas.openxmlformats.org/officeDocument/2006/relationships/image" Target="../media/image21.svg"/><Relationship Id="rId4" Type="http://schemas.openxmlformats.org/officeDocument/2006/relationships/image" Target="../media/image20.png"/></Relationships>
</file>

<file path=ppt/slides/_rels/slide12.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11.xml"/><Relationship Id="rId1" Type="http://schemas.openxmlformats.org/officeDocument/2006/relationships/slideLayout" Target="../slideLayouts/slideLayout25.xml"/><Relationship Id="rId5" Type="http://schemas.openxmlformats.org/officeDocument/2006/relationships/image" Target="../media/image11.svg"/><Relationship Id="rId4" Type="http://schemas.openxmlformats.org/officeDocument/2006/relationships/image" Target="../media/image10.png"/></Relationships>
</file>

<file path=ppt/slides/_rels/slide13.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12.xml"/><Relationship Id="rId1" Type="http://schemas.openxmlformats.org/officeDocument/2006/relationships/slideLayout" Target="../slideLayouts/slideLayout39.xml"/><Relationship Id="rId5" Type="http://schemas.openxmlformats.org/officeDocument/2006/relationships/image" Target="../media/image11.svg"/><Relationship Id="rId4" Type="http://schemas.openxmlformats.org/officeDocument/2006/relationships/image" Target="../media/image10.png"/></Relationships>
</file>

<file path=ppt/slides/_rels/slide14.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13.xml"/><Relationship Id="rId1" Type="http://schemas.openxmlformats.org/officeDocument/2006/relationships/slideLayout" Target="../slideLayouts/slideLayout38.xml"/><Relationship Id="rId6" Type="http://schemas.openxmlformats.org/officeDocument/2006/relationships/image" Target="../media/image21.svg"/><Relationship Id="rId5" Type="http://schemas.openxmlformats.org/officeDocument/2006/relationships/image" Target="../media/image20.png"/><Relationship Id="rId4" Type="http://schemas.openxmlformats.org/officeDocument/2006/relationships/image" Target="../media/image25.png"/></Relationships>
</file>

<file path=ppt/slides/_rels/slide15.xml.rels><?xml version="1.0" encoding="UTF-8" standalone="yes"?>
<Relationships xmlns="http://schemas.openxmlformats.org/package/2006/relationships"><Relationship Id="rId8" Type="http://schemas.openxmlformats.org/officeDocument/2006/relationships/image" Target="../media/image35.jpeg"/><Relationship Id="rId3" Type="http://schemas.openxmlformats.org/officeDocument/2006/relationships/image" Target="../media/image32.png"/><Relationship Id="rId7" Type="http://schemas.openxmlformats.org/officeDocument/2006/relationships/image" Target="../media/image34.jpeg"/><Relationship Id="rId12" Type="http://schemas.openxmlformats.org/officeDocument/2006/relationships/image" Target="../media/image39.jpeg"/><Relationship Id="rId2" Type="http://schemas.openxmlformats.org/officeDocument/2006/relationships/notesSlide" Target="../notesSlides/notesSlide14.xml"/><Relationship Id="rId1" Type="http://schemas.openxmlformats.org/officeDocument/2006/relationships/slideLayout" Target="../slideLayouts/slideLayout39.xml"/><Relationship Id="rId6" Type="http://schemas.openxmlformats.org/officeDocument/2006/relationships/image" Target="../media/image33.jpeg"/><Relationship Id="rId11" Type="http://schemas.openxmlformats.org/officeDocument/2006/relationships/image" Target="../media/image38.jpeg"/><Relationship Id="rId5" Type="http://schemas.openxmlformats.org/officeDocument/2006/relationships/image" Target="../media/image11.svg"/><Relationship Id="rId10" Type="http://schemas.openxmlformats.org/officeDocument/2006/relationships/image" Target="../media/image37.png"/><Relationship Id="rId4" Type="http://schemas.openxmlformats.org/officeDocument/2006/relationships/image" Target="../media/image10.png"/><Relationship Id="rId9" Type="http://schemas.openxmlformats.org/officeDocument/2006/relationships/image" Target="../media/image36.png"/></Relationships>
</file>

<file path=ppt/slides/_rels/slide16.xml.rels><?xml version="1.0" encoding="UTF-8" standalone="yes"?>
<Relationships xmlns="http://schemas.openxmlformats.org/package/2006/relationships"><Relationship Id="rId3" Type="http://schemas.openxmlformats.org/officeDocument/2006/relationships/image" Target="../media/image40.jpeg"/><Relationship Id="rId7" Type="http://schemas.openxmlformats.org/officeDocument/2006/relationships/image" Target="../media/image41.jpeg"/><Relationship Id="rId2" Type="http://schemas.openxmlformats.org/officeDocument/2006/relationships/notesSlide" Target="../notesSlides/notesSlide15.xml"/><Relationship Id="rId1" Type="http://schemas.openxmlformats.org/officeDocument/2006/relationships/slideLayout" Target="../slideLayouts/slideLayout39.xml"/><Relationship Id="rId6" Type="http://schemas.openxmlformats.org/officeDocument/2006/relationships/image" Target="../media/image33.jpeg"/><Relationship Id="rId5" Type="http://schemas.openxmlformats.org/officeDocument/2006/relationships/image" Target="../media/image11.svg"/><Relationship Id="rId4" Type="http://schemas.openxmlformats.org/officeDocument/2006/relationships/image" Target="../media/image10.png"/></Relationships>
</file>

<file path=ppt/slides/_rels/slide17.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16.xml"/><Relationship Id="rId1" Type="http://schemas.openxmlformats.org/officeDocument/2006/relationships/slideLayout" Target="../slideLayouts/slideLayout25.xml"/><Relationship Id="rId5" Type="http://schemas.openxmlformats.org/officeDocument/2006/relationships/image" Target="../media/image11.svg"/><Relationship Id="rId4" Type="http://schemas.openxmlformats.org/officeDocument/2006/relationships/image" Target="../media/image10.png"/></Relationships>
</file>

<file path=ppt/slides/_rels/slide18.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notesSlide" Target="../notesSlides/notesSlide17.xml"/><Relationship Id="rId1" Type="http://schemas.openxmlformats.org/officeDocument/2006/relationships/slideLayout" Target="../slideLayouts/slideLayout39.xml"/><Relationship Id="rId5" Type="http://schemas.openxmlformats.org/officeDocument/2006/relationships/image" Target="../media/image21.svg"/><Relationship Id="rId4" Type="http://schemas.openxmlformats.org/officeDocument/2006/relationships/image" Target="../media/image20.png"/></Relationships>
</file>

<file path=ppt/slides/_rels/slide19.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18.xml"/><Relationship Id="rId1" Type="http://schemas.openxmlformats.org/officeDocument/2006/relationships/slideLayout" Target="../slideLayouts/slideLayout31.xml"/><Relationship Id="rId5" Type="http://schemas.openxmlformats.org/officeDocument/2006/relationships/image" Target="../media/image21.svg"/><Relationship Id="rId4" Type="http://schemas.openxmlformats.org/officeDocument/2006/relationships/image" Target="../media/image20.png"/></Relationships>
</file>

<file path=ppt/slides/_rels/slide2.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2.xml"/><Relationship Id="rId1" Type="http://schemas.openxmlformats.org/officeDocument/2006/relationships/slideLayout" Target="../slideLayouts/slideLayout1.xml"/><Relationship Id="rId5" Type="http://schemas.openxmlformats.org/officeDocument/2006/relationships/image" Target="../media/image11.svg"/><Relationship Id="rId4" Type="http://schemas.openxmlformats.org/officeDocument/2006/relationships/image" Target="../media/image10.png"/></Relationships>
</file>

<file path=ppt/slides/_rels/slide20.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45.png"/><Relationship Id="rId7" Type="http://schemas.openxmlformats.org/officeDocument/2006/relationships/image" Target="../media/image49.jpeg"/><Relationship Id="rId2" Type="http://schemas.openxmlformats.org/officeDocument/2006/relationships/notesSlide" Target="../notesSlides/notesSlide19.xml"/><Relationship Id="rId1" Type="http://schemas.openxmlformats.org/officeDocument/2006/relationships/slideLayout" Target="../slideLayouts/slideLayout39.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6.png"/><Relationship Id="rId9" Type="http://schemas.openxmlformats.org/officeDocument/2006/relationships/image" Target="../media/image11.svg"/></Relationships>
</file>

<file path=ppt/slides/_rels/slide21.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image" Target="../media/image50.png"/><Relationship Id="rId7" Type="http://schemas.openxmlformats.org/officeDocument/2006/relationships/image" Target="../media/image54.png"/><Relationship Id="rId2" Type="http://schemas.openxmlformats.org/officeDocument/2006/relationships/notesSlide" Target="../notesSlides/notesSlide20.xml"/><Relationship Id="rId1" Type="http://schemas.openxmlformats.org/officeDocument/2006/relationships/slideLayout" Target="../slideLayouts/slideLayout39.xml"/><Relationship Id="rId6" Type="http://schemas.openxmlformats.org/officeDocument/2006/relationships/image" Target="../media/image53.png"/><Relationship Id="rId5" Type="http://schemas.openxmlformats.org/officeDocument/2006/relationships/image" Target="../media/image52.png"/><Relationship Id="rId10" Type="http://schemas.openxmlformats.org/officeDocument/2006/relationships/image" Target="../media/image11.svg"/><Relationship Id="rId4" Type="http://schemas.openxmlformats.org/officeDocument/2006/relationships/image" Target="../media/image51.png"/><Relationship Id="rId9" Type="http://schemas.openxmlformats.org/officeDocument/2006/relationships/image" Target="../media/image10.png"/></Relationships>
</file>

<file path=ppt/slides/_rels/slide22.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notesSlide" Target="../notesSlides/notesSlide21.xml"/><Relationship Id="rId1" Type="http://schemas.openxmlformats.org/officeDocument/2006/relationships/slideLayout" Target="../slideLayouts/slideLayout25.xml"/><Relationship Id="rId5" Type="http://schemas.openxmlformats.org/officeDocument/2006/relationships/image" Target="../media/image11.svg"/><Relationship Id="rId4" Type="http://schemas.openxmlformats.org/officeDocument/2006/relationships/image" Target="../media/image10.png"/></Relationships>
</file>

<file path=ppt/slides/_rels/slide23.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notesSlide" Target="../notesSlides/notesSlide22.xml"/><Relationship Id="rId1" Type="http://schemas.openxmlformats.org/officeDocument/2006/relationships/slideLayout" Target="../slideLayouts/slideLayout25.xml"/><Relationship Id="rId5" Type="http://schemas.openxmlformats.org/officeDocument/2006/relationships/image" Target="../media/image11.svg"/><Relationship Id="rId4" Type="http://schemas.openxmlformats.org/officeDocument/2006/relationships/image" Target="../media/image10.png"/></Relationships>
</file>

<file path=ppt/slides/_rels/slide24.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notesSlide" Target="../notesSlides/notesSlide23.xml"/><Relationship Id="rId1" Type="http://schemas.openxmlformats.org/officeDocument/2006/relationships/slideLayout" Target="../slideLayouts/slideLayout38.xml"/><Relationship Id="rId5" Type="http://schemas.openxmlformats.org/officeDocument/2006/relationships/image" Target="../media/image21.svg"/><Relationship Id="rId4" Type="http://schemas.openxmlformats.org/officeDocument/2006/relationships/image" Target="../media/image20.png"/></Relationships>
</file>

<file path=ppt/slides/_rels/slide25.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notesSlide" Target="../notesSlides/notesSlide24.xml"/><Relationship Id="rId1" Type="http://schemas.openxmlformats.org/officeDocument/2006/relationships/slideLayout" Target="../slideLayouts/slideLayout25.xml"/><Relationship Id="rId5" Type="http://schemas.openxmlformats.org/officeDocument/2006/relationships/image" Target="../media/image11.svg"/><Relationship Id="rId4" Type="http://schemas.openxmlformats.org/officeDocument/2006/relationships/image" Target="../media/image10.png"/></Relationships>
</file>

<file path=ppt/slides/_rels/slide26.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25.xml"/><Relationship Id="rId1" Type="http://schemas.openxmlformats.org/officeDocument/2006/relationships/slideLayout" Target="../slideLayouts/slideLayout25.xml"/></Relationships>
</file>

<file path=ppt/slides/_rels/slide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xml"/><Relationship Id="rId1" Type="http://schemas.openxmlformats.org/officeDocument/2006/relationships/slideLayout" Target="../slideLayouts/slideLayout76.xml"/></Relationships>
</file>

<file path=ppt/slides/_rels/slide4.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3.xml"/><Relationship Id="rId7" Type="http://schemas.openxmlformats.org/officeDocument/2006/relationships/image" Target="../media/image13.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notesSlide" Target="../notesSlides/notesSlide4.xml"/><Relationship Id="rId11" Type="http://schemas.openxmlformats.org/officeDocument/2006/relationships/image" Target="../media/image17.png"/><Relationship Id="rId5" Type="http://schemas.openxmlformats.org/officeDocument/2006/relationships/slideLayout" Target="../slideLayouts/slideLayout76.xml"/><Relationship Id="rId10" Type="http://schemas.openxmlformats.org/officeDocument/2006/relationships/image" Target="../media/image16.png"/><Relationship Id="rId4" Type="http://schemas.openxmlformats.org/officeDocument/2006/relationships/tags" Target="../tags/tag4.xml"/><Relationship Id="rId9" Type="http://schemas.openxmlformats.org/officeDocument/2006/relationships/image" Target="../media/image15.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6.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5.xml"/><Relationship Id="rId1" Type="http://schemas.openxmlformats.org/officeDocument/2006/relationships/slideLayout" Target="../slideLayouts/slideLayout25.xml"/><Relationship Id="rId5" Type="http://schemas.openxmlformats.org/officeDocument/2006/relationships/image" Target="../media/image11.svg"/><Relationship Id="rId4" Type="http://schemas.openxmlformats.org/officeDocument/2006/relationships/image" Target="../media/image10.png"/></Relationships>
</file>

<file path=ppt/slides/_rels/slide7.xml.rels><?xml version="1.0" encoding="UTF-8" standalone="yes"?>
<Relationships xmlns="http://schemas.openxmlformats.org/package/2006/relationships"><Relationship Id="rId3" Type="http://schemas.openxmlformats.org/officeDocument/2006/relationships/image" Target="../media/image19.jpeg"/><Relationship Id="rId7" Type="http://schemas.openxmlformats.org/officeDocument/2006/relationships/image" Target="../media/image23.svg"/><Relationship Id="rId2" Type="http://schemas.openxmlformats.org/officeDocument/2006/relationships/notesSlide" Target="../notesSlides/notesSlide6.xml"/><Relationship Id="rId1" Type="http://schemas.openxmlformats.org/officeDocument/2006/relationships/slideLayout" Target="../slideLayouts/slideLayout25.xml"/><Relationship Id="rId6" Type="http://schemas.openxmlformats.org/officeDocument/2006/relationships/image" Target="../media/image22.png"/><Relationship Id="rId5" Type="http://schemas.openxmlformats.org/officeDocument/2006/relationships/image" Target="../media/image21.svg"/><Relationship Id="rId4" Type="http://schemas.openxmlformats.org/officeDocument/2006/relationships/image" Target="../media/image20.png"/></Relationships>
</file>

<file path=ppt/slides/_rels/slide8.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7.xml"/><Relationship Id="rId1" Type="http://schemas.openxmlformats.org/officeDocument/2006/relationships/slideLayout" Target="../slideLayouts/slideLayout25.xml"/><Relationship Id="rId6" Type="http://schemas.openxmlformats.org/officeDocument/2006/relationships/image" Target="../media/image21.svg"/><Relationship Id="rId5" Type="http://schemas.openxmlformats.org/officeDocument/2006/relationships/image" Target="../media/image20.png"/><Relationship Id="rId4" Type="http://schemas.openxmlformats.org/officeDocument/2006/relationships/image" Target="../media/image25.png"/></Relationships>
</file>

<file path=ppt/slides/_rels/slide9.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8.xml"/><Relationship Id="rId1" Type="http://schemas.openxmlformats.org/officeDocument/2006/relationships/slideLayout" Target="../slideLayouts/slideLayout26.xml"/><Relationship Id="rId5" Type="http://schemas.openxmlformats.org/officeDocument/2006/relationships/image" Target="../media/image11.svg"/><Relationship Id="rId4" Type="http://schemas.openxmlformats.org/officeDocument/2006/relationships/image" Target="../media/image1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725245" y="1546099"/>
            <a:ext cx="10034953" cy="4585871"/>
          </a:xfrm>
          <a:prstGeom prst="rect">
            <a:avLst/>
          </a:prstGeom>
        </p:spPr>
        <p:txBody>
          <a:bodyPr wrap="square">
            <a:spAutoFit/>
          </a:bodyPr>
          <a:lstStyle/>
          <a:p>
            <a:r>
              <a:rPr lang="fr-FR" sz="3400" b="1" dirty="0"/>
              <a:t>STRATEGIE ECONOMIQUE </a:t>
            </a:r>
          </a:p>
          <a:p>
            <a:r>
              <a:rPr lang="fr-FR" sz="3400" b="1" dirty="0"/>
              <a:t>« A IMPACT + »</a:t>
            </a:r>
          </a:p>
          <a:p>
            <a:endParaRPr lang="fr-FR" sz="2800" dirty="0"/>
          </a:p>
          <a:p>
            <a:endParaRPr lang="fr-FR" sz="2800" dirty="0">
              <a:solidFill>
                <a:srgbClr val="FF0000"/>
              </a:solidFill>
            </a:endParaRPr>
          </a:p>
          <a:p>
            <a:endParaRPr lang="fr-FR" sz="2800" dirty="0">
              <a:solidFill>
                <a:srgbClr val="FF0000"/>
              </a:solidFill>
            </a:endParaRPr>
          </a:p>
          <a:p>
            <a:endParaRPr lang="fr-FR" sz="2800" dirty="0">
              <a:solidFill>
                <a:srgbClr val="FF0000"/>
              </a:solidFill>
            </a:endParaRPr>
          </a:p>
          <a:p>
            <a:endParaRPr lang="fr-FR" sz="2800" dirty="0">
              <a:solidFill>
                <a:srgbClr val="FF0000"/>
              </a:solidFill>
            </a:endParaRPr>
          </a:p>
          <a:p>
            <a:r>
              <a:rPr lang="fr-FR" sz="2800" dirty="0">
                <a:solidFill>
                  <a:srgbClr val="FF0000"/>
                </a:solidFill>
              </a:rPr>
              <a:t>Métropole de LYON – Club de l’OURS</a:t>
            </a:r>
          </a:p>
          <a:p>
            <a:r>
              <a:rPr lang="fr-FR" sz="2800" dirty="0"/>
              <a:t>16 Mai 2024</a:t>
            </a:r>
          </a:p>
          <a:p>
            <a:endParaRPr lang="fr-FR" sz="2800" dirty="0"/>
          </a:p>
        </p:txBody>
      </p:sp>
      <p:sp>
        <p:nvSpPr>
          <p:cNvPr id="2" name="AutoShape 2" descr="France urbaine — Wikipédia"/>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3" name="AutoShape 2" descr="Accueil - Groupe EM2C"/>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5" name="AutoShape 4" descr="Accueil - Groupe EM2C"/>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pic>
        <p:nvPicPr>
          <p:cNvPr id="3074" name="Picture 2" descr="METROPOLE_LYON_3AAP-03.png (5062×7182)">
            <a:extLst>
              <a:ext uri="{FF2B5EF4-FFF2-40B4-BE49-F238E27FC236}">
                <a16:creationId xmlns:a16="http://schemas.microsoft.com/office/drawing/2014/main" id="{C8AB5B64-D304-4DCA-A9E7-A72D91FADA8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096000" y="-1963324"/>
            <a:ext cx="6081843" cy="8682176"/>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METROPOLE_ILLUS_PNG_240523_FIL_1.png (6141×6190)">
            <a:extLst>
              <a:ext uri="{FF2B5EF4-FFF2-40B4-BE49-F238E27FC236}">
                <a16:creationId xmlns:a16="http://schemas.microsoft.com/office/drawing/2014/main" id="{CAB1DBF6-582D-4E29-9F3A-3F1B17B9C5A7}"/>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57186" t="32077" r="21313" b="54149"/>
          <a:stretch/>
        </p:blipFill>
        <p:spPr bwMode="auto">
          <a:xfrm rot="13550437">
            <a:off x="5269080" y="2455255"/>
            <a:ext cx="1349284" cy="87124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9507850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EA2D16-6FD4-62DD-9B3B-112EEA689EE6}"/>
            </a:ext>
          </a:extLst>
        </p:cNvPr>
        <p:cNvGrpSpPr/>
        <p:nvPr/>
      </p:nvGrpSpPr>
      <p:grpSpPr>
        <a:xfrm>
          <a:off x="0" y="0"/>
          <a:ext cx="0" cy="0"/>
          <a:chOff x="0" y="0"/>
          <a:chExt cx="0" cy="0"/>
        </a:xfrm>
      </p:grpSpPr>
      <p:pic>
        <p:nvPicPr>
          <p:cNvPr id="3" name="Image 2">
            <a:extLst>
              <a:ext uri="{FF2B5EF4-FFF2-40B4-BE49-F238E27FC236}">
                <a16:creationId xmlns:a16="http://schemas.microsoft.com/office/drawing/2014/main" id="{6540FABC-FF05-4A2C-8A6E-DD0BFE675F58}"/>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8748378" y="0"/>
            <a:ext cx="3443226" cy="6857999"/>
          </a:xfrm>
          <a:prstGeom prst="rect">
            <a:avLst/>
          </a:prstGeom>
        </p:spPr>
      </p:pic>
      <p:pic>
        <p:nvPicPr>
          <p:cNvPr id="35" name="Image 34">
            <a:extLst>
              <a:ext uri="{FF2B5EF4-FFF2-40B4-BE49-F238E27FC236}">
                <a16:creationId xmlns:a16="http://schemas.microsoft.com/office/drawing/2014/main" id="{E873434D-C2BB-6332-925D-C760730D7E29}"/>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3359911" y="1623758"/>
            <a:ext cx="1025972" cy="4491042"/>
          </a:xfrm>
          <a:prstGeom prst="rect">
            <a:avLst/>
          </a:prstGeom>
        </p:spPr>
      </p:pic>
      <p:sp>
        <p:nvSpPr>
          <p:cNvPr id="25" name="ZoneTexte 24">
            <a:extLst>
              <a:ext uri="{FF2B5EF4-FFF2-40B4-BE49-F238E27FC236}">
                <a16:creationId xmlns:a16="http://schemas.microsoft.com/office/drawing/2014/main" id="{57E39FF9-9499-7F53-DD64-384090A09DA4}"/>
              </a:ext>
            </a:extLst>
          </p:cNvPr>
          <p:cNvSpPr txBox="1"/>
          <p:nvPr/>
        </p:nvSpPr>
        <p:spPr>
          <a:xfrm>
            <a:off x="4575208" y="2389659"/>
            <a:ext cx="3764464" cy="1064051"/>
          </a:xfrm>
          <a:prstGeom prst="rect">
            <a:avLst/>
          </a:prstGeom>
          <a:noFill/>
          <a:ln>
            <a:noFill/>
          </a:ln>
        </p:spPr>
        <p:txBody>
          <a:bodyPr wrap="square" lIns="90000" tIns="90000" rIns="90000" bIns="90000" rtlCol="0">
            <a:spAutoFit/>
          </a:bodyPr>
          <a:lstStyle/>
          <a:p>
            <a:pPr marL="175301" indent="-171450">
              <a:lnSpc>
                <a:spcPct val="90000"/>
              </a:lnSpc>
              <a:spcAft>
                <a:spcPts val="364"/>
              </a:spcAft>
              <a:buFont typeface="Arial" panose="020B0604020202020204" pitchFamily="34" charset="0"/>
              <a:buChar char="•"/>
            </a:pPr>
            <a:r>
              <a:rPr lang="fr-FR" sz="1200" b="1" dirty="0">
                <a:latin typeface="Arial" panose="020B0604020202020204" pitchFamily="34" charset="0"/>
                <a:cs typeface="Arial" panose="020B0604020202020204" pitchFamily="34" charset="0"/>
              </a:rPr>
              <a:t>78 % dans l’hyper centre </a:t>
            </a:r>
            <a:r>
              <a:rPr lang="fr-FR" sz="1200" dirty="0">
                <a:latin typeface="Arial" panose="020B0604020202020204" pitchFamily="34" charset="0"/>
                <a:cs typeface="Arial" panose="020B0604020202020204" pitchFamily="34" charset="0"/>
              </a:rPr>
              <a:t>(Part-Dieu, Confluence, Gerland, Villeurbanne, Lyon 8, Vaise) </a:t>
            </a:r>
          </a:p>
          <a:p>
            <a:pPr marL="175301" indent="-171450">
              <a:lnSpc>
                <a:spcPct val="90000"/>
              </a:lnSpc>
              <a:spcAft>
                <a:spcPts val="364"/>
              </a:spcAft>
              <a:buFont typeface="Arial" panose="020B0604020202020204" pitchFamily="34" charset="0"/>
              <a:buChar char="•"/>
            </a:pPr>
            <a:r>
              <a:rPr lang="fr-FR" sz="1200" b="1" dirty="0">
                <a:latin typeface="Arial" panose="020B0604020202020204" pitchFamily="34" charset="0"/>
                <a:cs typeface="Arial" panose="020B0604020202020204" pitchFamily="34" charset="0"/>
              </a:rPr>
              <a:t>22 % en pôles d’équilibre </a:t>
            </a:r>
            <a:r>
              <a:rPr lang="fr-FR" sz="1200" dirty="0">
                <a:latin typeface="Arial" panose="020B0604020202020204" pitchFamily="34" charset="0"/>
                <a:cs typeface="Arial" panose="020B0604020202020204" pitchFamily="34" charset="0"/>
              </a:rPr>
              <a:t>(Carré de Soie, Oullins, Grand </a:t>
            </a:r>
            <a:r>
              <a:rPr lang="fr-FR" sz="1200" dirty="0" err="1">
                <a:latin typeface="Arial" panose="020B0604020202020204" pitchFamily="34" charset="0"/>
                <a:cs typeface="Arial" panose="020B0604020202020204" pitchFamily="34" charset="0"/>
              </a:rPr>
              <a:t>Parilly</a:t>
            </a:r>
            <a:r>
              <a:rPr lang="fr-FR" sz="1200" dirty="0">
                <a:latin typeface="Arial" panose="020B0604020202020204" pitchFamily="34" charset="0"/>
                <a:cs typeface="Arial" panose="020B0604020202020204" pitchFamily="34" charset="0"/>
              </a:rPr>
              <a:t>, Clairière) et </a:t>
            </a:r>
            <a:r>
              <a:rPr lang="fr-FR" sz="1200" b="1" dirty="0">
                <a:latin typeface="Arial" panose="020B0604020202020204" pitchFamily="34" charset="0"/>
                <a:cs typeface="Arial" panose="020B0604020202020204" pitchFamily="34" charset="0"/>
              </a:rPr>
              <a:t>en péri-urbain </a:t>
            </a:r>
            <a:r>
              <a:rPr lang="fr-FR" sz="1200" dirty="0">
                <a:latin typeface="Arial" panose="020B0604020202020204" pitchFamily="34" charset="0"/>
                <a:cs typeface="Arial" panose="020B0604020202020204" pitchFamily="34" charset="0"/>
              </a:rPr>
              <a:t>(Bron-St Priest, </a:t>
            </a:r>
            <a:r>
              <a:rPr lang="fr-FR" sz="1200" dirty="0" err="1">
                <a:latin typeface="Arial" panose="020B0604020202020204" pitchFamily="34" charset="0"/>
                <a:cs typeface="Arial" panose="020B0604020202020204" pitchFamily="34" charset="0"/>
              </a:rPr>
              <a:t>Techlid</a:t>
            </a:r>
            <a:r>
              <a:rPr lang="fr-FR" sz="1200" dirty="0">
                <a:latin typeface="Arial" panose="020B0604020202020204" pitchFamily="34" charset="0"/>
                <a:cs typeface="Arial" panose="020B0604020202020204" pitchFamily="34" charset="0"/>
              </a:rPr>
              <a:t>) </a:t>
            </a:r>
          </a:p>
        </p:txBody>
      </p:sp>
      <p:sp>
        <p:nvSpPr>
          <p:cNvPr id="10" name="Rectangle 9">
            <a:extLst>
              <a:ext uri="{FF2B5EF4-FFF2-40B4-BE49-F238E27FC236}">
                <a16:creationId xmlns:a16="http://schemas.microsoft.com/office/drawing/2014/main" id="{B35DA404-50D5-E46D-D521-5056004B4FAA}"/>
              </a:ext>
            </a:extLst>
          </p:cNvPr>
          <p:cNvSpPr/>
          <p:nvPr/>
        </p:nvSpPr>
        <p:spPr>
          <a:xfrm>
            <a:off x="397" y="0"/>
            <a:ext cx="105878" cy="6858000"/>
          </a:xfrm>
          <a:prstGeom prst="rect">
            <a:avLst/>
          </a:prstGeom>
          <a:solidFill>
            <a:srgbClr val="E61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00"/>
          </a:p>
        </p:txBody>
      </p:sp>
      <p:sp>
        <p:nvSpPr>
          <p:cNvPr id="9" name="object 8">
            <a:extLst>
              <a:ext uri="{FF2B5EF4-FFF2-40B4-BE49-F238E27FC236}">
                <a16:creationId xmlns:a16="http://schemas.microsoft.com/office/drawing/2014/main" id="{E1F17988-0066-951D-0653-5027651E0931}"/>
              </a:ext>
            </a:extLst>
          </p:cNvPr>
          <p:cNvSpPr txBox="1">
            <a:spLocks/>
          </p:cNvSpPr>
          <p:nvPr/>
        </p:nvSpPr>
        <p:spPr>
          <a:xfrm>
            <a:off x="515074" y="-4878"/>
            <a:ext cx="11179643" cy="1696465"/>
          </a:xfrm>
          <a:prstGeom prst="rect">
            <a:avLst/>
          </a:prstGeom>
        </p:spPr>
        <p:txBody>
          <a:bodyPr vert="horz" wrap="square" lIns="0" tIns="3658" rIns="0" bIns="0" rtlCol="0" anchor="ctr">
            <a:spAutoFit/>
          </a:bodyPr>
          <a:lstStyle>
            <a:lvl1pPr algn="l" defTabSz="1828709" rtl="0" eaLnBrk="1" latinLnBrk="0" hangingPunct="1">
              <a:lnSpc>
                <a:spcPct val="90000"/>
              </a:lnSpc>
              <a:spcBef>
                <a:spcPct val="0"/>
              </a:spcBef>
              <a:buNone/>
              <a:defRPr sz="8800" kern="1200">
                <a:solidFill>
                  <a:schemeClr val="tx1"/>
                </a:solidFill>
                <a:latin typeface="+mj-lt"/>
                <a:ea typeface="+mj-ea"/>
                <a:cs typeface="+mj-cs"/>
              </a:defRPr>
            </a:lvl1pPr>
          </a:lstStyle>
          <a:p>
            <a:pPr marL="3851">
              <a:lnSpc>
                <a:spcPct val="100000"/>
              </a:lnSpc>
              <a:spcBef>
                <a:spcPts val="29"/>
              </a:spcBef>
              <a:tabLst>
                <a:tab pos="1528050" algn="l"/>
              </a:tabLst>
            </a:pPr>
            <a:endParaRPr lang="fr-FR" sz="2200" spc="-2" dirty="0">
              <a:solidFill>
                <a:srgbClr val="E4002B"/>
              </a:solidFill>
              <a:latin typeface="Arial Black" panose="020B0A04020102020204" pitchFamily="34" charset="0"/>
            </a:endParaRPr>
          </a:p>
          <a:p>
            <a:pPr marL="3851">
              <a:lnSpc>
                <a:spcPct val="100000"/>
              </a:lnSpc>
              <a:spcBef>
                <a:spcPts val="29"/>
              </a:spcBef>
              <a:tabLst>
                <a:tab pos="1528050" algn="l"/>
              </a:tabLst>
            </a:pPr>
            <a:r>
              <a:rPr lang="fr-FR" sz="2200" spc="-2" dirty="0">
                <a:solidFill>
                  <a:srgbClr val="E4002B"/>
                </a:solidFill>
                <a:latin typeface="Arial Black" panose="020B0A04020102020204" pitchFamily="34" charset="0"/>
              </a:rPr>
              <a:t>ENTRE INDICATEURS STRUCTURELS ET</a:t>
            </a:r>
            <a:br>
              <a:rPr lang="fr-FR" sz="2200" spc="-2" dirty="0">
                <a:solidFill>
                  <a:srgbClr val="E4002B"/>
                </a:solidFill>
                <a:latin typeface="Arial Black" panose="020B0A04020102020204" pitchFamily="34" charset="0"/>
              </a:rPr>
            </a:br>
            <a:r>
              <a:rPr lang="fr-FR" sz="2200" spc="-2" dirty="0">
                <a:solidFill>
                  <a:srgbClr val="E4002B"/>
                </a:solidFill>
                <a:latin typeface="Arial Black" panose="020B0A04020102020204" pitchFamily="34" charset="0"/>
              </a:rPr>
              <a:t>UNE CONJONCTURE DIFFICILE,</a:t>
            </a:r>
            <a:br>
              <a:rPr lang="fr-FR" sz="2200" spc="-2" dirty="0">
                <a:solidFill>
                  <a:srgbClr val="E4002B"/>
                </a:solidFill>
                <a:latin typeface="Arial Black" panose="020B0A04020102020204" pitchFamily="34" charset="0"/>
              </a:rPr>
            </a:br>
            <a:r>
              <a:rPr lang="fr-FR" sz="2200" spc="-2" dirty="0">
                <a:latin typeface="Arial Black" panose="020B0A04020102020204" pitchFamily="34" charset="0"/>
              </a:rPr>
              <a:t>      LE MARCHÉ TERTIAIRE LYONNAIS</a:t>
            </a:r>
            <a:br>
              <a:rPr lang="fr-FR" sz="2200" spc="-2" dirty="0">
                <a:latin typeface="Arial Black" panose="020B0A04020102020204" pitchFamily="34" charset="0"/>
              </a:rPr>
            </a:br>
            <a:r>
              <a:rPr lang="fr-FR" sz="2200" spc="-2" dirty="0">
                <a:latin typeface="Arial Black" panose="020B0A04020102020204" pitchFamily="34" charset="0"/>
              </a:rPr>
              <a:t>      CONSERVE DES FONDAMENTAUX SOLIDES</a:t>
            </a:r>
          </a:p>
        </p:txBody>
      </p:sp>
      <p:sp>
        <p:nvSpPr>
          <p:cNvPr id="12" name="ZoneTexte 11">
            <a:extLst>
              <a:ext uri="{FF2B5EF4-FFF2-40B4-BE49-F238E27FC236}">
                <a16:creationId xmlns:a16="http://schemas.microsoft.com/office/drawing/2014/main" id="{B137A746-48AB-1250-AC7E-D4CCCAC35DFA}"/>
              </a:ext>
            </a:extLst>
          </p:cNvPr>
          <p:cNvSpPr txBox="1"/>
          <p:nvPr/>
        </p:nvSpPr>
        <p:spPr>
          <a:xfrm>
            <a:off x="759039" y="3349296"/>
            <a:ext cx="3117766" cy="565453"/>
          </a:xfrm>
          <a:prstGeom prst="rect">
            <a:avLst/>
          </a:prstGeom>
          <a:noFill/>
          <a:ln>
            <a:solidFill>
              <a:schemeClr val="tx1"/>
            </a:solidFill>
          </a:ln>
        </p:spPr>
        <p:txBody>
          <a:bodyPr wrap="square" lIns="90000" tIns="90000" rIns="90000" bIns="90000" rtlCol="0">
            <a:spAutoFit/>
          </a:bodyPr>
          <a:lstStyle/>
          <a:p>
            <a:pPr marL="3851">
              <a:lnSpc>
                <a:spcPct val="90000"/>
              </a:lnSpc>
              <a:spcAft>
                <a:spcPts val="364"/>
              </a:spcAft>
            </a:pPr>
            <a:r>
              <a:rPr lang="fr-FR" sz="1200" b="1" dirty="0">
                <a:latin typeface="Arial" panose="020B0604020202020204" pitchFamily="34" charset="0"/>
                <a:cs typeface="Arial" panose="020B0604020202020204" pitchFamily="34" charset="0"/>
              </a:rPr>
              <a:t>- 24 % année 2023</a:t>
            </a:r>
          </a:p>
          <a:p>
            <a:pPr marL="3851">
              <a:lnSpc>
                <a:spcPct val="90000"/>
              </a:lnSpc>
              <a:spcAft>
                <a:spcPts val="364"/>
              </a:spcAft>
            </a:pPr>
            <a:r>
              <a:rPr lang="fr-FR" sz="1200" b="1" dirty="0">
                <a:latin typeface="Arial" panose="020B0604020202020204" pitchFamily="34" charset="0"/>
                <a:cs typeface="Arial" panose="020B0604020202020204" pitchFamily="34" charset="0"/>
              </a:rPr>
              <a:t>- 15 %</a:t>
            </a:r>
            <a:r>
              <a:rPr lang="fr-FR" sz="1200" dirty="0">
                <a:latin typeface="Arial" panose="020B0604020202020204" pitchFamily="34" charset="0"/>
                <a:cs typeface="Arial" panose="020B0604020202020204" pitchFamily="34" charset="0"/>
              </a:rPr>
              <a:t> par rapport à la moyenne décennale</a:t>
            </a:r>
          </a:p>
        </p:txBody>
      </p:sp>
      <p:sp>
        <p:nvSpPr>
          <p:cNvPr id="13" name="ZoneTexte 12">
            <a:extLst>
              <a:ext uri="{FF2B5EF4-FFF2-40B4-BE49-F238E27FC236}">
                <a16:creationId xmlns:a16="http://schemas.microsoft.com/office/drawing/2014/main" id="{A0661E00-21CA-A838-B46E-E8FF7A8EEDD0}"/>
              </a:ext>
            </a:extLst>
          </p:cNvPr>
          <p:cNvSpPr txBox="1"/>
          <p:nvPr/>
        </p:nvSpPr>
        <p:spPr>
          <a:xfrm>
            <a:off x="539354" y="2969099"/>
            <a:ext cx="2515394" cy="400110"/>
          </a:xfrm>
          <a:prstGeom prst="rect">
            <a:avLst/>
          </a:prstGeom>
          <a:solidFill>
            <a:srgbClr val="E61038"/>
          </a:solidFill>
          <a:ln>
            <a:noFill/>
          </a:ln>
        </p:spPr>
        <p:txBody>
          <a:bodyPr wrap="square" rtlCol="0">
            <a:spAutoFit/>
          </a:bodyPr>
          <a:lstStyle/>
          <a:p>
            <a:r>
              <a:rPr lang="fr-FR" sz="2000" b="1" dirty="0">
                <a:solidFill>
                  <a:schemeClr val="bg1"/>
                </a:solidFill>
                <a:latin typeface="Arial" panose="020B0604020202020204" pitchFamily="34" charset="0"/>
                <a:cs typeface="Arial" panose="020B0604020202020204" pitchFamily="34" charset="0"/>
              </a:rPr>
              <a:t>248 400 m² placés</a:t>
            </a:r>
          </a:p>
        </p:txBody>
      </p:sp>
      <p:sp>
        <p:nvSpPr>
          <p:cNvPr id="15" name="object 13">
            <a:extLst>
              <a:ext uri="{FF2B5EF4-FFF2-40B4-BE49-F238E27FC236}">
                <a16:creationId xmlns:a16="http://schemas.microsoft.com/office/drawing/2014/main" id="{42E0BA1E-FB36-3B01-7391-38A28D5BC8A0}"/>
              </a:ext>
            </a:extLst>
          </p:cNvPr>
          <p:cNvSpPr txBox="1"/>
          <p:nvPr/>
        </p:nvSpPr>
        <p:spPr>
          <a:xfrm>
            <a:off x="423278" y="2026199"/>
            <a:ext cx="3972946" cy="735756"/>
          </a:xfrm>
          <a:prstGeom prst="rect">
            <a:avLst/>
          </a:prstGeom>
          <a:noFill/>
          <a:ln>
            <a:noFill/>
          </a:ln>
        </p:spPr>
        <p:txBody>
          <a:bodyPr vert="horz" wrap="square" lIns="90000" tIns="90000" rIns="90000" bIns="90000" rtlCol="0">
            <a:spAutoFit/>
          </a:bodyPr>
          <a:lstStyle/>
          <a:p>
            <a:pPr marL="3851">
              <a:lnSpc>
                <a:spcPct val="90000"/>
              </a:lnSpc>
            </a:pPr>
            <a:r>
              <a:rPr lang="fr-FR" sz="2000" b="1" spc="6" dirty="0">
                <a:latin typeface="Arial"/>
                <a:cs typeface="Arial"/>
              </a:rPr>
              <a:t>DEMANDE PLACÉE </a:t>
            </a:r>
            <a:r>
              <a:rPr lang="fr-FR" sz="2000" b="1" spc="6" dirty="0">
                <a:solidFill>
                  <a:srgbClr val="E4002B"/>
                </a:solidFill>
                <a:latin typeface="Arial"/>
                <a:cs typeface="Arial"/>
              </a:rPr>
              <a:t>TERTIAIRE 2023</a:t>
            </a:r>
          </a:p>
        </p:txBody>
      </p:sp>
      <p:sp>
        <p:nvSpPr>
          <p:cNvPr id="17" name="Flèche : chevron 19">
            <a:extLst>
              <a:ext uri="{FF2B5EF4-FFF2-40B4-BE49-F238E27FC236}">
                <a16:creationId xmlns:a16="http://schemas.microsoft.com/office/drawing/2014/main" id="{D6E14D2E-E0BE-AE37-5ED8-D6A0BB28057E}"/>
              </a:ext>
            </a:extLst>
          </p:cNvPr>
          <p:cNvSpPr/>
          <p:nvPr/>
        </p:nvSpPr>
        <p:spPr>
          <a:xfrm rot="5400000">
            <a:off x="4686220" y="3376259"/>
            <a:ext cx="208627" cy="405080"/>
          </a:xfrm>
          <a:prstGeom prst="chevron">
            <a:avLst/>
          </a:prstGeom>
          <a:solidFill>
            <a:srgbClr val="A6A6A6"/>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25718" tIns="12859" rIns="25718" bIns="12859" numCol="1" spcCol="0" rtlCol="0" fromWordArt="0" anchor="ctr" anchorCtr="0" forceAA="0" compatLnSpc="1">
            <a:prstTxWarp prst="textNoShape">
              <a:avLst/>
            </a:prstTxWarp>
            <a:noAutofit/>
          </a:bodyPr>
          <a:lstStyle/>
          <a:p>
            <a:pPr algn="ctr"/>
            <a:endParaRPr lang="fr-FR" sz="675" dirty="0">
              <a:solidFill>
                <a:schemeClr val="tx1"/>
              </a:solidFill>
              <a:latin typeface="Arial Black" panose="020B0A04020102020204" pitchFamily="34" charset="0"/>
            </a:endParaRPr>
          </a:p>
        </p:txBody>
      </p:sp>
      <p:sp>
        <p:nvSpPr>
          <p:cNvPr id="20" name="ZoneTexte 19">
            <a:extLst>
              <a:ext uri="{FF2B5EF4-FFF2-40B4-BE49-F238E27FC236}">
                <a16:creationId xmlns:a16="http://schemas.microsoft.com/office/drawing/2014/main" id="{04903D0F-22E9-6D1A-4071-CF3F9D86F446}"/>
              </a:ext>
            </a:extLst>
          </p:cNvPr>
          <p:cNvSpPr txBox="1"/>
          <p:nvPr/>
        </p:nvSpPr>
        <p:spPr>
          <a:xfrm>
            <a:off x="668731" y="4894064"/>
            <a:ext cx="3298381" cy="680356"/>
          </a:xfrm>
          <a:prstGeom prst="rect">
            <a:avLst/>
          </a:prstGeom>
          <a:noFill/>
          <a:ln>
            <a:solidFill>
              <a:schemeClr val="tx1"/>
            </a:solidFill>
          </a:ln>
        </p:spPr>
        <p:txBody>
          <a:bodyPr wrap="square" lIns="90000" tIns="90000" rIns="90000" bIns="90000" rtlCol="0">
            <a:spAutoFit/>
          </a:bodyPr>
          <a:lstStyle/>
          <a:p>
            <a:pPr marL="3851">
              <a:lnSpc>
                <a:spcPct val="90000"/>
              </a:lnSpc>
              <a:spcAft>
                <a:spcPts val="364"/>
              </a:spcAft>
            </a:pPr>
            <a:r>
              <a:rPr lang="fr-FR" sz="1200" b="1" dirty="0">
                <a:latin typeface="Arial" panose="020B0604020202020204" pitchFamily="34" charset="0"/>
                <a:cs typeface="Arial" panose="020B0604020202020204" pitchFamily="34" charset="0"/>
              </a:rPr>
              <a:t>Enseignements : </a:t>
            </a:r>
            <a:r>
              <a:rPr lang="fr-FR" sz="1200" dirty="0">
                <a:latin typeface="Arial" panose="020B0604020202020204" pitchFamily="34" charset="0"/>
                <a:cs typeface="Arial" panose="020B0604020202020204" pitchFamily="34" charset="0"/>
              </a:rPr>
              <a:t>socle TPE/PME très solide, absence grandes et très grandes transactions dont le retour est attendu en 2025</a:t>
            </a:r>
          </a:p>
        </p:txBody>
      </p:sp>
      <p:sp>
        <p:nvSpPr>
          <p:cNvPr id="21" name="ZoneTexte 20">
            <a:extLst>
              <a:ext uri="{FF2B5EF4-FFF2-40B4-BE49-F238E27FC236}">
                <a16:creationId xmlns:a16="http://schemas.microsoft.com/office/drawing/2014/main" id="{A662DBDC-0FA4-65B0-71A7-A11C069BE4E2}"/>
              </a:ext>
            </a:extLst>
          </p:cNvPr>
          <p:cNvSpPr txBox="1"/>
          <p:nvPr/>
        </p:nvSpPr>
        <p:spPr>
          <a:xfrm>
            <a:off x="522209" y="4370943"/>
            <a:ext cx="3528363" cy="584775"/>
          </a:xfrm>
          <a:prstGeom prst="rect">
            <a:avLst/>
          </a:prstGeom>
          <a:solidFill>
            <a:schemeClr val="tx1"/>
          </a:solidFill>
          <a:ln>
            <a:noFill/>
          </a:ln>
        </p:spPr>
        <p:txBody>
          <a:bodyPr wrap="square" rtlCol="0">
            <a:spAutoFit/>
          </a:bodyPr>
          <a:lstStyle/>
          <a:p>
            <a:r>
              <a:rPr lang="fr-FR" sz="1600" b="1" dirty="0">
                <a:solidFill>
                  <a:schemeClr val="bg1"/>
                </a:solidFill>
                <a:latin typeface="Arial" panose="020B0604020202020204" pitchFamily="34" charset="0"/>
                <a:cs typeface="Arial" panose="020B0604020202020204" pitchFamily="34" charset="0"/>
              </a:rPr>
              <a:t>Une réelle dynamique de marché avec 530 transactions (stabilité)</a:t>
            </a:r>
          </a:p>
        </p:txBody>
      </p:sp>
      <p:sp>
        <p:nvSpPr>
          <p:cNvPr id="22" name="ZoneTexte 21">
            <a:extLst>
              <a:ext uri="{FF2B5EF4-FFF2-40B4-BE49-F238E27FC236}">
                <a16:creationId xmlns:a16="http://schemas.microsoft.com/office/drawing/2014/main" id="{D22C7AA4-8256-F3F4-4BC7-DB27DB3C55D2}"/>
              </a:ext>
            </a:extLst>
          </p:cNvPr>
          <p:cNvSpPr txBox="1"/>
          <p:nvPr/>
        </p:nvSpPr>
        <p:spPr>
          <a:xfrm>
            <a:off x="4578210" y="1774998"/>
            <a:ext cx="3071650" cy="584775"/>
          </a:xfrm>
          <a:prstGeom prst="rect">
            <a:avLst/>
          </a:prstGeom>
          <a:solidFill>
            <a:schemeClr val="bg1">
              <a:lumMod val="65000"/>
            </a:schemeClr>
          </a:solidFill>
          <a:ln>
            <a:noFill/>
          </a:ln>
        </p:spPr>
        <p:txBody>
          <a:bodyPr wrap="square" rtlCol="0">
            <a:spAutoFit/>
          </a:bodyPr>
          <a:lstStyle/>
          <a:p>
            <a:r>
              <a:rPr lang="fr-FR" sz="1600" b="1" dirty="0">
                <a:solidFill>
                  <a:schemeClr val="bg1"/>
                </a:solidFill>
                <a:latin typeface="Arial" panose="020B0604020202020204" pitchFamily="34" charset="0"/>
                <a:cs typeface="Arial" panose="020B0604020202020204" pitchFamily="34" charset="0"/>
              </a:rPr>
              <a:t>Une appétence pour l’urbanité</a:t>
            </a:r>
          </a:p>
        </p:txBody>
      </p:sp>
      <p:sp>
        <p:nvSpPr>
          <p:cNvPr id="26" name="ZoneTexte 25">
            <a:extLst>
              <a:ext uri="{FF2B5EF4-FFF2-40B4-BE49-F238E27FC236}">
                <a16:creationId xmlns:a16="http://schemas.microsoft.com/office/drawing/2014/main" id="{B7A2215E-BC63-C212-A43C-CA714979A859}"/>
              </a:ext>
            </a:extLst>
          </p:cNvPr>
          <p:cNvSpPr txBox="1"/>
          <p:nvPr/>
        </p:nvSpPr>
        <p:spPr>
          <a:xfrm>
            <a:off x="4575208" y="5557126"/>
            <a:ext cx="3281237" cy="1115347"/>
          </a:xfrm>
          <a:prstGeom prst="rect">
            <a:avLst/>
          </a:prstGeom>
          <a:noFill/>
          <a:ln>
            <a:noFill/>
          </a:ln>
        </p:spPr>
        <p:txBody>
          <a:bodyPr wrap="square" lIns="90000" tIns="90000" rIns="90000" bIns="90000" rtlCol="0">
            <a:spAutoFit/>
          </a:bodyPr>
          <a:lstStyle/>
          <a:p>
            <a:pPr marL="118151" indent="-114300">
              <a:lnSpc>
                <a:spcPct val="90000"/>
              </a:lnSpc>
              <a:spcAft>
                <a:spcPts val="364"/>
              </a:spcAft>
              <a:buFont typeface="Arial" panose="020B0604020202020204" pitchFamily="34" charset="0"/>
              <a:buChar char="•"/>
            </a:pPr>
            <a:r>
              <a:rPr lang="fr-FR" sz="1200" b="1" spc="6" dirty="0">
                <a:latin typeface="Arial" panose="020B0604020202020204" pitchFamily="34" charset="0"/>
                <a:cs typeface="Arial" panose="020B0604020202020204" pitchFamily="34" charset="0"/>
              </a:rPr>
              <a:t>Optimisation </a:t>
            </a:r>
            <a:r>
              <a:rPr lang="fr-FR" sz="1200" spc="6" dirty="0">
                <a:latin typeface="Arial" panose="020B0604020202020204" pitchFamily="34" charset="0"/>
                <a:cs typeface="Arial" panose="020B0604020202020204" pitchFamily="34" charset="0"/>
              </a:rPr>
              <a:t>des surfaces liée au format hybride</a:t>
            </a:r>
          </a:p>
          <a:p>
            <a:pPr marL="118151" indent="-114300">
              <a:lnSpc>
                <a:spcPct val="90000"/>
              </a:lnSpc>
              <a:spcAft>
                <a:spcPts val="364"/>
              </a:spcAft>
              <a:buFont typeface="Arial" panose="020B0604020202020204" pitchFamily="34" charset="0"/>
              <a:buChar char="•"/>
            </a:pPr>
            <a:r>
              <a:rPr lang="fr-FR" sz="1200" b="1" spc="6" dirty="0">
                <a:latin typeface="Arial" panose="020B0604020202020204" pitchFamily="34" charset="0"/>
                <a:cs typeface="Arial" panose="020B0604020202020204" pitchFamily="34" charset="0"/>
              </a:rPr>
              <a:t>Importance de la qualité de vie au travail / image et culture de l’entreprise </a:t>
            </a:r>
          </a:p>
          <a:p>
            <a:pPr marL="118151" indent="-114300">
              <a:lnSpc>
                <a:spcPct val="90000"/>
              </a:lnSpc>
              <a:spcAft>
                <a:spcPts val="364"/>
              </a:spcAft>
              <a:buFont typeface="Arial" panose="020B0604020202020204" pitchFamily="34" charset="0"/>
              <a:buChar char="•"/>
            </a:pPr>
            <a:r>
              <a:rPr lang="fr-FR" sz="1200" b="1" spc="6" dirty="0">
                <a:latin typeface="Arial" panose="020B0604020202020204" pitchFamily="34" charset="0"/>
                <a:cs typeface="Arial" panose="020B0604020202020204" pitchFamily="34" charset="0"/>
              </a:rPr>
              <a:t>Recherche de flexibilité immobilière</a:t>
            </a:r>
          </a:p>
        </p:txBody>
      </p:sp>
      <p:sp>
        <p:nvSpPr>
          <p:cNvPr id="27" name="ZoneTexte 26">
            <a:extLst>
              <a:ext uri="{FF2B5EF4-FFF2-40B4-BE49-F238E27FC236}">
                <a16:creationId xmlns:a16="http://schemas.microsoft.com/office/drawing/2014/main" id="{6DDD8B4D-318E-C66E-F96F-403DB14C829B}"/>
              </a:ext>
            </a:extLst>
          </p:cNvPr>
          <p:cNvSpPr txBox="1"/>
          <p:nvPr/>
        </p:nvSpPr>
        <p:spPr>
          <a:xfrm>
            <a:off x="4584900" y="5009309"/>
            <a:ext cx="3979700" cy="584775"/>
          </a:xfrm>
          <a:prstGeom prst="rect">
            <a:avLst/>
          </a:prstGeom>
          <a:solidFill>
            <a:schemeClr val="tx1"/>
          </a:solidFill>
          <a:ln>
            <a:noFill/>
          </a:ln>
        </p:spPr>
        <p:txBody>
          <a:bodyPr wrap="square" rtlCol="0">
            <a:spAutoFit/>
          </a:bodyPr>
          <a:lstStyle/>
          <a:p>
            <a:r>
              <a:rPr lang="fr-FR" sz="1600" b="1" dirty="0">
                <a:solidFill>
                  <a:schemeClr val="bg1"/>
                </a:solidFill>
                <a:latin typeface="Arial" panose="020B0604020202020204" pitchFamily="34" charset="0"/>
                <a:cs typeface="Arial" panose="020B0604020202020204" pitchFamily="34" charset="0"/>
              </a:rPr>
              <a:t>Une demande profondément renouvelée </a:t>
            </a:r>
          </a:p>
        </p:txBody>
      </p:sp>
      <p:sp>
        <p:nvSpPr>
          <p:cNvPr id="36" name="ZoneTexte 35">
            <a:extLst>
              <a:ext uri="{FF2B5EF4-FFF2-40B4-BE49-F238E27FC236}">
                <a16:creationId xmlns:a16="http://schemas.microsoft.com/office/drawing/2014/main" id="{CCD596CC-E53F-1EFF-CC45-8756DF1491FE}"/>
              </a:ext>
            </a:extLst>
          </p:cNvPr>
          <p:cNvSpPr txBox="1"/>
          <p:nvPr/>
        </p:nvSpPr>
        <p:spPr>
          <a:xfrm>
            <a:off x="4587994" y="3772043"/>
            <a:ext cx="3612167" cy="828089"/>
          </a:xfrm>
          <a:prstGeom prst="rect">
            <a:avLst/>
          </a:prstGeom>
          <a:noFill/>
          <a:ln>
            <a:solidFill>
              <a:schemeClr val="tx1"/>
            </a:solidFill>
          </a:ln>
        </p:spPr>
        <p:txBody>
          <a:bodyPr wrap="square" lIns="90000" tIns="90000" rIns="90000" bIns="90000" rtlCol="0">
            <a:spAutoFit/>
          </a:bodyPr>
          <a:lstStyle/>
          <a:p>
            <a:r>
              <a:rPr lang="fr-FR" sz="1400" b="1" spc="6" dirty="0">
                <a:latin typeface="Arial" panose="020B0604020202020204" pitchFamily="34" charset="0"/>
                <a:cs typeface="Arial" panose="020B0604020202020204" pitchFamily="34" charset="0"/>
              </a:rPr>
              <a:t>DES UTILISATEURS QUI PLÉBISCITENT</a:t>
            </a:r>
            <a:br>
              <a:rPr lang="fr-FR" sz="1400" b="1" spc="6" dirty="0">
                <a:latin typeface="Arial" panose="020B0604020202020204" pitchFamily="34" charset="0"/>
                <a:cs typeface="Arial" panose="020B0604020202020204" pitchFamily="34" charset="0"/>
              </a:rPr>
            </a:br>
            <a:r>
              <a:rPr lang="fr-FR" sz="1400" b="1" spc="6" dirty="0">
                <a:latin typeface="Arial" panose="020B0604020202020204" pitchFamily="34" charset="0"/>
                <a:cs typeface="Arial" panose="020B0604020202020204" pitchFamily="34" charset="0"/>
              </a:rPr>
              <a:t>LE NEUF ET </a:t>
            </a:r>
            <a:r>
              <a:rPr lang="fr-FR" sz="1400" b="1" spc="6" dirty="0">
                <a:solidFill>
                  <a:srgbClr val="E4002B"/>
                </a:solidFill>
                <a:latin typeface="Arial" panose="020B0604020202020204" pitchFamily="34" charset="0"/>
                <a:cs typeface="Arial" panose="020B0604020202020204" pitchFamily="34" charset="0"/>
              </a:rPr>
              <a:t>RESTRUCTURENT 50 % DES M²</a:t>
            </a:r>
            <a:endParaRPr lang="fr-FR" sz="1600" b="1" dirty="0">
              <a:solidFill>
                <a:srgbClr val="E4002B"/>
              </a:solidFill>
            </a:endParaRPr>
          </a:p>
        </p:txBody>
      </p:sp>
      <p:sp>
        <p:nvSpPr>
          <p:cNvPr id="43" name="Flèche : chevron 19">
            <a:extLst>
              <a:ext uri="{FF2B5EF4-FFF2-40B4-BE49-F238E27FC236}">
                <a16:creationId xmlns:a16="http://schemas.microsoft.com/office/drawing/2014/main" id="{55490EBF-F352-E181-DC37-E5E3F990707D}"/>
              </a:ext>
            </a:extLst>
          </p:cNvPr>
          <p:cNvSpPr/>
          <p:nvPr/>
        </p:nvSpPr>
        <p:spPr>
          <a:xfrm rot="16200000">
            <a:off x="4683126" y="4585317"/>
            <a:ext cx="208627" cy="405080"/>
          </a:xfrm>
          <a:prstGeom prst="chevron">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25718" tIns="12859" rIns="25718" bIns="12859" numCol="1" spcCol="0" rtlCol="0" fromWordArt="0" anchor="ctr" anchorCtr="0" forceAA="0" compatLnSpc="1">
            <a:prstTxWarp prst="textNoShape">
              <a:avLst/>
            </a:prstTxWarp>
            <a:noAutofit/>
          </a:bodyPr>
          <a:lstStyle/>
          <a:p>
            <a:pPr algn="ctr"/>
            <a:endParaRPr lang="fr-FR" sz="675" dirty="0">
              <a:solidFill>
                <a:schemeClr val="tx1"/>
              </a:solidFill>
              <a:latin typeface="Arial Black" panose="020B0A04020102020204" pitchFamily="34" charset="0"/>
            </a:endParaRPr>
          </a:p>
        </p:txBody>
      </p:sp>
      <p:pic>
        <p:nvPicPr>
          <p:cNvPr id="48" name="Graphique 47">
            <a:extLst>
              <a:ext uri="{FF2B5EF4-FFF2-40B4-BE49-F238E27FC236}">
                <a16:creationId xmlns:a16="http://schemas.microsoft.com/office/drawing/2014/main" id="{E09963CC-966D-A804-06ED-E4FB183CF633}"/>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rot="16200000">
            <a:off x="11252913" y="5918020"/>
            <a:ext cx="1392175" cy="487782"/>
          </a:xfrm>
          <a:prstGeom prst="rect">
            <a:avLst/>
          </a:prstGeom>
        </p:spPr>
      </p:pic>
      <p:grpSp>
        <p:nvGrpSpPr>
          <p:cNvPr id="4" name="Graphique 2">
            <a:extLst>
              <a:ext uri="{FF2B5EF4-FFF2-40B4-BE49-F238E27FC236}">
                <a16:creationId xmlns:a16="http://schemas.microsoft.com/office/drawing/2014/main" id="{C0596FD9-AD89-FCA8-C5B1-EC15E07E6845}"/>
              </a:ext>
            </a:extLst>
          </p:cNvPr>
          <p:cNvGrpSpPr/>
          <p:nvPr/>
        </p:nvGrpSpPr>
        <p:grpSpPr>
          <a:xfrm>
            <a:off x="3235277" y="2686270"/>
            <a:ext cx="632787" cy="604924"/>
            <a:chOff x="6423973" y="4017076"/>
            <a:chExt cx="1664128" cy="1590853"/>
          </a:xfrm>
          <a:solidFill>
            <a:schemeClr val="tx1"/>
          </a:solidFill>
        </p:grpSpPr>
        <p:sp>
          <p:nvSpPr>
            <p:cNvPr id="5" name="Forme libre : forme 4">
              <a:extLst>
                <a:ext uri="{FF2B5EF4-FFF2-40B4-BE49-F238E27FC236}">
                  <a16:creationId xmlns:a16="http://schemas.microsoft.com/office/drawing/2014/main" id="{55C69920-F57E-C4BB-8CE8-AEDB91CCA269}"/>
                </a:ext>
              </a:extLst>
            </p:cNvPr>
            <p:cNvSpPr/>
            <p:nvPr/>
          </p:nvSpPr>
          <p:spPr>
            <a:xfrm>
              <a:off x="6423973" y="4017076"/>
              <a:ext cx="1664128" cy="1590853"/>
            </a:xfrm>
            <a:custGeom>
              <a:avLst/>
              <a:gdLst>
                <a:gd name="connsiteX0" fmla="*/ 1637644 w 1664128"/>
                <a:gd name="connsiteY0" fmla="*/ 1537884 h 1590853"/>
                <a:gd name="connsiteX1" fmla="*/ 1551127 w 1664128"/>
                <a:gd name="connsiteY1" fmla="*/ 1537884 h 1590853"/>
                <a:gd name="connsiteX2" fmla="*/ 1551127 w 1664128"/>
                <a:gd name="connsiteY2" fmla="*/ 423168 h 1590853"/>
                <a:gd name="connsiteX3" fmla="*/ 1524642 w 1664128"/>
                <a:gd name="connsiteY3" fmla="*/ 396683 h 1590853"/>
                <a:gd name="connsiteX4" fmla="*/ 1248906 w 1664128"/>
                <a:gd name="connsiteY4" fmla="*/ 396683 h 1590853"/>
                <a:gd name="connsiteX5" fmla="*/ 1248906 w 1664128"/>
                <a:gd name="connsiteY5" fmla="*/ 26485 h 1590853"/>
                <a:gd name="connsiteX6" fmla="*/ 1222421 w 1664128"/>
                <a:gd name="connsiteY6" fmla="*/ 0 h 1590853"/>
                <a:gd name="connsiteX7" fmla="*/ 441413 w 1664128"/>
                <a:gd name="connsiteY7" fmla="*/ 0 h 1590853"/>
                <a:gd name="connsiteX8" fmla="*/ 414929 w 1664128"/>
                <a:gd name="connsiteY8" fmla="*/ 26485 h 1590853"/>
                <a:gd name="connsiteX9" fmla="*/ 414929 w 1664128"/>
                <a:gd name="connsiteY9" fmla="*/ 396683 h 1590853"/>
                <a:gd name="connsiteX10" fmla="*/ 139487 w 1664128"/>
                <a:gd name="connsiteY10" fmla="*/ 396683 h 1590853"/>
                <a:gd name="connsiteX11" fmla="*/ 113002 w 1664128"/>
                <a:gd name="connsiteY11" fmla="*/ 423168 h 1590853"/>
                <a:gd name="connsiteX12" fmla="*/ 113002 w 1664128"/>
                <a:gd name="connsiteY12" fmla="*/ 1537884 h 1590853"/>
                <a:gd name="connsiteX13" fmla="*/ 26485 w 1664128"/>
                <a:gd name="connsiteY13" fmla="*/ 1537884 h 1590853"/>
                <a:gd name="connsiteX14" fmla="*/ 0 w 1664128"/>
                <a:gd name="connsiteY14" fmla="*/ 1564369 h 1590853"/>
                <a:gd name="connsiteX15" fmla="*/ 26485 w 1664128"/>
                <a:gd name="connsiteY15" fmla="*/ 1590854 h 1590853"/>
                <a:gd name="connsiteX16" fmla="*/ 441413 w 1664128"/>
                <a:gd name="connsiteY16" fmla="*/ 1590854 h 1590853"/>
                <a:gd name="connsiteX17" fmla="*/ 728332 w 1664128"/>
                <a:gd name="connsiteY17" fmla="*/ 1590854 h 1590853"/>
                <a:gd name="connsiteX18" fmla="*/ 935796 w 1664128"/>
                <a:gd name="connsiteY18" fmla="*/ 1590854 h 1590853"/>
                <a:gd name="connsiteX19" fmla="*/ 1222715 w 1664128"/>
                <a:gd name="connsiteY19" fmla="*/ 1590854 h 1590853"/>
                <a:gd name="connsiteX20" fmla="*/ 1637644 w 1664128"/>
                <a:gd name="connsiteY20" fmla="*/ 1590854 h 1590853"/>
                <a:gd name="connsiteX21" fmla="*/ 1664129 w 1664128"/>
                <a:gd name="connsiteY21" fmla="*/ 1564369 h 1590853"/>
                <a:gd name="connsiteX22" fmla="*/ 1637644 w 1664128"/>
                <a:gd name="connsiteY22" fmla="*/ 1537884 h 1590853"/>
                <a:gd name="connsiteX23" fmla="*/ 909312 w 1664128"/>
                <a:gd name="connsiteY23" fmla="*/ 1537884 h 1590853"/>
                <a:gd name="connsiteX24" fmla="*/ 754817 w 1664128"/>
                <a:gd name="connsiteY24" fmla="*/ 1537884 h 1590853"/>
                <a:gd name="connsiteX25" fmla="*/ 754817 w 1664128"/>
                <a:gd name="connsiteY25" fmla="*/ 1293930 h 1590853"/>
                <a:gd name="connsiteX26" fmla="*/ 909312 w 1664128"/>
                <a:gd name="connsiteY26" fmla="*/ 1293930 h 1590853"/>
                <a:gd name="connsiteX27" fmla="*/ 909312 w 1664128"/>
                <a:gd name="connsiteY27" fmla="*/ 1537884 h 1590853"/>
                <a:gd name="connsiteX28" fmla="*/ 1498451 w 1664128"/>
                <a:gd name="connsiteY28" fmla="*/ 449653 h 1590853"/>
                <a:gd name="connsiteX29" fmla="*/ 1498451 w 1664128"/>
                <a:gd name="connsiteY29" fmla="*/ 1537884 h 1590853"/>
                <a:gd name="connsiteX30" fmla="*/ 1249494 w 1664128"/>
                <a:gd name="connsiteY30" fmla="*/ 1537884 h 1590853"/>
                <a:gd name="connsiteX31" fmla="*/ 1249494 w 1664128"/>
                <a:gd name="connsiteY31" fmla="*/ 449653 h 1590853"/>
                <a:gd name="connsiteX32" fmla="*/ 1498451 w 1664128"/>
                <a:gd name="connsiteY32" fmla="*/ 449653 h 1590853"/>
                <a:gd name="connsiteX33" fmla="*/ 1196230 w 1664128"/>
                <a:gd name="connsiteY33" fmla="*/ 52970 h 1590853"/>
                <a:gd name="connsiteX34" fmla="*/ 1196230 w 1664128"/>
                <a:gd name="connsiteY34" fmla="*/ 1537884 h 1590853"/>
                <a:gd name="connsiteX35" fmla="*/ 962281 w 1664128"/>
                <a:gd name="connsiteY35" fmla="*/ 1537884 h 1590853"/>
                <a:gd name="connsiteX36" fmla="*/ 962281 w 1664128"/>
                <a:gd name="connsiteY36" fmla="*/ 1267445 h 1590853"/>
                <a:gd name="connsiteX37" fmla="*/ 935796 w 1664128"/>
                <a:gd name="connsiteY37" fmla="*/ 1240960 h 1590853"/>
                <a:gd name="connsiteX38" fmla="*/ 728332 w 1664128"/>
                <a:gd name="connsiteY38" fmla="*/ 1240960 h 1590853"/>
                <a:gd name="connsiteX39" fmla="*/ 701847 w 1664128"/>
                <a:gd name="connsiteY39" fmla="*/ 1267445 h 1590853"/>
                <a:gd name="connsiteX40" fmla="*/ 701847 w 1664128"/>
                <a:gd name="connsiteY40" fmla="*/ 1537884 h 1590853"/>
                <a:gd name="connsiteX41" fmla="*/ 467898 w 1664128"/>
                <a:gd name="connsiteY41" fmla="*/ 1537884 h 1590853"/>
                <a:gd name="connsiteX42" fmla="*/ 467898 w 1664128"/>
                <a:gd name="connsiteY42" fmla="*/ 52970 h 1590853"/>
                <a:gd name="connsiteX43" fmla="*/ 1196230 w 1664128"/>
                <a:gd name="connsiteY43" fmla="*/ 52970 h 1590853"/>
                <a:gd name="connsiteX44" fmla="*/ 165971 w 1664128"/>
                <a:gd name="connsiteY44" fmla="*/ 449653 h 1590853"/>
                <a:gd name="connsiteX45" fmla="*/ 414929 w 1664128"/>
                <a:gd name="connsiteY45" fmla="*/ 449653 h 1590853"/>
                <a:gd name="connsiteX46" fmla="*/ 414929 w 1664128"/>
                <a:gd name="connsiteY46" fmla="*/ 1537884 h 1590853"/>
                <a:gd name="connsiteX47" fmla="*/ 165971 w 1664128"/>
                <a:gd name="connsiteY47" fmla="*/ 1537884 h 1590853"/>
                <a:gd name="connsiteX48" fmla="*/ 165971 w 1664128"/>
                <a:gd name="connsiteY48" fmla="*/ 449653 h 1590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664128" h="1590853">
                  <a:moveTo>
                    <a:pt x="1637644" y="1537884"/>
                  </a:moveTo>
                  <a:lnTo>
                    <a:pt x="1551127" y="1537884"/>
                  </a:lnTo>
                  <a:lnTo>
                    <a:pt x="1551127" y="423168"/>
                  </a:lnTo>
                  <a:cubicBezTo>
                    <a:pt x="1551127" y="408454"/>
                    <a:pt x="1539356" y="396683"/>
                    <a:pt x="1524642" y="396683"/>
                  </a:cubicBezTo>
                  <a:lnTo>
                    <a:pt x="1248906" y="396683"/>
                  </a:lnTo>
                  <a:lnTo>
                    <a:pt x="1248906" y="26485"/>
                  </a:lnTo>
                  <a:cubicBezTo>
                    <a:pt x="1248906" y="11771"/>
                    <a:pt x="1237135" y="0"/>
                    <a:pt x="1222421" y="0"/>
                  </a:cubicBezTo>
                  <a:lnTo>
                    <a:pt x="441413" y="0"/>
                  </a:lnTo>
                  <a:cubicBezTo>
                    <a:pt x="426700" y="0"/>
                    <a:pt x="414929" y="11771"/>
                    <a:pt x="414929" y="26485"/>
                  </a:cubicBezTo>
                  <a:lnTo>
                    <a:pt x="414929" y="396683"/>
                  </a:lnTo>
                  <a:lnTo>
                    <a:pt x="139487" y="396683"/>
                  </a:lnTo>
                  <a:cubicBezTo>
                    <a:pt x="124773" y="396683"/>
                    <a:pt x="113002" y="408454"/>
                    <a:pt x="113002" y="423168"/>
                  </a:cubicBezTo>
                  <a:lnTo>
                    <a:pt x="113002" y="1537884"/>
                  </a:lnTo>
                  <a:lnTo>
                    <a:pt x="26485" y="1537884"/>
                  </a:lnTo>
                  <a:cubicBezTo>
                    <a:pt x="11771" y="1537884"/>
                    <a:pt x="0" y="1549655"/>
                    <a:pt x="0" y="1564369"/>
                  </a:cubicBezTo>
                  <a:cubicBezTo>
                    <a:pt x="0" y="1579083"/>
                    <a:pt x="11771" y="1590854"/>
                    <a:pt x="26485" y="1590854"/>
                  </a:cubicBezTo>
                  <a:lnTo>
                    <a:pt x="441413" y="1590854"/>
                  </a:lnTo>
                  <a:lnTo>
                    <a:pt x="728332" y="1590854"/>
                  </a:lnTo>
                  <a:lnTo>
                    <a:pt x="935796" y="1590854"/>
                  </a:lnTo>
                  <a:lnTo>
                    <a:pt x="1222715" y="1590854"/>
                  </a:lnTo>
                  <a:lnTo>
                    <a:pt x="1637644" y="1590854"/>
                  </a:lnTo>
                  <a:cubicBezTo>
                    <a:pt x="1652358" y="1590854"/>
                    <a:pt x="1664129" y="1579083"/>
                    <a:pt x="1664129" y="1564369"/>
                  </a:cubicBezTo>
                  <a:cubicBezTo>
                    <a:pt x="1664129" y="1549949"/>
                    <a:pt x="1652358" y="1537884"/>
                    <a:pt x="1637644" y="1537884"/>
                  </a:cubicBezTo>
                  <a:close/>
                  <a:moveTo>
                    <a:pt x="909312" y="1537884"/>
                  </a:moveTo>
                  <a:lnTo>
                    <a:pt x="754817" y="1537884"/>
                  </a:lnTo>
                  <a:lnTo>
                    <a:pt x="754817" y="1293930"/>
                  </a:lnTo>
                  <a:lnTo>
                    <a:pt x="909312" y="1293930"/>
                  </a:lnTo>
                  <a:lnTo>
                    <a:pt x="909312" y="1537884"/>
                  </a:lnTo>
                  <a:close/>
                  <a:moveTo>
                    <a:pt x="1498451" y="449653"/>
                  </a:moveTo>
                  <a:lnTo>
                    <a:pt x="1498451" y="1537884"/>
                  </a:lnTo>
                  <a:lnTo>
                    <a:pt x="1249494" y="1537884"/>
                  </a:lnTo>
                  <a:lnTo>
                    <a:pt x="1249494" y="449653"/>
                  </a:lnTo>
                  <a:lnTo>
                    <a:pt x="1498451" y="449653"/>
                  </a:lnTo>
                  <a:close/>
                  <a:moveTo>
                    <a:pt x="1196230" y="52970"/>
                  </a:moveTo>
                  <a:lnTo>
                    <a:pt x="1196230" y="1537884"/>
                  </a:lnTo>
                  <a:lnTo>
                    <a:pt x="962281" y="1537884"/>
                  </a:lnTo>
                  <a:lnTo>
                    <a:pt x="962281" y="1267445"/>
                  </a:lnTo>
                  <a:cubicBezTo>
                    <a:pt x="962281" y="1252731"/>
                    <a:pt x="950510" y="1240960"/>
                    <a:pt x="935796" y="1240960"/>
                  </a:cubicBezTo>
                  <a:lnTo>
                    <a:pt x="728332" y="1240960"/>
                  </a:lnTo>
                  <a:cubicBezTo>
                    <a:pt x="713618" y="1240960"/>
                    <a:pt x="701847" y="1252731"/>
                    <a:pt x="701847" y="1267445"/>
                  </a:cubicBezTo>
                  <a:lnTo>
                    <a:pt x="701847" y="1537884"/>
                  </a:lnTo>
                  <a:lnTo>
                    <a:pt x="467898" y="1537884"/>
                  </a:lnTo>
                  <a:lnTo>
                    <a:pt x="467898" y="52970"/>
                  </a:lnTo>
                  <a:lnTo>
                    <a:pt x="1196230" y="52970"/>
                  </a:lnTo>
                  <a:close/>
                  <a:moveTo>
                    <a:pt x="165971" y="449653"/>
                  </a:moveTo>
                  <a:lnTo>
                    <a:pt x="414929" y="449653"/>
                  </a:lnTo>
                  <a:lnTo>
                    <a:pt x="414929" y="1537884"/>
                  </a:lnTo>
                  <a:lnTo>
                    <a:pt x="165971" y="1537884"/>
                  </a:lnTo>
                  <a:lnTo>
                    <a:pt x="165971" y="449653"/>
                  </a:lnTo>
                  <a:close/>
                </a:path>
              </a:pathLst>
            </a:custGeom>
            <a:grpFill/>
            <a:ln w="29411" cap="flat">
              <a:noFill/>
              <a:prstDash val="solid"/>
              <a:miter/>
            </a:ln>
          </p:spPr>
          <p:txBody>
            <a:bodyPr rtlCol="0" anchor="ctr"/>
            <a:lstStyle/>
            <a:p>
              <a:endParaRPr lang="fr-FR" sz="900"/>
            </a:p>
          </p:txBody>
        </p:sp>
        <p:sp>
          <p:nvSpPr>
            <p:cNvPr id="6" name="Forme libre : forme 5">
              <a:extLst>
                <a:ext uri="{FF2B5EF4-FFF2-40B4-BE49-F238E27FC236}">
                  <a16:creationId xmlns:a16="http://schemas.microsoft.com/office/drawing/2014/main" id="{114D6088-1410-FE52-EA50-2A120BB46FC5}"/>
                </a:ext>
              </a:extLst>
            </p:cNvPr>
            <p:cNvSpPr/>
            <p:nvPr/>
          </p:nvSpPr>
          <p:spPr>
            <a:xfrm>
              <a:off x="6964851" y="4149205"/>
              <a:ext cx="583842" cy="52969"/>
            </a:xfrm>
            <a:custGeom>
              <a:avLst/>
              <a:gdLst>
                <a:gd name="connsiteX0" fmla="*/ 26485 w 583842"/>
                <a:gd name="connsiteY0" fmla="*/ 52970 h 52969"/>
                <a:gd name="connsiteX1" fmla="*/ 557358 w 583842"/>
                <a:gd name="connsiteY1" fmla="*/ 52970 h 52969"/>
                <a:gd name="connsiteX2" fmla="*/ 583843 w 583842"/>
                <a:gd name="connsiteY2" fmla="*/ 26485 h 52969"/>
                <a:gd name="connsiteX3" fmla="*/ 557358 w 583842"/>
                <a:gd name="connsiteY3" fmla="*/ 0 h 52969"/>
                <a:gd name="connsiteX4" fmla="*/ 26485 w 583842"/>
                <a:gd name="connsiteY4" fmla="*/ 0 h 52969"/>
                <a:gd name="connsiteX5" fmla="*/ 0 w 583842"/>
                <a:gd name="connsiteY5" fmla="*/ 26485 h 52969"/>
                <a:gd name="connsiteX6" fmla="*/ 26485 w 583842"/>
                <a:gd name="connsiteY6" fmla="*/ 52970 h 52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3842" h="52969">
                  <a:moveTo>
                    <a:pt x="26485" y="52970"/>
                  </a:moveTo>
                  <a:lnTo>
                    <a:pt x="557358" y="52970"/>
                  </a:lnTo>
                  <a:cubicBezTo>
                    <a:pt x="572072" y="52970"/>
                    <a:pt x="583843" y="41199"/>
                    <a:pt x="583843" y="26485"/>
                  </a:cubicBezTo>
                  <a:cubicBezTo>
                    <a:pt x="583843" y="11771"/>
                    <a:pt x="572072" y="0"/>
                    <a:pt x="557358" y="0"/>
                  </a:cubicBezTo>
                  <a:lnTo>
                    <a:pt x="26485" y="0"/>
                  </a:lnTo>
                  <a:cubicBezTo>
                    <a:pt x="11771" y="0"/>
                    <a:pt x="0" y="11771"/>
                    <a:pt x="0" y="26485"/>
                  </a:cubicBezTo>
                  <a:cubicBezTo>
                    <a:pt x="0" y="41199"/>
                    <a:pt x="11771" y="52970"/>
                    <a:pt x="26485" y="52970"/>
                  </a:cubicBezTo>
                  <a:close/>
                </a:path>
              </a:pathLst>
            </a:custGeom>
            <a:grpFill/>
            <a:ln w="29411" cap="flat">
              <a:noFill/>
              <a:prstDash val="solid"/>
              <a:miter/>
            </a:ln>
          </p:spPr>
          <p:txBody>
            <a:bodyPr rtlCol="0" anchor="ctr"/>
            <a:lstStyle/>
            <a:p>
              <a:endParaRPr lang="fr-FR" sz="900"/>
            </a:p>
          </p:txBody>
        </p:sp>
        <p:sp>
          <p:nvSpPr>
            <p:cNvPr id="7" name="Forme libre : forme 6">
              <a:extLst>
                <a:ext uri="{FF2B5EF4-FFF2-40B4-BE49-F238E27FC236}">
                  <a16:creationId xmlns:a16="http://schemas.microsoft.com/office/drawing/2014/main" id="{35B91FF9-BD11-D819-CBA9-59005FD9B040}"/>
                </a:ext>
              </a:extLst>
            </p:cNvPr>
            <p:cNvSpPr/>
            <p:nvPr/>
          </p:nvSpPr>
          <p:spPr>
            <a:xfrm>
              <a:off x="6964257" y="4311057"/>
              <a:ext cx="583848" cy="52969"/>
            </a:xfrm>
            <a:custGeom>
              <a:avLst/>
              <a:gdLst>
                <a:gd name="connsiteX0" fmla="*/ 26490 w 583848"/>
                <a:gd name="connsiteY0" fmla="*/ 52970 h 52969"/>
                <a:gd name="connsiteX1" fmla="*/ 557363 w 583848"/>
                <a:gd name="connsiteY1" fmla="*/ 52970 h 52969"/>
                <a:gd name="connsiteX2" fmla="*/ 583848 w 583848"/>
                <a:gd name="connsiteY2" fmla="*/ 26485 h 52969"/>
                <a:gd name="connsiteX3" fmla="*/ 557363 w 583848"/>
                <a:gd name="connsiteY3" fmla="*/ 0 h 52969"/>
                <a:gd name="connsiteX4" fmla="*/ 26490 w 583848"/>
                <a:gd name="connsiteY4" fmla="*/ 0 h 52969"/>
                <a:gd name="connsiteX5" fmla="*/ 5 w 583848"/>
                <a:gd name="connsiteY5" fmla="*/ 26485 h 52969"/>
                <a:gd name="connsiteX6" fmla="*/ 26490 w 583848"/>
                <a:gd name="connsiteY6" fmla="*/ 52970 h 52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3848" h="52969">
                  <a:moveTo>
                    <a:pt x="26490" y="52970"/>
                  </a:moveTo>
                  <a:lnTo>
                    <a:pt x="557363" y="52970"/>
                  </a:lnTo>
                  <a:cubicBezTo>
                    <a:pt x="572077" y="52970"/>
                    <a:pt x="583848" y="41199"/>
                    <a:pt x="583848" y="26485"/>
                  </a:cubicBezTo>
                  <a:cubicBezTo>
                    <a:pt x="583848" y="11771"/>
                    <a:pt x="572077" y="0"/>
                    <a:pt x="557363" y="0"/>
                  </a:cubicBezTo>
                  <a:lnTo>
                    <a:pt x="26490" y="0"/>
                  </a:lnTo>
                  <a:cubicBezTo>
                    <a:pt x="11776" y="0"/>
                    <a:pt x="5" y="11771"/>
                    <a:pt x="5" y="26485"/>
                  </a:cubicBezTo>
                  <a:cubicBezTo>
                    <a:pt x="-289" y="41199"/>
                    <a:pt x="11776" y="52970"/>
                    <a:pt x="26490" y="52970"/>
                  </a:cubicBezTo>
                  <a:close/>
                </a:path>
              </a:pathLst>
            </a:custGeom>
            <a:grpFill/>
            <a:ln w="29411" cap="flat">
              <a:noFill/>
              <a:prstDash val="solid"/>
              <a:miter/>
            </a:ln>
          </p:spPr>
          <p:txBody>
            <a:bodyPr rtlCol="0" anchor="ctr"/>
            <a:lstStyle/>
            <a:p>
              <a:endParaRPr lang="fr-FR" sz="900"/>
            </a:p>
          </p:txBody>
        </p:sp>
        <p:sp>
          <p:nvSpPr>
            <p:cNvPr id="8" name="Forme libre : forme 7">
              <a:extLst>
                <a:ext uri="{FF2B5EF4-FFF2-40B4-BE49-F238E27FC236}">
                  <a16:creationId xmlns:a16="http://schemas.microsoft.com/office/drawing/2014/main" id="{0FC75C09-5053-AB1A-B3E8-23AE60F8DB34}"/>
                </a:ext>
              </a:extLst>
            </p:cNvPr>
            <p:cNvSpPr/>
            <p:nvPr/>
          </p:nvSpPr>
          <p:spPr>
            <a:xfrm>
              <a:off x="6964257" y="4472908"/>
              <a:ext cx="583848" cy="52969"/>
            </a:xfrm>
            <a:custGeom>
              <a:avLst/>
              <a:gdLst>
                <a:gd name="connsiteX0" fmla="*/ 26490 w 583848"/>
                <a:gd name="connsiteY0" fmla="*/ 52970 h 52969"/>
                <a:gd name="connsiteX1" fmla="*/ 557363 w 583848"/>
                <a:gd name="connsiteY1" fmla="*/ 52970 h 52969"/>
                <a:gd name="connsiteX2" fmla="*/ 583848 w 583848"/>
                <a:gd name="connsiteY2" fmla="*/ 26485 h 52969"/>
                <a:gd name="connsiteX3" fmla="*/ 557363 w 583848"/>
                <a:gd name="connsiteY3" fmla="*/ 0 h 52969"/>
                <a:gd name="connsiteX4" fmla="*/ 26490 w 583848"/>
                <a:gd name="connsiteY4" fmla="*/ 0 h 52969"/>
                <a:gd name="connsiteX5" fmla="*/ 5 w 583848"/>
                <a:gd name="connsiteY5" fmla="*/ 26485 h 52969"/>
                <a:gd name="connsiteX6" fmla="*/ 26490 w 583848"/>
                <a:gd name="connsiteY6" fmla="*/ 52970 h 52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3848" h="52969">
                  <a:moveTo>
                    <a:pt x="26490" y="52970"/>
                  </a:moveTo>
                  <a:lnTo>
                    <a:pt x="557363" y="52970"/>
                  </a:lnTo>
                  <a:cubicBezTo>
                    <a:pt x="572077" y="52970"/>
                    <a:pt x="583848" y="41199"/>
                    <a:pt x="583848" y="26485"/>
                  </a:cubicBezTo>
                  <a:cubicBezTo>
                    <a:pt x="583848" y="11771"/>
                    <a:pt x="572077" y="0"/>
                    <a:pt x="557363" y="0"/>
                  </a:cubicBezTo>
                  <a:lnTo>
                    <a:pt x="26490" y="0"/>
                  </a:lnTo>
                  <a:cubicBezTo>
                    <a:pt x="11776" y="0"/>
                    <a:pt x="5" y="11771"/>
                    <a:pt x="5" y="26485"/>
                  </a:cubicBezTo>
                  <a:cubicBezTo>
                    <a:pt x="-289" y="40904"/>
                    <a:pt x="11776" y="52970"/>
                    <a:pt x="26490" y="52970"/>
                  </a:cubicBezTo>
                  <a:close/>
                </a:path>
              </a:pathLst>
            </a:custGeom>
            <a:grpFill/>
            <a:ln w="29411" cap="flat">
              <a:noFill/>
              <a:prstDash val="solid"/>
              <a:miter/>
            </a:ln>
          </p:spPr>
          <p:txBody>
            <a:bodyPr rtlCol="0" anchor="ctr"/>
            <a:lstStyle/>
            <a:p>
              <a:endParaRPr lang="fr-FR" sz="900"/>
            </a:p>
          </p:txBody>
        </p:sp>
        <p:sp>
          <p:nvSpPr>
            <p:cNvPr id="11" name="Forme libre : forme 10">
              <a:extLst>
                <a:ext uri="{FF2B5EF4-FFF2-40B4-BE49-F238E27FC236}">
                  <a16:creationId xmlns:a16="http://schemas.microsoft.com/office/drawing/2014/main" id="{AEA46B7B-99E5-4F36-27CF-4C7CD6789A29}"/>
                </a:ext>
              </a:extLst>
            </p:cNvPr>
            <p:cNvSpPr/>
            <p:nvPr/>
          </p:nvSpPr>
          <p:spPr>
            <a:xfrm>
              <a:off x="6964257" y="4634466"/>
              <a:ext cx="583848" cy="52969"/>
            </a:xfrm>
            <a:custGeom>
              <a:avLst/>
              <a:gdLst>
                <a:gd name="connsiteX0" fmla="*/ 26490 w 583848"/>
                <a:gd name="connsiteY0" fmla="*/ 52970 h 52969"/>
                <a:gd name="connsiteX1" fmla="*/ 557363 w 583848"/>
                <a:gd name="connsiteY1" fmla="*/ 52970 h 52969"/>
                <a:gd name="connsiteX2" fmla="*/ 583848 w 583848"/>
                <a:gd name="connsiteY2" fmla="*/ 26485 h 52969"/>
                <a:gd name="connsiteX3" fmla="*/ 557363 w 583848"/>
                <a:gd name="connsiteY3" fmla="*/ 0 h 52969"/>
                <a:gd name="connsiteX4" fmla="*/ 26490 w 583848"/>
                <a:gd name="connsiteY4" fmla="*/ 0 h 52969"/>
                <a:gd name="connsiteX5" fmla="*/ 5 w 583848"/>
                <a:gd name="connsiteY5" fmla="*/ 26485 h 52969"/>
                <a:gd name="connsiteX6" fmla="*/ 26490 w 583848"/>
                <a:gd name="connsiteY6" fmla="*/ 52970 h 52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3848" h="52969">
                  <a:moveTo>
                    <a:pt x="26490" y="52970"/>
                  </a:moveTo>
                  <a:lnTo>
                    <a:pt x="557363" y="52970"/>
                  </a:lnTo>
                  <a:cubicBezTo>
                    <a:pt x="572077" y="52970"/>
                    <a:pt x="583848" y="41199"/>
                    <a:pt x="583848" y="26485"/>
                  </a:cubicBezTo>
                  <a:cubicBezTo>
                    <a:pt x="583848" y="11771"/>
                    <a:pt x="572077" y="0"/>
                    <a:pt x="557363" y="0"/>
                  </a:cubicBezTo>
                  <a:lnTo>
                    <a:pt x="26490" y="0"/>
                  </a:lnTo>
                  <a:cubicBezTo>
                    <a:pt x="11776" y="0"/>
                    <a:pt x="5" y="11771"/>
                    <a:pt x="5" y="26485"/>
                  </a:cubicBezTo>
                  <a:cubicBezTo>
                    <a:pt x="-289" y="41199"/>
                    <a:pt x="11776" y="52970"/>
                    <a:pt x="26490" y="52970"/>
                  </a:cubicBezTo>
                  <a:close/>
                </a:path>
              </a:pathLst>
            </a:custGeom>
            <a:grpFill/>
            <a:ln w="29411" cap="flat">
              <a:noFill/>
              <a:prstDash val="solid"/>
              <a:miter/>
            </a:ln>
          </p:spPr>
          <p:txBody>
            <a:bodyPr rtlCol="0" anchor="ctr"/>
            <a:lstStyle/>
            <a:p>
              <a:endParaRPr lang="fr-FR" sz="900"/>
            </a:p>
          </p:txBody>
        </p:sp>
        <p:sp>
          <p:nvSpPr>
            <p:cNvPr id="14" name="Forme libre : forme 13">
              <a:extLst>
                <a:ext uri="{FF2B5EF4-FFF2-40B4-BE49-F238E27FC236}">
                  <a16:creationId xmlns:a16="http://schemas.microsoft.com/office/drawing/2014/main" id="{728FE788-E335-C8BF-E3DC-F2527CF7D413}"/>
                </a:ext>
              </a:extLst>
            </p:cNvPr>
            <p:cNvSpPr/>
            <p:nvPr/>
          </p:nvSpPr>
          <p:spPr>
            <a:xfrm>
              <a:off x="6964257" y="4796317"/>
              <a:ext cx="583848" cy="52969"/>
            </a:xfrm>
            <a:custGeom>
              <a:avLst/>
              <a:gdLst>
                <a:gd name="connsiteX0" fmla="*/ 26490 w 583848"/>
                <a:gd name="connsiteY0" fmla="*/ 52970 h 52969"/>
                <a:gd name="connsiteX1" fmla="*/ 557363 w 583848"/>
                <a:gd name="connsiteY1" fmla="*/ 52970 h 52969"/>
                <a:gd name="connsiteX2" fmla="*/ 583848 w 583848"/>
                <a:gd name="connsiteY2" fmla="*/ 26485 h 52969"/>
                <a:gd name="connsiteX3" fmla="*/ 557363 w 583848"/>
                <a:gd name="connsiteY3" fmla="*/ 0 h 52969"/>
                <a:gd name="connsiteX4" fmla="*/ 26490 w 583848"/>
                <a:gd name="connsiteY4" fmla="*/ 0 h 52969"/>
                <a:gd name="connsiteX5" fmla="*/ 5 w 583848"/>
                <a:gd name="connsiteY5" fmla="*/ 26485 h 52969"/>
                <a:gd name="connsiteX6" fmla="*/ 26490 w 583848"/>
                <a:gd name="connsiteY6" fmla="*/ 52970 h 52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3848" h="52969">
                  <a:moveTo>
                    <a:pt x="26490" y="52970"/>
                  </a:moveTo>
                  <a:lnTo>
                    <a:pt x="557363" y="52970"/>
                  </a:lnTo>
                  <a:cubicBezTo>
                    <a:pt x="572077" y="52970"/>
                    <a:pt x="583848" y="41199"/>
                    <a:pt x="583848" y="26485"/>
                  </a:cubicBezTo>
                  <a:cubicBezTo>
                    <a:pt x="583848" y="11771"/>
                    <a:pt x="572077" y="0"/>
                    <a:pt x="557363" y="0"/>
                  </a:cubicBezTo>
                  <a:lnTo>
                    <a:pt x="26490" y="0"/>
                  </a:lnTo>
                  <a:cubicBezTo>
                    <a:pt x="11776" y="0"/>
                    <a:pt x="5" y="11771"/>
                    <a:pt x="5" y="26485"/>
                  </a:cubicBezTo>
                  <a:cubicBezTo>
                    <a:pt x="-289" y="41199"/>
                    <a:pt x="11776" y="52970"/>
                    <a:pt x="26490" y="52970"/>
                  </a:cubicBezTo>
                  <a:close/>
                </a:path>
              </a:pathLst>
            </a:custGeom>
            <a:grpFill/>
            <a:ln w="29411" cap="flat">
              <a:noFill/>
              <a:prstDash val="solid"/>
              <a:miter/>
            </a:ln>
          </p:spPr>
          <p:txBody>
            <a:bodyPr rtlCol="0" anchor="ctr"/>
            <a:lstStyle/>
            <a:p>
              <a:endParaRPr lang="fr-FR" sz="900"/>
            </a:p>
          </p:txBody>
        </p:sp>
        <p:sp>
          <p:nvSpPr>
            <p:cNvPr id="16" name="Forme libre : forme 15">
              <a:extLst>
                <a:ext uri="{FF2B5EF4-FFF2-40B4-BE49-F238E27FC236}">
                  <a16:creationId xmlns:a16="http://schemas.microsoft.com/office/drawing/2014/main" id="{7F34547F-8B75-DFFB-5499-B97561C17C65}"/>
                </a:ext>
              </a:extLst>
            </p:cNvPr>
            <p:cNvSpPr/>
            <p:nvPr/>
          </p:nvSpPr>
          <p:spPr>
            <a:xfrm>
              <a:off x="6964257" y="4958169"/>
              <a:ext cx="583848" cy="52969"/>
            </a:xfrm>
            <a:custGeom>
              <a:avLst/>
              <a:gdLst>
                <a:gd name="connsiteX0" fmla="*/ 26490 w 583848"/>
                <a:gd name="connsiteY0" fmla="*/ 52970 h 52969"/>
                <a:gd name="connsiteX1" fmla="*/ 557363 w 583848"/>
                <a:gd name="connsiteY1" fmla="*/ 52970 h 52969"/>
                <a:gd name="connsiteX2" fmla="*/ 583848 w 583848"/>
                <a:gd name="connsiteY2" fmla="*/ 26485 h 52969"/>
                <a:gd name="connsiteX3" fmla="*/ 557363 w 583848"/>
                <a:gd name="connsiteY3" fmla="*/ 0 h 52969"/>
                <a:gd name="connsiteX4" fmla="*/ 26490 w 583848"/>
                <a:gd name="connsiteY4" fmla="*/ 0 h 52969"/>
                <a:gd name="connsiteX5" fmla="*/ 5 w 583848"/>
                <a:gd name="connsiteY5" fmla="*/ 26485 h 52969"/>
                <a:gd name="connsiteX6" fmla="*/ 26490 w 583848"/>
                <a:gd name="connsiteY6" fmla="*/ 52970 h 52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3848" h="52969">
                  <a:moveTo>
                    <a:pt x="26490" y="52970"/>
                  </a:moveTo>
                  <a:lnTo>
                    <a:pt x="557363" y="52970"/>
                  </a:lnTo>
                  <a:cubicBezTo>
                    <a:pt x="572077" y="52970"/>
                    <a:pt x="583848" y="41199"/>
                    <a:pt x="583848" y="26485"/>
                  </a:cubicBezTo>
                  <a:cubicBezTo>
                    <a:pt x="583848" y="11771"/>
                    <a:pt x="572077" y="0"/>
                    <a:pt x="557363" y="0"/>
                  </a:cubicBezTo>
                  <a:lnTo>
                    <a:pt x="26490" y="0"/>
                  </a:lnTo>
                  <a:cubicBezTo>
                    <a:pt x="11776" y="0"/>
                    <a:pt x="5" y="11771"/>
                    <a:pt x="5" y="26485"/>
                  </a:cubicBezTo>
                  <a:cubicBezTo>
                    <a:pt x="-289" y="40904"/>
                    <a:pt x="11776" y="52970"/>
                    <a:pt x="26490" y="52970"/>
                  </a:cubicBezTo>
                  <a:close/>
                </a:path>
              </a:pathLst>
            </a:custGeom>
            <a:grpFill/>
            <a:ln w="29411" cap="flat">
              <a:noFill/>
              <a:prstDash val="solid"/>
              <a:miter/>
            </a:ln>
          </p:spPr>
          <p:txBody>
            <a:bodyPr rtlCol="0" anchor="ctr"/>
            <a:lstStyle/>
            <a:p>
              <a:endParaRPr lang="fr-FR" sz="900"/>
            </a:p>
          </p:txBody>
        </p:sp>
        <p:sp>
          <p:nvSpPr>
            <p:cNvPr id="18" name="Forme libre : forme 17">
              <a:extLst>
                <a:ext uri="{FF2B5EF4-FFF2-40B4-BE49-F238E27FC236}">
                  <a16:creationId xmlns:a16="http://schemas.microsoft.com/office/drawing/2014/main" id="{246CAE11-4BC2-B75A-F414-09008C1501F0}"/>
                </a:ext>
              </a:extLst>
            </p:cNvPr>
            <p:cNvSpPr/>
            <p:nvPr/>
          </p:nvSpPr>
          <p:spPr>
            <a:xfrm>
              <a:off x="6964257" y="5119726"/>
              <a:ext cx="583848" cy="52969"/>
            </a:xfrm>
            <a:custGeom>
              <a:avLst/>
              <a:gdLst>
                <a:gd name="connsiteX0" fmla="*/ 26490 w 583848"/>
                <a:gd name="connsiteY0" fmla="*/ 52970 h 52969"/>
                <a:gd name="connsiteX1" fmla="*/ 557363 w 583848"/>
                <a:gd name="connsiteY1" fmla="*/ 52970 h 52969"/>
                <a:gd name="connsiteX2" fmla="*/ 583848 w 583848"/>
                <a:gd name="connsiteY2" fmla="*/ 26485 h 52969"/>
                <a:gd name="connsiteX3" fmla="*/ 557363 w 583848"/>
                <a:gd name="connsiteY3" fmla="*/ 0 h 52969"/>
                <a:gd name="connsiteX4" fmla="*/ 26490 w 583848"/>
                <a:gd name="connsiteY4" fmla="*/ 0 h 52969"/>
                <a:gd name="connsiteX5" fmla="*/ 5 w 583848"/>
                <a:gd name="connsiteY5" fmla="*/ 26485 h 52969"/>
                <a:gd name="connsiteX6" fmla="*/ 26490 w 583848"/>
                <a:gd name="connsiteY6" fmla="*/ 52970 h 52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3848" h="52969">
                  <a:moveTo>
                    <a:pt x="26490" y="52970"/>
                  </a:moveTo>
                  <a:lnTo>
                    <a:pt x="557363" y="52970"/>
                  </a:lnTo>
                  <a:cubicBezTo>
                    <a:pt x="572077" y="52970"/>
                    <a:pt x="583848" y="41199"/>
                    <a:pt x="583848" y="26485"/>
                  </a:cubicBezTo>
                  <a:cubicBezTo>
                    <a:pt x="583848" y="11771"/>
                    <a:pt x="572077" y="0"/>
                    <a:pt x="557363" y="0"/>
                  </a:cubicBezTo>
                  <a:lnTo>
                    <a:pt x="26490" y="0"/>
                  </a:lnTo>
                  <a:cubicBezTo>
                    <a:pt x="11776" y="0"/>
                    <a:pt x="5" y="11771"/>
                    <a:pt x="5" y="26485"/>
                  </a:cubicBezTo>
                  <a:cubicBezTo>
                    <a:pt x="-289" y="41199"/>
                    <a:pt x="11776" y="52970"/>
                    <a:pt x="26490" y="52970"/>
                  </a:cubicBezTo>
                  <a:close/>
                </a:path>
              </a:pathLst>
            </a:custGeom>
            <a:grpFill/>
            <a:ln w="29411" cap="flat">
              <a:noFill/>
              <a:prstDash val="solid"/>
              <a:miter/>
            </a:ln>
          </p:spPr>
          <p:txBody>
            <a:bodyPr rtlCol="0" anchor="ctr"/>
            <a:lstStyle/>
            <a:p>
              <a:endParaRPr lang="fr-FR" sz="900"/>
            </a:p>
          </p:txBody>
        </p:sp>
        <p:sp>
          <p:nvSpPr>
            <p:cNvPr id="19" name="Forme libre : forme 18">
              <a:extLst>
                <a:ext uri="{FF2B5EF4-FFF2-40B4-BE49-F238E27FC236}">
                  <a16:creationId xmlns:a16="http://schemas.microsoft.com/office/drawing/2014/main" id="{41930F84-D35A-003F-ABA6-9819CBD522EF}"/>
                </a:ext>
              </a:extLst>
            </p:cNvPr>
            <p:cNvSpPr/>
            <p:nvPr/>
          </p:nvSpPr>
          <p:spPr>
            <a:xfrm>
              <a:off x="6684995" y="4509398"/>
              <a:ext cx="52969" cy="150669"/>
            </a:xfrm>
            <a:custGeom>
              <a:avLst/>
              <a:gdLst>
                <a:gd name="connsiteX0" fmla="*/ 26485 w 52969"/>
                <a:gd name="connsiteY0" fmla="*/ 0 h 150669"/>
                <a:gd name="connsiteX1" fmla="*/ 0 w 52969"/>
                <a:gd name="connsiteY1" fmla="*/ 26485 h 150669"/>
                <a:gd name="connsiteX2" fmla="*/ 0 w 52969"/>
                <a:gd name="connsiteY2" fmla="*/ 124184 h 150669"/>
                <a:gd name="connsiteX3" fmla="*/ 26485 w 52969"/>
                <a:gd name="connsiteY3" fmla="*/ 150669 h 150669"/>
                <a:gd name="connsiteX4" fmla="*/ 52970 w 52969"/>
                <a:gd name="connsiteY4" fmla="*/ 124184 h 150669"/>
                <a:gd name="connsiteX5" fmla="*/ 52970 w 52969"/>
                <a:gd name="connsiteY5" fmla="*/ 26485 h 150669"/>
                <a:gd name="connsiteX6" fmla="*/ 26485 w 52969"/>
                <a:gd name="connsiteY6" fmla="*/ 0 h 150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969" h="150669">
                  <a:moveTo>
                    <a:pt x="26485" y="0"/>
                  </a:moveTo>
                  <a:cubicBezTo>
                    <a:pt x="11771" y="0"/>
                    <a:pt x="0" y="11771"/>
                    <a:pt x="0" y="26485"/>
                  </a:cubicBezTo>
                  <a:lnTo>
                    <a:pt x="0" y="124184"/>
                  </a:lnTo>
                  <a:cubicBezTo>
                    <a:pt x="0" y="138898"/>
                    <a:pt x="11771" y="150669"/>
                    <a:pt x="26485" y="150669"/>
                  </a:cubicBezTo>
                  <a:cubicBezTo>
                    <a:pt x="41199" y="150669"/>
                    <a:pt x="52970" y="138898"/>
                    <a:pt x="52970" y="124184"/>
                  </a:cubicBezTo>
                  <a:lnTo>
                    <a:pt x="52970" y="26485"/>
                  </a:lnTo>
                  <a:cubicBezTo>
                    <a:pt x="52970" y="11771"/>
                    <a:pt x="40904" y="0"/>
                    <a:pt x="26485" y="0"/>
                  </a:cubicBezTo>
                  <a:close/>
                </a:path>
              </a:pathLst>
            </a:custGeom>
            <a:grpFill/>
            <a:ln w="29411" cap="flat">
              <a:noFill/>
              <a:prstDash val="solid"/>
              <a:miter/>
            </a:ln>
          </p:spPr>
          <p:txBody>
            <a:bodyPr rtlCol="0" anchor="ctr"/>
            <a:lstStyle/>
            <a:p>
              <a:endParaRPr lang="fr-FR" sz="900"/>
            </a:p>
          </p:txBody>
        </p:sp>
        <p:sp>
          <p:nvSpPr>
            <p:cNvPr id="23" name="Forme libre : forme 22">
              <a:extLst>
                <a:ext uri="{FF2B5EF4-FFF2-40B4-BE49-F238E27FC236}">
                  <a16:creationId xmlns:a16="http://schemas.microsoft.com/office/drawing/2014/main" id="{E1E4489A-FCEE-A5AA-5A23-8C049987454D}"/>
                </a:ext>
              </a:extLst>
            </p:cNvPr>
            <p:cNvSpPr/>
            <p:nvPr/>
          </p:nvSpPr>
          <p:spPr>
            <a:xfrm>
              <a:off x="6684995" y="4714509"/>
              <a:ext cx="52969" cy="150669"/>
            </a:xfrm>
            <a:custGeom>
              <a:avLst/>
              <a:gdLst>
                <a:gd name="connsiteX0" fmla="*/ 26485 w 52969"/>
                <a:gd name="connsiteY0" fmla="*/ 0 h 150669"/>
                <a:gd name="connsiteX1" fmla="*/ 0 w 52969"/>
                <a:gd name="connsiteY1" fmla="*/ 26485 h 150669"/>
                <a:gd name="connsiteX2" fmla="*/ 0 w 52969"/>
                <a:gd name="connsiteY2" fmla="*/ 124184 h 150669"/>
                <a:gd name="connsiteX3" fmla="*/ 26485 w 52969"/>
                <a:gd name="connsiteY3" fmla="*/ 150669 h 150669"/>
                <a:gd name="connsiteX4" fmla="*/ 52970 w 52969"/>
                <a:gd name="connsiteY4" fmla="*/ 124184 h 150669"/>
                <a:gd name="connsiteX5" fmla="*/ 52970 w 52969"/>
                <a:gd name="connsiteY5" fmla="*/ 26485 h 150669"/>
                <a:gd name="connsiteX6" fmla="*/ 26485 w 52969"/>
                <a:gd name="connsiteY6" fmla="*/ 0 h 150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969" h="150669">
                  <a:moveTo>
                    <a:pt x="26485" y="0"/>
                  </a:moveTo>
                  <a:cubicBezTo>
                    <a:pt x="11771" y="0"/>
                    <a:pt x="0" y="11771"/>
                    <a:pt x="0" y="26485"/>
                  </a:cubicBezTo>
                  <a:lnTo>
                    <a:pt x="0" y="124184"/>
                  </a:lnTo>
                  <a:cubicBezTo>
                    <a:pt x="0" y="138898"/>
                    <a:pt x="11771" y="150669"/>
                    <a:pt x="26485" y="150669"/>
                  </a:cubicBezTo>
                  <a:cubicBezTo>
                    <a:pt x="41199" y="150669"/>
                    <a:pt x="52970" y="138898"/>
                    <a:pt x="52970" y="124184"/>
                  </a:cubicBezTo>
                  <a:lnTo>
                    <a:pt x="52970" y="26485"/>
                  </a:lnTo>
                  <a:cubicBezTo>
                    <a:pt x="52970" y="12065"/>
                    <a:pt x="40904" y="0"/>
                    <a:pt x="26485" y="0"/>
                  </a:cubicBezTo>
                  <a:close/>
                </a:path>
              </a:pathLst>
            </a:custGeom>
            <a:grpFill/>
            <a:ln w="29411" cap="flat">
              <a:noFill/>
              <a:prstDash val="solid"/>
              <a:miter/>
            </a:ln>
          </p:spPr>
          <p:txBody>
            <a:bodyPr rtlCol="0" anchor="ctr"/>
            <a:lstStyle/>
            <a:p>
              <a:endParaRPr lang="fr-FR" sz="900"/>
            </a:p>
          </p:txBody>
        </p:sp>
        <p:sp>
          <p:nvSpPr>
            <p:cNvPr id="24" name="Forme libre : forme 23">
              <a:extLst>
                <a:ext uri="{FF2B5EF4-FFF2-40B4-BE49-F238E27FC236}">
                  <a16:creationId xmlns:a16="http://schemas.microsoft.com/office/drawing/2014/main" id="{C6682D8C-B39D-7FFF-7849-1592BDF5C215}"/>
                </a:ext>
              </a:extLst>
            </p:cNvPr>
            <p:cNvSpPr/>
            <p:nvPr/>
          </p:nvSpPr>
          <p:spPr>
            <a:xfrm>
              <a:off x="6684995" y="4919913"/>
              <a:ext cx="52969" cy="150669"/>
            </a:xfrm>
            <a:custGeom>
              <a:avLst/>
              <a:gdLst>
                <a:gd name="connsiteX0" fmla="*/ 26485 w 52969"/>
                <a:gd name="connsiteY0" fmla="*/ 0 h 150669"/>
                <a:gd name="connsiteX1" fmla="*/ 0 w 52969"/>
                <a:gd name="connsiteY1" fmla="*/ 26485 h 150669"/>
                <a:gd name="connsiteX2" fmla="*/ 0 w 52969"/>
                <a:gd name="connsiteY2" fmla="*/ 124184 h 150669"/>
                <a:gd name="connsiteX3" fmla="*/ 26485 w 52969"/>
                <a:gd name="connsiteY3" fmla="*/ 150669 h 150669"/>
                <a:gd name="connsiteX4" fmla="*/ 52970 w 52969"/>
                <a:gd name="connsiteY4" fmla="*/ 124184 h 150669"/>
                <a:gd name="connsiteX5" fmla="*/ 52970 w 52969"/>
                <a:gd name="connsiteY5" fmla="*/ 26485 h 150669"/>
                <a:gd name="connsiteX6" fmla="*/ 26485 w 52969"/>
                <a:gd name="connsiteY6" fmla="*/ 0 h 150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969" h="150669">
                  <a:moveTo>
                    <a:pt x="26485" y="0"/>
                  </a:moveTo>
                  <a:cubicBezTo>
                    <a:pt x="11771" y="0"/>
                    <a:pt x="0" y="11771"/>
                    <a:pt x="0" y="26485"/>
                  </a:cubicBezTo>
                  <a:lnTo>
                    <a:pt x="0" y="124184"/>
                  </a:lnTo>
                  <a:cubicBezTo>
                    <a:pt x="0" y="138898"/>
                    <a:pt x="11771" y="150669"/>
                    <a:pt x="26485" y="150669"/>
                  </a:cubicBezTo>
                  <a:cubicBezTo>
                    <a:pt x="41199" y="150669"/>
                    <a:pt x="52970" y="138898"/>
                    <a:pt x="52970" y="124184"/>
                  </a:cubicBezTo>
                  <a:lnTo>
                    <a:pt x="52970" y="26485"/>
                  </a:lnTo>
                  <a:cubicBezTo>
                    <a:pt x="52970" y="11771"/>
                    <a:pt x="40904" y="0"/>
                    <a:pt x="26485" y="0"/>
                  </a:cubicBezTo>
                  <a:close/>
                </a:path>
              </a:pathLst>
            </a:custGeom>
            <a:grpFill/>
            <a:ln w="29411" cap="flat">
              <a:noFill/>
              <a:prstDash val="solid"/>
              <a:miter/>
            </a:ln>
          </p:spPr>
          <p:txBody>
            <a:bodyPr rtlCol="0" anchor="ctr"/>
            <a:lstStyle/>
            <a:p>
              <a:endParaRPr lang="fr-FR" sz="900"/>
            </a:p>
          </p:txBody>
        </p:sp>
        <p:sp>
          <p:nvSpPr>
            <p:cNvPr id="28" name="Forme libre : forme 27">
              <a:extLst>
                <a:ext uri="{FF2B5EF4-FFF2-40B4-BE49-F238E27FC236}">
                  <a16:creationId xmlns:a16="http://schemas.microsoft.com/office/drawing/2014/main" id="{09AADF32-5D35-FB18-33CE-13033010F082}"/>
                </a:ext>
              </a:extLst>
            </p:cNvPr>
            <p:cNvSpPr/>
            <p:nvPr/>
          </p:nvSpPr>
          <p:spPr>
            <a:xfrm>
              <a:off x="6684995" y="5125023"/>
              <a:ext cx="52969" cy="150669"/>
            </a:xfrm>
            <a:custGeom>
              <a:avLst/>
              <a:gdLst>
                <a:gd name="connsiteX0" fmla="*/ 26485 w 52969"/>
                <a:gd name="connsiteY0" fmla="*/ 0 h 150669"/>
                <a:gd name="connsiteX1" fmla="*/ 0 w 52969"/>
                <a:gd name="connsiteY1" fmla="*/ 26485 h 150669"/>
                <a:gd name="connsiteX2" fmla="*/ 0 w 52969"/>
                <a:gd name="connsiteY2" fmla="*/ 124184 h 150669"/>
                <a:gd name="connsiteX3" fmla="*/ 26485 w 52969"/>
                <a:gd name="connsiteY3" fmla="*/ 150669 h 150669"/>
                <a:gd name="connsiteX4" fmla="*/ 52970 w 52969"/>
                <a:gd name="connsiteY4" fmla="*/ 124184 h 150669"/>
                <a:gd name="connsiteX5" fmla="*/ 52970 w 52969"/>
                <a:gd name="connsiteY5" fmla="*/ 26485 h 150669"/>
                <a:gd name="connsiteX6" fmla="*/ 26485 w 52969"/>
                <a:gd name="connsiteY6" fmla="*/ 0 h 150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969" h="150669">
                  <a:moveTo>
                    <a:pt x="26485" y="0"/>
                  </a:moveTo>
                  <a:cubicBezTo>
                    <a:pt x="11771" y="0"/>
                    <a:pt x="0" y="11771"/>
                    <a:pt x="0" y="26485"/>
                  </a:cubicBezTo>
                  <a:lnTo>
                    <a:pt x="0" y="124184"/>
                  </a:lnTo>
                  <a:cubicBezTo>
                    <a:pt x="0" y="138898"/>
                    <a:pt x="11771" y="150669"/>
                    <a:pt x="26485" y="150669"/>
                  </a:cubicBezTo>
                  <a:cubicBezTo>
                    <a:pt x="41199" y="150669"/>
                    <a:pt x="52970" y="138898"/>
                    <a:pt x="52970" y="124184"/>
                  </a:cubicBezTo>
                  <a:lnTo>
                    <a:pt x="52970" y="26485"/>
                  </a:lnTo>
                  <a:cubicBezTo>
                    <a:pt x="52970" y="11771"/>
                    <a:pt x="40904" y="0"/>
                    <a:pt x="26485" y="0"/>
                  </a:cubicBezTo>
                  <a:close/>
                </a:path>
              </a:pathLst>
            </a:custGeom>
            <a:grpFill/>
            <a:ln w="29411" cap="flat">
              <a:noFill/>
              <a:prstDash val="solid"/>
              <a:miter/>
            </a:ln>
          </p:spPr>
          <p:txBody>
            <a:bodyPr rtlCol="0" anchor="ctr"/>
            <a:lstStyle/>
            <a:p>
              <a:endParaRPr lang="fr-FR" sz="900"/>
            </a:p>
          </p:txBody>
        </p:sp>
        <p:sp>
          <p:nvSpPr>
            <p:cNvPr id="29" name="Forme libre : forme 28">
              <a:extLst>
                <a:ext uri="{FF2B5EF4-FFF2-40B4-BE49-F238E27FC236}">
                  <a16:creationId xmlns:a16="http://schemas.microsoft.com/office/drawing/2014/main" id="{9CECF781-7A14-09F1-0287-3C8391394F26}"/>
                </a:ext>
              </a:extLst>
            </p:cNvPr>
            <p:cNvSpPr/>
            <p:nvPr/>
          </p:nvSpPr>
          <p:spPr>
            <a:xfrm>
              <a:off x="6684995" y="5330427"/>
              <a:ext cx="52969" cy="150669"/>
            </a:xfrm>
            <a:custGeom>
              <a:avLst/>
              <a:gdLst>
                <a:gd name="connsiteX0" fmla="*/ 26485 w 52969"/>
                <a:gd name="connsiteY0" fmla="*/ 0 h 150669"/>
                <a:gd name="connsiteX1" fmla="*/ 0 w 52969"/>
                <a:gd name="connsiteY1" fmla="*/ 26485 h 150669"/>
                <a:gd name="connsiteX2" fmla="*/ 0 w 52969"/>
                <a:gd name="connsiteY2" fmla="*/ 124184 h 150669"/>
                <a:gd name="connsiteX3" fmla="*/ 26485 w 52969"/>
                <a:gd name="connsiteY3" fmla="*/ 150669 h 150669"/>
                <a:gd name="connsiteX4" fmla="*/ 52970 w 52969"/>
                <a:gd name="connsiteY4" fmla="*/ 124184 h 150669"/>
                <a:gd name="connsiteX5" fmla="*/ 52970 w 52969"/>
                <a:gd name="connsiteY5" fmla="*/ 26485 h 150669"/>
                <a:gd name="connsiteX6" fmla="*/ 26485 w 52969"/>
                <a:gd name="connsiteY6" fmla="*/ 0 h 150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969" h="150669">
                  <a:moveTo>
                    <a:pt x="26485" y="0"/>
                  </a:moveTo>
                  <a:cubicBezTo>
                    <a:pt x="11771" y="0"/>
                    <a:pt x="0" y="11771"/>
                    <a:pt x="0" y="26485"/>
                  </a:cubicBezTo>
                  <a:lnTo>
                    <a:pt x="0" y="124184"/>
                  </a:lnTo>
                  <a:cubicBezTo>
                    <a:pt x="0" y="138898"/>
                    <a:pt x="11771" y="150669"/>
                    <a:pt x="26485" y="150669"/>
                  </a:cubicBezTo>
                  <a:cubicBezTo>
                    <a:pt x="41199" y="150669"/>
                    <a:pt x="52970" y="138898"/>
                    <a:pt x="52970" y="124184"/>
                  </a:cubicBezTo>
                  <a:lnTo>
                    <a:pt x="52970" y="26485"/>
                  </a:lnTo>
                  <a:cubicBezTo>
                    <a:pt x="52970" y="11771"/>
                    <a:pt x="40904" y="0"/>
                    <a:pt x="26485" y="0"/>
                  </a:cubicBezTo>
                  <a:close/>
                </a:path>
              </a:pathLst>
            </a:custGeom>
            <a:grpFill/>
            <a:ln w="29411" cap="flat">
              <a:noFill/>
              <a:prstDash val="solid"/>
              <a:miter/>
            </a:ln>
          </p:spPr>
          <p:txBody>
            <a:bodyPr rtlCol="0" anchor="ctr"/>
            <a:lstStyle/>
            <a:p>
              <a:endParaRPr lang="fr-FR" sz="900"/>
            </a:p>
          </p:txBody>
        </p:sp>
        <p:sp>
          <p:nvSpPr>
            <p:cNvPr id="30" name="Forme libre : forme 29">
              <a:extLst>
                <a:ext uri="{FF2B5EF4-FFF2-40B4-BE49-F238E27FC236}">
                  <a16:creationId xmlns:a16="http://schemas.microsoft.com/office/drawing/2014/main" id="{E385107E-FA2C-71D6-D7FA-00DA44B75610}"/>
                </a:ext>
              </a:extLst>
            </p:cNvPr>
            <p:cNvSpPr/>
            <p:nvPr/>
          </p:nvSpPr>
          <p:spPr>
            <a:xfrm>
              <a:off x="7774403" y="4509398"/>
              <a:ext cx="52969" cy="150669"/>
            </a:xfrm>
            <a:custGeom>
              <a:avLst/>
              <a:gdLst>
                <a:gd name="connsiteX0" fmla="*/ 26485 w 52969"/>
                <a:gd name="connsiteY0" fmla="*/ 150669 h 150669"/>
                <a:gd name="connsiteX1" fmla="*/ 52970 w 52969"/>
                <a:gd name="connsiteY1" fmla="*/ 124184 h 150669"/>
                <a:gd name="connsiteX2" fmla="*/ 52970 w 52969"/>
                <a:gd name="connsiteY2" fmla="*/ 26485 h 150669"/>
                <a:gd name="connsiteX3" fmla="*/ 26485 w 52969"/>
                <a:gd name="connsiteY3" fmla="*/ 0 h 150669"/>
                <a:gd name="connsiteX4" fmla="*/ 0 w 52969"/>
                <a:gd name="connsiteY4" fmla="*/ 26485 h 150669"/>
                <a:gd name="connsiteX5" fmla="*/ 0 w 52969"/>
                <a:gd name="connsiteY5" fmla="*/ 124184 h 150669"/>
                <a:gd name="connsiteX6" fmla="*/ 26485 w 52969"/>
                <a:gd name="connsiteY6" fmla="*/ 150669 h 150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969" h="150669">
                  <a:moveTo>
                    <a:pt x="26485" y="150669"/>
                  </a:moveTo>
                  <a:cubicBezTo>
                    <a:pt x="41199" y="150669"/>
                    <a:pt x="52970" y="138898"/>
                    <a:pt x="52970" y="124184"/>
                  </a:cubicBezTo>
                  <a:lnTo>
                    <a:pt x="52970" y="26485"/>
                  </a:lnTo>
                  <a:cubicBezTo>
                    <a:pt x="52970" y="11771"/>
                    <a:pt x="41199" y="0"/>
                    <a:pt x="26485" y="0"/>
                  </a:cubicBezTo>
                  <a:cubicBezTo>
                    <a:pt x="11771" y="0"/>
                    <a:pt x="0" y="11771"/>
                    <a:pt x="0" y="26485"/>
                  </a:cubicBezTo>
                  <a:lnTo>
                    <a:pt x="0" y="124184"/>
                  </a:lnTo>
                  <a:cubicBezTo>
                    <a:pt x="0" y="138898"/>
                    <a:pt x="11771" y="150669"/>
                    <a:pt x="26485" y="150669"/>
                  </a:cubicBezTo>
                  <a:close/>
                </a:path>
              </a:pathLst>
            </a:custGeom>
            <a:grpFill/>
            <a:ln w="29411" cap="flat">
              <a:noFill/>
              <a:prstDash val="solid"/>
              <a:miter/>
            </a:ln>
          </p:spPr>
          <p:txBody>
            <a:bodyPr rtlCol="0" anchor="ctr"/>
            <a:lstStyle/>
            <a:p>
              <a:endParaRPr lang="fr-FR" sz="900"/>
            </a:p>
          </p:txBody>
        </p:sp>
        <p:sp>
          <p:nvSpPr>
            <p:cNvPr id="31" name="Forme libre : forme 30">
              <a:extLst>
                <a:ext uri="{FF2B5EF4-FFF2-40B4-BE49-F238E27FC236}">
                  <a16:creationId xmlns:a16="http://schemas.microsoft.com/office/drawing/2014/main" id="{7052460F-BD65-72E8-D5DA-554BA3C34296}"/>
                </a:ext>
              </a:extLst>
            </p:cNvPr>
            <p:cNvSpPr/>
            <p:nvPr/>
          </p:nvSpPr>
          <p:spPr>
            <a:xfrm>
              <a:off x="7774403" y="4714509"/>
              <a:ext cx="52969" cy="150669"/>
            </a:xfrm>
            <a:custGeom>
              <a:avLst/>
              <a:gdLst>
                <a:gd name="connsiteX0" fmla="*/ 26485 w 52969"/>
                <a:gd name="connsiteY0" fmla="*/ 150669 h 150669"/>
                <a:gd name="connsiteX1" fmla="*/ 52970 w 52969"/>
                <a:gd name="connsiteY1" fmla="*/ 124184 h 150669"/>
                <a:gd name="connsiteX2" fmla="*/ 52970 w 52969"/>
                <a:gd name="connsiteY2" fmla="*/ 26485 h 150669"/>
                <a:gd name="connsiteX3" fmla="*/ 26485 w 52969"/>
                <a:gd name="connsiteY3" fmla="*/ 0 h 150669"/>
                <a:gd name="connsiteX4" fmla="*/ 0 w 52969"/>
                <a:gd name="connsiteY4" fmla="*/ 26485 h 150669"/>
                <a:gd name="connsiteX5" fmla="*/ 0 w 52969"/>
                <a:gd name="connsiteY5" fmla="*/ 124184 h 150669"/>
                <a:gd name="connsiteX6" fmla="*/ 26485 w 52969"/>
                <a:gd name="connsiteY6" fmla="*/ 150669 h 150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969" h="150669">
                  <a:moveTo>
                    <a:pt x="26485" y="150669"/>
                  </a:moveTo>
                  <a:cubicBezTo>
                    <a:pt x="41199" y="150669"/>
                    <a:pt x="52970" y="138898"/>
                    <a:pt x="52970" y="124184"/>
                  </a:cubicBezTo>
                  <a:lnTo>
                    <a:pt x="52970" y="26485"/>
                  </a:lnTo>
                  <a:cubicBezTo>
                    <a:pt x="52970" y="11771"/>
                    <a:pt x="41199" y="0"/>
                    <a:pt x="26485" y="0"/>
                  </a:cubicBezTo>
                  <a:cubicBezTo>
                    <a:pt x="11771" y="0"/>
                    <a:pt x="0" y="11771"/>
                    <a:pt x="0" y="26485"/>
                  </a:cubicBezTo>
                  <a:lnTo>
                    <a:pt x="0" y="124184"/>
                  </a:lnTo>
                  <a:cubicBezTo>
                    <a:pt x="0" y="138898"/>
                    <a:pt x="11771" y="150669"/>
                    <a:pt x="26485" y="150669"/>
                  </a:cubicBezTo>
                  <a:close/>
                </a:path>
              </a:pathLst>
            </a:custGeom>
            <a:grpFill/>
            <a:ln w="29411" cap="flat">
              <a:noFill/>
              <a:prstDash val="solid"/>
              <a:miter/>
            </a:ln>
          </p:spPr>
          <p:txBody>
            <a:bodyPr rtlCol="0" anchor="ctr"/>
            <a:lstStyle/>
            <a:p>
              <a:endParaRPr lang="fr-FR" sz="900"/>
            </a:p>
          </p:txBody>
        </p:sp>
        <p:sp>
          <p:nvSpPr>
            <p:cNvPr id="32" name="Forme libre : forme 31">
              <a:extLst>
                <a:ext uri="{FF2B5EF4-FFF2-40B4-BE49-F238E27FC236}">
                  <a16:creationId xmlns:a16="http://schemas.microsoft.com/office/drawing/2014/main" id="{BB438B73-6D08-DAAA-C5C3-3476D8A65720}"/>
                </a:ext>
              </a:extLst>
            </p:cNvPr>
            <p:cNvSpPr/>
            <p:nvPr/>
          </p:nvSpPr>
          <p:spPr>
            <a:xfrm>
              <a:off x="7774403" y="4919913"/>
              <a:ext cx="52969" cy="150669"/>
            </a:xfrm>
            <a:custGeom>
              <a:avLst/>
              <a:gdLst>
                <a:gd name="connsiteX0" fmla="*/ 26485 w 52969"/>
                <a:gd name="connsiteY0" fmla="*/ 150669 h 150669"/>
                <a:gd name="connsiteX1" fmla="*/ 52970 w 52969"/>
                <a:gd name="connsiteY1" fmla="*/ 124184 h 150669"/>
                <a:gd name="connsiteX2" fmla="*/ 52970 w 52969"/>
                <a:gd name="connsiteY2" fmla="*/ 26485 h 150669"/>
                <a:gd name="connsiteX3" fmla="*/ 26485 w 52969"/>
                <a:gd name="connsiteY3" fmla="*/ 0 h 150669"/>
                <a:gd name="connsiteX4" fmla="*/ 0 w 52969"/>
                <a:gd name="connsiteY4" fmla="*/ 26485 h 150669"/>
                <a:gd name="connsiteX5" fmla="*/ 0 w 52969"/>
                <a:gd name="connsiteY5" fmla="*/ 124184 h 150669"/>
                <a:gd name="connsiteX6" fmla="*/ 26485 w 52969"/>
                <a:gd name="connsiteY6" fmla="*/ 150669 h 150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969" h="150669">
                  <a:moveTo>
                    <a:pt x="26485" y="150669"/>
                  </a:moveTo>
                  <a:cubicBezTo>
                    <a:pt x="41199" y="150669"/>
                    <a:pt x="52970" y="138898"/>
                    <a:pt x="52970" y="124184"/>
                  </a:cubicBezTo>
                  <a:lnTo>
                    <a:pt x="52970" y="26485"/>
                  </a:lnTo>
                  <a:cubicBezTo>
                    <a:pt x="52970" y="11771"/>
                    <a:pt x="41199" y="0"/>
                    <a:pt x="26485" y="0"/>
                  </a:cubicBezTo>
                  <a:cubicBezTo>
                    <a:pt x="11771" y="0"/>
                    <a:pt x="0" y="11771"/>
                    <a:pt x="0" y="26485"/>
                  </a:cubicBezTo>
                  <a:lnTo>
                    <a:pt x="0" y="124184"/>
                  </a:lnTo>
                  <a:cubicBezTo>
                    <a:pt x="0" y="138604"/>
                    <a:pt x="11771" y="150669"/>
                    <a:pt x="26485" y="150669"/>
                  </a:cubicBezTo>
                  <a:close/>
                </a:path>
              </a:pathLst>
            </a:custGeom>
            <a:grpFill/>
            <a:ln w="29411" cap="flat">
              <a:noFill/>
              <a:prstDash val="solid"/>
              <a:miter/>
            </a:ln>
          </p:spPr>
          <p:txBody>
            <a:bodyPr rtlCol="0" anchor="ctr"/>
            <a:lstStyle/>
            <a:p>
              <a:endParaRPr lang="fr-FR" sz="900"/>
            </a:p>
          </p:txBody>
        </p:sp>
        <p:sp>
          <p:nvSpPr>
            <p:cNvPr id="33" name="Forme libre : forme 32">
              <a:extLst>
                <a:ext uri="{FF2B5EF4-FFF2-40B4-BE49-F238E27FC236}">
                  <a16:creationId xmlns:a16="http://schemas.microsoft.com/office/drawing/2014/main" id="{90E46065-FB27-A62D-F297-D7B7932EE460}"/>
                </a:ext>
              </a:extLst>
            </p:cNvPr>
            <p:cNvSpPr/>
            <p:nvPr/>
          </p:nvSpPr>
          <p:spPr>
            <a:xfrm>
              <a:off x="7774403" y="5125023"/>
              <a:ext cx="52969" cy="150669"/>
            </a:xfrm>
            <a:custGeom>
              <a:avLst/>
              <a:gdLst>
                <a:gd name="connsiteX0" fmla="*/ 26485 w 52969"/>
                <a:gd name="connsiteY0" fmla="*/ 150669 h 150669"/>
                <a:gd name="connsiteX1" fmla="*/ 52970 w 52969"/>
                <a:gd name="connsiteY1" fmla="*/ 124184 h 150669"/>
                <a:gd name="connsiteX2" fmla="*/ 52970 w 52969"/>
                <a:gd name="connsiteY2" fmla="*/ 26485 h 150669"/>
                <a:gd name="connsiteX3" fmla="*/ 26485 w 52969"/>
                <a:gd name="connsiteY3" fmla="*/ 0 h 150669"/>
                <a:gd name="connsiteX4" fmla="*/ 0 w 52969"/>
                <a:gd name="connsiteY4" fmla="*/ 26485 h 150669"/>
                <a:gd name="connsiteX5" fmla="*/ 0 w 52969"/>
                <a:gd name="connsiteY5" fmla="*/ 124184 h 150669"/>
                <a:gd name="connsiteX6" fmla="*/ 26485 w 52969"/>
                <a:gd name="connsiteY6" fmla="*/ 150669 h 150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969" h="150669">
                  <a:moveTo>
                    <a:pt x="26485" y="150669"/>
                  </a:moveTo>
                  <a:cubicBezTo>
                    <a:pt x="41199" y="150669"/>
                    <a:pt x="52970" y="138898"/>
                    <a:pt x="52970" y="124184"/>
                  </a:cubicBezTo>
                  <a:lnTo>
                    <a:pt x="52970" y="26485"/>
                  </a:lnTo>
                  <a:cubicBezTo>
                    <a:pt x="52970" y="11771"/>
                    <a:pt x="41199" y="0"/>
                    <a:pt x="26485" y="0"/>
                  </a:cubicBezTo>
                  <a:cubicBezTo>
                    <a:pt x="11771" y="0"/>
                    <a:pt x="0" y="11771"/>
                    <a:pt x="0" y="26485"/>
                  </a:cubicBezTo>
                  <a:lnTo>
                    <a:pt x="0" y="124184"/>
                  </a:lnTo>
                  <a:cubicBezTo>
                    <a:pt x="0" y="138898"/>
                    <a:pt x="11771" y="150669"/>
                    <a:pt x="26485" y="150669"/>
                  </a:cubicBezTo>
                  <a:close/>
                </a:path>
              </a:pathLst>
            </a:custGeom>
            <a:grpFill/>
            <a:ln w="29411" cap="flat">
              <a:noFill/>
              <a:prstDash val="solid"/>
              <a:miter/>
            </a:ln>
          </p:spPr>
          <p:txBody>
            <a:bodyPr rtlCol="0" anchor="ctr"/>
            <a:lstStyle/>
            <a:p>
              <a:endParaRPr lang="fr-FR" sz="900"/>
            </a:p>
          </p:txBody>
        </p:sp>
        <p:sp>
          <p:nvSpPr>
            <p:cNvPr id="34" name="Forme libre : forme 33">
              <a:extLst>
                <a:ext uri="{FF2B5EF4-FFF2-40B4-BE49-F238E27FC236}">
                  <a16:creationId xmlns:a16="http://schemas.microsoft.com/office/drawing/2014/main" id="{0C95DFCF-D44B-7BAA-453B-32156E65AA21}"/>
                </a:ext>
              </a:extLst>
            </p:cNvPr>
            <p:cNvSpPr/>
            <p:nvPr/>
          </p:nvSpPr>
          <p:spPr>
            <a:xfrm>
              <a:off x="7774403" y="5330133"/>
              <a:ext cx="52969" cy="150669"/>
            </a:xfrm>
            <a:custGeom>
              <a:avLst/>
              <a:gdLst>
                <a:gd name="connsiteX0" fmla="*/ 26485 w 52969"/>
                <a:gd name="connsiteY0" fmla="*/ 150669 h 150669"/>
                <a:gd name="connsiteX1" fmla="*/ 52970 w 52969"/>
                <a:gd name="connsiteY1" fmla="*/ 124184 h 150669"/>
                <a:gd name="connsiteX2" fmla="*/ 52970 w 52969"/>
                <a:gd name="connsiteY2" fmla="*/ 26485 h 150669"/>
                <a:gd name="connsiteX3" fmla="*/ 26485 w 52969"/>
                <a:gd name="connsiteY3" fmla="*/ 0 h 150669"/>
                <a:gd name="connsiteX4" fmla="*/ 0 w 52969"/>
                <a:gd name="connsiteY4" fmla="*/ 26485 h 150669"/>
                <a:gd name="connsiteX5" fmla="*/ 0 w 52969"/>
                <a:gd name="connsiteY5" fmla="*/ 124184 h 150669"/>
                <a:gd name="connsiteX6" fmla="*/ 26485 w 52969"/>
                <a:gd name="connsiteY6" fmla="*/ 150669 h 150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969" h="150669">
                  <a:moveTo>
                    <a:pt x="26485" y="150669"/>
                  </a:moveTo>
                  <a:cubicBezTo>
                    <a:pt x="41199" y="150669"/>
                    <a:pt x="52970" y="138898"/>
                    <a:pt x="52970" y="124184"/>
                  </a:cubicBezTo>
                  <a:lnTo>
                    <a:pt x="52970" y="26485"/>
                  </a:lnTo>
                  <a:cubicBezTo>
                    <a:pt x="52970" y="11771"/>
                    <a:pt x="41199" y="0"/>
                    <a:pt x="26485" y="0"/>
                  </a:cubicBezTo>
                  <a:cubicBezTo>
                    <a:pt x="11771" y="0"/>
                    <a:pt x="0" y="11771"/>
                    <a:pt x="0" y="26485"/>
                  </a:cubicBezTo>
                  <a:lnTo>
                    <a:pt x="0" y="124184"/>
                  </a:lnTo>
                  <a:cubicBezTo>
                    <a:pt x="0" y="138898"/>
                    <a:pt x="11771" y="150669"/>
                    <a:pt x="26485" y="150669"/>
                  </a:cubicBezTo>
                  <a:close/>
                </a:path>
              </a:pathLst>
            </a:custGeom>
            <a:grpFill/>
            <a:ln w="29411" cap="flat">
              <a:noFill/>
              <a:prstDash val="solid"/>
              <a:miter/>
            </a:ln>
          </p:spPr>
          <p:txBody>
            <a:bodyPr rtlCol="0" anchor="ctr"/>
            <a:lstStyle/>
            <a:p>
              <a:endParaRPr lang="fr-FR" sz="900"/>
            </a:p>
          </p:txBody>
        </p:sp>
        <p:sp>
          <p:nvSpPr>
            <p:cNvPr id="37" name="Forme libre : forme 36">
              <a:extLst>
                <a:ext uri="{FF2B5EF4-FFF2-40B4-BE49-F238E27FC236}">
                  <a16:creationId xmlns:a16="http://schemas.microsoft.com/office/drawing/2014/main" id="{60D58EC5-588E-92F8-4859-38F8B1823174}"/>
                </a:ext>
              </a:extLst>
            </p:cNvPr>
            <p:cNvSpPr/>
            <p:nvPr/>
          </p:nvSpPr>
          <p:spPr>
            <a:xfrm>
              <a:off x="6964257" y="5242733"/>
              <a:ext cx="52974" cy="119475"/>
            </a:xfrm>
            <a:custGeom>
              <a:avLst/>
              <a:gdLst>
                <a:gd name="connsiteX0" fmla="*/ 26490 w 52974"/>
                <a:gd name="connsiteY0" fmla="*/ 119476 h 119475"/>
                <a:gd name="connsiteX1" fmla="*/ 52975 w 52974"/>
                <a:gd name="connsiteY1" fmla="*/ 92991 h 119475"/>
                <a:gd name="connsiteX2" fmla="*/ 52975 w 52974"/>
                <a:gd name="connsiteY2" fmla="*/ 26485 h 119475"/>
                <a:gd name="connsiteX3" fmla="*/ 26490 w 52974"/>
                <a:gd name="connsiteY3" fmla="*/ 0 h 119475"/>
                <a:gd name="connsiteX4" fmla="*/ 5 w 52974"/>
                <a:gd name="connsiteY4" fmla="*/ 26485 h 119475"/>
                <a:gd name="connsiteX5" fmla="*/ 5 w 52974"/>
                <a:gd name="connsiteY5" fmla="*/ 92991 h 119475"/>
                <a:gd name="connsiteX6" fmla="*/ 26490 w 52974"/>
                <a:gd name="connsiteY6" fmla="*/ 119476 h 119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974" h="119475">
                  <a:moveTo>
                    <a:pt x="26490" y="119476"/>
                  </a:moveTo>
                  <a:cubicBezTo>
                    <a:pt x="41204" y="119476"/>
                    <a:pt x="52975" y="107705"/>
                    <a:pt x="52975" y="92991"/>
                  </a:cubicBezTo>
                  <a:lnTo>
                    <a:pt x="52975" y="26485"/>
                  </a:lnTo>
                  <a:cubicBezTo>
                    <a:pt x="52975" y="11771"/>
                    <a:pt x="41204" y="0"/>
                    <a:pt x="26490" y="0"/>
                  </a:cubicBezTo>
                  <a:cubicBezTo>
                    <a:pt x="11776" y="0"/>
                    <a:pt x="5" y="11771"/>
                    <a:pt x="5" y="26485"/>
                  </a:cubicBezTo>
                  <a:lnTo>
                    <a:pt x="5" y="92991"/>
                  </a:lnTo>
                  <a:cubicBezTo>
                    <a:pt x="-289" y="107705"/>
                    <a:pt x="11776" y="119476"/>
                    <a:pt x="26490" y="119476"/>
                  </a:cubicBezTo>
                  <a:close/>
                </a:path>
              </a:pathLst>
            </a:custGeom>
            <a:grpFill/>
            <a:ln w="29411" cap="flat">
              <a:noFill/>
              <a:prstDash val="solid"/>
              <a:miter/>
            </a:ln>
          </p:spPr>
          <p:txBody>
            <a:bodyPr rtlCol="0" anchor="ctr"/>
            <a:lstStyle/>
            <a:p>
              <a:endParaRPr lang="fr-FR" sz="900"/>
            </a:p>
          </p:txBody>
        </p:sp>
        <p:sp>
          <p:nvSpPr>
            <p:cNvPr id="38" name="Forme libre : forme 37">
              <a:extLst>
                <a:ext uri="{FF2B5EF4-FFF2-40B4-BE49-F238E27FC236}">
                  <a16:creationId xmlns:a16="http://schemas.microsoft.com/office/drawing/2014/main" id="{0B165B33-0D3F-D926-C8C2-B0E3F03CD1F4}"/>
                </a:ext>
              </a:extLst>
            </p:cNvPr>
            <p:cNvSpPr/>
            <p:nvPr/>
          </p:nvSpPr>
          <p:spPr>
            <a:xfrm>
              <a:off x="6964257" y="5382220"/>
              <a:ext cx="52974" cy="119475"/>
            </a:xfrm>
            <a:custGeom>
              <a:avLst/>
              <a:gdLst>
                <a:gd name="connsiteX0" fmla="*/ 26490 w 52974"/>
                <a:gd name="connsiteY0" fmla="*/ 119476 h 119475"/>
                <a:gd name="connsiteX1" fmla="*/ 52975 w 52974"/>
                <a:gd name="connsiteY1" fmla="*/ 92991 h 119475"/>
                <a:gd name="connsiteX2" fmla="*/ 52975 w 52974"/>
                <a:gd name="connsiteY2" fmla="*/ 26485 h 119475"/>
                <a:gd name="connsiteX3" fmla="*/ 26490 w 52974"/>
                <a:gd name="connsiteY3" fmla="*/ 0 h 119475"/>
                <a:gd name="connsiteX4" fmla="*/ 5 w 52974"/>
                <a:gd name="connsiteY4" fmla="*/ 26485 h 119475"/>
                <a:gd name="connsiteX5" fmla="*/ 5 w 52974"/>
                <a:gd name="connsiteY5" fmla="*/ 92991 h 119475"/>
                <a:gd name="connsiteX6" fmla="*/ 26490 w 52974"/>
                <a:gd name="connsiteY6" fmla="*/ 119476 h 119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974" h="119475">
                  <a:moveTo>
                    <a:pt x="26490" y="119476"/>
                  </a:moveTo>
                  <a:cubicBezTo>
                    <a:pt x="41204" y="119476"/>
                    <a:pt x="52975" y="107705"/>
                    <a:pt x="52975" y="92991"/>
                  </a:cubicBezTo>
                  <a:lnTo>
                    <a:pt x="52975" y="26485"/>
                  </a:lnTo>
                  <a:cubicBezTo>
                    <a:pt x="52975" y="11771"/>
                    <a:pt x="41204" y="0"/>
                    <a:pt x="26490" y="0"/>
                  </a:cubicBezTo>
                  <a:cubicBezTo>
                    <a:pt x="11776" y="0"/>
                    <a:pt x="5" y="11771"/>
                    <a:pt x="5" y="26485"/>
                  </a:cubicBezTo>
                  <a:lnTo>
                    <a:pt x="5" y="92991"/>
                  </a:lnTo>
                  <a:cubicBezTo>
                    <a:pt x="-289" y="107705"/>
                    <a:pt x="11776" y="119476"/>
                    <a:pt x="26490" y="119476"/>
                  </a:cubicBezTo>
                  <a:close/>
                </a:path>
              </a:pathLst>
            </a:custGeom>
            <a:grpFill/>
            <a:ln w="29411" cap="flat">
              <a:noFill/>
              <a:prstDash val="solid"/>
              <a:miter/>
            </a:ln>
          </p:spPr>
          <p:txBody>
            <a:bodyPr rtlCol="0" anchor="ctr"/>
            <a:lstStyle/>
            <a:p>
              <a:endParaRPr lang="fr-FR" sz="900"/>
            </a:p>
          </p:txBody>
        </p:sp>
        <p:sp>
          <p:nvSpPr>
            <p:cNvPr id="39" name="Forme libre : forme 38">
              <a:extLst>
                <a:ext uri="{FF2B5EF4-FFF2-40B4-BE49-F238E27FC236}">
                  <a16:creationId xmlns:a16="http://schemas.microsoft.com/office/drawing/2014/main" id="{5BE7E7B7-2E4C-4A07-E09B-5C4BC54F5F20}"/>
                </a:ext>
              </a:extLst>
            </p:cNvPr>
            <p:cNvSpPr/>
            <p:nvPr/>
          </p:nvSpPr>
          <p:spPr>
            <a:xfrm>
              <a:off x="7495136" y="5242733"/>
              <a:ext cx="52969" cy="119475"/>
            </a:xfrm>
            <a:custGeom>
              <a:avLst/>
              <a:gdLst>
                <a:gd name="connsiteX0" fmla="*/ 26485 w 52969"/>
                <a:gd name="connsiteY0" fmla="*/ 0 h 119475"/>
                <a:gd name="connsiteX1" fmla="*/ 0 w 52969"/>
                <a:gd name="connsiteY1" fmla="*/ 26485 h 119475"/>
                <a:gd name="connsiteX2" fmla="*/ 0 w 52969"/>
                <a:gd name="connsiteY2" fmla="*/ 92991 h 119475"/>
                <a:gd name="connsiteX3" fmla="*/ 26485 w 52969"/>
                <a:gd name="connsiteY3" fmla="*/ 119476 h 119475"/>
                <a:gd name="connsiteX4" fmla="*/ 52970 w 52969"/>
                <a:gd name="connsiteY4" fmla="*/ 92991 h 119475"/>
                <a:gd name="connsiteX5" fmla="*/ 52970 w 52969"/>
                <a:gd name="connsiteY5" fmla="*/ 26485 h 119475"/>
                <a:gd name="connsiteX6" fmla="*/ 26485 w 52969"/>
                <a:gd name="connsiteY6" fmla="*/ 0 h 119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969" h="119475">
                  <a:moveTo>
                    <a:pt x="26485" y="0"/>
                  </a:moveTo>
                  <a:cubicBezTo>
                    <a:pt x="11771" y="0"/>
                    <a:pt x="0" y="11771"/>
                    <a:pt x="0" y="26485"/>
                  </a:cubicBezTo>
                  <a:lnTo>
                    <a:pt x="0" y="92991"/>
                  </a:lnTo>
                  <a:cubicBezTo>
                    <a:pt x="0" y="107705"/>
                    <a:pt x="11771" y="119476"/>
                    <a:pt x="26485" y="119476"/>
                  </a:cubicBezTo>
                  <a:cubicBezTo>
                    <a:pt x="41199" y="119476"/>
                    <a:pt x="52970" y="107705"/>
                    <a:pt x="52970" y="92991"/>
                  </a:cubicBezTo>
                  <a:lnTo>
                    <a:pt x="52970" y="26485"/>
                  </a:lnTo>
                  <a:cubicBezTo>
                    <a:pt x="52970" y="12065"/>
                    <a:pt x="41199" y="0"/>
                    <a:pt x="26485" y="0"/>
                  </a:cubicBezTo>
                  <a:close/>
                </a:path>
              </a:pathLst>
            </a:custGeom>
            <a:grpFill/>
            <a:ln w="29411" cap="flat">
              <a:noFill/>
              <a:prstDash val="solid"/>
              <a:miter/>
            </a:ln>
          </p:spPr>
          <p:txBody>
            <a:bodyPr rtlCol="0" anchor="ctr"/>
            <a:lstStyle/>
            <a:p>
              <a:endParaRPr lang="fr-FR" sz="900"/>
            </a:p>
          </p:txBody>
        </p:sp>
        <p:sp>
          <p:nvSpPr>
            <p:cNvPr id="40" name="Forme libre : forme 39">
              <a:extLst>
                <a:ext uri="{FF2B5EF4-FFF2-40B4-BE49-F238E27FC236}">
                  <a16:creationId xmlns:a16="http://schemas.microsoft.com/office/drawing/2014/main" id="{0584F625-C4B0-835A-171D-B7AFA4F6A796}"/>
                </a:ext>
              </a:extLst>
            </p:cNvPr>
            <p:cNvSpPr/>
            <p:nvPr/>
          </p:nvSpPr>
          <p:spPr>
            <a:xfrm>
              <a:off x="7495136" y="5382220"/>
              <a:ext cx="52969" cy="119475"/>
            </a:xfrm>
            <a:custGeom>
              <a:avLst/>
              <a:gdLst>
                <a:gd name="connsiteX0" fmla="*/ 26485 w 52969"/>
                <a:gd name="connsiteY0" fmla="*/ 0 h 119475"/>
                <a:gd name="connsiteX1" fmla="*/ 0 w 52969"/>
                <a:gd name="connsiteY1" fmla="*/ 26485 h 119475"/>
                <a:gd name="connsiteX2" fmla="*/ 0 w 52969"/>
                <a:gd name="connsiteY2" fmla="*/ 92991 h 119475"/>
                <a:gd name="connsiteX3" fmla="*/ 26485 w 52969"/>
                <a:gd name="connsiteY3" fmla="*/ 119476 h 119475"/>
                <a:gd name="connsiteX4" fmla="*/ 52970 w 52969"/>
                <a:gd name="connsiteY4" fmla="*/ 92991 h 119475"/>
                <a:gd name="connsiteX5" fmla="*/ 52970 w 52969"/>
                <a:gd name="connsiteY5" fmla="*/ 26485 h 119475"/>
                <a:gd name="connsiteX6" fmla="*/ 26485 w 52969"/>
                <a:gd name="connsiteY6" fmla="*/ 0 h 119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969" h="119475">
                  <a:moveTo>
                    <a:pt x="26485" y="0"/>
                  </a:moveTo>
                  <a:cubicBezTo>
                    <a:pt x="11771" y="0"/>
                    <a:pt x="0" y="11771"/>
                    <a:pt x="0" y="26485"/>
                  </a:cubicBezTo>
                  <a:lnTo>
                    <a:pt x="0" y="92991"/>
                  </a:lnTo>
                  <a:cubicBezTo>
                    <a:pt x="0" y="107705"/>
                    <a:pt x="11771" y="119476"/>
                    <a:pt x="26485" y="119476"/>
                  </a:cubicBezTo>
                  <a:cubicBezTo>
                    <a:pt x="41199" y="119476"/>
                    <a:pt x="52970" y="107705"/>
                    <a:pt x="52970" y="92991"/>
                  </a:cubicBezTo>
                  <a:lnTo>
                    <a:pt x="52970" y="26485"/>
                  </a:lnTo>
                  <a:cubicBezTo>
                    <a:pt x="52970" y="12065"/>
                    <a:pt x="41199" y="0"/>
                    <a:pt x="26485" y="0"/>
                  </a:cubicBezTo>
                  <a:close/>
                </a:path>
              </a:pathLst>
            </a:custGeom>
            <a:grpFill/>
            <a:ln w="29411" cap="flat">
              <a:noFill/>
              <a:prstDash val="solid"/>
              <a:miter/>
            </a:ln>
          </p:spPr>
          <p:txBody>
            <a:bodyPr rtlCol="0" anchor="ctr"/>
            <a:lstStyle/>
            <a:p>
              <a:endParaRPr lang="fr-FR" sz="900"/>
            </a:p>
          </p:txBody>
        </p:sp>
      </p:grpSp>
      <p:sp>
        <p:nvSpPr>
          <p:cNvPr id="2" name="ZoneTexte 1">
            <a:extLst>
              <a:ext uri="{FF2B5EF4-FFF2-40B4-BE49-F238E27FC236}">
                <a16:creationId xmlns:a16="http://schemas.microsoft.com/office/drawing/2014/main" id="{28AD3559-36E8-1700-DC9E-2329738FA060}"/>
              </a:ext>
            </a:extLst>
          </p:cNvPr>
          <p:cNvSpPr txBox="1"/>
          <p:nvPr/>
        </p:nvSpPr>
        <p:spPr>
          <a:xfrm>
            <a:off x="8957757" y="6533456"/>
            <a:ext cx="1217000" cy="200055"/>
          </a:xfrm>
          <a:prstGeom prst="rect">
            <a:avLst/>
          </a:prstGeom>
          <a:noFill/>
        </p:spPr>
        <p:txBody>
          <a:bodyPr wrap="none" rtlCol="0">
            <a:spAutoFit/>
          </a:bodyPr>
          <a:lstStyle/>
          <a:p>
            <a:r>
              <a:rPr lang="fr-FR" sz="700" i="1" dirty="0">
                <a:solidFill>
                  <a:schemeClr val="bg1"/>
                </a:solidFill>
                <a:latin typeface="Arial" panose="020B0604020202020204" pitchFamily="34" charset="0"/>
                <a:cs typeface="Arial" panose="020B0604020202020204" pitchFamily="34" charset="0"/>
              </a:rPr>
              <a:t>Source : AFAA - Cogedim</a:t>
            </a:r>
          </a:p>
        </p:txBody>
      </p:sp>
      <p:sp>
        <p:nvSpPr>
          <p:cNvPr id="45" name="Rectangle 44">
            <a:extLst>
              <a:ext uri="{FF2B5EF4-FFF2-40B4-BE49-F238E27FC236}">
                <a16:creationId xmlns:a16="http://schemas.microsoft.com/office/drawing/2014/main" id="{19853DB0-D5EC-EB39-4858-3C1A09234752}"/>
              </a:ext>
            </a:extLst>
          </p:cNvPr>
          <p:cNvSpPr/>
          <p:nvPr/>
        </p:nvSpPr>
        <p:spPr>
          <a:xfrm>
            <a:off x="8747090" y="5288417"/>
            <a:ext cx="2288860" cy="873494"/>
          </a:xfrm>
          <a:prstGeom prst="rect">
            <a:avLst/>
          </a:prstGeom>
          <a:solidFill>
            <a:srgbClr val="E4002B"/>
          </a:solidFill>
          <a:ln>
            <a:noFill/>
          </a:ln>
        </p:spPr>
        <p:style>
          <a:lnRef idx="2">
            <a:schemeClr val="accent1">
              <a:shade val="15000"/>
            </a:schemeClr>
          </a:lnRef>
          <a:fillRef idx="1">
            <a:schemeClr val="accent1"/>
          </a:fillRef>
          <a:effectRef idx="0">
            <a:schemeClr val="accent1"/>
          </a:effectRef>
          <a:fontRef idx="minor">
            <a:schemeClr val="lt1"/>
          </a:fontRef>
        </p:style>
        <p:txBody>
          <a:bodyPr lIns="180000" tIns="72000" rIns="72000" bIns="90000" rtlCol="0" anchor="ctr"/>
          <a:lstStyle/>
          <a:p>
            <a:r>
              <a:rPr lang="fr-FR" sz="1200" b="1" dirty="0">
                <a:latin typeface="Arial" panose="020B0604020202020204" pitchFamily="34" charset="0"/>
                <a:cs typeface="Arial" panose="020B0604020202020204" pitchFamily="34" charset="0"/>
              </a:rPr>
              <a:t>UNE VRAIE PANNE DE L’INVESTISSEMENT</a:t>
            </a:r>
            <a:br>
              <a:rPr lang="fr-FR" sz="1200" b="1" dirty="0">
                <a:latin typeface="Arial" panose="020B0604020202020204" pitchFamily="34" charset="0"/>
                <a:cs typeface="Arial" panose="020B0604020202020204" pitchFamily="34" charset="0"/>
              </a:rPr>
            </a:br>
            <a:r>
              <a:rPr lang="fr-FR" sz="1200" b="1" dirty="0">
                <a:latin typeface="Arial" panose="020B0604020202020204" pitchFamily="34" charset="0"/>
                <a:cs typeface="Arial" panose="020B0604020202020204" pitchFamily="34" charset="0"/>
              </a:rPr>
              <a:t>AVEC SEULEMENT 400 M€ INVESTIS (-60 % environ)</a:t>
            </a:r>
          </a:p>
        </p:txBody>
      </p:sp>
      <p:sp>
        <p:nvSpPr>
          <p:cNvPr id="46" name="Rectangle 45">
            <a:extLst>
              <a:ext uri="{FF2B5EF4-FFF2-40B4-BE49-F238E27FC236}">
                <a16:creationId xmlns:a16="http://schemas.microsoft.com/office/drawing/2014/main" id="{76CA5C77-9D9C-038F-B57E-23A256230375}"/>
              </a:ext>
            </a:extLst>
          </p:cNvPr>
          <p:cNvSpPr/>
          <p:nvPr/>
        </p:nvSpPr>
        <p:spPr>
          <a:xfrm>
            <a:off x="8737584" y="0"/>
            <a:ext cx="105878" cy="6858000"/>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00"/>
          </a:p>
        </p:txBody>
      </p:sp>
    </p:spTree>
    <p:extLst>
      <p:ext uri="{BB962C8B-B14F-4D97-AF65-F5344CB8AC3E}">
        <p14:creationId xmlns:p14="http://schemas.microsoft.com/office/powerpoint/2010/main" val="295178810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 5">
            <a:extLst>
              <a:ext uri="{FF2B5EF4-FFF2-40B4-BE49-F238E27FC236}">
                <a16:creationId xmlns:a16="http://schemas.microsoft.com/office/drawing/2014/main" id="{6007AF49-5076-4DFC-8AEF-95B547880AF5}"/>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397" y="2312988"/>
            <a:ext cx="5380096" cy="3602861"/>
          </a:xfrm>
          <a:prstGeom prst="rect">
            <a:avLst/>
          </a:prstGeom>
        </p:spPr>
      </p:pic>
      <p:sp>
        <p:nvSpPr>
          <p:cNvPr id="2" name="Rectangle 1">
            <a:extLst>
              <a:ext uri="{FF2B5EF4-FFF2-40B4-BE49-F238E27FC236}">
                <a16:creationId xmlns:a16="http://schemas.microsoft.com/office/drawing/2014/main" id="{DB5791B6-A575-4151-3B9C-E2026C46E5DB}"/>
              </a:ext>
            </a:extLst>
          </p:cNvPr>
          <p:cNvSpPr/>
          <p:nvPr/>
        </p:nvSpPr>
        <p:spPr>
          <a:xfrm>
            <a:off x="397" y="0"/>
            <a:ext cx="105878" cy="6858000"/>
          </a:xfrm>
          <a:prstGeom prst="rect">
            <a:avLst/>
          </a:prstGeom>
          <a:solidFill>
            <a:srgbClr val="E400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00"/>
          </a:p>
        </p:txBody>
      </p:sp>
      <p:sp>
        <p:nvSpPr>
          <p:cNvPr id="3" name="object 8">
            <a:extLst>
              <a:ext uri="{FF2B5EF4-FFF2-40B4-BE49-F238E27FC236}">
                <a16:creationId xmlns:a16="http://schemas.microsoft.com/office/drawing/2014/main" id="{56BC03F6-2C8B-04BF-0964-C706143D30DB}"/>
              </a:ext>
            </a:extLst>
          </p:cNvPr>
          <p:cNvSpPr txBox="1">
            <a:spLocks/>
          </p:cNvSpPr>
          <p:nvPr/>
        </p:nvSpPr>
        <p:spPr>
          <a:xfrm>
            <a:off x="515074" y="-4878"/>
            <a:ext cx="7323038" cy="1696465"/>
          </a:xfrm>
          <a:prstGeom prst="rect">
            <a:avLst/>
          </a:prstGeom>
        </p:spPr>
        <p:txBody>
          <a:bodyPr vert="horz" wrap="square" lIns="0" tIns="3658" rIns="0" bIns="0" rtlCol="0" anchor="ctr">
            <a:spAutoFit/>
          </a:bodyPr>
          <a:lstStyle>
            <a:lvl1pPr algn="l" defTabSz="1828709" rtl="0" eaLnBrk="1" latinLnBrk="0" hangingPunct="1">
              <a:lnSpc>
                <a:spcPct val="90000"/>
              </a:lnSpc>
              <a:spcBef>
                <a:spcPct val="0"/>
              </a:spcBef>
              <a:buNone/>
              <a:defRPr sz="8800" kern="1200">
                <a:solidFill>
                  <a:schemeClr val="tx1"/>
                </a:solidFill>
                <a:latin typeface="+mj-lt"/>
                <a:ea typeface="+mj-ea"/>
                <a:cs typeface="+mj-cs"/>
              </a:defRPr>
            </a:lvl1pPr>
          </a:lstStyle>
          <a:p>
            <a:pPr marL="3851">
              <a:lnSpc>
                <a:spcPct val="100000"/>
              </a:lnSpc>
              <a:spcBef>
                <a:spcPts val="29"/>
              </a:spcBef>
              <a:tabLst>
                <a:tab pos="1528050" algn="l"/>
              </a:tabLst>
            </a:pPr>
            <a:endParaRPr lang="fr-FR" sz="2200" spc="-2" dirty="0">
              <a:solidFill>
                <a:srgbClr val="E4002B"/>
              </a:solidFill>
              <a:latin typeface="Arial Black" panose="020B0A04020102020204" pitchFamily="34" charset="0"/>
            </a:endParaRPr>
          </a:p>
          <a:p>
            <a:pPr marL="3851">
              <a:lnSpc>
                <a:spcPct val="100000"/>
              </a:lnSpc>
              <a:spcBef>
                <a:spcPts val="29"/>
              </a:spcBef>
              <a:tabLst>
                <a:tab pos="1528050" algn="l"/>
              </a:tabLst>
            </a:pPr>
            <a:r>
              <a:rPr lang="fr-FR" sz="2200" spc="-2" dirty="0">
                <a:solidFill>
                  <a:srgbClr val="E4002B"/>
                </a:solidFill>
                <a:latin typeface="Arial Black" panose="020B0A04020102020204" pitchFamily="34" charset="0"/>
              </a:rPr>
              <a:t>UNE ÉVOLUTION</a:t>
            </a:r>
            <a:br>
              <a:rPr lang="fr-FR" sz="2200" spc="-2" dirty="0">
                <a:solidFill>
                  <a:srgbClr val="E4002B"/>
                </a:solidFill>
                <a:latin typeface="Arial Black" panose="020B0A04020102020204" pitchFamily="34" charset="0"/>
              </a:rPr>
            </a:br>
            <a:r>
              <a:rPr lang="fr-FR" sz="2200" spc="-2" dirty="0">
                <a:solidFill>
                  <a:srgbClr val="E4002B"/>
                </a:solidFill>
                <a:latin typeface="Arial Black" panose="020B0A04020102020204" pitchFamily="34" charset="0"/>
              </a:rPr>
              <a:t>STRUCTURELLE DU MARCHÉ </a:t>
            </a:r>
            <a:br>
              <a:rPr lang="fr-FR" sz="2200" spc="-2" dirty="0">
                <a:solidFill>
                  <a:srgbClr val="E4002B"/>
                </a:solidFill>
                <a:latin typeface="Arial Black" panose="020B0A04020102020204" pitchFamily="34" charset="0"/>
              </a:rPr>
            </a:br>
            <a:r>
              <a:rPr lang="fr-FR" sz="2200" spc="-2" dirty="0">
                <a:latin typeface="Arial Black" panose="020B0A04020102020204" pitchFamily="34" charset="0"/>
              </a:rPr>
              <a:t>      POUR LES UTILISATEURS</a:t>
            </a:r>
            <a:br>
              <a:rPr lang="fr-FR" sz="2200" spc="-2" dirty="0">
                <a:latin typeface="Arial Black" panose="020B0A04020102020204" pitchFamily="34" charset="0"/>
              </a:rPr>
            </a:br>
            <a:r>
              <a:rPr lang="fr-FR" sz="2200" spc="-2" dirty="0">
                <a:latin typeface="Arial Black" panose="020B0A04020102020204" pitchFamily="34" charset="0"/>
              </a:rPr>
              <a:t>      ET LES INVESTISSEURS</a:t>
            </a:r>
          </a:p>
        </p:txBody>
      </p:sp>
      <p:sp>
        <p:nvSpPr>
          <p:cNvPr id="4" name="Rectangle 3">
            <a:extLst>
              <a:ext uri="{FF2B5EF4-FFF2-40B4-BE49-F238E27FC236}">
                <a16:creationId xmlns:a16="http://schemas.microsoft.com/office/drawing/2014/main" id="{80074BE1-FA8F-0119-53BC-9EE84347559D}"/>
              </a:ext>
            </a:extLst>
          </p:cNvPr>
          <p:cNvSpPr/>
          <p:nvPr/>
        </p:nvSpPr>
        <p:spPr>
          <a:xfrm>
            <a:off x="8747129" y="-67157"/>
            <a:ext cx="3571543" cy="3124966"/>
          </a:xfrm>
          <a:prstGeom prst="rect">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092"/>
          </a:p>
        </p:txBody>
      </p:sp>
      <p:sp>
        <p:nvSpPr>
          <p:cNvPr id="9" name="Rectangle 8">
            <a:extLst>
              <a:ext uri="{FF2B5EF4-FFF2-40B4-BE49-F238E27FC236}">
                <a16:creationId xmlns:a16="http://schemas.microsoft.com/office/drawing/2014/main" id="{9C34E1E1-67C9-44A0-3030-515F1BA6666E}"/>
              </a:ext>
            </a:extLst>
          </p:cNvPr>
          <p:cNvSpPr/>
          <p:nvPr/>
        </p:nvSpPr>
        <p:spPr>
          <a:xfrm>
            <a:off x="5368741" y="2987181"/>
            <a:ext cx="3456228" cy="3124967"/>
          </a:xfrm>
          <a:prstGeom prst="rect">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092"/>
          </a:p>
        </p:txBody>
      </p:sp>
      <p:sp>
        <p:nvSpPr>
          <p:cNvPr id="10" name="Rectangle 9">
            <a:extLst>
              <a:ext uri="{FF2B5EF4-FFF2-40B4-BE49-F238E27FC236}">
                <a16:creationId xmlns:a16="http://schemas.microsoft.com/office/drawing/2014/main" id="{C102F71B-CD1A-2D57-2495-CA0B7A86CBFF}"/>
              </a:ext>
            </a:extLst>
          </p:cNvPr>
          <p:cNvSpPr/>
          <p:nvPr/>
        </p:nvSpPr>
        <p:spPr>
          <a:xfrm>
            <a:off x="8747128" y="2987181"/>
            <a:ext cx="3444048" cy="3124967"/>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092"/>
          </a:p>
        </p:txBody>
      </p:sp>
      <p:sp>
        <p:nvSpPr>
          <p:cNvPr id="13" name="Rectangle 12">
            <a:extLst>
              <a:ext uri="{FF2B5EF4-FFF2-40B4-BE49-F238E27FC236}">
                <a16:creationId xmlns:a16="http://schemas.microsoft.com/office/drawing/2014/main" id="{E0CEE02F-3077-BE5B-F330-A647DC0FAFD9}"/>
              </a:ext>
            </a:extLst>
          </p:cNvPr>
          <p:cNvSpPr/>
          <p:nvPr/>
        </p:nvSpPr>
        <p:spPr>
          <a:xfrm>
            <a:off x="5369104" y="0"/>
            <a:ext cx="3455865" cy="3057809"/>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092"/>
          </a:p>
        </p:txBody>
      </p:sp>
      <p:sp>
        <p:nvSpPr>
          <p:cNvPr id="14" name="Rectangle 13">
            <a:extLst>
              <a:ext uri="{FF2B5EF4-FFF2-40B4-BE49-F238E27FC236}">
                <a16:creationId xmlns:a16="http://schemas.microsoft.com/office/drawing/2014/main" id="{30EEE507-81CC-1CCA-3D85-48923939A8AD}"/>
              </a:ext>
            </a:extLst>
          </p:cNvPr>
          <p:cNvSpPr/>
          <p:nvPr/>
        </p:nvSpPr>
        <p:spPr>
          <a:xfrm>
            <a:off x="5368741" y="2798183"/>
            <a:ext cx="6822863" cy="91741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092"/>
          </a:p>
        </p:txBody>
      </p:sp>
      <p:sp>
        <p:nvSpPr>
          <p:cNvPr id="15" name="Rectangle 14">
            <a:extLst>
              <a:ext uri="{FF2B5EF4-FFF2-40B4-BE49-F238E27FC236}">
                <a16:creationId xmlns:a16="http://schemas.microsoft.com/office/drawing/2014/main" id="{0DB54247-8A8C-EF7C-2E70-5D1487D7370F}"/>
              </a:ext>
            </a:extLst>
          </p:cNvPr>
          <p:cNvSpPr/>
          <p:nvPr/>
        </p:nvSpPr>
        <p:spPr>
          <a:xfrm>
            <a:off x="5368313" y="5915849"/>
            <a:ext cx="6822863" cy="950236"/>
          </a:xfrm>
          <a:prstGeom prst="rect">
            <a:avLst/>
          </a:prstGeom>
          <a:solidFill>
            <a:srgbClr val="E400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092"/>
          </a:p>
        </p:txBody>
      </p:sp>
      <p:sp>
        <p:nvSpPr>
          <p:cNvPr id="19" name="object 13">
            <a:extLst>
              <a:ext uri="{FF2B5EF4-FFF2-40B4-BE49-F238E27FC236}">
                <a16:creationId xmlns:a16="http://schemas.microsoft.com/office/drawing/2014/main" id="{9FE34389-4D80-861C-74F8-1F68D2394D8C}"/>
              </a:ext>
            </a:extLst>
          </p:cNvPr>
          <p:cNvSpPr txBox="1"/>
          <p:nvPr/>
        </p:nvSpPr>
        <p:spPr>
          <a:xfrm>
            <a:off x="5980535" y="3124675"/>
            <a:ext cx="5550931" cy="332399"/>
          </a:xfrm>
          <a:prstGeom prst="rect">
            <a:avLst/>
          </a:prstGeom>
        </p:spPr>
        <p:txBody>
          <a:bodyPr vert="horz" wrap="square" lIns="0" tIns="0" rIns="0" bIns="0" rtlCol="0">
            <a:spAutoFit/>
          </a:bodyPr>
          <a:lstStyle/>
          <a:p>
            <a:pPr marL="7701" algn="ctr">
              <a:lnSpc>
                <a:spcPct val="90000"/>
              </a:lnSpc>
            </a:pPr>
            <a:r>
              <a:rPr lang="fr-FR" sz="2400" b="1" spc="12" dirty="0">
                <a:solidFill>
                  <a:schemeClr val="bg1"/>
                </a:solidFill>
                <a:latin typeface="Arial" panose="020B0604020202020204" pitchFamily="34" charset="0"/>
                <a:cs typeface="Arial" panose="020B0604020202020204" pitchFamily="34" charset="0"/>
              </a:rPr>
              <a:t>MOINS DE M² MAIS MIEUX… </a:t>
            </a:r>
          </a:p>
        </p:txBody>
      </p:sp>
      <p:sp>
        <p:nvSpPr>
          <p:cNvPr id="20" name="Flèche : chevron 19">
            <a:extLst>
              <a:ext uri="{FF2B5EF4-FFF2-40B4-BE49-F238E27FC236}">
                <a16:creationId xmlns:a16="http://schemas.microsoft.com/office/drawing/2014/main" id="{9D1F5617-C607-B3B8-E498-66FFD68C484F}"/>
              </a:ext>
            </a:extLst>
          </p:cNvPr>
          <p:cNvSpPr/>
          <p:nvPr/>
        </p:nvSpPr>
        <p:spPr>
          <a:xfrm>
            <a:off x="6172589" y="3065894"/>
            <a:ext cx="208627" cy="405080"/>
          </a:xfrm>
          <a:prstGeom prst="chevron">
            <a:avLst/>
          </a:prstGeom>
          <a:solidFill>
            <a:schemeClr val="bg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25718" tIns="12859" rIns="25718" bIns="12859" numCol="1" spcCol="0" rtlCol="0" fromWordArt="0" anchor="ctr" anchorCtr="0" forceAA="0" compatLnSpc="1">
            <a:prstTxWarp prst="textNoShape">
              <a:avLst/>
            </a:prstTxWarp>
            <a:noAutofit/>
          </a:bodyPr>
          <a:lstStyle/>
          <a:p>
            <a:pPr algn="ctr"/>
            <a:endParaRPr lang="fr-FR" sz="675" dirty="0">
              <a:solidFill>
                <a:schemeClr val="tx1"/>
              </a:solidFill>
              <a:latin typeface="Arial Black" panose="020B0A04020102020204" pitchFamily="34" charset="0"/>
            </a:endParaRPr>
          </a:p>
        </p:txBody>
      </p:sp>
      <p:sp>
        <p:nvSpPr>
          <p:cNvPr id="21" name="Flèche : chevron 20">
            <a:extLst>
              <a:ext uri="{FF2B5EF4-FFF2-40B4-BE49-F238E27FC236}">
                <a16:creationId xmlns:a16="http://schemas.microsoft.com/office/drawing/2014/main" id="{57054311-E7C4-08FC-E52C-E50B05B761CD}"/>
              </a:ext>
            </a:extLst>
          </p:cNvPr>
          <p:cNvSpPr/>
          <p:nvPr/>
        </p:nvSpPr>
        <p:spPr>
          <a:xfrm rot="10800000">
            <a:off x="11060442" y="3072540"/>
            <a:ext cx="208627" cy="405080"/>
          </a:xfrm>
          <a:prstGeom prst="chevron">
            <a:avLst/>
          </a:prstGeom>
          <a:solidFill>
            <a:schemeClr val="bg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25718" tIns="12859" rIns="25718" bIns="12859" numCol="1" spcCol="0" rtlCol="0" fromWordArt="0" anchor="ctr" anchorCtr="0" forceAA="0" compatLnSpc="1">
            <a:prstTxWarp prst="textNoShape">
              <a:avLst/>
            </a:prstTxWarp>
            <a:noAutofit/>
          </a:bodyPr>
          <a:lstStyle/>
          <a:p>
            <a:pPr algn="ctr"/>
            <a:endParaRPr lang="fr-FR" sz="675" dirty="0">
              <a:solidFill>
                <a:schemeClr val="tx1"/>
              </a:solidFill>
              <a:latin typeface="Arial Black" panose="020B0A04020102020204" pitchFamily="34" charset="0"/>
            </a:endParaRPr>
          </a:p>
        </p:txBody>
      </p:sp>
      <p:sp>
        <p:nvSpPr>
          <p:cNvPr id="25" name="object 13">
            <a:extLst>
              <a:ext uri="{FF2B5EF4-FFF2-40B4-BE49-F238E27FC236}">
                <a16:creationId xmlns:a16="http://schemas.microsoft.com/office/drawing/2014/main" id="{BCE7A9E9-C058-51A5-1DC3-306BD1741815}"/>
              </a:ext>
            </a:extLst>
          </p:cNvPr>
          <p:cNvSpPr txBox="1"/>
          <p:nvPr/>
        </p:nvSpPr>
        <p:spPr>
          <a:xfrm>
            <a:off x="5845848" y="6103067"/>
            <a:ext cx="6128224" cy="581698"/>
          </a:xfrm>
          <a:prstGeom prst="rect">
            <a:avLst/>
          </a:prstGeom>
        </p:spPr>
        <p:txBody>
          <a:bodyPr vert="horz" wrap="square" lIns="0" tIns="0" rIns="0" bIns="0" rtlCol="0">
            <a:spAutoFit/>
          </a:bodyPr>
          <a:lstStyle/>
          <a:p>
            <a:pPr marL="7701">
              <a:lnSpc>
                <a:spcPct val="90000"/>
              </a:lnSpc>
            </a:pPr>
            <a:r>
              <a:rPr lang="fr-FR" sz="1400" b="1" spc="12" dirty="0">
                <a:solidFill>
                  <a:schemeClr val="bg1"/>
                </a:solidFill>
                <a:latin typeface="Arial" panose="020B0604020202020204" pitchFamily="34" charset="0"/>
                <a:cs typeface="Arial" panose="020B0604020202020204" pitchFamily="34" charset="0"/>
              </a:rPr>
              <a:t>NÉCESSITANT D’ACCOMPAGNER CES TENDANCES LOURDES</a:t>
            </a:r>
            <a:br>
              <a:rPr lang="fr-FR" sz="1400" b="1" spc="12" dirty="0">
                <a:solidFill>
                  <a:schemeClr val="bg1"/>
                </a:solidFill>
                <a:latin typeface="Arial" panose="020B0604020202020204" pitchFamily="34" charset="0"/>
                <a:cs typeface="Arial" panose="020B0604020202020204" pitchFamily="34" charset="0"/>
              </a:rPr>
            </a:br>
            <a:r>
              <a:rPr lang="fr-FR" sz="1400" b="1" spc="12" dirty="0">
                <a:solidFill>
                  <a:schemeClr val="bg1"/>
                </a:solidFill>
                <a:latin typeface="Arial" panose="020B0604020202020204" pitchFamily="34" charset="0"/>
                <a:cs typeface="Arial" panose="020B0604020202020204" pitchFamily="34" charset="0"/>
              </a:rPr>
              <a:t>DANS L’ADAPTATION DU TERRITOIRE</a:t>
            </a:r>
            <a:br>
              <a:rPr lang="fr-FR" sz="1400" b="1" spc="12" dirty="0">
                <a:solidFill>
                  <a:schemeClr val="bg1"/>
                </a:solidFill>
                <a:latin typeface="Arial" panose="020B0604020202020204" pitchFamily="34" charset="0"/>
                <a:cs typeface="Arial" panose="020B0604020202020204" pitchFamily="34" charset="0"/>
              </a:rPr>
            </a:br>
            <a:r>
              <a:rPr lang="fr-FR" sz="1400" b="1" spc="12" dirty="0">
                <a:solidFill>
                  <a:schemeClr val="bg1"/>
                </a:solidFill>
                <a:latin typeface="Arial" panose="020B0604020202020204" pitchFamily="34" charset="0"/>
                <a:cs typeface="Arial" panose="020B0604020202020204" pitchFamily="34" charset="0"/>
              </a:rPr>
              <a:t>ET LA PRODUCTION TERTIAIRE</a:t>
            </a:r>
          </a:p>
        </p:txBody>
      </p:sp>
      <p:sp>
        <p:nvSpPr>
          <p:cNvPr id="26" name="object 13">
            <a:extLst>
              <a:ext uri="{FF2B5EF4-FFF2-40B4-BE49-F238E27FC236}">
                <a16:creationId xmlns:a16="http://schemas.microsoft.com/office/drawing/2014/main" id="{92F6A675-8B81-DBBF-1FCC-F9D56F2E8AEA}"/>
              </a:ext>
            </a:extLst>
          </p:cNvPr>
          <p:cNvSpPr txBox="1"/>
          <p:nvPr/>
        </p:nvSpPr>
        <p:spPr>
          <a:xfrm>
            <a:off x="5849993" y="4264992"/>
            <a:ext cx="2625381" cy="1107996"/>
          </a:xfrm>
          <a:prstGeom prst="rect">
            <a:avLst/>
          </a:prstGeom>
        </p:spPr>
        <p:txBody>
          <a:bodyPr vert="horz" wrap="square" lIns="0" tIns="0" rIns="0" bIns="0" rtlCol="0">
            <a:spAutoFit/>
          </a:bodyPr>
          <a:lstStyle/>
          <a:p>
            <a:pPr marL="7701">
              <a:lnSpc>
                <a:spcPct val="90000"/>
              </a:lnSpc>
            </a:pPr>
            <a:r>
              <a:rPr lang="fr-FR" sz="1600" b="1" spc="12" dirty="0">
                <a:latin typeface="Arial" panose="020B0604020202020204" pitchFamily="34" charset="0"/>
                <a:cs typeface="Arial" panose="020B0604020202020204" pitchFamily="34" charset="0"/>
              </a:rPr>
              <a:t>Des nouvelles normes </a:t>
            </a:r>
            <a:r>
              <a:rPr lang="fr-FR" sz="1600" spc="12" dirty="0">
                <a:latin typeface="Arial" panose="020B0604020202020204" pitchFamily="34" charset="0"/>
                <a:cs typeface="Arial" panose="020B0604020202020204" pitchFamily="34" charset="0"/>
              </a:rPr>
              <a:t>qui s’imposent aux entreprises et aux propriétaires : une tendance structurelle de performance </a:t>
            </a:r>
            <a:endParaRPr lang="fr-FR" sz="1600" b="1" spc="12" dirty="0">
              <a:latin typeface="Arial" panose="020B0604020202020204" pitchFamily="34" charset="0"/>
              <a:cs typeface="Arial" panose="020B0604020202020204" pitchFamily="34" charset="0"/>
            </a:endParaRPr>
          </a:p>
        </p:txBody>
      </p:sp>
      <p:sp>
        <p:nvSpPr>
          <p:cNvPr id="28" name="object 13">
            <a:extLst>
              <a:ext uri="{FF2B5EF4-FFF2-40B4-BE49-F238E27FC236}">
                <a16:creationId xmlns:a16="http://schemas.microsoft.com/office/drawing/2014/main" id="{2B0CCB25-3709-4FD9-99C6-7F96D4916589}"/>
              </a:ext>
            </a:extLst>
          </p:cNvPr>
          <p:cNvSpPr txBox="1"/>
          <p:nvPr/>
        </p:nvSpPr>
        <p:spPr>
          <a:xfrm>
            <a:off x="9195382" y="4264992"/>
            <a:ext cx="2625381" cy="1107996"/>
          </a:xfrm>
          <a:prstGeom prst="rect">
            <a:avLst/>
          </a:prstGeom>
        </p:spPr>
        <p:txBody>
          <a:bodyPr vert="horz" wrap="square" lIns="0" tIns="0" rIns="0" bIns="0" rtlCol="0">
            <a:spAutoFit/>
          </a:bodyPr>
          <a:lstStyle/>
          <a:p>
            <a:pPr marL="7701">
              <a:lnSpc>
                <a:spcPct val="90000"/>
              </a:lnSpc>
            </a:pPr>
            <a:r>
              <a:rPr lang="fr-FR" sz="1600" b="1" spc="12" dirty="0">
                <a:solidFill>
                  <a:schemeClr val="bg1"/>
                </a:solidFill>
                <a:latin typeface="Arial" panose="020B0604020202020204" pitchFamily="34" charset="0"/>
                <a:cs typeface="Arial" panose="020B0604020202020204" pitchFamily="34" charset="0"/>
              </a:rPr>
              <a:t>Des investisseurs et des promoteurs </a:t>
            </a:r>
            <a:r>
              <a:rPr lang="fr-FR" sz="1600" spc="12" dirty="0">
                <a:solidFill>
                  <a:schemeClr val="bg1"/>
                </a:solidFill>
                <a:latin typeface="Arial" panose="020B0604020202020204" pitchFamily="34" charset="0"/>
                <a:cs typeface="Arial" panose="020B0604020202020204" pitchFamily="34" charset="0"/>
              </a:rPr>
              <a:t>engagés dans leur feuille de route à réduire l’impact carbone de leurs activités </a:t>
            </a:r>
          </a:p>
        </p:txBody>
      </p:sp>
      <p:sp>
        <p:nvSpPr>
          <p:cNvPr id="36" name="object 13">
            <a:extLst>
              <a:ext uri="{FF2B5EF4-FFF2-40B4-BE49-F238E27FC236}">
                <a16:creationId xmlns:a16="http://schemas.microsoft.com/office/drawing/2014/main" id="{AEC7AAE4-640E-0F7D-2C06-D876E6D30F2B}"/>
              </a:ext>
            </a:extLst>
          </p:cNvPr>
          <p:cNvSpPr txBox="1"/>
          <p:nvPr/>
        </p:nvSpPr>
        <p:spPr>
          <a:xfrm>
            <a:off x="9195382" y="802798"/>
            <a:ext cx="2778690" cy="1329595"/>
          </a:xfrm>
          <a:prstGeom prst="rect">
            <a:avLst/>
          </a:prstGeom>
        </p:spPr>
        <p:txBody>
          <a:bodyPr vert="horz" wrap="square" lIns="0" tIns="0" rIns="0" bIns="0" rtlCol="0">
            <a:spAutoFit/>
          </a:bodyPr>
          <a:lstStyle/>
          <a:p>
            <a:pPr marL="7701">
              <a:lnSpc>
                <a:spcPct val="90000"/>
              </a:lnSpc>
            </a:pPr>
            <a:r>
              <a:rPr lang="fr-FR" sz="1600" b="1" spc="12" dirty="0">
                <a:latin typeface="Arial" panose="020B0604020202020204" pitchFamily="34" charset="0"/>
                <a:cs typeface="Arial" panose="020B0604020202020204" pitchFamily="34" charset="0"/>
              </a:rPr>
              <a:t>Des entreprises en recherche de rationalisation, </a:t>
            </a:r>
            <a:r>
              <a:rPr lang="fr-FR" sz="1600" spc="12" dirty="0">
                <a:latin typeface="Arial" panose="020B0604020202020204" pitchFamily="34" charset="0"/>
                <a:cs typeface="Arial" panose="020B0604020202020204" pitchFamily="34" charset="0"/>
              </a:rPr>
              <a:t>de flexibilité, d’immobilier à l’image des valeurs de l’entreprise et de leurs engagements</a:t>
            </a:r>
          </a:p>
        </p:txBody>
      </p:sp>
      <p:sp>
        <p:nvSpPr>
          <p:cNvPr id="41" name="object 13">
            <a:extLst>
              <a:ext uri="{FF2B5EF4-FFF2-40B4-BE49-F238E27FC236}">
                <a16:creationId xmlns:a16="http://schemas.microsoft.com/office/drawing/2014/main" id="{4D41DC5D-22B5-F5AF-8A70-0BBDCB4C7FCB}"/>
              </a:ext>
            </a:extLst>
          </p:cNvPr>
          <p:cNvSpPr txBox="1"/>
          <p:nvPr/>
        </p:nvSpPr>
        <p:spPr>
          <a:xfrm>
            <a:off x="5849993" y="794677"/>
            <a:ext cx="2778690" cy="1107996"/>
          </a:xfrm>
          <a:prstGeom prst="rect">
            <a:avLst/>
          </a:prstGeom>
        </p:spPr>
        <p:txBody>
          <a:bodyPr vert="horz" wrap="square" lIns="0" tIns="0" rIns="0" bIns="0" rtlCol="0">
            <a:spAutoFit/>
          </a:bodyPr>
          <a:lstStyle/>
          <a:p>
            <a:pPr marL="7701">
              <a:lnSpc>
                <a:spcPct val="90000"/>
              </a:lnSpc>
            </a:pPr>
            <a:r>
              <a:rPr lang="fr-FR" sz="1600" b="1" spc="12" dirty="0">
                <a:solidFill>
                  <a:schemeClr val="bg1"/>
                </a:solidFill>
                <a:latin typeface="Arial" panose="020B0604020202020204" pitchFamily="34" charset="0"/>
                <a:cs typeface="Arial" panose="020B0604020202020204" pitchFamily="34" charset="0"/>
              </a:rPr>
              <a:t>Des salariés en recherche d’entreprises engagées,</a:t>
            </a:r>
          </a:p>
          <a:p>
            <a:pPr marL="7701">
              <a:lnSpc>
                <a:spcPct val="90000"/>
              </a:lnSpc>
            </a:pPr>
            <a:r>
              <a:rPr lang="fr-FR" sz="1600" b="1" spc="12" dirty="0">
                <a:solidFill>
                  <a:schemeClr val="bg1"/>
                </a:solidFill>
                <a:latin typeface="Arial" panose="020B0604020202020204" pitchFamily="34" charset="0"/>
                <a:cs typeface="Arial" panose="020B0604020202020204" pitchFamily="34" charset="0"/>
              </a:rPr>
              <a:t>d’urbanité</a:t>
            </a:r>
            <a:r>
              <a:rPr lang="fr-FR" sz="1600" spc="12" dirty="0">
                <a:solidFill>
                  <a:schemeClr val="bg1"/>
                </a:solidFill>
                <a:latin typeface="Arial" panose="020B0604020202020204" pitchFamily="34" charset="0"/>
                <a:cs typeface="Arial" panose="020B0604020202020204" pitchFamily="34" charset="0"/>
              </a:rPr>
              <a:t> (services, commerces, desserte </a:t>
            </a:r>
            <a:r>
              <a:rPr lang="fr-FR" sz="1600" spc="12" dirty="0" err="1">
                <a:solidFill>
                  <a:schemeClr val="bg1"/>
                </a:solidFill>
                <a:latin typeface="Arial" panose="020B0604020202020204" pitchFamily="34" charset="0"/>
                <a:cs typeface="Arial" panose="020B0604020202020204" pitchFamily="34" charset="0"/>
              </a:rPr>
              <a:t>tc</a:t>
            </a:r>
            <a:r>
              <a:rPr lang="fr-FR" sz="1600" spc="12" dirty="0">
                <a:solidFill>
                  <a:schemeClr val="bg1"/>
                </a:solidFill>
                <a:latin typeface="Arial" panose="020B0604020202020204" pitchFamily="34" charset="0"/>
                <a:cs typeface="Arial" panose="020B0604020202020204" pitchFamily="34" charset="0"/>
              </a:rPr>
              <a:t>) et</a:t>
            </a:r>
          </a:p>
          <a:p>
            <a:pPr marL="7701">
              <a:lnSpc>
                <a:spcPct val="90000"/>
              </a:lnSpc>
            </a:pPr>
            <a:r>
              <a:rPr lang="fr-FR" sz="1600" b="1" spc="12" dirty="0">
                <a:solidFill>
                  <a:schemeClr val="bg1"/>
                </a:solidFill>
                <a:latin typeface="Arial" panose="020B0604020202020204" pitchFamily="34" charset="0"/>
                <a:cs typeface="Arial" panose="020B0604020202020204" pitchFamily="34" charset="0"/>
              </a:rPr>
              <a:t>d’immobilier</a:t>
            </a:r>
            <a:r>
              <a:rPr lang="fr-FR" sz="1600" spc="12" dirty="0">
                <a:solidFill>
                  <a:schemeClr val="bg1"/>
                </a:solidFill>
                <a:latin typeface="Arial" panose="020B0604020202020204" pitchFamily="34" charset="0"/>
                <a:cs typeface="Arial" panose="020B0604020202020204" pitchFamily="34" charset="0"/>
              </a:rPr>
              <a:t> qualitatif </a:t>
            </a:r>
          </a:p>
        </p:txBody>
      </p:sp>
      <p:pic>
        <p:nvPicPr>
          <p:cNvPr id="55" name="Graphique 54">
            <a:extLst>
              <a:ext uri="{FF2B5EF4-FFF2-40B4-BE49-F238E27FC236}">
                <a16:creationId xmlns:a16="http://schemas.microsoft.com/office/drawing/2014/main" id="{78AC5160-F203-70B8-70A6-D0A8D4DB8F3A}"/>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rot="16200000">
            <a:off x="11252913" y="5918020"/>
            <a:ext cx="1392175" cy="487782"/>
          </a:xfrm>
          <a:prstGeom prst="rect">
            <a:avLst/>
          </a:prstGeom>
        </p:spPr>
      </p:pic>
      <p:sp>
        <p:nvSpPr>
          <p:cNvPr id="5" name="ZoneTexte 4">
            <a:extLst>
              <a:ext uri="{FF2B5EF4-FFF2-40B4-BE49-F238E27FC236}">
                <a16:creationId xmlns:a16="http://schemas.microsoft.com/office/drawing/2014/main" id="{E4192F5E-6216-9992-8F75-51632E402EDB}"/>
              </a:ext>
            </a:extLst>
          </p:cNvPr>
          <p:cNvSpPr txBox="1"/>
          <p:nvPr/>
        </p:nvSpPr>
        <p:spPr>
          <a:xfrm>
            <a:off x="254397" y="5703492"/>
            <a:ext cx="4743504" cy="200055"/>
          </a:xfrm>
          <a:prstGeom prst="rect">
            <a:avLst/>
          </a:prstGeom>
          <a:noFill/>
        </p:spPr>
        <p:txBody>
          <a:bodyPr wrap="square" rtlCol="0">
            <a:spAutoFit/>
          </a:bodyPr>
          <a:lstStyle/>
          <a:p>
            <a:r>
              <a:rPr lang="fr-FR" sz="700" i="1" dirty="0" err="1">
                <a:solidFill>
                  <a:schemeClr val="bg1"/>
                </a:solidFill>
                <a:latin typeface="Arial" panose="020B0604020202020204" pitchFamily="34" charset="0"/>
                <a:cs typeface="Arial" panose="020B0604020202020204" pitchFamily="34" charset="0"/>
              </a:rPr>
              <a:t>GlassDoor</a:t>
            </a:r>
            <a:r>
              <a:rPr lang="fr-FR" sz="700" i="1" dirty="0">
                <a:solidFill>
                  <a:schemeClr val="bg1"/>
                </a:solidFill>
                <a:latin typeface="Arial" panose="020B0604020202020204" pitchFamily="34" charset="0"/>
                <a:cs typeface="Arial" panose="020B0604020202020204" pitchFamily="34" charset="0"/>
              </a:rPr>
              <a:t> – Carré d’Or </a:t>
            </a:r>
            <a:r>
              <a:rPr lang="fr-FR" sz="700" i="1" dirty="0" err="1">
                <a:solidFill>
                  <a:schemeClr val="bg1"/>
                </a:solidFill>
                <a:latin typeface="Arial" panose="020B0604020202020204" pitchFamily="34" charset="0"/>
                <a:cs typeface="Arial" panose="020B0604020202020204" pitchFamily="34" charset="0"/>
              </a:rPr>
              <a:t>Reylens</a:t>
            </a:r>
            <a:r>
              <a:rPr lang="fr-FR" sz="700" i="1" dirty="0">
                <a:solidFill>
                  <a:schemeClr val="bg1"/>
                </a:solidFill>
                <a:latin typeface="Arial" panose="020B0604020202020204" pitchFamily="34" charset="0"/>
                <a:cs typeface="Arial" panose="020B0604020202020204" pitchFamily="34" charset="0"/>
              </a:rPr>
              <a:t> – Sud Architectes. Source : Bertrand Perret </a:t>
            </a:r>
          </a:p>
        </p:txBody>
      </p:sp>
    </p:spTree>
    <p:extLst>
      <p:ext uri="{BB962C8B-B14F-4D97-AF65-F5344CB8AC3E}">
        <p14:creationId xmlns:p14="http://schemas.microsoft.com/office/powerpoint/2010/main" val="255211614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A0535B-2DE3-8316-434B-E9C70A6D78F1}"/>
            </a:ext>
          </a:extLst>
        </p:cNvPr>
        <p:cNvGrpSpPr/>
        <p:nvPr/>
      </p:nvGrpSpPr>
      <p:grpSpPr>
        <a:xfrm>
          <a:off x="0" y="0"/>
          <a:ext cx="0" cy="0"/>
          <a:chOff x="0" y="0"/>
          <a:chExt cx="0" cy="0"/>
        </a:xfrm>
      </p:grpSpPr>
      <p:pic>
        <p:nvPicPr>
          <p:cNvPr id="12" name="Image 11" descr="Une image contenant ciel, extérieur, rivière, nature&#10;&#10;Description générée automatiquement">
            <a:extLst>
              <a:ext uri="{FF2B5EF4-FFF2-40B4-BE49-F238E27FC236}">
                <a16:creationId xmlns:a16="http://schemas.microsoft.com/office/drawing/2014/main" id="{53DF6772-6FA2-41EB-95AB-163523922169}"/>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397" y="0"/>
            <a:ext cx="12206404" cy="5439316"/>
          </a:xfrm>
          <a:prstGeom prst="rect">
            <a:avLst/>
          </a:prstGeom>
        </p:spPr>
      </p:pic>
      <p:sp>
        <p:nvSpPr>
          <p:cNvPr id="16" name="Rectangle 15">
            <a:extLst>
              <a:ext uri="{FF2B5EF4-FFF2-40B4-BE49-F238E27FC236}">
                <a16:creationId xmlns:a16="http://schemas.microsoft.com/office/drawing/2014/main" id="{A2BEEFCA-735A-3E2F-05FE-64D29B76DD6A}"/>
              </a:ext>
            </a:extLst>
          </p:cNvPr>
          <p:cNvSpPr/>
          <p:nvPr/>
        </p:nvSpPr>
        <p:spPr>
          <a:xfrm>
            <a:off x="397" y="1867605"/>
            <a:ext cx="12191207" cy="3571711"/>
          </a:xfrm>
          <a:prstGeom prst="rect">
            <a:avLst/>
          </a:prstGeom>
          <a:gradFill flip="none" rotWithShape="1">
            <a:gsLst>
              <a:gs pos="0">
                <a:schemeClr val="tx1"/>
              </a:gs>
              <a:gs pos="100000">
                <a:schemeClr val="tx1">
                  <a:alpha val="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00" dirty="0">
              <a:solidFill>
                <a:srgbClr val="0070C0"/>
              </a:solidFill>
            </a:endParaRPr>
          </a:p>
        </p:txBody>
      </p:sp>
      <p:grpSp>
        <p:nvGrpSpPr>
          <p:cNvPr id="11" name="Groupe 10">
            <a:extLst>
              <a:ext uri="{FF2B5EF4-FFF2-40B4-BE49-F238E27FC236}">
                <a16:creationId xmlns:a16="http://schemas.microsoft.com/office/drawing/2014/main" id="{9EB4178E-088B-999F-3510-DF6A7A7AE283}"/>
              </a:ext>
            </a:extLst>
          </p:cNvPr>
          <p:cNvGrpSpPr/>
          <p:nvPr/>
        </p:nvGrpSpPr>
        <p:grpSpPr>
          <a:xfrm>
            <a:off x="106275" y="5953010"/>
            <a:ext cx="2582927" cy="904990"/>
            <a:chOff x="6189044" y="11173899"/>
            <a:chExt cx="5165853" cy="1809980"/>
          </a:xfrm>
        </p:grpSpPr>
        <p:sp>
          <p:nvSpPr>
            <p:cNvPr id="9" name="Rectangle 8">
              <a:extLst>
                <a:ext uri="{FF2B5EF4-FFF2-40B4-BE49-F238E27FC236}">
                  <a16:creationId xmlns:a16="http://schemas.microsoft.com/office/drawing/2014/main" id="{1F89EF69-E9D0-FDD6-AA45-4E3C2D30EA8E}"/>
                </a:ext>
              </a:extLst>
            </p:cNvPr>
            <p:cNvSpPr/>
            <p:nvPr/>
          </p:nvSpPr>
          <p:spPr>
            <a:xfrm>
              <a:off x="6275672" y="11251933"/>
              <a:ext cx="3291840" cy="66955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00"/>
            </a:p>
          </p:txBody>
        </p:sp>
        <p:sp>
          <p:nvSpPr>
            <p:cNvPr id="10" name="Rectangle 9">
              <a:extLst>
                <a:ext uri="{FF2B5EF4-FFF2-40B4-BE49-F238E27FC236}">
                  <a16:creationId xmlns:a16="http://schemas.microsoft.com/office/drawing/2014/main" id="{25C82999-FF1B-6EEB-F030-A85E1D9FCABE}"/>
                </a:ext>
              </a:extLst>
            </p:cNvPr>
            <p:cNvSpPr/>
            <p:nvPr/>
          </p:nvSpPr>
          <p:spPr>
            <a:xfrm>
              <a:off x="9805156" y="12159152"/>
              <a:ext cx="1389025" cy="66955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00"/>
            </a:p>
          </p:txBody>
        </p:sp>
        <p:pic>
          <p:nvPicPr>
            <p:cNvPr id="8" name="Graphique 7">
              <a:extLst>
                <a:ext uri="{FF2B5EF4-FFF2-40B4-BE49-F238E27FC236}">
                  <a16:creationId xmlns:a16="http://schemas.microsoft.com/office/drawing/2014/main" id="{0FD90D36-CA08-CF2C-07F4-696CE3E03826}"/>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6189044" y="11173899"/>
              <a:ext cx="5165853" cy="1809980"/>
            </a:xfrm>
            <a:prstGeom prst="rect">
              <a:avLst/>
            </a:prstGeom>
          </p:spPr>
        </p:pic>
      </p:grpSp>
      <p:sp>
        <p:nvSpPr>
          <p:cNvPr id="5" name="Rectangle 4">
            <a:extLst>
              <a:ext uri="{FF2B5EF4-FFF2-40B4-BE49-F238E27FC236}">
                <a16:creationId xmlns:a16="http://schemas.microsoft.com/office/drawing/2014/main" id="{5DC0F283-7474-DCEC-0545-C81A759ACDDB}"/>
              </a:ext>
            </a:extLst>
          </p:cNvPr>
          <p:cNvSpPr/>
          <p:nvPr/>
        </p:nvSpPr>
        <p:spPr>
          <a:xfrm>
            <a:off x="397" y="0"/>
            <a:ext cx="105878" cy="6858000"/>
          </a:xfrm>
          <a:prstGeom prst="rect">
            <a:avLst/>
          </a:prstGeom>
          <a:solidFill>
            <a:srgbClr val="E400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00"/>
          </a:p>
        </p:txBody>
      </p:sp>
      <p:sp>
        <p:nvSpPr>
          <p:cNvPr id="6" name="object 2">
            <a:extLst>
              <a:ext uri="{FF2B5EF4-FFF2-40B4-BE49-F238E27FC236}">
                <a16:creationId xmlns:a16="http://schemas.microsoft.com/office/drawing/2014/main" id="{A1F2128B-2ED6-F837-C4AF-E30E7CE907B1}"/>
              </a:ext>
            </a:extLst>
          </p:cNvPr>
          <p:cNvSpPr txBox="1">
            <a:spLocks/>
          </p:cNvSpPr>
          <p:nvPr/>
        </p:nvSpPr>
        <p:spPr>
          <a:xfrm>
            <a:off x="1821957" y="2727074"/>
            <a:ext cx="9191665" cy="1179855"/>
          </a:xfrm>
          <a:prstGeom prst="rect">
            <a:avLst/>
          </a:prstGeom>
        </p:spPr>
        <p:txBody>
          <a:bodyPr vert="horz" wrap="square" lIns="0" tIns="40430" rIns="0" bIns="0" rtlCol="0" anchor="ctr">
            <a:spAutoFit/>
          </a:bodyPr>
          <a:lstStyle>
            <a:lvl1pPr algn="l" defTabSz="457200" rtl="0" eaLnBrk="0" fontAlgn="base" hangingPunct="0">
              <a:spcBef>
                <a:spcPct val="0"/>
              </a:spcBef>
              <a:spcAft>
                <a:spcPct val="0"/>
              </a:spcAft>
              <a:defRPr sz="1100" kern="1200">
                <a:solidFill>
                  <a:schemeClr val="tx1"/>
                </a:solidFill>
                <a:latin typeface="Univers LT Std 57 Cn" panose="020B0506020202050204" pitchFamily="34" charset="0"/>
                <a:ea typeface="+mj-ea"/>
                <a:cs typeface="+mj-cs"/>
              </a:defRPr>
            </a:lvl1pPr>
            <a:lvl2pPr algn="l" defTabSz="457200" rtl="0" eaLnBrk="0" fontAlgn="base" hangingPunct="0">
              <a:spcBef>
                <a:spcPct val="0"/>
              </a:spcBef>
              <a:spcAft>
                <a:spcPct val="0"/>
              </a:spcAft>
              <a:defRPr sz="1100">
                <a:solidFill>
                  <a:schemeClr val="tx1"/>
                </a:solidFill>
                <a:latin typeface="Univers LT Std 57 Cn" panose="020B0506020202050204" pitchFamily="34" charset="0"/>
                <a:cs typeface="Arial" panose="020B0604020202020204" pitchFamily="34" charset="0"/>
              </a:defRPr>
            </a:lvl2pPr>
            <a:lvl3pPr algn="l" defTabSz="457200" rtl="0" eaLnBrk="0" fontAlgn="base" hangingPunct="0">
              <a:spcBef>
                <a:spcPct val="0"/>
              </a:spcBef>
              <a:spcAft>
                <a:spcPct val="0"/>
              </a:spcAft>
              <a:defRPr sz="1100">
                <a:solidFill>
                  <a:schemeClr val="tx1"/>
                </a:solidFill>
                <a:latin typeface="Univers LT Std 57 Cn" panose="020B0506020202050204" pitchFamily="34" charset="0"/>
                <a:cs typeface="Arial" panose="020B0604020202020204" pitchFamily="34" charset="0"/>
              </a:defRPr>
            </a:lvl3pPr>
            <a:lvl4pPr algn="l" defTabSz="457200" rtl="0" eaLnBrk="0" fontAlgn="base" hangingPunct="0">
              <a:spcBef>
                <a:spcPct val="0"/>
              </a:spcBef>
              <a:spcAft>
                <a:spcPct val="0"/>
              </a:spcAft>
              <a:defRPr sz="1100">
                <a:solidFill>
                  <a:schemeClr val="tx1"/>
                </a:solidFill>
                <a:latin typeface="Univers LT Std 57 Cn" panose="020B0506020202050204" pitchFamily="34" charset="0"/>
                <a:cs typeface="Arial" panose="020B0604020202020204" pitchFamily="34" charset="0"/>
              </a:defRPr>
            </a:lvl4pPr>
            <a:lvl5pPr algn="l" defTabSz="457200" rtl="0" eaLnBrk="0" fontAlgn="base" hangingPunct="0">
              <a:spcBef>
                <a:spcPct val="0"/>
              </a:spcBef>
              <a:spcAft>
                <a:spcPct val="0"/>
              </a:spcAft>
              <a:defRPr sz="1100">
                <a:solidFill>
                  <a:schemeClr val="tx1"/>
                </a:solidFill>
                <a:latin typeface="Univers LT Std 57 Cn" panose="020B0506020202050204" pitchFamily="34" charset="0"/>
                <a:cs typeface="Arial" panose="020B0604020202020204" pitchFamily="34" charset="0"/>
              </a:defRPr>
            </a:lvl5pPr>
            <a:lvl6pPr marL="457200" algn="l" defTabSz="457200" rtl="0" fontAlgn="base">
              <a:spcBef>
                <a:spcPct val="0"/>
              </a:spcBef>
              <a:spcAft>
                <a:spcPct val="0"/>
              </a:spcAft>
              <a:defRPr sz="1200">
                <a:solidFill>
                  <a:schemeClr val="tx1"/>
                </a:solidFill>
                <a:latin typeface="Arial" panose="020B0604020202020204" pitchFamily="34" charset="0"/>
                <a:cs typeface="Arial" panose="020B0604020202020204" pitchFamily="34" charset="0"/>
              </a:defRPr>
            </a:lvl6pPr>
            <a:lvl7pPr marL="914400" algn="l" defTabSz="457200" rtl="0" fontAlgn="base">
              <a:spcBef>
                <a:spcPct val="0"/>
              </a:spcBef>
              <a:spcAft>
                <a:spcPct val="0"/>
              </a:spcAft>
              <a:defRPr sz="1200">
                <a:solidFill>
                  <a:schemeClr val="tx1"/>
                </a:solidFill>
                <a:latin typeface="Arial" panose="020B0604020202020204" pitchFamily="34" charset="0"/>
                <a:cs typeface="Arial" panose="020B0604020202020204" pitchFamily="34" charset="0"/>
              </a:defRPr>
            </a:lvl7pPr>
            <a:lvl8pPr marL="1371600" algn="l" defTabSz="457200" rtl="0" fontAlgn="base">
              <a:spcBef>
                <a:spcPct val="0"/>
              </a:spcBef>
              <a:spcAft>
                <a:spcPct val="0"/>
              </a:spcAft>
              <a:defRPr sz="1200">
                <a:solidFill>
                  <a:schemeClr val="tx1"/>
                </a:solidFill>
                <a:latin typeface="Arial" panose="020B0604020202020204" pitchFamily="34" charset="0"/>
                <a:cs typeface="Arial" panose="020B0604020202020204" pitchFamily="34" charset="0"/>
              </a:defRPr>
            </a:lvl8pPr>
            <a:lvl9pPr marL="1828800" algn="l" defTabSz="457200" rtl="0" fontAlgn="base">
              <a:spcBef>
                <a:spcPct val="0"/>
              </a:spcBef>
              <a:spcAft>
                <a:spcPct val="0"/>
              </a:spcAft>
              <a:defRPr sz="1200">
                <a:solidFill>
                  <a:schemeClr val="tx1"/>
                </a:solidFill>
                <a:latin typeface="Arial" panose="020B0604020202020204" pitchFamily="34" charset="0"/>
                <a:cs typeface="Arial" panose="020B0604020202020204" pitchFamily="34" charset="0"/>
              </a:defRPr>
            </a:lvl9pPr>
          </a:lstStyle>
          <a:p>
            <a:pPr marL="7701" marR="3082">
              <a:lnSpc>
                <a:spcPts val="3000"/>
              </a:lnSpc>
              <a:spcBef>
                <a:spcPts val="318"/>
              </a:spcBef>
            </a:pPr>
            <a:r>
              <a:rPr lang="fr-FR" sz="2400" spc="-6" dirty="0">
                <a:solidFill>
                  <a:schemeClr val="bg1"/>
                </a:solidFill>
                <a:latin typeface="Arial Black"/>
                <a:cs typeface="Arial Black"/>
              </a:rPr>
              <a:t>UNE STRATÉGIE FONDAMENTALEMENT TOURNÉE </a:t>
            </a:r>
            <a:br>
              <a:rPr lang="fr-FR" sz="2400" spc="-6" dirty="0">
                <a:solidFill>
                  <a:schemeClr val="bg1"/>
                </a:solidFill>
                <a:latin typeface="Arial Black"/>
                <a:cs typeface="Arial Black"/>
              </a:rPr>
            </a:br>
            <a:r>
              <a:rPr lang="fr-FR" sz="2400" spc="-6" dirty="0">
                <a:solidFill>
                  <a:schemeClr val="bg1"/>
                </a:solidFill>
                <a:latin typeface="Arial Black"/>
                <a:cs typeface="Arial Black"/>
              </a:rPr>
              <a:t>VERS LES BESOINS DES ENTREPRISES</a:t>
            </a:r>
            <a:br>
              <a:rPr lang="fr-FR" sz="2400" spc="-6" dirty="0">
                <a:solidFill>
                  <a:schemeClr val="bg1"/>
                </a:solidFill>
                <a:latin typeface="Arial Black"/>
                <a:cs typeface="Arial Black"/>
              </a:rPr>
            </a:br>
            <a:r>
              <a:rPr lang="fr-FR" sz="2400" spc="-6" dirty="0">
                <a:solidFill>
                  <a:schemeClr val="bg1"/>
                </a:solidFill>
                <a:latin typeface="Arial Black"/>
                <a:cs typeface="Arial Black"/>
              </a:rPr>
              <a:t>ET LES CRITÈRES D'INVESTISSEMENT </a:t>
            </a:r>
          </a:p>
        </p:txBody>
      </p:sp>
    </p:spTree>
    <p:extLst>
      <p:ext uri="{BB962C8B-B14F-4D97-AF65-F5344CB8AC3E}">
        <p14:creationId xmlns:p14="http://schemas.microsoft.com/office/powerpoint/2010/main" val="11094505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EA20CF-8DAC-520E-2AAA-6F4F70CD3624}"/>
            </a:ext>
          </a:extLst>
        </p:cNvPr>
        <p:cNvGrpSpPr/>
        <p:nvPr/>
      </p:nvGrpSpPr>
      <p:grpSpPr>
        <a:xfrm>
          <a:off x="0" y="0"/>
          <a:ext cx="0" cy="0"/>
          <a:chOff x="0" y="0"/>
          <a:chExt cx="0" cy="0"/>
        </a:xfrm>
      </p:grpSpPr>
      <p:pic>
        <p:nvPicPr>
          <p:cNvPr id="4" name="Image 3">
            <a:extLst>
              <a:ext uri="{FF2B5EF4-FFF2-40B4-BE49-F238E27FC236}">
                <a16:creationId xmlns:a16="http://schemas.microsoft.com/office/drawing/2014/main" id="{107158CC-CA6D-6E76-84CE-68B5EE084FF0}"/>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06493" y="1838687"/>
            <a:ext cx="12085111" cy="4074428"/>
          </a:xfrm>
          <a:prstGeom prst="rect">
            <a:avLst/>
          </a:prstGeom>
          <a:solidFill>
            <a:schemeClr val="bg1"/>
          </a:solidFill>
        </p:spPr>
      </p:pic>
      <p:sp>
        <p:nvSpPr>
          <p:cNvPr id="6" name="Rectangle 5">
            <a:extLst>
              <a:ext uri="{FF2B5EF4-FFF2-40B4-BE49-F238E27FC236}">
                <a16:creationId xmlns:a16="http://schemas.microsoft.com/office/drawing/2014/main" id="{7CDB11AC-165F-E103-08E5-ACD9408F88BA}"/>
              </a:ext>
            </a:extLst>
          </p:cNvPr>
          <p:cNvSpPr/>
          <p:nvPr/>
        </p:nvSpPr>
        <p:spPr>
          <a:xfrm>
            <a:off x="397" y="0"/>
            <a:ext cx="105878" cy="6858000"/>
          </a:xfrm>
          <a:prstGeom prst="rect">
            <a:avLst/>
          </a:prstGeom>
          <a:solidFill>
            <a:srgbClr val="E400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00" dirty="0"/>
          </a:p>
        </p:txBody>
      </p:sp>
      <p:grpSp>
        <p:nvGrpSpPr>
          <p:cNvPr id="7" name="Groupe 6">
            <a:extLst>
              <a:ext uri="{FF2B5EF4-FFF2-40B4-BE49-F238E27FC236}">
                <a16:creationId xmlns:a16="http://schemas.microsoft.com/office/drawing/2014/main" id="{7F15FEC3-7474-F7C9-A900-205F97D60F91}"/>
              </a:ext>
            </a:extLst>
          </p:cNvPr>
          <p:cNvGrpSpPr/>
          <p:nvPr/>
        </p:nvGrpSpPr>
        <p:grpSpPr>
          <a:xfrm rot="16200000">
            <a:off x="11251626" y="5918022"/>
            <a:ext cx="1392174" cy="487782"/>
            <a:chOff x="6189044" y="11173899"/>
            <a:chExt cx="5165853" cy="1809980"/>
          </a:xfrm>
        </p:grpSpPr>
        <p:sp>
          <p:nvSpPr>
            <p:cNvPr id="8" name="Rectangle 7">
              <a:extLst>
                <a:ext uri="{FF2B5EF4-FFF2-40B4-BE49-F238E27FC236}">
                  <a16:creationId xmlns:a16="http://schemas.microsoft.com/office/drawing/2014/main" id="{5116DB4A-6716-6B72-EFF5-BD00E887B0E4}"/>
                </a:ext>
              </a:extLst>
            </p:cNvPr>
            <p:cNvSpPr/>
            <p:nvPr/>
          </p:nvSpPr>
          <p:spPr>
            <a:xfrm>
              <a:off x="6275672" y="11251933"/>
              <a:ext cx="3291840" cy="66955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00"/>
            </a:p>
          </p:txBody>
        </p:sp>
        <p:sp>
          <p:nvSpPr>
            <p:cNvPr id="9" name="Rectangle 8">
              <a:extLst>
                <a:ext uri="{FF2B5EF4-FFF2-40B4-BE49-F238E27FC236}">
                  <a16:creationId xmlns:a16="http://schemas.microsoft.com/office/drawing/2014/main" id="{D3B1080F-9AA5-A6CC-4366-1C205F20A684}"/>
                </a:ext>
              </a:extLst>
            </p:cNvPr>
            <p:cNvSpPr/>
            <p:nvPr/>
          </p:nvSpPr>
          <p:spPr>
            <a:xfrm>
              <a:off x="9805156" y="12159152"/>
              <a:ext cx="1389025" cy="66955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00"/>
            </a:p>
          </p:txBody>
        </p:sp>
        <p:pic>
          <p:nvPicPr>
            <p:cNvPr id="10" name="Graphique 9">
              <a:extLst>
                <a:ext uri="{FF2B5EF4-FFF2-40B4-BE49-F238E27FC236}">
                  <a16:creationId xmlns:a16="http://schemas.microsoft.com/office/drawing/2014/main" id="{30FFAFB9-4EA6-B237-3A55-E82C3490C64B}"/>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6189044" y="11173899"/>
              <a:ext cx="5165853" cy="1809980"/>
            </a:xfrm>
            <a:prstGeom prst="rect">
              <a:avLst/>
            </a:prstGeom>
          </p:spPr>
        </p:pic>
      </p:grpSp>
      <p:sp>
        <p:nvSpPr>
          <p:cNvPr id="22" name="object 8">
            <a:extLst>
              <a:ext uri="{FF2B5EF4-FFF2-40B4-BE49-F238E27FC236}">
                <a16:creationId xmlns:a16="http://schemas.microsoft.com/office/drawing/2014/main" id="{AB9B820E-CD06-640A-CCC2-4A7BFC3F23E3}"/>
              </a:ext>
            </a:extLst>
          </p:cNvPr>
          <p:cNvSpPr txBox="1">
            <a:spLocks/>
          </p:cNvSpPr>
          <p:nvPr/>
        </p:nvSpPr>
        <p:spPr>
          <a:xfrm>
            <a:off x="515074" y="333676"/>
            <a:ext cx="11188749" cy="1019356"/>
          </a:xfrm>
          <a:prstGeom prst="rect">
            <a:avLst/>
          </a:prstGeom>
        </p:spPr>
        <p:txBody>
          <a:bodyPr vert="horz" wrap="square" lIns="0" tIns="3658" rIns="0" bIns="0" rtlCol="0" anchor="ctr">
            <a:spAutoFit/>
          </a:bodyPr>
          <a:lstStyle>
            <a:lvl1pPr algn="l" defTabSz="1828709" rtl="0" eaLnBrk="1" latinLnBrk="0" hangingPunct="1">
              <a:lnSpc>
                <a:spcPct val="90000"/>
              </a:lnSpc>
              <a:spcBef>
                <a:spcPct val="0"/>
              </a:spcBef>
              <a:buNone/>
              <a:defRPr sz="8800" kern="1200">
                <a:solidFill>
                  <a:schemeClr val="tx1"/>
                </a:solidFill>
                <a:latin typeface="+mj-lt"/>
                <a:ea typeface="+mj-ea"/>
                <a:cs typeface="+mj-cs"/>
              </a:defRPr>
            </a:lvl1pPr>
          </a:lstStyle>
          <a:p>
            <a:pPr marL="3851">
              <a:lnSpc>
                <a:spcPct val="100000"/>
              </a:lnSpc>
              <a:spcBef>
                <a:spcPts val="29"/>
              </a:spcBef>
              <a:tabLst>
                <a:tab pos="1528050" algn="l"/>
              </a:tabLst>
            </a:pPr>
            <a:r>
              <a:rPr lang="fr-FR" sz="2200" spc="-2" dirty="0">
                <a:solidFill>
                  <a:srgbClr val="E4002B"/>
                </a:solidFill>
                <a:latin typeface="Arial Black" panose="020B0A04020102020204" pitchFamily="34" charset="0"/>
              </a:rPr>
              <a:t>LYON, C’EST FAIRE LE PARI D’UNE PLACE TERTIAIRE</a:t>
            </a:r>
            <a:br>
              <a:rPr lang="fr-FR" sz="2200" spc="-2" dirty="0">
                <a:solidFill>
                  <a:srgbClr val="E4002B"/>
                </a:solidFill>
                <a:latin typeface="Arial Black" panose="020B0A04020102020204" pitchFamily="34" charset="0"/>
              </a:rPr>
            </a:br>
            <a:r>
              <a:rPr lang="fr-FR" sz="2200" spc="-2" dirty="0">
                <a:latin typeface="Arial Black" panose="020B0A04020102020204" pitchFamily="34" charset="0"/>
              </a:rPr>
              <a:t>      MAIS AUSSI S’ENGAGER DANS UN PROJET DE TRANSFORMATION</a:t>
            </a:r>
            <a:br>
              <a:rPr lang="fr-FR" sz="2200" spc="-2" dirty="0">
                <a:latin typeface="Arial Black" panose="020B0A04020102020204" pitchFamily="34" charset="0"/>
              </a:rPr>
            </a:br>
            <a:r>
              <a:rPr lang="fr-FR" sz="2200" spc="-2" dirty="0">
                <a:latin typeface="Arial Black" panose="020B0A04020102020204" pitchFamily="34" charset="0"/>
              </a:rPr>
              <a:t>      DU TERRITOIRE </a:t>
            </a:r>
          </a:p>
        </p:txBody>
      </p:sp>
      <p:sp>
        <p:nvSpPr>
          <p:cNvPr id="25" name="object 13">
            <a:extLst>
              <a:ext uri="{FF2B5EF4-FFF2-40B4-BE49-F238E27FC236}">
                <a16:creationId xmlns:a16="http://schemas.microsoft.com/office/drawing/2014/main" id="{7C04ABC8-FBEC-F0EA-A57A-831F7A4E945E}"/>
              </a:ext>
            </a:extLst>
          </p:cNvPr>
          <p:cNvSpPr txBox="1"/>
          <p:nvPr/>
        </p:nvSpPr>
        <p:spPr>
          <a:xfrm>
            <a:off x="533004" y="1843442"/>
            <a:ext cx="2661444" cy="1705252"/>
          </a:xfrm>
          <a:prstGeom prst="rect">
            <a:avLst/>
          </a:prstGeom>
          <a:solidFill>
            <a:schemeClr val="tx1"/>
          </a:solidFill>
        </p:spPr>
        <p:txBody>
          <a:bodyPr vert="horz" wrap="square" lIns="90000" tIns="90000" rIns="90000" bIns="90000" rtlCol="0">
            <a:spAutoFit/>
          </a:bodyPr>
          <a:lstStyle/>
          <a:p>
            <a:pPr marL="3851">
              <a:lnSpc>
                <a:spcPct val="90000"/>
              </a:lnSpc>
            </a:pPr>
            <a:r>
              <a:rPr lang="fr-FR" sz="2200" b="1" spc="6" dirty="0">
                <a:solidFill>
                  <a:schemeClr val="bg1"/>
                </a:solidFill>
                <a:latin typeface="Arial"/>
                <a:cs typeface="Arial"/>
              </a:rPr>
              <a:t>3,6 MDS d’euros pour accélérer la transformation écologique du territoire</a:t>
            </a:r>
          </a:p>
        </p:txBody>
      </p:sp>
      <p:sp>
        <p:nvSpPr>
          <p:cNvPr id="27" name="ZoneTexte 26">
            <a:extLst>
              <a:ext uri="{FF2B5EF4-FFF2-40B4-BE49-F238E27FC236}">
                <a16:creationId xmlns:a16="http://schemas.microsoft.com/office/drawing/2014/main" id="{1990AA90-2B7D-C3F1-68EC-62454D0A3B41}"/>
              </a:ext>
            </a:extLst>
          </p:cNvPr>
          <p:cNvSpPr txBox="1"/>
          <p:nvPr/>
        </p:nvSpPr>
        <p:spPr>
          <a:xfrm>
            <a:off x="3683397" y="1843442"/>
            <a:ext cx="3442316" cy="902246"/>
          </a:xfrm>
          <a:prstGeom prst="rect">
            <a:avLst/>
          </a:prstGeom>
          <a:solidFill>
            <a:schemeClr val="bg1">
              <a:lumMod val="65000"/>
            </a:schemeClr>
          </a:solidFill>
          <a:ln>
            <a:noFill/>
          </a:ln>
        </p:spPr>
        <p:txBody>
          <a:bodyPr wrap="square" lIns="90000" tIns="90000" rIns="90000" bIns="72000" rtlCol="0">
            <a:spAutoFit/>
          </a:bodyPr>
          <a:lstStyle/>
          <a:p>
            <a:r>
              <a:rPr lang="fr-FR" sz="1600" b="1" dirty="0">
                <a:solidFill>
                  <a:schemeClr val="bg1"/>
                </a:solidFill>
                <a:latin typeface="Arial" panose="020B0604020202020204" pitchFamily="34" charset="0"/>
                <a:cs typeface="Arial" panose="020B0604020202020204" pitchFamily="34" charset="0"/>
              </a:rPr>
              <a:t>Des exemples d’orientations</a:t>
            </a:r>
            <a:br>
              <a:rPr lang="fr-FR" sz="1600" b="1" dirty="0">
                <a:solidFill>
                  <a:schemeClr val="bg1"/>
                </a:solidFill>
                <a:latin typeface="Arial" panose="020B0604020202020204" pitchFamily="34" charset="0"/>
                <a:cs typeface="Arial" panose="020B0604020202020204" pitchFamily="34" charset="0"/>
              </a:rPr>
            </a:br>
            <a:r>
              <a:rPr lang="fr-FR" sz="1600" b="1" dirty="0">
                <a:solidFill>
                  <a:schemeClr val="bg1"/>
                </a:solidFill>
                <a:latin typeface="Arial" panose="020B0604020202020204" pitchFamily="34" charset="0"/>
                <a:cs typeface="Arial" panose="020B0604020202020204" pitchFamily="34" charset="0"/>
              </a:rPr>
              <a:t>éco territoriales impulsées par</a:t>
            </a:r>
            <a:br>
              <a:rPr lang="fr-FR" sz="1600" b="1" dirty="0">
                <a:solidFill>
                  <a:schemeClr val="bg1"/>
                </a:solidFill>
                <a:latin typeface="Arial" panose="020B0604020202020204" pitchFamily="34" charset="0"/>
                <a:cs typeface="Arial" panose="020B0604020202020204" pitchFamily="34" charset="0"/>
              </a:rPr>
            </a:br>
            <a:r>
              <a:rPr lang="fr-FR" sz="1600" b="1" dirty="0">
                <a:solidFill>
                  <a:schemeClr val="bg1"/>
                </a:solidFill>
                <a:latin typeface="Arial" panose="020B0604020202020204" pitchFamily="34" charset="0"/>
                <a:cs typeface="Arial" panose="020B0604020202020204" pitchFamily="34" charset="0"/>
              </a:rPr>
              <a:t>la collectivité et ses partenaires</a:t>
            </a:r>
          </a:p>
        </p:txBody>
      </p:sp>
      <p:sp>
        <p:nvSpPr>
          <p:cNvPr id="33" name="ZoneTexte 32">
            <a:extLst>
              <a:ext uri="{FF2B5EF4-FFF2-40B4-BE49-F238E27FC236}">
                <a16:creationId xmlns:a16="http://schemas.microsoft.com/office/drawing/2014/main" id="{551D4082-61B2-19EA-91A7-DFE8B6E7B904}"/>
              </a:ext>
            </a:extLst>
          </p:cNvPr>
          <p:cNvSpPr txBox="1"/>
          <p:nvPr/>
        </p:nvSpPr>
        <p:spPr>
          <a:xfrm>
            <a:off x="7614663" y="1842815"/>
            <a:ext cx="4008411" cy="656025"/>
          </a:xfrm>
          <a:prstGeom prst="rect">
            <a:avLst/>
          </a:prstGeom>
          <a:solidFill>
            <a:srgbClr val="E4002B"/>
          </a:solidFill>
          <a:ln>
            <a:noFill/>
          </a:ln>
        </p:spPr>
        <p:txBody>
          <a:bodyPr wrap="square" lIns="90000" tIns="90000" rIns="90000" bIns="72000" rtlCol="0">
            <a:spAutoFit/>
          </a:bodyPr>
          <a:lstStyle/>
          <a:p>
            <a:r>
              <a:rPr lang="fr-FR" sz="1600" b="1" dirty="0">
                <a:solidFill>
                  <a:schemeClr val="bg1"/>
                </a:solidFill>
                <a:latin typeface="Arial" panose="020B0604020202020204" pitchFamily="34" charset="0"/>
                <a:cs typeface="Arial" panose="020B0604020202020204" pitchFamily="34" charset="0"/>
              </a:rPr>
              <a:t>La recherche d’effets démultiplicateurs en coproduction avec le privé</a:t>
            </a:r>
          </a:p>
        </p:txBody>
      </p:sp>
      <p:sp>
        <p:nvSpPr>
          <p:cNvPr id="35" name="ZoneTexte 34">
            <a:extLst>
              <a:ext uri="{FF2B5EF4-FFF2-40B4-BE49-F238E27FC236}">
                <a16:creationId xmlns:a16="http://schemas.microsoft.com/office/drawing/2014/main" id="{C7821AC0-7E75-D7B9-79EC-380D79E402F1}"/>
              </a:ext>
            </a:extLst>
          </p:cNvPr>
          <p:cNvSpPr txBox="1"/>
          <p:nvPr/>
        </p:nvSpPr>
        <p:spPr>
          <a:xfrm>
            <a:off x="3683397" y="2812821"/>
            <a:ext cx="3442316" cy="680356"/>
          </a:xfrm>
          <a:prstGeom prst="rect">
            <a:avLst/>
          </a:prstGeom>
          <a:solidFill>
            <a:schemeClr val="bg1">
              <a:alpha val="80000"/>
            </a:schemeClr>
          </a:solidFill>
          <a:ln>
            <a:noFill/>
          </a:ln>
        </p:spPr>
        <p:txBody>
          <a:bodyPr wrap="square" lIns="90000" tIns="90000" rIns="90000" bIns="90000" rtlCol="0">
            <a:spAutoFit/>
          </a:bodyPr>
          <a:lstStyle/>
          <a:p>
            <a:pPr marL="3851">
              <a:lnSpc>
                <a:spcPct val="90000"/>
              </a:lnSpc>
              <a:spcAft>
                <a:spcPts val="364"/>
              </a:spcAft>
            </a:pPr>
            <a:r>
              <a:rPr lang="fr-FR" sz="1200" b="1" dirty="0">
                <a:latin typeface="Arial" panose="020B0604020202020204" pitchFamily="34" charset="0"/>
                <a:cs typeface="Arial" panose="020B0604020202020204" pitchFamily="34" charset="0"/>
              </a:rPr>
              <a:t>Mise en place de l’observatoire de l’impact économique, écologique et social </a:t>
            </a:r>
            <a:r>
              <a:rPr lang="fr-FR" sz="1200" dirty="0">
                <a:latin typeface="Arial" panose="020B0604020202020204" pitchFamily="34" charset="0"/>
                <a:cs typeface="Arial" panose="020B0604020202020204" pitchFamily="34" charset="0"/>
              </a:rPr>
              <a:t>du territoire lyonnais</a:t>
            </a:r>
          </a:p>
        </p:txBody>
      </p:sp>
      <p:sp>
        <p:nvSpPr>
          <p:cNvPr id="36" name="ZoneTexte 35">
            <a:extLst>
              <a:ext uri="{FF2B5EF4-FFF2-40B4-BE49-F238E27FC236}">
                <a16:creationId xmlns:a16="http://schemas.microsoft.com/office/drawing/2014/main" id="{F3856E85-CD52-9414-992C-90F016A8B939}"/>
              </a:ext>
            </a:extLst>
          </p:cNvPr>
          <p:cNvSpPr txBox="1"/>
          <p:nvPr/>
        </p:nvSpPr>
        <p:spPr>
          <a:xfrm>
            <a:off x="3683397" y="3535994"/>
            <a:ext cx="3442316" cy="680356"/>
          </a:xfrm>
          <a:prstGeom prst="rect">
            <a:avLst/>
          </a:prstGeom>
          <a:solidFill>
            <a:schemeClr val="bg1">
              <a:alpha val="80000"/>
            </a:schemeClr>
          </a:solidFill>
          <a:ln>
            <a:noFill/>
          </a:ln>
        </p:spPr>
        <p:txBody>
          <a:bodyPr wrap="square" lIns="90000" tIns="90000" rIns="90000" bIns="90000" rtlCol="0">
            <a:spAutoFit/>
          </a:bodyPr>
          <a:lstStyle/>
          <a:p>
            <a:pPr marL="3851">
              <a:lnSpc>
                <a:spcPct val="90000"/>
              </a:lnSpc>
              <a:spcAft>
                <a:spcPts val="364"/>
              </a:spcAft>
            </a:pPr>
            <a:r>
              <a:rPr lang="fr-FR" sz="1200" b="1" dirty="0">
                <a:latin typeface="Arial" panose="020B0604020202020204" pitchFamily="34" charset="0"/>
                <a:cs typeface="Arial" panose="020B0604020202020204" pitchFamily="34" charset="0"/>
              </a:rPr>
              <a:t>Plus de 1 000 entreprises accompagnées </a:t>
            </a:r>
            <a:r>
              <a:rPr lang="fr-FR" sz="1200" dirty="0">
                <a:latin typeface="Arial" panose="020B0604020202020204" pitchFamily="34" charset="0"/>
                <a:cs typeface="Arial" panose="020B0604020202020204" pitchFamily="34" charset="0"/>
              </a:rPr>
              <a:t>par les dispositifs de la Métropole pour réduction de l’empreinte écologique </a:t>
            </a:r>
          </a:p>
        </p:txBody>
      </p:sp>
      <p:sp>
        <p:nvSpPr>
          <p:cNvPr id="37" name="ZoneTexte 36">
            <a:extLst>
              <a:ext uri="{FF2B5EF4-FFF2-40B4-BE49-F238E27FC236}">
                <a16:creationId xmlns:a16="http://schemas.microsoft.com/office/drawing/2014/main" id="{D70160F5-4CAE-8C10-2A6A-826C6B2629EA}"/>
              </a:ext>
            </a:extLst>
          </p:cNvPr>
          <p:cNvSpPr txBox="1"/>
          <p:nvPr/>
        </p:nvSpPr>
        <p:spPr>
          <a:xfrm>
            <a:off x="3683397" y="4259848"/>
            <a:ext cx="3442316" cy="514157"/>
          </a:xfrm>
          <a:prstGeom prst="rect">
            <a:avLst/>
          </a:prstGeom>
          <a:solidFill>
            <a:schemeClr val="bg1">
              <a:alpha val="80000"/>
            </a:schemeClr>
          </a:solidFill>
          <a:ln>
            <a:noFill/>
          </a:ln>
        </p:spPr>
        <p:txBody>
          <a:bodyPr wrap="square" lIns="90000" tIns="90000" rIns="90000" bIns="90000" rtlCol="0">
            <a:spAutoFit/>
          </a:bodyPr>
          <a:lstStyle/>
          <a:p>
            <a:pPr marL="3851">
              <a:lnSpc>
                <a:spcPct val="90000"/>
              </a:lnSpc>
              <a:spcAft>
                <a:spcPts val="364"/>
              </a:spcAft>
            </a:pPr>
            <a:r>
              <a:rPr lang="fr-FR" sz="1200" b="1" dirty="0">
                <a:latin typeface="Arial" panose="020B0604020202020204" pitchFamily="34" charset="0"/>
                <a:cs typeface="Arial" panose="020B0604020202020204" pitchFamily="34" charset="0"/>
              </a:rPr>
              <a:t>65 entreprises </a:t>
            </a:r>
            <a:r>
              <a:rPr lang="fr-FR" sz="1200" dirty="0">
                <a:latin typeface="Arial" panose="020B0604020202020204" pitchFamily="34" charset="0"/>
                <a:cs typeface="Arial" panose="020B0604020202020204" pitchFamily="34" charset="0"/>
              </a:rPr>
              <a:t>engagées dans la CEC 2023 et une quarantaine déjà inscrites en 2024</a:t>
            </a:r>
          </a:p>
        </p:txBody>
      </p:sp>
      <p:sp>
        <p:nvSpPr>
          <p:cNvPr id="38" name="ZoneTexte 37">
            <a:extLst>
              <a:ext uri="{FF2B5EF4-FFF2-40B4-BE49-F238E27FC236}">
                <a16:creationId xmlns:a16="http://schemas.microsoft.com/office/drawing/2014/main" id="{D2FDCD05-482C-B0B0-928A-9BEB42395E99}"/>
              </a:ext>
            </a:extLst>
          </p:cNvPr>
          <p:cNvSpPr txBox="1"/>
          <p:nvPr/>
        </p:nvSpPr>
        <p:spPr>
          <a:xfrm>
            <a:off x="3683397" y="4817502"/>
            <a:ext cx="3442316" cy="846555"/>
          </a:xfrm>
          <a:prstGeom prst="rect">
            <a:avLst/>
          </a:prstGeom>
          <a:solidFill>
            <a:schemeClr val="bg1">
              <a:alpha val="80000"/>
            </a:schemeClr>
          </a:solidFill>
          <a:ln>
            <a:noFill/>
          </a:ln>
        </p:spPr>
        <p:txBody>
          <a:bodyPr wrap="square" lIns="90000" tIns="90000" rIns="90000" bIns="90000" rtlCol="0">
            <a:spAutoFit/>
          </a:bodyPr>
          <a:lstStyle/>
          <a:p>
            <a:pPr marL="3851">
              <a:lnSpc>
                <a:spcPct val="90000"/>
              </a:lnSpc>
              <a:spcAft>
                <a:spcPts val="364"/>
              </a:spcAft>
            </a:pPr>
            <a:r>
              <a:rPr lang="fr-FR" sz="1200" b="1" dirty="0">
                <a:latin typeface="Arial" panose="020B0604020202020204" pitchFamily="34" charset="0"/>
                <a:cs typeface="Arial" panose="020B0604020202020204" pitchFamily="34" charset="0"/>
              </a:rPr>
              <a:t>Une réorientation </a:t>
            </a:r>
            <a:r>
              <a:rPr lang="fr-FR" sz="1200" dirty="0">
                <a:latin typeface="Arial" panose="020B0604020202020204" pitchFamily="34" charset="0"/>
                <a:cs typeface="Arial" panose="020B0604020202020204" pitchFamily="34" charset="0"/>
              </a:rPr>
              <a:t>de la feuille de route de l’</a:t>
            </a:r>
            <a:r>
              <a:rPr lang="fr-FR" sz="1200" dirty="0" err="1">
                <a:latin typeface="Arial" panose="020B0604020202020204" pitchFamily="34" charset="0"/>
                <a:cs typeface="Arial" panose="020B0604020202020204" pitchFamily="34" charset="0"/>
              </a:rPr>
              <a:t>Aderly</a:t>
            </a:r>
            <a:r>
              <a:rPr lang="fr-FR" sz="1200" dirty="0">
                <a:latin typeface="Arial" panose="020B0604020202020204" pitchFamily="34" charset="0"/>
                <a:cs typeface="Arial" panose="020B0604020202020204" pitchFamily="34" charset="0"/>
              </a:rPr>
              <a:t> : 64 entreprises implantées en 2023 à 70 % à impact (énergie, services d’intérêt sociétal, santé, industrie)</a:t>
            </a:r>
          </a:p>
        </p:txBody>
      </p:sp>
      <p:sp>
        <p:nvSpPr>
          <p:cNvPr id="40" name="ZoneTexte 39">
            <a:extLst>
              <a:ext uri="{FF2B5EF4-FFF2-40B4-BE49-F238E27FC236}">
                <a16:creationId xmlns:a16="http://schemas.microsoft.com/office/drawing/2014/main" id="{47950CA6-B250-8434-7848-0AE2225BE1D7}"/>
              </a:ext>
            </a:extLst>
          </p:cNvPr>
          <p:cNvSpPr txBox="1"/>
          <p:nvPr/>
        </p:nvSpPr>
        <p:spPr>
          <a:xfrm>
            <a:off x="7614663" y="2535446"/>
            <a:ext cx="3987381" cy="1843751"/>
          </a:xfrm>
          <a:prstGeom prst="rect">
            <a:avLst/>
          </a:prstGeom>
          <a:solidFill>
            <a:schemeClr val="bg1">
              <a:alpha val="80000"/>
            </a:schemeClr>
          </a:solidFill>
          <a:ln>
            <a:noFill/>
          </a:ln>
        </p:spPr>
        <p:txBody>
          <a:bodyPr wrap="square" lIns="90000" tIns="90000" rIns="90000" bIns="90000" rtlCol="0">
            <a:spAutoFit/>
          </a:bodyPr>
          <a:lstStyle/>
          <a:p>
            <a:r>
              <a:rPr lang="fr-FR" sz="1200" b="1" dirty="0">
                <a:latin typeface="Arial" panose="020B0604020202020204" pitchFamily="34" charset="0"/>
                <a:cs typeface="Arial" panose="020B0604020202020204" pitchFamily="34" charset="0"/>
              </a:rPr>
              <a:t>S’ENGAGER DANS UN PROJET DE TRANSFORMATION DU TERRITOIRE, TRANSFORMATION DES ACTIFS IMMOBILIERS, DE LA MANIÈRE DE FAIRE LA VILLE, D’INTENSIFIER LES USAGES !</a:t>
            </a:r>
          </a:p>
          <a:p>
            <a:endParaRPr lang="fr-FR" sz="1200" dirty="0">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fr-FR" sz="1200" dirty="0">
                <a:latin typeface="Arial" panose="020B0604020202020204" pitchFamily="34" charset="0"/>
                <a:cs typeface="Arial" panose="020B0604020202020204" pitchFamily="34" charset="0"/>
              </a:rPr>
              <a:t>Innovation de montage</a:t>
            </a:r>
          </a:p>
          <a:p>
            <a:pPr marL="171450" indent="-171450">
              <a:buFont typeface="Arial" panose="020B0604020202020204" pitchFamily="34" charset="0"/>
              <a:buChar char="•"/>
            </a:pPr>
            <a:r>
              <a:rPr lang="fr-FR" sz="1200" dirty="0">
                <a:latin typeface="Arial" panose="020B0604020202020204" pitchFamily="34" charset="0"/>
                <a:cs typeface="Arial" panose="020B0604020202020204" pitchFamily="34" charset="0"/>
              </a:rPr>
              <a:t>Investissements responsables (ISR)</a:t>
            </a:r>
          </a:p>
          <a:p>
            <a:pPr marL="171450" indent="-171450">
              <a:buFont typeface="Arial" panose="020B0604020202020204" pitchFamily="34" charset="0"/>
              <a:buChar char="•"/>
            </a:pPr>
            <a:r>
              <a:rPr lang="fr-FR" sz="1200" dirty="0">
                <a:latin typeface="Arial" panose="020B0604020202020204" pitchFamily="34" charset="0"/>
                <a:cs typeface="Arial" panose="020B0604020202020204" pitchFamily="34" charset="0"/>
              </a:rPr>
              <a:t>Innovation sociale</a:t>
            </a:r>
          </a:p>
        </p:txBody>
      </p:sp>
      <p:sp>
        <p:nvSpPr>
          <p:cNvPr id="41" name="Flèche : chevron 19">
            <a:extLst>
              <a:ext uri="{FF2B5EF4-FFF2-40B4-BE49-F238E27FC236}">
                <a16:creationId xmlns:a16="http://schemas.microsoft.com/office/drawing/2014/main" id="{520A8667-6BEE-F160-A152-11DB0E12CACE}"/>
              </a:ext>
            </a:extLst>
          </p:cNvPr>
          <p:cNvSpPr/>
          <p:nvPr/>
        </p:nvSpPr>
        <p:spPr>
          <a:xfrm>
            <a:off x="2843565" y="2925902"/>
            <a:ext cx="233922" cy="454194"/>
          </a:xfrm>
          <a:prstGeom prst="chevron">
            <a:avLst/>
          </a:prstGeom>
          <a:solidFill>
            <a:schemeClr val="bg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25718" tIns="12859" rIns="25718" bIns="12859" numCol="1" spcCol="0" rtlCol="0" fromWordArt="0" anchor="ctr" anchorCtr="0" forceAA="0" compatLnSpc="1">
            <a:prstTxWarp prst="textNoShape">
              <a:avLst/>
            </a:prstTxWarp>
            <a:noAutofit/>
          </a:bodyPr>
          <a:lstStyle/>
          <a:p>
            <a:pPr algn="ctr"/>
            <a:endParaRPr lang="fr-FR" sz="675" dirty="0">
              <a:solidFill>
                <a:schemeClr val="tx1"/>
              </a:solidFill>
              <a:latin typeface="Arial Black" panose="020B0A04020102020204" pitchFamily="34" charset="0"/>
            </a:endParaRPr>
          </a:p>
        </p:txBody>
      </p:sp>
    </p:spTree>
    <p:extLst>
      <p:ext uri="{BB962C8B-B14F-4D97-AF65-F5344CB8AC3E}">
        <p14:creationId xmlns:p14="http://schemas.microsoft.com/office/powerpoint/2010/main" val="417413223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 name="Image 50">
            <a:extLst>
              <a:ext uri="{FF2B5EF4-FFF2-40B4-BE49-F238E27FC236}">
                <a16:creationId xmlns:a16="http://schemas.microsoft.com/office/drawing/2014/main" id="{6123D0B4-D0CB-61FC-FD82-C4CB864F1BE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8192033" y="0"/>
            <a:ext cx="3999571" cy="6858000"/>
          </a:xfrm>
          <a:prstGeom prst="rect">
            <a:avLst/>
          </a:prstGeom>
        </p:spPr>
      </p:pic>
      <p:pic>
        <p:nvPicPr>
          <p:cNvPr id="27" name="Image 26">
            <a:extLst>
              <a:ext uri="{FF2B5EF4-FFF2-40B4-BE49-F238E27FC236}">
                <a16:creationId xmlns:a16="http://schemas.microsoft.com/office/drawing/2014/main" id="{7F5CDE7A-FB84-D3ED-1CD6-016C9A96FA02}"/>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rot="10800000">
            <a:off x="4131539" y="1751015"/>
            <a:ext cx="1025972" cy="4191823"/>
          </a:xfrm>
          <a:prstGeom prst="rect">
            <a:avLst/>
          </a:prstGeom>
        </p:spPr>
      </p:pic>
      <p:sp>
        <p:nvSpPr>
          <p:cNvPr id="4" name="Rectangle 3">
            <a:extLst>
              <a:ext uri="{FF2B5EF4-FFF2-40B4-BE49-F238E27FC236}">
                <a16:creationId xmlns:a16="http://schemas.microsoft.com/office/drawing/2014/main" id="{66DF042A-CD64-8C29-0ED4-9A8E7C49B263}"/>
              </a:ext>
            </a:extLst>
          </p:cNvPr>
          <p:cNvSpPr/>
          <p:nvPr/>
        </p:nvSpPr>
        <p:spPr>
          <a:xfrm>
            <a:off x="397" y="0"/>
            <a:ext cx="105878" cy="6858000"/>
          </a:xfrm>
          <a:prstGeom prst="rect">
            <a:avLst/>
          </a:prstGeom>
          <a:solidFill>
            <a:srgbClr val="E400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00"/>
          </a:p>
        </p:txBody>
      </p:sp>
      <p:sp>
        <p:nvSpPr>
          <p:cNvPr id="5" name="object 8">
            <a:extLst>
              <a:ext uri="{FF2B5EF4-FFF2-40B4-BE49-F238E27FC236}">
                <a16:creationId xmlns:a16="http://schemas.microsoft.com/office/drawing/2014/main" id="{3CC0FCAE-8316-BB1F-0EE8-FF37F94A5D5B}"/>
              </a:ext>
            </a:extLst>
          </p:cNvPr>
          <p:cNvSpPr txBox="1">
            <a:spLocks/>
          </p:cNvSpPr>
          <p:nvPr/>
        </p:nvSpPr>
        <p:spPr>
          <a:xfrm>
            <a:off x="515074" y="333676"/>
            <a:ext cx="11179643" cy="1019356"/>
          </a:xfrm>
          <a:prstGeom prst="rect">
            <a:avLst/>
          </a:prstGeom>
        </p:spPr>
        <p:txBody>
          <a:bodyPr vert="horz" wrap="square" lIns="0" tIns="3658" rIns="0" bIns="0" rtlCol="0" anchor="ctr">
            <a:spAutoFit/>
          </a:bodyPr>
          <a:lstStyle>
            <a:lvl1pPr algn="l" defTabSz="1828709" rtl="0" eaLnBrk="1" latinLnBrk="0" hangingPunct="1">
              <a:lnSpc>
                <a:spcPct val="90000"/>
              </a:lnSpc>
              <a:spcBef>
                <a:spcPct val="0"/>
              </a:spcBef>
              <a:buNone/>
              <a:defRPr sz="8800" kern="1200">
                <a:solidFill>
                  <a:schemeClr val="tx1"/>
                </a:solidFill>
                <a:latin typeface="+mj-lt"/>
                <a:ea typeface="+mj-ea"/>
                <a:cs typeface="+mj-cs"/>
              </a:defRPr>
            </a:lvl1pPr>
          </a:lstStyle>
          <a:p>
            <a:pPr marL="3851">
              <a:lnSpc>
                <a:spcPct val="100000"/>
              </a:lnSpc>
              <a:spcBef>
                <a:spcPts val="29"/>
              </a:spcBef>
              <a:tabLst>
                <a:tab pos="1528050" algn="l"/>
              </a:tabLst>
            </a:pPr>
            <a:r>
              <a:rPr lang="fr-FR" sz="2200" spc="-2" dirty="0">
                <a:solidFill>
                  <a:srgbClr val="E4002B"/>
                </a:solidFill>
                <a:latin typeface="Arial Black" panose="020B0A04020102020204" pitchFamily="34" charset="0"/>
              </a:rPr>
              <a:t>TERTIAIRE, UNE STRATÉGIE GLOBALE</a:t>
            </a:r>
            <a:br>
              <a:rPr lang="fr-FR" sz="2200" spc="-2" dirty="0">
                <a:solidFill>
                  <a:srgbClr val="E4002B"/>
                </a:solidFill>
                <a:latin typeface="Arial Black" panose="020B0A04020102020204" pitchFamily="34" charset="0"/>
              </a:rPr>
            </a:br>
            <a:r>
              <a:rPr lang="fr-FR" sz="2200" spc="-2" dirty="0">
                <a:latin typeface="Arial Black" panose="020B0A04020102020204" pitchFamily="34" charset="0"/>
              </a:rPr>
              <a:t>      POUR DIMENSIONNER ET ADAPTER</a:t>
            </a:r>
            <a:br>
              <a:rPr lang="fr-FR" sz="2200" spc="-2" dirty="0">
                <a:latin typeface="Arial Black" panose="020B0A04020102020204" pitchFamily="34" charset="0"/>
              </a:rPr>
            </a:br>
            <a:r>
              <a:rPr lang="fr-FR" sz="2200" spc="-2" dirty="0">
                <a:latin typeface="Arial Black" panose="020B0A04020102020204" pitchFamily="34" charset="0"/>
              </a:rPr>
              <a:t>      LE DÉVELOPPEMENT SUR LA MÉTROPOLE</a:t>
            </a:r>
          </a:p>
        </p:txBody>
      </p:sp>
      <p:sp>
        <p:nvSpPr>
          <p:cNvPr id="9" name="object 13">
            <a:extLst>
              <a:ext uri="{FF2B5EF4-FFF2-40B4-BE49-F238E27FC236}">
                <a16:creationId xmlns:a16="http://schemas.microsoft.com/office/drawing/2014/main" id="{6F8C2F56-B08C-7E84-654A-B38F21C733AF}"/>
              </a:ext>
            </a:extLst>
          </p:cNvPr>
          <p:cNvSpPr txBox="1"/>
          <p:nvPr/>
        </p:nvSpPr>
        <p:spPr>
          <a:xfrm>
            <a:off x="1221743" y="1902226"/>
            <a:ext cx="2856602" cy="443198"/>
          </a:xfrm>
          <a:prstGeom prst="rect">
            <a:avLst/>
          </a:prstGeom>
        </p:spPr>
        <p:txBody>
          <a:bodyPr vert="horz" wrap="square" lIns="0" tIns="0" rIns="0" bIns="0" rtlCol="0">
            <a:spAutoFit/>
          </a:bodyPr>
          <a:lstStyle/>
          <a:p>
            <a:pPr marL="7701">
              <a:lnSpc>
                <a:spcPct val="90000"/>
              </a:lnSpc>
            </a:pPr>
            <a:r>
              <a:rPr lang="fr-FR" sz="1600" b="1" spc="12" dirty="0">
                <a:latin typeface="Arial" panose="020B0604020202020204" pitchFamily="34" charset="0"/>
                <a:cs typeface="Arial" panose="020B0604020202020204" pitchFamily="34" charset="0"/>
              </a:rPr>
              <a:t>PRODUIRE </a:t>
            </a:r>
            <a:r>
              <a:rPr lang="fr-FR" sz="1600" b="1" spc="12" dirty="0">
                <a:solidFill>
                  <a:srgbClr val="E4002B"/>
                </a:solidFill>
                <a:latin typeface="Arial" panose="020B0604020202020204" pitchFamily="34" charset="0"/>
                <a:cs typeface="Arial" panose="020B0604020202020204" pitchFamily="34" charset="0"/>
              </a:rPr>
              <a:t>LE JUSTE VOLUME</a:t>
            </a:r>
          </a:p>
        </p:txBody>
      </p:sp>
      <p:sp>
        <p:nvSpPr>
          <p:cNvPr id="10" name="object 13">
            <a:extLst>
              <a:ext uri="{FF2B5EF4-FFF2-40B4-BE49-F238E27FC236}">
                <a16:creationId xmlns:a16="http://schemas.microsoft.com/office/drawing/2014/main" id="{85714E85-478F-7B48-B37F-BEE76E1947FC}"/>
              </a:ext>
            </a:extLst>
          </p:cNvPr>
          <p:cNvSpPr txBox="1"/>
          <p:nvPr/>
        </p:nvSpPr>
        <p:spPr>
          <a:xfrm>
            <a:off x="515074" y="1787964"/>
            <a:ext cx="641089" cy="671722"/>
          </a:xfrm>
          <a:prstGeom prst="rect">
            <a:avLst/>
          </a:prstGeom>
          <a:noFill/>
        </p:spPr>
        <p:txBody>
          <a:bodyPr vert="horz" wrap="square" lIns="0" tIns="0" rIns="0" bIns="0" rtlCol="0">
            <a:spAutoFit/>
          </a:bodyPr>
          <a:lstStyle/>
          <a:p>
            <a:pPr marL="7701">
              <a:lnSpc>
                <a:spcPct val="90000"/>
              </a:lnSpc>
            </a:pPr>
            <a:r>
              <a:rPr lang="fr-FR" sz="4850" spc="12" dirty="0">
                <a:solidFill>
                  <a:srgbClr val="E4002B"/>
                </a:solidFill>
                <a:latin typeface="Arial Black" panose="020B0A04020102020204" pitchFamily="34" charset="0"/>
                <a:cs typeface="Arial" panose="020B0604020202020204" pitchFamily="34" charset="0"/>
              </a:rPr>
              <a:t>1.</a:t>
            </a:r>
          </a:p>
        </p:txBody>
      </p:sp>
      <p:sp>
        <p:nvSpPr>
          <p:cNvPr id="11" name="object 13">
            <a:extLst>
              <a:ext uri="{FF2B5EF4-FFF2-40B4-BE49-F238E27FC236}">
                <a16:creationId xmlns:a16="http://schemas.microsoft.com/office/drawing/2014/main" id="{B50A24F5-8D17-C71D-65DA-113DCE9E53F5}"/>
              </a:ext>
            </a:extLst>
          </p:cNvPr>
          <p:cNvSpPr txBox="1"/>
          <p:nvPr/>
        </p:nvSpPr>
        <p:spPr>
          <a:xfrm>
            <a:off x="1221743" y="2425226"/>
            <a:ext cx="2932040" cy="646331"/>
          </a:xfrm>
          <a:prstGeom prst="rect">
            <a:avLst/>
          </a:prstGeom>
        </p:spPr>
        <p:txBody>
          <a:bodyPr vert="horz" wrap="square" lIns="0" tIns="0" rIns="0" bIns="0" rtlCol="0">
            <a:spAutoFit/>
          </a:bodyPr>
          <a:lstStyle/>
          <a:p>
            <a:pPr marL="7701"/>
            <a:r>
              <a:rPr lang="fr-FR" sz="1400" b="1" spc="12" dirty="0">
                <a:latin typeface="Arial" panose="020B0604020202020204" pitchFamily="34" charset="0"/>
                <a:cs typeface="Arial" panose="020B0604020202020204" pitchFamily="34" charset="0"/>
              </a:rPr>
              <a:t>Une Métropole qui poursuit son rôle de régulatrice du développement</a:t>
            </a:r>
            <a:endParaRPr lang="fr-FR" b="1" spc="12" dirty="0">
              <a:latin typeface="Arial" panose="020B0604020202020204" pitchFamily="34" charset="0"/>
              <a:cs typeface="Arial" panose="020B0604020202020204" pitchFamily="34" charset="0"/>
            </a:endParaRPr>
          </a:p>
        </p:txBody>
      </p:sp>
      <p:sp>
        <p:nvSpPr>
          <p:cNvPr id="12" name="object 13">
            <a:extLst>
              <a:ext uri="{FF2B5EF4-FFF2-40B4-BE49-F238E27FC236}">
                <a16:creationId xmlns:a16="http://schemas.microsoft.com/office/drawing/2014/main" id="{F47BE85E-A34C-58E3-3072-15CCAC0D6640}"/>
              </a:ext>
            </a:extLst>
          </p:cNvPr>
          <p:cNvSpPr txBox="1"/>
          <p:nvPr/>
        </p:nvSpPr>
        <p:spPr>
          <a:xfrm>
            <a:off x="1221743" y="3183652"/>
            <a:ext cx="2856602" cy="553998"/>
          </a:xfrm>
          <a:prstGeom prst="rect">
            <a:avLst/>
          </a:prstGeom>
        </p:spPr>
        <p:txBody>
          <a:bodyPr vert="horz" wrap="square" lIns="0" tIns="0" rIns="0" bIns="0" rtlCol="0">
            <a:spAutoFit/>
          </a:bodyPr>
          <a:lstStyle/>
          <a:p>
            <a:pPr marL="7701"/>
            <a:r>
              <a:rPr lang="fr-FR" sz="1200" spc="12" dirty="0">
                <a:latin typeface="Arial" panose="020B0604020202020204" pitchFamily="34" charset="0"/>
                <a:cs typeface="Arial" panose="020B0604020202020204" pitchFamily="34" charset="0"/>
              </a:rPr>
              <a:t>Une garantie d’éviter la surproduction tertiaire, avec </a:t>
            </a:r>
            <a:r>
              <a:rPr lang="fr-FR" sz="1200" b="1" spc="12" dirty="0">
                <a:latin typeface="Arial" panose="020B0604020202020204" pitchFamily="34" charset="0"/>
                <a:cs typeface="Arial" panose="020B0604020202020204" pitchFamily="34" charset="0"/>
              </a:rPr>
              <a:t>~5 % de taux de vacance moyen</a:t>
            </a:r>
            <a:r>
              <a:rPr lang="fr-FR" sz="1200" spc="12" dirty="0">
                <a:latin typeface="Arial" panose="020B0604020202020204" pitchFamily="34" charset="0"/>
                <a:cs typeface="Arial" panose="020B0604020202020204" pitchFamily="34" charset="0"/>
              </a:rPr>
              <a:t>, reste un marché sain</a:t>
            </a:r>
          </a:p>
        </p:txBody>
      </p:sp>
      <p:sp>
        <p:nvSpPr>
          <p:cNvPr id="14" name="object 13">
            <a:extLst>
              <a:ext uri="{FF2B5EF4-FFF2-40B4-BE49-F238E27FC236}">
                <a16:creationId xmlns:a16="http://schemas.microsoft.com/office/drawing/2014/main" id="{809194F7-18DD-5040-DBC6-7119CE34CAA6}"/>
              </a:ext>
            </a:extLst>
          </p:cNvPr>
          <p:cNvSpPr txBox="1"/>
          <p:nvPr/>
        </p:nvSpPr>
        <p:spPr>
          <a:xfrm>
            <a:off x="1221743" y="4225785"/>
            <a:ext cx="2483438" cy="553998"/>
          </a:xfrm>
          <a:prstGeom prst="rect">
            <a:avLst/>
          </a:prstGeom>
        </p:spPr>
        <p:txBody>
          <a:bodyPr vert="horz" wrap="square" lIns="0" tIns="0" rIns="0" bIns="0" rtlCol="0">
            <a:spAutoFit/>
          </a:bodyPr>
          <a:lstStyle/>
          <a:p>
            <a:pPr marL="7701"/>
            <a:r>
              <a:rPr lang="fr-FR" b="1" spc="12" dirty="0">
                <a:latin typeface="Arial" panose="020B0604020202020204" pitchFamily="34" charset="0"/>
                <a:cs typeface="Arial" panose="020B0604020202020204" pitchFamily="34" charset="0"/>
              </a:rPr>
              <a:t>130 à 150 000 m² neuf</a:t>
            </a:r>
            <a:br>
              <a:rPr lang="fr-FR" b="1" spc="12" dirty="0">
                <a:latin typeface="Arial" panose="020B0604020202020204" pitchFamily="34" charset="0"/>
                <a:cs typeface="Arial" panose="020B0604020202020204" pitchFamily="34" charset="0"/>
              </a:rPr>
            </a:br>
            <a:r>
              <a:rPr lang="fr-FR" b="1" spc="12" dirty="0">
                <a:latin typeface="Arial" panose="020B0604020202020204" pitchFamily="34" charset="0"/>
                <a:cs typeface="Arial" panose="020B0604020202020204" pitchFamily="34" charset="0"/>
              </a:rPr>
              <a:t>et régénéré / an</a:t>
            </a:r>
          </a:p>
        </p:txBody>
      </p:sp>
      <p:sp>
        <p:nvSpPr>
          <p:cNvPr id="15" name="Flèche : chevron 19">
            <a:extLst>
              <a:ext uri="{FF2B5EF4-FFF2-40B4-BE49-F238E27FC236}">
                <a16:creationId xmlns:a16="http://schemas.microsoft.com/office/drawing/2014/main" id="{F950B5C0-C56B-679D-5B69-E5CF05299EA8}"/>
              </a:ext>
            </a:extLst>
          </p:cNvPr>
          <p:cNvSpPr/>
          <p:nvPr/>
        </p:nvSpPr>
        <p:spPr>
          <a:xfrm rot="5400000">
            <a:off x="1319970" y="3806836"/>
            <a:ext cx="208627" cy="405080"/>
          </a:xfrm>
          <a:prstGeom prst="chevron">
            <a:avLst/>
          </a:prstGeom>
          <a:solidFill>
            <a:srgbClr val="A6A6A6"/>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25718" tIns="12859" rIns="25718" bIns="12859" numCol="1" spcCol="0" rtlCol="0" fromWordArt="0" anchor="ctr" anchorCtr="0" forceAA="0" compatLnSpc="1">
            <a:prstTxWarp prst="textNoShape">
              <a:avLst/>
            </a:prstTxWarp>
            <a:noAutofit/>
          </a:bodyPr>
          <a:lstStyle/>
          <a:p>
            <a:pPr algn="ctr"/>
            <a:endParaRPr lang="fr-FR" sz="675" dirty="0">
              <a:solidFill>
                <a:schemeClr val="tx1"/>
              </a:solidFill>
              <a:latin typeface="Arial Black" panose="020B0A04020102020204" pitchFamily="34" charset="0"/>
            </a:endParaRPr>
          </a:p>
        </p:txBody>
      </p:sp>
      <p:sp>
        <p:nvSpPr>
          <p:cNvPr id="18" name="object 13">
            <a:extLst>
              <a:ext uri="{FF2B5EF4-FFF2-40B4-BE49-F238E27FC236}">
                <a16:creationId xmlns:a16="http://schemas.microsoft.com/office/drawing/2014/main" id="{6CB924C8-61A2-99CB-38C8-6EAE07C52A23}"/>
              </a:ext>
            </a:extLst>
          </p:cNvPr>
          <p:cNvSpPr txBox="1"/>
          <p:nvPr/>
        </p:nvSpPr>
        <p:spPr>
          <a:xfrm>
            <a:off x="5178677" y="1902226"/>
            <a:ext cx="2856602" cy="443198"/>
          </a:xfrm>
          <a:prstGeom prst="rect">
            <a:avLst/>
          </a:prstGeom>
        </p:spPr>
        <p:txBody>
          <a:bodyPr vert="horz" wrap="square" lIns="0" tIns="0" rIns="0" bIns="0" rtlCol="0">
            <a:spAutoFit/>
          </a:bodyPr>
          <a:lstStyle/>
          <a:p>
            <a:pPr marL="7701">
              <a:lnSpc>
                <a:spcPct val="90000"/>
              </a:lnSpc>
            </a:pPr>
            <a:r>
              <a:rPr lang="fr-FR" sz="1600" b="1" spc="12" dirty="0">
                <a:latin typeface="Arial" panose="020B0604020202020204" pitchFamily="34" charset="0"/>
                <a:cs typeface="Arial" panose="020B0604020202020204" pitchFamily="34" charset="0"/>
              </a:rPr>
              <a:t>INFLÉCHIR </a:t>
            </a:r>
            <a:r>
              <a:rPr lang="fr-FR" sz="1600" b="1" spc="12" dirty="0">
                <a:solidFill>
                  <a:srgbClr val="E4002B"/>
                </a:solidFill>
                <a:latin typeface="Arial" panose="020B0604020202020204" pitchFamily="34" charset="0"/>
                <a:cs typeface="Arial" panose="020B0604020202020204" pitchFamily="34" charset="0"/>
              </a:rPr>
              <a:t>LES PROGRAMMATIONS</a:t>
            </a:r>
          </a:p>
        </p:txBody>
      </p:sp>
      <p:sp>
        <p:nvSpPr>
          <p:cNvPr id="20" name="object 13">
            <a:extLst>
              <a:ext uri="{FF2B5EF4-FFF2-40B4-BE49-F238E27FC236}">
                <a16:creationId xmlns:a16="http://schemas.microsoft.com/office/drawing/2014/main" id="{04565BB5-7779-A8D0-2BBA-78BFBF33FE08}"/>
              </a:ext>
            </a:extLst>
          </p:cNvPr>
          <p:cNvSpPr txBox="1"/>
          <p:nvPr/>
        </p:nvSpPr>
        <p:spPr>
          <a:xfrm>
            <a:off x="4472008" y="1787964"/>
            <a:ext cx="641089" cy="671722"/>
          </a:xfrm>
          <a:prstGeom prst="rect">
            <a:avLst/>
          </a:prstGeom>
          <a:noFill/>
        </p:spPr>
        <p:txBody>
          <a:bodyPr vert="horz" wrap="square" lIns="0" tIns="0" rIns="0" bIns="0" rtlCol="0">
            <a:spAutoFit/>
          </a:bodyPr>
          <a:lstStyle/>
          <a:p>
            <a:pPr marL="7701">
              <a:lnSpc>
                <a:spcPct val="90000"/>
              </a:lnSpc>
            </a:pPr>
            <a:r>
              <a:rPr lang="fr-FR" sz="4850" spc="12" dirty="0">
                <a:latin typeface="Arial Black" panose="020B0A04020102020204" pitchFamily="34" charset="0"/>
                <a:cs typeface="Arial" panose="020B0604020202020204" pitchFamily="34" charset="0"/>
              </a:rPr>
              <a:t>2.</a:t>
            </a:r>
          </a:p>
        </p:txBody>
      </p:sp>
      <p:sp>
        <p:nvSpPr>
          <p:cNvPr id="21" name="object 13">
            <a:extLst>
              <a:ext uri="{FF2B5EF4-FFF2-40B4-BE49-F238E27FC236}">
                <a16:creationId xmlns:a16="http://schemas.microsoft.com/office/drawing/2014/main" id="{249AEC19-F6FA-5290-5978-608306DB8818}"/>
              </a:ext>
            </a:extLst>
          </p:cNvPr>
          <p:cNvSpPr txBox="1"/>
          <p:nvPr/>
        </p:nvSpPr>
        <p:spPr>
          <a:xfrm>
            <a:off x="5178677" y="2425226"/>
            <a:ext cx="2934979" cy="1292662"/>
          </a:xfrm>
          <a:prstGeom prst="rect">
            <a:avLst/>
          </a:prstGeom>
        </p:spPr>
        <p:txBody>
          <a:bodyPr vert="horz" wrap="square" lIns="0" tIns="0" rIns="0" bIns="0" rtlCol="0">
            <a:spAutoFit/>
          </a:bodyPr>
          <a:lstStyle/>
          <a:p>
            <a:pPr marL="236301" indent="-228600">
              <a:buFont typeface="Arial" panose="020B0604020202020204" pitchFamily="34" charset="0"/>
              <a:buChar char="•"/>
            </a:pPr>
            <a:r>
              <a:rPr lang="fr-FR" sz="1400" b="1" spc="12" dirty="0">
                <a:latin typeface="Arial" panose="020B0604020202020204" pitchFamily="34" charset="0"/>
                <a:cs typeface="Arial" panose="020B0604020202020204" pitchFamily="34" charset="0"/>
              </a:rPr>
              <a:t>Une offre de plus en plus diversifiée </a:t>
            </a:r>
            <a:r>
              <a:rPr lang="fr-FR" sz="1400" spc="12" dirty="0">
                <a:latin typeface="Arial" panose="020B0604020202020204" pitchFamily="34" charset="0"/>
                <a:cs typeface="Arial" panose="020B0604020202020204" pitchFamily="34" charset="0"/>
              </a:rPr>
              <a:t>pour répondre aux différents besoins des entreprises</a:t>
            </a:r>
          </a:p>
          <a:p>
            <a:pPr marL="236301" indent="-228600">
              <a:buFont typeface="Arial" panose="020B0604020202020204" pitchFamily="34" charset="0"/>
              <a:buChar char="•"/>
            </a:pPr>
            <a:r>
              <a:rPr lang="fr-FR" sz="1400" b="1" spc="12" dirty="0">
                <a:latin typeface="Arial" panose="020B0604020202020204" pitchFamily="34" charset="0"/>
                <a:cs typeface="Arial" panose="020B0604020202020204" pitchFamily="34" charset="0"/>
              </a:rPr>
              <a:t>Développer du prime, </a:t>
            </a:r>
            <a:r>
              <a:rPr lang="fr-FR" sz="1400" spc="12" dirty="0">
                <a:latin typeface="Arial" panose="020B0604020202020204" pitchFamily="34" charset="0"/>
                <a:cs typeface="Arial" panose="020B0604020202020204" pitchFamily="34" charset="0"/>
              </a:rPr>
              <a:t>de l’intermédiaire et de l’abordable</a:t>
            </a:r>
          </a:p>
        </p:txBody>
      </p:sp>
      <p:sp>
        <p:nvSpPr>
          <p:cNvPr id="23" name="object 13">
            <a:extLst>
              <a:ext uri="{FF2B5EF4-FFF2-40B4-BE49-F238E27FC236}">
                <a16:creationId xmlns:a16="http://schemas.microsoft.com/office/drawing/2014/main" id="{EB6270C6-B74E-760A-D74A-D96EEEE33AD9}"/>
              </a:ext>
            </a:extLst>
          </p:cNvPr>
          <p:cNvSpPr txBox="1"/>
          <p:nvPr/>
        </p:nvSpPr>
        <p:spPr>
          <a:xfrm>
            <a:off x="5178677" y="4134628"/>
            <a:ext cx="2856602" cy="221599"/>
          </a:xfrm>
          <a:prstGeom prst="rect">
            <a:avLst/>
          </a:prstGeom>
        </p:spPr>
        <p:txBody>
          <a:bodyPr vert="horz" wrap="square" lIns="0" tIns="0" rIns="0" bIns="0" rtlCol="0">
            <a:spAutoFit/>
          </a:bodyPr>
          <a:lstStyle/>
          <a:p>
            <a:pPr marL="7701">
              <a:lnSpc>
                <a:spcPct val="90000"/>
              </a:lnSpc>
            </a:pPr>
            <a:r>
              <a:rPr lang="fr-FR" sz="1600" b="1" spc="12" dirty="0">
                <a:latin typeface="Arial" panose="020B0604020202020204" pitchFamily="34" charset="0"/>
                <a:cs typeface="Arial" panose="020B0604020202020204" pitchFamily="34" charset="0"/>
              </a:rPr>
              <a:t>RÉGÉNÉRER</a:t>
            </a:r>
            <a:endParaRPr lang="fr-FR" sz="1600" b="1" spc="12" dirty="0">
              <a:solidFill>
                <a:srgbClr val="E4002B"/>
              </a:solidFill>
              <a:latin typeface="Arial" panose="020B0604020202020204" pitchFamily="34" charset="0"/>
              <a:cs typeface="Arial" panose="020B0604020202020204" pitchFamily="34" charset="0"/>
            </a:endParaRPr>
          </a:p>
        </p:txBody>
      </p:sp>
      <p:sp>
        <p:nvSpPr>
          <p:cNvPr id="24" name="object 13">
            <a:extLst>
              <a:ext uri="{FF2B5EF4-FFF2-40B4-BE49-F238E27FC236}">
                <a16:creationId xmlns:a16="http://schemas.microsoft.com/office/drawing/2014/main" id="{02E34A97-3AB5-5461-B7F1-CE98E8D24485}"/>
              </a:ext>
            </a:extLst>
          </p:cNvPr>
          <p:cNvSpPr txBox="1"/>
          <p:nvPr/>
        </p:nvSpPr>
        <p:spPr>
          <a:xfrm>
            <a:off x="4472008" y="3831061"/>
            <a:ext cx="641089" cy="671722"/>
          </a:xfrm>
          <a:prstGeom prst="rect">
            <a:avLst/>
          </a:prstGeom>
          <a:noFill/>
        </p:spPr>
        <p:txBody>
          <a:bodyPr vert="horz" wrap="square" lIns="0" tIns="0" rIns="0" bIns="0" rtlCol="0">
            <a:spAutoFit/>
          </a:bodyPr>
          <a:lstStyle/>
          <a:p>
            <a:pPr marL="7701">
              <a:lnSpc>
                <a:spcPct val="90000"/>
              </a:lnSpc>
            </a:pPr>
            <a:r>
              <a:rPr lang="fr-FR" sz="4850" spc="12" dirty="0">
                <a:solidFill>
                  <a:srgbClr val="E4002B"/>
                </a:solidFill>
                <a:latin typeface="Arial Black" panose="020B0A04020102020204" pitchFamily="34" charset="0"/>
                <a:cs typeface="Arial" panose="020B0604020202020204" pitchFamily="34" charset="0"/>
              </a:rPr>
              <a:t>3.</a:t>
            </a:r>
          </a:p>
        </p:txBody>
      </p:sp>
      <p:sp>
        <p:nvSpPr>
          <p:cNvPr id="25" name="object 13">
            <a:extLst>
              <a:ext uri="{FF2B5EF4-FFF2-40B4-BE49-F238E27FC236}">
                <a16:creationId xmlns:a16="http://schemas.microsoft.com/office/drawing/2014/main" id="{98821C49-843F-E385-BDD7-B4B93084BDC4}"/>
              </a:ext>
            </a:extLst>
          </p:cNvPr>
          <p:cNvSpPr txBox="1"/>
          <p:nvPr/>
        </p:nvSpPr>
        <p:spPr>
          <a:xfrm>
            <a:off x="5178677" y="4427704"/>
            <a:ext cx="2934979" cy="215444"/>
          </a:xfrm>
          <a:prstGeom prst="rect">
            <a:avLst/>
          </a:prstGeom>
        </p:spPr>
        <p:txBody>
          <a:bodyPr vert="horz" wrap="square" lIns="0" tIns="0" rIns="0" bIns="0" rtlCol="0">
            <a:spAutoFit/>
          </a:bodyPr>
          <a:lstStyle/>
          <a:p>
            <a:pPr marL="7701"/>
            <a:r>
              <a:rPr lang="fr-FR" sz="1400" b="1" spc="12" dirty="0">
                <a:latin typeface="Arial" panose="020B0604020202020204" pitchFamily="34" charset="0"/>
                <a:cs typeface="Arial" panose="020B0604020202020204" pitchFamily="34" charset="0"/>
              </a:rPr>
              <a:t>Accélérer la réhabilitation pour </a:t>
            </a:r>
          </a:p>
        </p:txBody>
      </p:sp>
      <p:sp>
        <p:nvSpPr>
          <p:cNvPr id="26" name="object 13">
            <a:extLst>
              <a:ext uri="{FF2B5EF4-FFF2-40B4-BE49-F238E27FC236}">
                <a16:creationId xmlns:a16="http://schemas.microsoft.com/office/drawing/2014/main" id="{1B584870-E44D-0001-E9FE-6355AF711721}"/>
              </a:ext>
            </a:extLst>
          </p:cNvPr>
          <p:cNvSpPr txBox="1"/>
          <p:nvPr/>
        </p:nvSpPr>
        <p:spPr>
          <a:xfrm>
            <a:off x="5178677" y="4708456"/>
            <a:ext cx="2633309" cy="1107996"/>
          </a:xfrm>
          <a:prstGeom prst="rect">
            <a:avLst/>
          </a:prstGeom>
        </p:spPr>
        <p:txBody>
          <a:bodyPr vert="horz" wrap="square" lIns="0" tIns="0" rIns="0" bIns="0" rtlCol="0">
            <a:spAutoFit/>
          </a:bodyPr>
          <a:lstStyle/>
          <a:p>
            <a:pPr marL="179151" indent="-171450">
              <a:buFont typeface="Arial" panose="020B0604020202020204" pitchFamily="34" charset="0"/>
              <a:buChar char="•"/>
            </a:pPr>
            <a:r>
              <a:rPr lang="fr-FR" sz="1200" spc="12" dirty="0">
                <a:latin typeface="Arial" panose="020B0604020202020204" pitchFamily="34" charset="0"/>
                <a:cs typeface="Arial" panose="020B0604020202020204" pitchFamily="34" charset="0"/>
              </a:rPr>
              <a:t>Améliorer la qualité des actifs immobiliers pour correspondre aux attentes </a:t>
            </a:r>
          </a:p>
          <a:p>
            <a:pPr marL="179151" indent="-171450">
              <a:buFont typeface="Arial" panose="020B0604020202020204" pitchFamily="34" charset="0"/>
              <a:buChar char="•"/>
            </a:pPr>
            <a:r>
              <a:rPr lang="fr-FR" sz="1200" spc="12" dirty="0">
                <a:latin typeface="Arial" panose="020B0604020202020204" pitchFamily="34" charset="0"/>
                <a:cs typeface="Arial" panose="020B0604020202020204" pitchFamily="34" charset="0"/>
              </a:rPr>
              <a:t>Réduction bilan carbone de la Métropole</a:t>
            </a:r>
          </a:p>
          <a:p>
            <a:pPr marL="179151" indent="-171450">
              <a:buFont typeface="Arial" panose="020B0604020202020204" pitchFamily="34" charset="0"/>
              <a:buChar char="•"/>
            </a:pPr>
            <a:r>
              <a:rPr lang="fr-FR" sz="1200" spc="12" dirty="0">
                <a:latin typeface="Arial" panose="020B0604020202020204" pitchFamily="34" charset="0"/>
                <a:cs typeface="Arial" panose="020B0604020202020204" pitchFamily="34" charset="0"/>
              </a:rPr>
              <a:t>Renouveler la ville sur elle-même </a:t>
            </a:r>
          </a:p>
        </p:txBody>
      </p:sp>
      <p:sp>
        <p:nvSpPr>
          <p:cNvPr id="29" name="Rectangle 28">
            <a:extLst>
              <a:ext uri="{FF2B5EF4-FFF2-40B4-BE49-F238E27FC236}">
                <a16:creationId xmlns:a16="http://schemas.microsoft.com/office/drawing/2014/main" id="{DC569E8D-941E-2D65-578E-1F58969E00B4}"/>
              </a:ext>
            </a:extLst>
          </p:cNvPr>
          <p:cNvSpPr/>
          <p:nvPr/>
        </p:nvSpPr>
        <p:spPr>
          <a:xfrm>
            <a:off x="8113656" y="0"/>
            <a:ext cx="2107565" cy="6858000"/>
          </a:xfrm>
          <a:prstGeom prst="rect">
            <a:avLst/>
          </a:prstGeom>
          <a:solidFill>
            <a:srgbClr val="E4002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sz="900"/>
          </a:p>
        </p:txBody>
      </p:sp>
      <p:grpSp>
        <p:nvGrpSpPr>
          <p:cNvPr id="53" name="Groupe 52">
            <a:extLst>
              <a:ext uri="{FF2B5EF4-FFF2-40B4-BE49-F238E27FC236}">
                <a16:creationId xmlns:a16="http://schemas.microsoft.com/office/drawing/2014/main" id="{A20340ED-7440-4D67-5D11-8E87CFE824BA}"/>
              </a:ext>
            </a:extLst>
          </p:cNvPr>
          <p:cNvGrpSpPr/>
          <p:nvPr/>
        </p:nvGrpSpPr>
        <p:grpSpPr>
          <a:xfrm>
            <a:off x="8305064" y="1391457"/>
            <a:ext cx="1813287" cy="4075087"/>
            <a:chOff x="16609333" y="3735502"/>
            <a:chExt cx="3626574" cy="8150174"/>
          </a:xfrm>
        </p:grpSpPr>
        <p:sp>
          <p:nvSpPr>
            <p:cNvPr id="30" name="object 13">
              <a:extLst>
                <a:ext uri="{FF2B5EF4-FFF2-40B4-BE49-F238E27FC236}">
                  <a16:creationId xmlns:a16="http://schemas.microsoft.com/office/drawing/2014/main" id="{D3E51009-6E16-07C2-9F7D-9761AE6D6FBB}"/>
                </a:ext>
              </a:extLst>
            </p:cNvPr>
            <p:cNvSpPr txBox="1"/>
            <p:nvPr/>
          </p:nvSpPr>
          <p:spPr>
            <a:xfrm>
              <a:off x="16609333" y="3735502"/>
              <a:ext cx="3471544" cy="2215992"/>
            </a:xfrm>
            <a:prstGeom prst="rect">
              <a:avLst/>
            </a:prstGeom>
          </p:spPr>
          <p:txBody>
            <a:bodyPr vert="horz" wrap="square" lIns="0" tIns="0" rIns="0" bIns="0" rtlCol="0">
              <a:spAutoFit/>
            </a:bodyPr>
            <a:lstStyle/>
            <a:p>
              <a:pPr marL="7701"/>
              <a:r>
                <a:rPr lang="fr-FR" b="1" spc="12" dirty="0">
                  <a:solidFill>
                    <a:schemeClr val="bg1"/>
                  </a:solidFill>
                  <a:latin typeface="Arial" panose="020B0604020202020204" pitchFamily="34" charset="0"/>
                  <a:cs typeface="Arial" panose="020B0604020202020204" pitchFamily="34" charset="0"/>
                </a:rPr>
                <a:t>À l’image</a:t>
              </a:r>
              <a:br>
                <a:rPr lang="fr-FR" b="1" spc="12" dirty="0">
                  <a:solidFill>
                    <a:schemeClr val="bg1"/>
                  </a:solidFill>
                  <a:latin typeface="Arial" panose="020B0604020202020204" pitchFamily="34" charset="0"/>
                  <a:cs typeface="Arial" panose="020B0604020202020204" pitchFamily="34" charset="0"/>
                </a:rPr>
              </a:br>
              <a:r>
                <a:rPr lang="fr-FR" b="1" spc="12" dirty="0">
                  <a:solidFill>
                    <a:schemeClr val="bg1"/>
                  </a:solidFill>
                  <a:latin typeface="Arial" panose="020B0604020202020204" pitchFamily="34" charset="0"/>
                  <a:cs typeface="Arial" panose="020B0604020202020204" pitchFamily="34" charset="0"/>
                </a:rPr>
                <a:t>des 300 000 m²</a:t>
              </a:r>
              <a:br>
                <a:rPr lang="fr-FR" b="1" spc="12" dirty="0">
                  <a:solidFill>
                    <a:schemeClr val="bg1"/>
                  </a:solidFill>
                  <a:latin typeface="Arial" panose="020B0604020202020204" pitchFamily="34" charset="0"/>
                  <a:cs typeface="Arial" panose="020B0604020202020204" pitchFamily="34" charset="0"/>
                </a:rPr>
              </a:br>
              <a:r>
                <a:rPr lang="fr-FR" b="1" spc="12" dirty="0">
                  <a:solidFill>
                    <a:schemeClr val="bg1"/>
                  </a:solidFill>
                  <a:latin typeface="Arial" panose="020B0604020202020204" pitchFamily="34" charset="0"/>
                  <a:cs typeface="Arial" panose="020B0604020202020204" pitchFamily="34" charset="0"/>
                </a:rPr>
                <a:t>identifiés sur</a:t>
              </a:r>
              <a:br>
                <a:rPr lang="fr-FR" b="1" spc="12" dirty="0">
                  <a:solidFill>
                    <a:schemeClr val="bg1"/>
                  </a:solidFill>
                  <a:latin typeface="Arial" panose="020B0604020202020204" pitchFamily="34" charset="0"/>
                  <a:cs typeface="Arial" panose="020B0604020202020204" pitchFamily="34" charset="0"/>
                </a:rPr>
              </a:br>
              <a:r>
                <a:rPr lang="fr-FR" b="1" spc="12" dirty="0">
                  <a:solidFill>
                    <a:schemeClr val="bg1"/>
                  </a:solidFill>
                  <a:latin typeface="Arial" panose="020B0604020202020204" pitchFamily="34" charset="0"/>
                  <a:cs typeface="Arial" panose="020B0604020202020204" pitchFamily="34" charset="0"/>
                </a:rPr>
                <a:t>Lyon Part-Dieu</a:t>
              </a:r>
            </a:p>
          </p:txBody>
        </p:sp>
        <p:sp>
          <p:nvSpPr>
            <p:cNvPr id="31" name="object 13">
              <a:extLst>
                <a:ext uri="{FF2B5EF4-FFF2-40B4-BE49-F238E27FC236}">
                  <a16:creationId xmlns:a16="http://schemas.microsoft.com/office/drawing/2014/main" id="{546FF984-8B99-F3F3-A1F0-AD999BB8C749}"/>
                </a:ext>
              </a:extLst>
            </p:cNvPr>
            <p:cNvSpPr txBox="1"/>
            <p:nvPr/>
          </p:nvSpPr>
          <p:spPr>
            <a:xfrm>
              <a:off x="16609333" y="8438578"/>
              <a:ext cx="3626574" cy="3447098"/>
            </a:xfrm>
            <a:prstGeom prst="rect">
              <a:avLst/>
            </a:prstGeom>
          </p:spPr>
          <p:txBody>
            <a:bodyPr vert="horz" wrap="square" lIns="0" tIns="0" rIns="0" bIns="0" rtlCol="0">
              <a:spAutoFit/>
            </a:bodyPr>
            <a:lstStyle/>
            <a:p>
              <a:pPr marL="7701"/>
              <a:r>
                <a:rPr lang="fr-FR" sz="1600" b="1" spc="12" dirty="0">
                  <a:solidFill>
                    <a:schemeClr val="bg1"/>
                  </a:solidFill>
                  <a:latin typeface="Arial" panose="020B0604020202020204" pitchFamily="34" charset="0"/>
                  <a:cs typeface="Arial" panose="020B0604020202020204" pitchFamily="34" charset="0"/>
                </a:rPr>
                <a:t>Lancement en 2024 d’une étude de potentiel de régénération / densification tertiaire sur</a:t>
              </a:r>
              <a:br>
                <a:rPr lang="fr-FR" sz="1600" b="1" spc="12" dirty="0">
                  <a:solidFill>
                    <a:schemeClr val="bg1"/>
                  </a:solidFill>
                  <a:latin typeface="Arial" panose="020B0604020202020204" pitchFamily="34" charset="0"/>
                  <a:cs typeface="Arial" panose="020B0604020202020204" pitchFamily="34" charset="0"/>
                </a:rPr>
              </a:br>
              <a:r>
                <a:rPr lang="fr-FR" sz="1600" b="1" spc="12" dirty="0">
                  <a:solidFill>
                    <a:schemeClr val="bg1"/>
                  </a:solidFill>
                  <a:latin typeface="Arial" panose="020B0604020202020204" pitchFamily="34" charset="0"/>
                  <a:cs typeface="Arial" panose="020B0604020202020204" pitchFamily="34" charset="0"/>
                </a:rPr>
                <a:t>Lyon-Villeurbanne</a:t>
              </a:r>
            </a:p>
          </p:txBody>
        </p:sp>
        <p:sp>
          <p:nvSpPr>
            <p:cNvPr id="45" name="Flèche : chevron 19">
              <a:extLst>
                <a:ext uri="{FF2B5EF4-FFF2-40B4-BE49-F238E27FC236}">
                  <a16:creationId xmlns:a16="http://schemas.microsoft.com/office/drawing/2014/main" id="{A1358BED-A02E-89E3-B5BA-FF36C0F8005A}"/>
                </a:ext>
              </a:extLst>
            </p:cNvPr>
            <p:cNvSpPr/>
            <p:nvPr/>
          </p:nvSpPr>
          <p:spPr>
            <a:xfrm rot="5400000">
              <a:off x="17243280" y="5886927"/>
              <a:ext cx="1346463" cy="2614356"/>
            </a:xfrm>
            <a:prstGeom prst="chevron">
              <a:avLst/>
            </a:prstGeom>
            <a:solidFill>
              <a:schemeClr val="bg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25718" tIns="12859" rIns="25718" bIns="12859" numCol="1" spcCol="0" rtlCol="0" fromWordArt="0" anchor="ctr" anchorCtr="0" forceAA="0" compatLnSpc="1">
              <a:prstTxWarp prst="textNoShape">
                <a:avLst/>
              </a:prstTxWarp>
              <a:noAutofit/>
            </a:bodyPr>
            <a:lstStyle/>
            <a:p>
              <a:pPr algn="ctr"/>
              <a:endParaRPr lang="fr-FR" sz="675" dirty="0">
                <a:solidFill>
                  <a:schemeClr val="tx1"/>
                </a:solidFill>
                <a:latin typeface="Arial Black" panose="020B0A04020102020204" pitchFamily="34" charset="0"/>
              </a:endParaRPr>
            </a:p>
          </p:txBody>
        </p:sp>
      </p:grpSp>
      <p:pic>
        <p:nvPicPr>
          <p:cNvPr id="52" name="Graphique 51">
            <a:extLst>
              <a:ext uri="{FF2B5EF4-FFF2-40B4-BE49-F238E27FC236}">
                <a16:creationId xmlns:a16="http://schemas.microsoft.com/office/drawing/2014/main" id="{75663E18-0D72-ED81-A3F6-ED662FF9D204}"/>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rot="16200000">
            <a:off x="11252913" y="5918020"/>
            <a:ext cx="1392175" cy="487782"/>
          </a:xfrm>
          <a:prstGeom prst="rect">
            <a:avLst/>
          </a:prstGeom>
        </p:spPr>
      </p:pic>
      <p:sp>
        <p:nvSpPr>
          <p:cNvPr id="2" name="Rectangle 1">
            <a:extLst>
              <a:ext uri="{FF2B5EF4-FFF2-40B4-BE49-F238E27FC236}">
                <a16:creationId xmlns:a16="http://schemas.microsoft.com/office/drawing/2014/main" id="{206D80E7-B4BC-F6D6-35FA-2C485201DE55}"/>
              </a:ext>
            </a:extLst>
          </p:cNvPr>
          <p:cNvSpPr/>
          <p:nvPr/>
        </p:nvSpPr>
        <p:spPr>
          <a:xfrm>
            <a:off x="10217602" y="0"/>
            <a:ext cx="105878" cy="6858000"/>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00"/>
          </a:p>
        </p:txBody>
      </p:sp>
    </p:spTree>
    <p:extLst>
      <p:ext uri="{BB962C8B-B14F-4D97-AF65-F5344CB8AC3E}">
        <p14:creationId xmlns:p14="http://schemas.microsoft.com/office/powerpoint/2010/main" val="134001969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116145-F36A-0E5A-4C94-A7EABDDC3300}"/>
            </a:ext>
          </a:extLst>
        </p:cNvPr>
        <p:cNvGrpSpPr/>
        <p:nvPr/>
      </p:nvGrpSpPr>
      <p:grpSpPr>
        <a:xfrm>
          <a:off x="0" y="0"/>
          <a:ext cx="0" cy="0"/>
          <a:chOff x="0" y="0"/>
          <a:chExt cx="0" cy="0"/>
        </a:xfrm>
      </p:grpSpPr>
      <p:pic>
        <p:nvPicPr>
          <p:cNvPr id="6" name="Picture 2" descr="image">
            <a:extLst>
              <a:ext uri="{FF2B5EF4-FFF2-40B4-BE49-F238E27FC236}">
                <a16:creationId xmlns:a16="http://schemas.microsoft.com/office/drawing/2014/main" id="{719722F3-A001-23F1-EDD2-0D84E625BE8E}"/>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502741" y="1555800"/>
            <a:ext cx="2451462" cy="2481117"/>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a:extLst>
              <a:ext uri="{FF2B5EF4-FFF2-40B4-BE49-F238E27FC236}">
                <a16:creationId xmlns:a16="http://schemas.microsoft.com/office/drawing/2014/main" id="{34A3F0A9-B2BE-4F3A-5688-AB95CA95A520}"/>
              </a:ext>
            </a:extLst>
          </p:cNvPr>
          <p:cNvSpPr/>
          <p:nvPr/>
        </p:nvSpPr>
        <p:spPr>
          <a:xfrm>
            <a:off x="11512947" y="3817144"/>
            <a:ext cx="678657" cy="10342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00"/>
          </a:p>
        </p:txBody>
      </p:sp>
      <p:grpSp>
        <p:nvGrpSpPr>
          <p:cNvPr id="13" name="Groupe 12">
            <a:extLst>
              <a:ext uri="{FF2B5EF4-FFF2-40B4-BE49-F238E27FC236}">
                <a16:creationId xmlns:a16="http://schemas.microsoft.com/office/drawing/2014/main" id="{B8149630-56BA-1381-11E3-ED36271502FC}"/>
              </a:ext>
            </a:extLst>
          </p:cNvPr>
          <p:cNvGrpSpPr/>
          <p:nvPr/>
        </p:nvGrpSpPr>
        <p:grpSpPr>
          <a:xfrm rot="16200000">
            <a:off x="11251626" y="5918022"/>
            <a:ext cx="1392174" cy="487782"/>
            <a:chOff x="6189044" y="11173899"/>
            <a:chExt cx="5165853" cy="1809980"/>
          </a:xfrm>
        </p:grpSpPr>
        <p:sp>
          <p:nvSpPr>
            <p:cNvPr id="14" name="Rectangle 13">
              <a:extLst>
                <a:ext uri="{FF2B5EF4-FFF2-40B4-BE49-F238E27FC236}">
                  <a16:creationId xmlns:a16="http://schemas.microsoft.com/office/drawing/2014/main" id="{FFECE346-BEB2-82FE-1E37-0DA2801A917B}"/>
                </a:ext>
              </a:extLst>
            </p:cNvPr>
            <p:cNvSpPr/>
            <p:nvPr/>
          </p:nvSpPr>
          <p:spPr>
            <a:xfrm>
              <a:off x="6275672" y="11251933"/>
              <a:ext cx="3291840" cy="66955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00"/>
            </a:p>
          </p:txBody>
        </p:sp>
        <p:sp>
          <p:nvSpPr>
            <p:cNvPr id="15" name="Rectangle 14">
              <a:extLst>
                <a:ext uri="{FF2B5EF4-FFF2-40B4-BE49-F238E27FC236}">
                  <a16:creationId xmlns:a16="http://schemas.microsoft.com/office/drawing/2014/main" id="{D1E89962-397E-11AB-304B-701E1B19FD91}"/>
                </a:ext>
              </a:extLst>
            </p:cNvPr>
            <p:cNvSpPr/>
            <p:nvPr/>
          </p:nvSpPr>
          <p:spPr>
            <a:xfrm>
              <a:off x="9805156" y="12159152"/>
              <a:ext cx="1389025" cy="66955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00"/>
            </a:p>
          </p:txBody>
        </p:sp>
        <p:pic>
          <p:nvPicPr>
            <p:cNvPr id="20" name="Graphique 19">
              <a:extLst>
                <a:ext uri="{FF2B5EF4-FFF2-40B4-BE49-F238E27FC236}">
                  <a16:creationId xmlns:a16="http://schemas.microsoft.com/office/drawing/2014/main" id="{D9D89B06-12EA-C035-5518-0EEB258056FB}"/>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6189044" y="11173899"/>
              <a:ext cx="5165853" cy="1809980"/>
            </a:xfrm>
            <a:prstGeom prst="rect">
              <a:avLst/>
            </a:prstGeom>
          </p:spPr>
        </p:pic>
      </p:grpSp>
      <p:sp>
        <p:nvSpPr>
          <p:cNvPr id="45" name="Rectangle 44">
            <a:extLst>
              <a:ext uri="{FF2B5EF4-FFF2-40B4-BE49-F238E27FC236}">
                <a16:creationId xmlns:a16="http://schemas.microsoft.com/office/drawing/2014/main" id="{5F2D45AB-3940-DE81-723B-1E95F3C6B0F7}"/>
              </a:ext>
            </a:extLst>
          </p:cNvPr>
          <p:cNvSpPr/>
          <p:nvPr/>
        </p:nvSpPr>
        <p:spPr>
          <a:xfrm>
            <a:off x="397" y="0"/>
            <a:ext cx="105878" cy="6858000"/>
          </a:xfrm>
          <a:prstGeom prst="rect">
            <a:avLst/>
          </a:prstGeom>
          <a:solidFill>
            <a:srgbClr val="E400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00" dirty="0"/>
          </a:p>
        </p:txBody>
      </p:sp>
      <p:pic>
        <p:nvPicPr>
          <p:cNvPr id="23" name="Espace réservé du contenu 4">
            <a:extLst>
              <a:ext uri="{FF2B5EF4-FFF2-40B4-BE49-F238E27FC236}">
                <a16:creationId xmlns:a16="http://schemas.microsoft.com/office/drawing/2014/main" id="{24A19F25-C225-4ADF-9CD0-66A03939083D}"/>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3107935" y="1555800"/>
            <a:ext cx="4152966" cy="4555152"/>
          </a:xfrm>
          <a:prstGeom prst="rect">
            <a:avLst/>
          </a:prstGeom>
        </p:spPr>
      </p:pic>
      <p:cxnSp>
        <p:nvCxnSpPr>
          <p:cNvPr id="46" name="Connecteur droit avec flèche 45">
            <a:extLst>
              <a:ext uri="{FF2B5EF4-FFF2-40B4-BE49-F238E27FC236}">
                <a16:creationId xmlns:a16="http://schemas.microsoft.com/office/drawing/2014/main" id="{013D062B-0196-43D8-B8DB-A5A7B68798F8}"/>
              </a:ext>
            </a:extLst>
          </p:cNvPr>
          <p:cNvCxnSpPr>
            <a:cxnSpLocks/>
          </p:cNvCxnSpPr>
          <p:nvPr/>
        </p:nvCxnSpPr>
        <p:spPr>
          <a:xfrm>
            <a:off x="2389417" y="3722424"/>
            <a:ext cx="1950720" cy="904517"/>
          </a:xfrm>
          <a:prstGeom prst="straightConnector1">
            <a:avLst/>
          </a:prstGeom>
          <a:ln w="28575">
            <a:solidFill>
              <a:srgbClr val="E4002B"/>
            </a:solidFill>
            <a:tailEnd type="triangle"/>
          </a:ln>
        </p:spPr>
        <p:style>
          <a:lnRef idx="1">
            <a:schemeClr val="accent1"/>
          </a:lnRef>
          <a:fillRef idx="0">
            <a:schemeClr val="accent1"/>
          </a:fillRef>
          <a:effectRef idx="0">
            <a:schemeClr val="accent1"/>
          </a:effectRef>
          <a:fontRef idx="minor">
            <a:schemeClr val="tx1"/>
          </a:fontRef>
        </p:style>
      </p:cxnSp>
      <p:sp>
        <p:nvSpPr>
          <p:cNvPr id="4" name="object 8">
            <a:extLst>
              <a:ext uri="{FF2B5EF4-FFF2-40B4-BE49-F238E27FC236}">
                <a16:creationId xmlns:a16="http://schemas.microsoft.com/office/drawing/2014/main" id="{F9C8F1B3-F908-0010-18C4-4BE869E7C491}"/>
              </a:ext>
            </a:extLst>
          </p:cNvPr>
          <p:cNvSpPr txBox="1">
            <a:spLocks/>
          </p:cNvSpPr>
          <p:nvPr/>
        </p:nvSpPr>
        <p:spPr>
          <a:xfrm>
            <a:off x="526935" y="1358391"/>
            <a:ext cx="1183729" cy="232165"/>
          </a:xfrm>
          <a:prstGeom prst="rect">
            <a:avLst/>
          </a:prstGeom>
          <a:solidFill>
            <a:srgbClr val="E4002B"/>
          </a:solidFill>
        </p:spPr>
        <p:txBody>
          <a:bodyPr vert="horz" wrap="square" lIns="54000" tIns="54000" rIns="54000" bIns="54000" rtlCol="0" anchor="ctr">
            <a:spAutoFit/>
          </a:bodyPr>
          <a:lstStyle>
            <a:lvl1pPr algn="l" defTabSz="1828709" rtl="0" eaLnBrk="1" latinLnBrk="0" hangingPunct="1">
              <a:lnSpc>
                <a:spcPct val="90000"/>
              </a:lnSpc>
              <a:spcBef>
                <a:spcPct val="0"/>
              </a:spcBef>
              <a:buNone/>
              <a:defRPr sz="8800" kern="1200">
                <a:solidFill>
                  <a:schemeClr val="tx1"/>
                </a:solidFill>
                <a:latin typeface="+mj-lt"/>
                <a:ea typeface="+mj-ea"/>
                <a:cs typeface="+mj-cs"/>
              </a:defRPr>
            </a:lvl1pPr>
          </a:lstStyle>
          <a:p>
            <a:pPr marL="3851">
              <a:lnSpc>
                <a:spcPct val="100000"/>
              </a:lnSpc>
              <a:spcBef>
                <a:spcPts val="29"/>
              </a:spcBef>
              <a:tabLst>
                <a:tab pos="1528050" algn="l"/>
              </a:tabLst>
            </a:pPr>
            <a:r>
              <a:rPr lang="fr-FR" sz="800" b="1" dirty="0">
                <a:solidFill>
                  <a:schemeClr val="bg1"/>
                </a:solidFill>
                <a:latin typeface="Arial" panose="020B0604020202020204" pitchFamily="34" charset="0"/>
                <a:cs typeface="Arial" panose="020B0604020202020204" pitchFamily="34" charset="0"/>
              </a:rPr>
              <a:t>LA SAULAIE - Oullins </a:t>
            </a:r>
          </a:p>
        </p:txBody>
      </p:sp>
      <p:sp>
        <p:nvSpPr>
          <p:cNvPr id="8" name="ZoneTexte 7">
            <a:extLst>
              <a:ext uri="{FF2B5EF4-FFF2-40B4-BE49-F238E27FC236}">
                <a16:creationId xmlns:a16="http://schemas.microsoft.com/office/drawing/2014/main" id="{869B76DA-EAAA-B38D-294C-5D9F75AF0051}"/>
              </a:ext>
            </a:extLst>
          </p:cNvPr>
          <p:cNvSpPr txBox="1"/>
          <p:nvPr/>
        </p:nvSpPr>
        <p:spPr>
          <a:xfrm>
            <a:off x="526936" y="1600825"/>
            <a:ext cx="2090201" cy="584775"/>
          </a:xfrm>
          <a:prstGeom prst="rect">
            <a:avLst/>
          </a:prstGeom>
          <a:solidFill>
            <a:schemeClr val="tx1">
              <a:alpha val="50000"/>
            </a:schemeClr>
          </a:solidFill>
        </p:spPr>
        <p:txBody>
          <a:bodyPr wrap="square" rtlCol="0">
            <a:spAutoFit/>
          </a:bodyPr>
          <a:lstStyle/>
          <a:p>
            <a:r>
              <a:rPr lang="fr-FR" sz="800" dirty="0">
                <a:solidFill>
                  <a:schemeClr val="bg1"/>
                </a:solidFill>
                <a:latin typeface="Arial" panose="020B0604020202020204" pitchFamily="34" charset="0"/>
                <a:cs typeface="Arial" panose="020B0604020202020204" pitchFamily="34" charset="0"/>
              </a:rPr>
              <a:t>Entre en phase opérationnelle</a:t>
            </a:r>
          </a:p>
          <a:p>
            <a:r>
              <a:rPr lang="fr-FR" sz="800" dirty="0">
                <a:solidFill>
                  <a:schemeClr val="bg1"/>
                </a:solidFill>
                <a:latin typeface="Arial" panose="020B0604020202020204" pitchFamily="34" charset="0"/>
                <a:cs typeface="Arial" panose="020B0604020202020204" pitchFamily="34" charset="0"/>
              </a:rPr>
              <a:t>40 ha - 168 000 m² au total dont 80 000 m² SDP tertiaire</a:t>
            </a:r>
          </a:p>
          <a:p>
            <a:r>
              <a:rPr lang="fr-FR" sz="800" dirty="0">
                <a:solidFill>
                  <a:schemeClr val="bg1"/>
                </a:solidFill>
                <a:latin typeface="Arial" panose="020B0604020202020204" pitchFamily="34" charset="0"/>
                <a:cs typeface="Arial" panose="020B0604020202020204" pitchFamily="34" charset="0"/>
              </a:rPr>
              <a:t>1</a:t>
            </a:r>
            <a:r>
              <a:rPr lang="fr-FR" sz="800" baseline="30000" dirty="0">
                <a:solidFill>
                  <a:schemeClr val="bg1"/>
                </a:solidFill>
                <a:latin typeface="Arial" panose="020B0604020202020204" pitchFamily="34" charset="0"/>
                <a:cs typeface="Arial" panose="020B0604020202020204" pitchFamily="34" charset="0"/>
              </a:rPr>
              <a:t>ère</a:t>
            </a:r>
            <a:r>
              <a:rPr lang="fr-FR" sz="800" dirty="0">
                <a:solidFill>
                  <a:schemeClr val="bg1"/>
                </a:solidFill>
                <a:latin typeface="Arial" panose="020B0604020202020204" pitchFamily="34" charset="0"/>
                <a:cs typeface="Arial" panose="020B0604020202020204" pitchFamily="34" charset="0"/>
              </a:rPr>
              <a:t> consultation ÎLOT 4 en cours</a:t>
            </a:r>
            <a:endParaRPr lang="fr-FR" sz="800" dirty="0">
              <a:latin typeface="Arial" panose="020B0604020202020204" pitchFamily="34" charset="0"/>
              <a:cs typeface="Arial" panose="020B0604020202020204" pitchFamily="34" charset="0"/>
            </a:endParaRPr>
          </a:p>
        </p:txBody>
      </p:sp>
      <p:sp>
        <p:nvSpPr>
          <p:cNvPr id="10" name="object 8">
            <a:extLst>
              <a:ext uri="{FF2B5EF4-FFF2-40B4-BE49-F238E27FC236}">
                <a16:creationId xmlns:a16="http://schemas.microsoft.com/office/drawing/2014/main" id="{F0EE3B14-6F4F-BE9D-6CD2-287A9FD3BF98}"/>
              </a:ext>
            </a:extLst>
          </p:cNvPr>
          <p:cNvSpPr txBox="1">
            <a:spLocks/>
          </p:cNvSpPr>
          <p:nvPr/>
        </p:nvSpPr>
        <p:spPr>
          <a:xfrm>
            <a:off x="515074" y="333676"/>
            <a:ext cx="11188749" cy="1019356"/>
          </a:xfrm>
          <a:prstGeom prst="rect">
            <a:avLst/>
          </a:prstGeom>
        </p:spPr>
        <p:txBody>
          <a:bodyPr vert="horz" wrap="square" lIns="0" tIns="3658" rIns="0" bIns="0" rtlCol="0" anchor="ctr">
            <a:spAutoFit/>
          </a:bodyPr>
          <a:lstStyle>
            <a:lvl1pPr algn="l" defTabSz="1828709" rtl="0" eaLnBrk="1" latinLnBrk="0" hangingPunct="1">
              <a:lnSpc>
                <a:spcPct val="90000"/>
              </a:lnSpc>
              <a:spcBef>
                <a:spcPct val="0"/>
              </a:spcBef>
              <a:buNone/>
              <a:defRPr sz="8800" kern="1200">
                <a:solidFill>
                  <a:schemeClr val="tx1"/>
                </a:solidFill>
                <a:latin typeface="+mj-lt"/>
                <a:ea typeface="+mj-ea"/>
                <a:cs typeface="+mj-cs"/>
              </a:defRPr>
            </a:lvl1pPr>
          </a:lstStyle>
          <a:p>
            <a:pPr marL="3851">
              <a:lnSpc>
                <a:spcPct val="100000"/>
              </a:lnSpc>
              <a:spcBef>
                <a:spcPts val="29"/>
              </a:spcBef>
              <a:tabLst>
                <a:tab pos="1528050" algn="l"/>
              </a:tabLst>
            </a:pPr>
            <a:r>
              <a:rPr lang="fr-FR" sz="2200" spc="-2" dirty="0">
                <a:solidFill>
                  <a:srgbClr val="E4002B"/>
                </a:solidFill>
                <a:latin typeface="Arial Black" panose="020B0A04020102020204" pitchFamily="34" charset="0"/>
              </a:rPr>
              <a:t>UN DÉVELOPPEMENT MULTIPOLAIRE ASSUMÉ </a:t>
            </a:r>
            <a:br>
              <a:rPr lang="fr-FR" sz="2200" spc="-2" dirty="0">
                <a:solidFill>
                  <a:srgbClr val="E4002B"/>
                </a:solidFill>
                <a:latin typeface="Arial Black" panose="020B0A04020102020204" pitchFamily="34" charset="0"/>
              </a:rPr>
            </a:br>
            <a:r>
              <a:rPr lang="fr-FR" sz="2200" spc="-2" dirty="0">
                <a:latin typeface="Arial Black" panose="020B0A04020102020204" pitchFamily="34" charset="0"/>
              </a:rPr>
              <a:t>      DANS LES PROJETS URBAINS DE LA MÉTROPOLE</a:t>
            </a:r>
          </a:p>
          <a:p>
            <a:pPr marL="3851">
              <a:lnSpc>
                <a:spcPct val="100000"/>
              </a:lnSpc>
              <a:spcBef>
                <a:spcPts val="29"/>
              </a:spcBef>
              <a:tabLst>
                <a:tab pos="1528050" algn="l"/>
              </a:tabLst>
            </a:pPr>
            <a:endParaRPr lang="fr-FR" sz="2200" spc="-2" dirty="0">
              <a:latin typeface="Arial Black" panose="020B0A04020102020204" pitchFamily="34" charset="0"/>
            </a:endParaRPr>
          </a:p>
        </p:txBody>
      </p:sp>
      <p:sp>
        <p:nvSpPr>
          <p:cNvPr id="17" name="Ellipse 16">
            <a:extLst>
              <a:ext uri="{FF2B5EF4-FFF2-40B4-BE49-F238E27FC236}">
                <a16:creationId xmlns:a16="http://schemas.microsoft.com/office/drawing/2014/main" id="{D7EA91A5-74B6-9B53-12F1-1559F3A4BB87}"/>
              </a:ext>
            </a:extLst>
          </p:cNvPr>
          <p:cNvSpPr/>
          <p:nvPr/>
        </p:nvSpPr>
        <p:spPr>
          <a:xfrm>
            <a:off x="2281840" y="3628026"/>
            <a:ext cx="160104" cy="160104"/>
          </a:xfrm>
          <a:prstGeom prst="ellipse">
            <a:avLst/>
          </a:prstGeom>
          <a:solidFill>
            <a:srgbClr val="E4002B"/>
          </a:solidFill>
          <a:ln w="571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sz="900"/>
          </a:p>
        </p:txBody>
      </p:sp>
      <p:pic>
        <p:nvPicPr>
          <p:cNvPr id="18" name="Image 17" descr="Une image contenant arbre, extérieur, herbe, ciel&#10;&#10;Description générée automatiquement">
            <a:extLst>
              <a:ext uri="{FF2B5EF4-FFF2-40B4-BE49-F238E27FC236}">
                <a16:creationId xmlns:a16="http://schemas.microsoft.com/office/drawing/2014/main" id="{97ED6BB3-8E70-7051-5B62-CB5198743728}"/>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526936" y="4420612"/>
            <a:ext cx="2376441" cy="1665113"/>
          </a:xfrm>
          <a:prstGeom prst="rect">
            <a:avLst/>
          </a:prstGeom>
          <a:solidFill>
            <a:srgbClr val="FFFFFF">
              <a:shade val="85000"/>
            </a:srgbClr>
          </a:solidFill>
          <a:ln w="88900" cap="sq">
            <a:noFill/>
            <a:miter lim="800000"/>
          </a:ln>
          <a:effectLst/>
        </p:spPr>
      </p:pic>
      <p:sp>
        <p:nvSpPr>
          <p:cNvPr id="19" name="object 8">
            <a:extLst>
              <a:ext uri="{FF2B5EF4-FFF2-40B4-BE49-F238E27FC236}">
                <a16:creationId xmlns:a16="http://schemas.microsoft.com/office/drawing/2014/main" id="{ACDB0C18-3776-96B6-16EE-874084785DF5}"/>
              </a:ext>
            </a:extLst>
          </p:cNvPr>
          <p:cNvSpPr txBox="1">
            <a:spLocks/>
          </p:cNvSpPr>
          <p:nvPr/>
        </p:nvSpPr>
        <p:spPr>
          <a:xfrm>
            <a:off x="527160" y="4179519"/>
            <a:ext cx="2376217" cy="232165"/>
          </a:xfrm>
          <a:prstGeom prst="rect">
            <a:avLst/>
          </a:prstGeom>
          <a:solidFill>
            <a:srgbClr val="E4002B"/>
          </a:solidFill>
        </p:spPr>
        <p:txBody>
          <a:bodyPr vert="horz" wrap="square" lIns="54000" tIns="54000" rIns="54000" bIns="54000" rtlCol="0" anchor="ctr">
            <a:spAutoFit/>
          </a:bodyPr>
          <a:lstStyle>
            <a:lvl1pPr algn="l" defTabSz="1828709" rtl="0" eaLnBrk="1" latinLnBrk="0" hangingPunct="1">
              <a:lnSpc>
                <a:spcPct val="90000"/>
              </a:lnSpc>
              <a:spcBef>
                <a:spcPct val="0"/>
              </a:spcBef>
              <a:buNone/>
              <a:defRPr sz="8800" kern="1200">
                <a:solidFill>
                  <a:schemeClr val="tx1"/>
                </a:solidFill>
                <a:latin typeface="+mj-lt"/>
                <a:ea typeface="+mj-ea"/>
                <a:cs typeface="+mj-cs"/>
              </a:defRPr>
            </a:lvl1pPr>
          </a:lstStyle>
          <a:p>
            <a:pPr marL="3851">
              <a:lnSpc>
                <a:spcPct val="100000"/>
              </a:lnSpc>
              <a:spcBef>
                <a:spcPts val="29"/>
              </a:spcBef>
              <a:tabLst>
                <a:tab pos="1528050" algn="l"/>
              </a:tabLst>
            </a:pPr>
            <a:r>
              <a:rPr lang="fr-FR" sz="800" b="1" dirty="0">
                <a:solidFill>
                  <a:schemeClr val="bg1"/>
                </a:solidFill>
                <a:latin typeface="Arial" panose="020B0604020202020204" pitchFamily="34" charset="0"/>
                <a:cs typeface="Arial" panose="020B0604020202020204" pitchFamily="34" charset="0"/>
              </a:rPr>
              <a:t>VALLON DES HÔPITAUX - Saint-Genis Laval</a:t>
            </a:r>
            <a:endParaRPr lang="fr-FR" sz="800" b="1" spc="-2" dirty="0">
              <a:solidFill>
                <a:srgbClr val="E4002B"/>
              </a:solidFill>
              <a:latin typeface="Arial Black" panose="020B0A04020102020204" pitchFamily="34" charset="0"/>
            </a:endParaRPr>
          </a:p>
        </p:txBody>
      </p:sp>
      <p:sp>
        <p:nvSpPr>
          <p:cNvPr id="21" name="ZoneTexte 20">
            <a:extLst>
              <a:ext uri="{FF2B5EF4-FFF2-40B4-BE49-F238E27FC236}">
                <a16:creationId xmlns:a16="http://schemas.microsoft.com/office/drawing/2014/main" id="{A781171D-61AA-FF54-4FA5-2DBCE07A8519}"/>
              </a:ext>
            </a:extLst>
          </p:cNvPr>
          <p:cNvSpPr txBox="1"/>
          <p:nvPr/>
        </p:nvSpPr>
        <p:spPr>
          <a:xfrm>
            <a:off x="526935" y="4419191"/>
            <a:ext cx="2197584" cy="584775"/>
          </a:xfrm>
          <a:prstGeom prst="rect">
            <a:avLst/>
          </a:prstGeom>
          <a:solidFill>
            <a:schemeClr val="tx1">
              <a:alpha val="50000"/>
            </a:schemeClr>
          </a:solidFill>
        </p:spPr>
        <p:txBody>
          <a:bodyPr wrap="square" rtlCol="0">
            <a:spAutoFit/>
          </a:bodyPr>
          <a:lstStyle/>
          <a:p>
            <a:r>
              <a:rPr lang="fr-FR" sz="800" dirty="0">
                <a:solidFill>
                  <a:schemeClr val="bg1"/>
                </a:solidFill>
                <a:latin typeface="Arial" panose="020B0604020202020204" pitchFamily="34" charset="0"/>
                <a:cs typeface="Arial" panose="020B0604020202020204" pitchFamily="34" charset="0"/>
              </a:rPr>
              <a:t>Quartier nature 1 350 logements et 84 000 m²</a:t>
            </a:r>
            <a:br>
              <a:rPr lang="fr-FR" sz="800" dirty="0">
                <a:solidFill>
                  <a:schemeClr val="bg1"/>
                </a:solidFill>
                <a:latin typeface="Arial" panose="020B0604020202020204" pitchFamily="34" charset="0"/>
                <a:cs typeface="Arial" panose="020B0604020202020204" pitchFamily="34" charset="0"/>
              </a:rPr>
            </a:br>
            <a:r>
              <a:rPr lang="fr-FR" sz="800" dirty="0">
                <a:solidFill>
                  <a:schemeClr val="bg1"/>
                </a:solidFill>
                <a:latin typeface="Arial" panose="020B0604020202020204" pitchFamily="34" charset="0"/>
                <a:cs typeface="Arial" panose="020B0604020202020204" pitchFamily="34" charset="0"/>
              </a:rPr>
              <a:t>de surfaces économiques et hospitalières</a:t>
            </a:r>
          </a:p>
          <a:p>
            <a:r>
              <a:rPr lang="fr-FR" sz="800" dirty="0">
                <a:solidFill>
                  <a:schemeClr val="bg1"/>
                </a:solidFill>
                <a:latin typeface="Arial" panose="020B0604020202020204" pitchFamily="34" charset="0"/>
                <a:cs typeface="Arial" panose="020B0604020202020204" pitchFamily="34" charset="0"/>
              </a:rPr>
              <a:t>Livraison du Métro B</a:t>
            </a:r>
          </a:p>
        </p:txBody>
      </p:sp>
      <p:cxnSp>
        <p:nvCxnSpPr>
          <p:cNvPr id="22" name="Connecteur droit avec flèche 21">
            <a:extLst>
              <a:ext uri="{FF2B5EF4-FFF2-40B4-BE49-F238E27FC236}">
                <a16:creationId xmlns:a16="http://schemas.microsoft.com/office/drawing/2014/main" id="{8F461869-168E-F216-5CC9-1296B25B455A}"/>
              </a:ext>
            </a:extLst>
          </p:cNvPr>
          <p:cNvCxnSpPr>
            <a:cxnSpLocks/>
          </p:cNvCxnSpPr>
          <p:nvPr/>
        </p:nvCxnSpPr>
        <p:spPr>
          <a:xfrm flipV="1">
            <a:off x="2424428" y="4866524"/>
            <a:ext cx="1603896" cy="793833"/>
          </a:xfrm>
          <a:prstGeom prst="straightConnector1">
            <a:avLst/>
          </a:prstGeom>
          <a:ln w="28575">
            <a:solidFill>
              <a:srgbClr val="E4002B"/>
            </a:solidFill>
            <a:tailEnd type="triangle"/>
          </a:ln>
        </p:spPr>
        <p:style>
          <a:lnRef idx="1">
            <a:schemeClr val="accent1"/>
          </a:lnRef>
          <a:fillRef idx="0">
            <a:schemeClr val="accent1"/>
          </a:fillRef>
          <a:effectRef idx="0">
            <a:schemeClr val="accent1"/>
          </a:effectRef>
          <a:fontRef idx="minor">
            <a:schemeClr val="tx1"/>
          </a:fontRef>
        </p:style>
      </p:cxnSp>
      <p:sp>
        <p:nvSpPr>
          <p:cNvPr id="26" name="Ellipse 25">
            <a:extLst>
              <a:ext uri="{FF2B5EF4-FFF2-40B4-BE49-F238E27FC236}">
                <a16:creationId xmlns:a16="http://schemas.microsoft.com/office/drawing/2014/main" id="{CDAEE1DE-2B66-7B6A-7728-FB77AD4261AE}"/>
              </a:ext>
            </a:extLst>
          </p:cNvPr>
          <p:cNvSpPr/>
          <p:nvPr/>
        </p:nvSpPr>
        <p:spPr>
          <a:xfrm>
            <a:off x="2344376" y="5580305"/>
            <a:ext cx="160104" cy="160104"/>
          </a:xfrm>
          <a:prstGeom prst="ellipse">
            <a:avLst/>
          </a:prstGeom>
          <a:solidFill>
            <a:srgbClr val="E4002B"/>
          </a:solidFill>
          <a:ln w="571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sz="900"/>
          </a:p>
        </p:txBody>
      </p:sp>
      <p:grpSp>
        <p:nvGrpSpPr>
          <p:cNvPr id="32" name="Groupe 31">
            <a:extLst>
              <a:ext uri="{FF2B5EF4-FFF2-40B4-BE49-F238E27FC236}">
                <a16:creationId xmlns:a16="http://schemas.microsoft.com/office/drawing/2014/main" id="{2E1B51F6-44EF-1379-C871-3E121A39DDE1}"/>
              </a:ext>
            </a:extLst>
          </p:cNvPr>
          <p:cNvGrpSpPr/>
          <p:nvPr/>
        </p:nvGrpSpPr>
        <p:grpSpPr>
          <a:xfrm>
            <a:off x="7395089" y="1411072"/>
            <a:ext cx="4100494" cy="1443693"/>
            <a:chOff x="15098233" y="3180431"/>
            <a:chExt cx="8200987" cy="2602554"/>
          </a:xfrm>
        </p:grpSpPr>
        <p:pic>
          <p:nvPicPr>
            <p:cNvPr id="30" name="Picture 2" descr="https://www.lasa.fr/wp-content/uploads/2020/03/2021-EASTWOOD-CARRE-DE-SOIE-VILLEURBANNE-2-1000x667-555x370.jpg">
              <a:extLst>
                <a:ext uri="{FF2B5EF4-FFF2-40B4-BE49-F238E27FC236}">
                  <a16:creationId xmlns:a16="http://schemas.microsoft.com/office/drawing/2014/main" id="{CAE2A938-769B-F085-CD5B-F5ADE2BEC222}"/>
                </a:ext>
              </a:extLst>
            </p:cNvPr>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15098233" y="3181180"/>
              <a:ext cx="3946702" cy="2601805"/>
            </a:xfrm>
            <a:prstGeom prst="rect">
              <a:avLst/>
            </a:prstGeom>
            <a:noFill/>
            <a:extLst>
              <a:ext uri="{909E8E84-426E-40DD-AFC4-6F175D3DCCD1}">
                <a14:hiddenFill xmlns:a14="http://schemas.microsoft.com/office/drawing/2010/main">
                  <a:solidFill>
                    <a:srgbClr val="FFFFFF"/>
                  </a:solidFill>
                </a14:hiddenFill>
              </a:ext>
            </a:extLst>
          </p:spPr>
        </p:pic>
        <p:pic>
          <p:nvPicPr>
            <p:cNvPr id="31" name="Image 30">
              <a:extLst>
                <a:ext uri="{FF2B5EF4-FFF2-40B4-BE49-F238E27FC236}">
                  <a16:creationId xmlns:a16="http://schemas.microsoft.com/office/drawing/2014/main" id="{BBBCC8E7-B33E-6B4D-1BFA-9BCF8C96FB04}"/>
                </a:ext>
              </a:extLst>
            </p:cNvPr>
            <p:cNvPicPr>
              <a:picLocks noChangeAspect="1"/>
            </p:cNvPicPr>
            <p:nvPr/>
          </p:nvPicPr>
          <p:blipFill>
            <a:blip r:embed="rId9"/>
            <a:stretch>
              <a:fillRect/>
            </a:stretch>
          </p:blipFill>
          <p:spPr>
            <a:xfrm>
              <a:off x="19116653" y="3180431"/>
              <a:ext cx="4182567" cy="2601804"/>
            </a:xfrm>
            <a:prstGeom prst="rect">
              <a:avLst/>
            </a:prstGeom>
          </p:spPr>
        </p:pic>
      </p:grpSp>
      <p:sp>
        <p:nvSpPr>
          <p:cNvPr id="33" name="object 8">
            <a:extLst>
              <a:ext uri="{FF2B5EF4-FFF2-40B4-BE49-F238E27FC236}">
                <a16:creationId xmlns:a16="http://schemas.microsoft.com/office/drawing/2014/main" id="{66D6467A-BD18-DC6D-D3F1-C4B241D4A095}"/>
              </a:ext>
            </a:extLst>
          </p:cNvPr>
          <p:cNvSpPr txBox="1">
            <a:spLocks/>
          </p:cNvSpPr>
          <p:nvPr/>
        </p:nvSpPr>
        <p:spPr>
          <a:xfrm>
            <a:off x="7395089" y="1110978"/>
            <a:ext cx="2422408" cy="355276"/>
          </a:xfrm>
          <a:prstGeom prst="rect">
            <a:avLst/>
          </a:prstGeom>
          <a:solidFill>
            <a:srgbClr val="E4002B"/>
          </a:solidFill>
        </p:spPr>
        <p:txBody>
          <a:bodyPr vert="horz" wrap="square" lIns="54000" tIns="54000" rIns="54000" bIns="54000" rtlCol="0" anchor="ctr">
            <a:spAutoFit/>
          </a:bodyPr>
          <a:lstStyle>
            <a:lvl1pPr algn="l" defTabSz="1828709" rtl="0" eaLnBrk="1" latinLnBrk="0" hangingPunct="1">
              <a:lnSpc>
                <a:spcPct val="90000"/>
              </a:lnSpc>
              <a:spcBef>
                <a:spcPct val="0"/>
              </a:spcBef>
              <a:buNone/>
              <a:defRPr sz="8800" kern="1200">
                <a:solidFill>
                  <a:schemeClr val="tx1"/>
                </a:solidFill>
                <a:latin typeface="+mj-lt"/>
                <a:ea typeface="+mj-ea"/>
                <a:cs typeface="+mj-cs"/>
              </a:defRPr>
            </a:lvl1pPr>
          </a:lstStyle>
          <a:p>
            <a:pPr marL="3851">
              <a:lnSpc>
                <a:spcPct val="100000"/>
              </a:lnSpc>
              <a:spcBef>
                <a:spcPts val="29"/>
              </a:spcBef>
              <a:tabLst>
                <a:tab pos="1528050" algn="l"/>
              </a:tabLst>
            </a:pPr>
            <a:r>
              <a:rPr lang="fr-FR" sz="800" b="1" dirty="0">
                <a:solidFill>
                  <a:schemeClr val="bg1"/>
                </a:solidFill>
                <a:latin typeface="Arial" panose="020B0604020202020204" pitchFamily="34" charset="0"/>
                <a:cs typeface="Arial" panose="020B0604020202020204" pitchFamily="34" charset="0"/>
              </a:rPr>
              <a:t>CARRÉ DE SOIE - Villeurbanne – Vaulx-en-Velin </a:t>
            </a:r>
            <a:endParaRPr lang="fr-FR" sz="800" b="1" spc="-2" dirty="0">
              <a:solidFill>
                <a:srgbClr val="E4002B"/>
              </a:solidFill>
              <a:latin typeface="Arial Black" panose="020B0A04020102020204" pitchFamily="34" charset="0"/>
            </a:endParaRPr>
          </a:p>
        </p:txBody>
      </p:sp>
      <p:sp>
        <p:nvSpPr>
          <p:cNvPr id="34" name="ZoneTexte 33">
            <a:extLst>
              <a:ext uri="{FF2B5EF4-FFF2-40B4-BE49-F238E27FC236}">
                <a16:creationId xmlns:a16="http://schemas.microsoft.com/office/drawing/2014/main" id="{A1563E42-4542-718D-6CCA-9DC402349840}"/>
              </a:ext>
            </a:extLst>
          </p:cNvPr>
          <p:cNvSpPr txBox="1"/>
          <p:nvPr/>
        </p:nvSpPr>
        <p:spPr>
          <a:xfrm>
            <a:off x="7399494" y="1412393"/>
            <a:ext cx="3653439" cy="707886"/>
          </a:xfrm>
          <a:prstGeom prst="rect">
            <a:avLst/>
          </a:prstGeom>
          <a:solidFill>
            <a:schemeClr val="tx1">
              <a:alpha val="50000"/>
            </a:schemeClr>
          </a:solidFill>
        </p:spPr>
        <p:txBody>
          <a:bodyPr wrap="square" rtlCol="0">
            <a:spAutoFit/>
          </a:bodyPr>
          <a:lstStyle/>
          <a:p>
            <a:r>
              <a:rPr lang="fr-FR" sz="800" dirty="0">
                <a:solidFill>
                  <a:schemeClr val="bg1"/>
                </a:solidFill>
                <a:latin typeface="Arial" panose="020B0604020202020204" pitchFamily="34" charset="0"/>
                <a:cs typeface="Arial" panose="020B0604020202020204" pitchFamily="34" charset="0"/>
              </a:rPr>
              <a:t>Un pôle tertiaire mature qui poursuit son développement équilibré industrie/tertiaire</a:t>
            </a:r>
          </a:p>
          <a:p>
            <a:r>
              <a:rPr lang="fr-FR" sz="800" dirty="0">
                <a:solidFill>
                  <a:schemeClr val="bg1"/>
                </a:solidFill>
                <a:latin typeface="Arial" panose="020B0604020202020204" pitchFamily="34" charset="0"/>
                <a:cs typeface="Arial" panose="020B0604020202020204" pitchFamily="34" charset="0"/>
              </a:rPr>
              <a:t>Livraison Eastwood </a:t>
            </a:r>
          </a:p>
          <a:p>
            <a:r>
              <a:rPr lang="fr-FR" sz="800" dirty="0">
                <a:solidFill>
                  <a:schemeClr val="bg1"/>
                </a:solidFill>
                <a:latin typeface="Arial" panose="020B0604020202020204" pitchFamily="34" charset="0"/>
                <a:cs typeface="Arial" panose="020B0604020202020204" pitchFamily="34" charset="0"/>
              </a:rPr>
              <a:t>Lancement </a:t>
            </a:r>
            <a:r>
              <a:rPr lang="fr-FR" sz="800" dirty="0" err="1">
                <a:solidFill>
                  <a:schemeClr val="bg1"/>
                </a:solidFill>
                <a:latin typeface="Arial" panose="020B0604020202020204" pitchFamily="34" charset="0"/>
                <a:cs typeface="Arial" panose="020B0604020202020204" pitchFamily="34" charset="0"/>
              </a:rPr>
              <a:t>Kokon</a:t>
            </a:r>
            <a:r>
              <a:rPr lang="fr-FR" sz="800" dirty="0">
                <a:solidFill>
                  <a:schemeClr val="bg1"/>
                </a:solidFill>
                <a:latin typeface="Arial" panose="020B0604020202020204" pitchFamily="34" charset="0"/>
                <a:cs typeface="Arial" panose="020B0604020202020204" pitchFamily="34" charset="0"/>
              </a:rPr>
              <a:t> </a:t>
            </a:r>
          </a:p>
          <a:p>
            <a:r>
              <a:rPr lang="fr-FR" sz="800" dirty="0">
                <a:solidFill>
                  <a:schemeClr val="bg1"/>
                </a:solidFill>
                <a:latin typeface="Arial" panose="020B0604020202020204" pitchFamily="34" charset="0"/>
                <a:cs typeface="Arial" panose="020B0604020202020204" pitchFamily="34" charset="0"/>
              </a:rPr>
              <a:t>22D Grande échelle </a:t>
            </a:r>
          </a:p>
        </p:txBody>
      </p:sp>
      <p:pic>
        <p:nvPicPr>
          <p:cNvPr id="47" name="Image 46">
            <a:extLst>
              <a:ext uri="{FF2B5EF4-FFF2-40B4-BE49-F238E27FC236}">
                <a16:creationId xmlns:a16="http://schemas.microsoft.com/office/drawing/2014/main" id="{29F12811-93DE-1F74-650A-EA3C924D5D9D}"/>
              </a:ext>
            </a:extLst>
          </p:cNvPr>
          <p:cNvPicPr>
            <a:picLocks noChangeAspect="1"/>
          </p:cNvPicPr>
          <p:nvPr/>
        </p:nvPicPr>
        <p:blipFill>
          <a:blip r:embed="rId10"/>
          <a:stretch>
            <a:fillRect/>
          </a:stretch>
        </p:blipFill>
        <p:spPr>
          <a:xfrm>
            <a:off x="7403727" y="3173866"/>
            <a:ext cx="4136565" cy="1793476"/>
          </a:xfrm>
          <a:prstGeom prst="rect">
            <a:avLst/>
          </a:prstGeom>
        </p:spPr>
      </p:pic>
      <p:sp>
        <p:nvSpPr>
          <p:cNvPr id="48" name="object 8">
            <a:extLst>
              <a:ext uri="{FF2B5EF4-FFF2-40B4-BE49-F238E27FC236}">
                <a16:creationId xmlns:a16="http://schemas.microsoft.com/office/drawing/2014/main" id="{09A700C2-F40B-D3F7-A637-D7D4D9A111A1}"/>
              </a:ext>
            </a:extLst>
          </p:cNvPr>
          <p:cNvSpPr txBox="1">
            <a:spLocks/>
          </p:cNvSpPr>
          <p:nvPr/>
        </p:nvSpPr>
        <p:spPr>
          <a:xfrm>
            <a:off x="7403727" y="2933591"/>
            <a:ext cx="1169170" cy="232165"/>
          </a:xfrm>
          <a:prstGeom prst="rect">
            <a:avLst/>
          </a:prstGeom>
          <a:solidFill>
            <a:srgbClr val="E4002B"/>
          </a:solidFill>
        </p:spPr>
        <p:txBody>
          <a:bodyPr vert="horz" wrap="square" lIns="54000" tIns="54000" rIns="54000" bIns="54000" rtlCol="0" anchor="ctr">
            <a:spAutoFit/>
          </a:bodyPr>
          <a:lstStyle>
            <a:lvl1pPr algn="l" defTabSz="1828709" rtl="0" eaLnBrk="1" latinLnBrk="0" hangingPunct="1">
              <a:lnSpc>
                <a:spcPct val="90000"/>
              </a:lnSpc>
              <a:spcBef>
                <a:spcPct val="0"/>
              </a:spcBef>
              <a:buNone/>
              <a:defRPr sz="8800" kern="1200">
                <a:solidFill>
                  <a:schemeClr val="tx1"/>
                </a:solidFill>
                <a:latin typeface="+mj-lt"/>
                <a:ea typeface="+mj-ea"/>
                <a:cs typeface="+mj-cs"/>
              </a:defRPr>
            </a:lvl1pPr>
          </a:lstStyle>
          <a:p>
            <a:pPr marL="3851">
              <a:lnSpc>
                <a:spcPct val="100000"/>
              </a:lnSpc>
              <a:spcBef>
                <a:spcPts val="29"/>
              </a:spcBef>
              <a:tabLst>
                <a:tab pos="1528050" algn="l"/>
              </a:tabLst>
            </a:pPr>
            <a:r>
              <a:rPr lang="fr-FR" sz="800" b="1" dirty="0">
                <a:solidFill>
                  <a:schemeClr val="bg1"/>
                </a:solidFill>
                <a:latin typeface="Arial" panose="020B0604020202020204" pitchFamily="34" charset="0"/>
                <a:cs typeface="Arial" panose="020B0604020202020204" pitchFamily="34" charset="0"/>
              </a:rPr>
              <a:t>LA CLAIRIÈRE - Bron</a:t>
            </a:r>
            <a:endParaRPr lang="fr-FR" sz="800" b="1" spc="-2" dirty="0">
              <a:solidFill>
                <a:srgbClr val="E4002B"/>
              </a:solidFill>
              <a:latin typeface="Arial Black" panose="020B0A04020102020204" pitchFamily="34" charset="0"/>
            </a:endParaRPr>
          </a:p>
        </p:txBody>
      </p:sp>
      <p:sp>
        <p:nvSpPr>
          <p:cNvPr id="49" name="ZoneTexte 48">
            <a:extLst>
              <a:ext uri="{FF2B5EF4-FFF2-40B4-BE49-F238E27FC236}">
                <a16:creationId xmlns:a16="http://schemas.microsoft.com/office/drawing/2014/main" id="{92AC6ABA-4920-8BC0-B54B-E6B14CBB2676}"/>
              </a:ext>
            </a:extLst>
          </p:cNvPr>
          <p:cNvSpPr txBox="1"/>
          <p:nvPr/>
        </p:nvSpPr>
        <p:spPr>
          <a:xfrm>
            <a:off x="7408132" y="3173450"/>
            <a:ext cx="2951158" cy="338554"/>
          </a:xfrm>
          <a:prstGeom prst="rect">
            <a:avLst/>
          </a:prstGeom>
          <a:solidFill>
            <a:schemeClr val="tx1">
              <a:alpha val="50000"/>
            </a:schemeClr>
          </a:solidFill>
        </p:spPr>
        <p:txBody>
          <a:bodyPr wrap="square" rtlCol="0">
            <a:spAutoFit/>
          </a:bodyPr>
          <a:lstStyle/>
          <a:p>
            <a:r>
              <a:rPr lang="fr-FR" sz="800" dirty="0">
                <a:solidFill>
                  <a:schemeClr val="bg1"/>
                </a:solidFill>
                <a:latin typeface="Arial" panose="020B0604020202020204" pitchFamily="34" charset="0"/>
                <a:cs typeface="Arial" panose="020B0604020202020204" pitchFamily="34" charset="0"/>
              </a:rPr>
              <a:t>Nouvelle polarité Centre Est avec ses 40 000 m² économiques</a:t>
            </a:r>
          </a:p>
        </p:txBody>
      </p:sp>
      <p:pic>
        <p:nvPicPr>
          <p:cNvPr id="50" name="Picture 2" descr="Z Architecture | « Odyssey » : siège du groupe Pegasus ...">
            <a:extLst>
              <a:ext uri="{FF2B5EF4-FFF2-40B4-BE49-F238E27FC236}">
                <a16:creationId xmlns:a16="http://schemas.microsoft.com/office/drawing/2014/main" id="{D5BED4E7-96BD-2291-201B-71A9C7AD71C8}"/>
              </a:ext>
            </a:extLst>
          </p:cNvPr>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7395089" y="5282988"/>
            <a:ext cx="1739318" cy="1288356"/>
          </a:xfrm>
          <a:prstGeom prst="rect">
            <a:avLst/>
          </a:prstGeom>
          <a:noFill/>
          <a:extLst>
            <a:ext uri="{909E8E84-426E-40DD-AFC4-6F175D3DCCD1}">
              <a14:hiddenFill xmlns:a14="http://schemas.microsoft.com/office/drawing/2010/main">
                <a:solidFill>
                  <a:srgbClr val="FFFFFF"/>
                </a:solidFill>
              </a14:hiddenFill>
            </a:ext>
          </a:extLst>
        </p:spPr>
      </p:pic>
      <p:pic>
        <p:nvPicPr>
          <p:cNvPr id="51" name="Image 50">
            <a:extLst>
              <a:ext uri="{FF2B5EF4-FFF2-40B4-BE49-F238E27FC236}">
                <a16:creationId xmlns:a16="http://schemas.microsoft.com/office/drawing/2014/main" id="{23B6470D-5394-37CE-67AE-90123D44B9BB}"/>
              </a:ext>
            </a:extLst>
          </p:cNvPr>
          <p:cNvPicPr>
            <a:picLocks noChangeAspect="1"/>
          </p:cNvPicPr>
          <p:nvPr/>
        </p:nvPicPr>
        <p:blipFill rotWithShape="1">
          <a:blip r:embed="rId12" cstate="screen">
            <a:extLst>
              <a:ext uri="{28A0092B-C50C-407E-A947-70E740481C1C}">
                <a14:useLocalDpi xmlns:a14="http://schemas.microsoft.com/office/drawing/2010/main"/>
              </a:ext>
            </a:extLst>
          </a:blip>
          <a:srcRect/>
          <a:stretch/>
        </p:blipFill>
        <p:spPr>
          <a:xfrm>
            <a:off x="9155437" y="5282987"/>
            <a:ext cx="2118959" cy="1282247"/>
          </a:xfrm>
          <a:prstGeom prst="rect">
            <a:avLst/>
          </a:prstGeom>
        </p:spPr>
      </p:pic>
      <p:sp>
        <p:nvSpPr>
          <p:cNvPr id="52" name="object 8">
            <a:extLst>
              <a:ext uri="{FF2B5EF4-FFF2-40B4-BE49-F238E27FC236}">
                <a16:creationId xmlns:a16="http://schemas.microsoft.com/office/drawing/2014/main" id="{F07326B9-FA54-E752-FD71-EB64C7806A08}"/>
              </a:ext>
            </a:extLst>
          </p:cNvPr>
          <p:cNvSpPr txBox="1">
            <a:spLocks/>
          </p:cNvSpPr>
          <p:nvPr/>
        </p:nvSpPr>
        <p:spPr>
          <a:xfrm>
            <a:off x="7396391" y="5048030"/>
            <a:ext cx="1578673" cy="232165"/>
          </a:xfrm>
          <a:prstGeom prst="rect">
            <a:avLst/>
          </a:prstGeom>
          <a:solidFill>
            <a:srgbClr val="E4002B"/>
          </a:solidFill>
        </p:spPr>
        <p:txBody>
          <a:bodyPr vert="horz" wrap="square" lIns="54000" tIns="54000" rIns="54000" bIns="54000" rtlCol="0" anchor="ctr">
            <a:spAutoFit/>
          </a:bodyPr>
          <a:lstStyle>
            <a:lvl1pPr algn="l" defTabSz="1828709" rtl="0" eaLnBrk="1" latinLnBrk="0" hangingPunct="1">
              <a:lnSpc>
                <a:spcPct val="90000"/>
              </a:lnSpc>
              <a:spcBef>
                <a:spcPct val="0"/>
              </a:spcBef>
              <a:buNone/>
              <a:defRPr sz="8800" kern="1200">
                <a:solidFill>
                  <a:schemeClr val="tx1"/>
                </a:solidFill>
                <a:latin typeface="+mj-lt"/>
                <a:ea typeface="+mj-ea"/>
                <a:cs typeface="+mj-cs"/>
              </a:defRPr>
            </a:lvl1pPr>
          </a:lstStyle>
          <a:p>
            <a:pPr marL="3851">
              <a:lnSpc>
                <a:spcPct val="100000"/>
              </a:lnSpc>
              <a:spcBef>
                <a:spcPts val="29"/>
              </a:spcBef>
              <a:tabLst>
                <a:tab pos="1528050" algn="l"/>
              </a:tabLst>
            </a:pPr>
            <a:r>
              <a:rPr lang="fr-FR" sz="800" b="1" dirty="0">
                <a:solidFill>
                  <a:schemeClr val="bg1"/>
                </a:solidFill>
                <a:latin typeface="Arial" panose="020B0604020202020204" pitchFamily="34" charset="0"/>
                <a:cs typeface="Arial" panose="020B0604020202020204" pitchFamily="34" charset="0"/>
              </a:rPr>
              <a:t>GRAND PARILLY - Vénissieux </a:t>
            </a:r>
            <a:endParaRPr lang="fr-FR" sz="800" b="1" spc="-2" dirty="0">
              <a:solidFill>
                <a:srgbClr val="E4002B"/>
              </a:solidFill>
              <a:latin typeface="Arial Black" panose="020B0A04020102020204" pitchFamily="34" charset="0"/>
            </a:endParaRPr>
          </a:p>
        </p:txBody>
      </p:sp>
      <p:sp>
        <p:nvSpPr>
          <p:cNvPr id="53" name="ZoneTexte 52">
            <a:extLst>
              <a:ext uri="{FF2B5EF4-FFF2-40B4-BE49-F238E27FC236}">
                <a16:creationId xmlns:a16="http://schemas.microsoft.com/office/drawing/2014/main" id="{471F2103-74E5-928E-5203-562EE428AB8D}"/>
              </a:ext>
            </a:extLst>
          </p:cNvPr>
          <p:cNvSpPr txBox="1"/>
          <p:nvPr/>
        </p:nvSpPr>
        <p:spPr>
          <a:xfrm>
            <a:off x="7398680" y="5285773"/>
            <a:ext cx="2716615" cy="338554"/>
          </a:xfrm>
          <a:prstGeom prst="rect">
            <a:avLst/>
          </a:prstGeom>
          <a:solidFill>
            <a:schemeClr val="tx1">
              <a:alpha val="50000"/>
            </a:schemeClr>
          </a:solidFill>
        </p:spPr>
        <p:txBody>
          <a:bodyPr wrap="square" rtlCol="0">
            <a:spAutoFit/>
          </a:bodyPr>
          <a:lstStyle/>
          <a:p>
            <a:r>
              <a:rPr lang="fr-FR" sz="800" dirty="0">
                <a:solidFill>
                  <a:schemeClr val="bg1"/>
                </a:solidFill>
                <a:latin typeface="Arial" panose="020B0604020202020204" pitchFamily="34" charset="0"/>
                <a:cs typeface="Arial" panose="020B0604020202020204" pitchFamily="34" charset="0"/>
              </a:rPr>
              <a:t>Poursuit sa commercialisation d’</a:t>
            </a:r>
            <a:r>
              <a:rPr lang="fr-FR" sz="800" dirty="0" err="1">
                <a:solidFill>
                  <a:schemeClr val="bg1"/>
                </a:solidFill>
                <a:latin typeface="Arial" panose="020B0604020202020204" pitchFamily="34" charset="0"/>
                <a:cs typeface="Arial" panose="020B0604020202020204" pitchFamily="34" charset="0"/>
              </a:rPr>
              <a:t>Odysey</a:t>
            </a:r>
            <a:r>
              <a:rPr lang="fr-FR" sz="800" dirty="0">
                <a:solidFill>
                  <a:schemeClr val="bg1"/>
                </a:solidFill>
                <a:latin typeface="Arial" panose="020B0604020202020204" pitchFamily="34" charset="0"/>
                <a:cs typeface="Arial" panose="020B0604020202020204" pitchFamily="34" charset="0"/>
              </a:rPr>
              <a:t> – Initial - Ecotone </a:t>
            </a:r>
          </a:p>
        </p:txBody>
      </p:sp>
      <p:cxnSp>
        <p:nvCxnSpPr>
          <p:cNvPr id="54" name="Connecteur droit avec flèche 53">
            <a:extLst>
              <a:ext uri="{FF2B5EF4-FFF2-40B4-BE49-F238E27FC236}">
                <a16:creationId xmlns:a16="http://schemas.microsoft.com/office/drawing/2014/main" id="{F8FE1CE7-AA0D-15CA-E192-985D23A921C1}"/>
              </a:ext>
            </a:extLst>
          </p:cNvPr>
          <p:cNvCxnSpPr>
            <a:cxnSpLocks/>
          </p:cNvCxnSpPr>
          <p:nvPr/>
        </p:nvCxnSpPr>
        <p:spPr>
          <a:xfrm flipH="1" flipV="1">
            <a:off x="5259349" y="4626940"/>
            <a:ext cx="2443309" cy="1554044"/>
          </a:xfrm>
          <a:prstGeom prst="straightConnector1">
            <a:avLst/>
          </a:prstGeom>
          <a:ln w="28575">
            <a:solidFill>
              <a:srgbClr val="E4002B"/>
            </a:solidFill>
            <a:tailEnd type="triangle"/>
          </a:ln>
        </p:spPr>
        <p:style>
          <a:lnRef idx="1">
            <a:schemeClr val="accent1"/>
          </a:lnRef>
          <a:fillRef idx="0">
            <a:schemeClr val="accent1"/>
          </a:fillRef>
          <a:effectRef idx="0">
            <a:schemeClr val="accent1"/>
          </a:effectRef>
          <a:fontRef idx="minor">
            <a:schemeClr val="tx1"/>
          </a:fontRef>
        </p:style>
      </p:cxnSp>
      <p:sp>
        <p:nvSpPr>
          <p:cNvPr id="57" name="Ellipse 56">
            <a:extLst>
              <a:ext uri="{FF2B5EF4-FFF2-40B4-BE49-F238E27FC236}">
                <a16:creationId xmlns:a16="http://schemas.microsoft.com/office/drawing/2014/main" id="{DBF72275-D03F-407A-5545-E5AF58C79036}"/>
              </a:ext>
            </a:extLst>
          </p:cNvPr>
          <p:cNvSpPr/>
          <p:nvPr/>
        </p:nvSpPr>
        <p:spPr>
          <a:xfrm>
            <a:off x="7608012" y="6100932"/>
            <a:ext cx="160104" cy="160104"/>
          </a:xfrm>
          <a:prstGeom prst="ellipse">
            <a:avLst/>
          </a:prstGeom>
          <a:solidFill>
            <a:srgbClr val="E4002B"/>
          </a:solidFill>
          <a:ln w="571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sz="900"/>
          </a:p>
        </p:txBody>
      </p:sp>
      <p:cxnSp>
        <p:nvCxnSpPr>
          <p:cNvPr id="59" name="Connecteur droit avec flèche 58">
            <a:extLst>
              <a:ext uri="{FF2B5EF4-FFF2-40B4-BE49-F238E27FC236}">
                <a16:creationId xmlns:a16="http://schemas.microsoft.com/office/drawing/2014/main" id="{0D425F07-27A3-5E86-8B40-60FDF706F541}"/>
              </a:ext>
            </a:extLst>
          </p:cNvPr>
          <p:cNvCxnSpPr>
            <a:cxnSpLocks/>
          </p:cNvCxnSpPr>
          <p:nvPr/>
        </p:nvCxnSpPr>
        <p:spPr>
          <a:xfrm flipH="1">
            <a:off x="5569365" y="3768215"/>
            <a:ext cx="2097696" cy="403610"/>
          </a:xfrm>
          <a:prstGeom prst="straightConnector1">
            <a:avLst/>
          </a:prstGeom>
          <a:ln w="28575">
            <a:solidFill>
              <a:srgbClr val="E4002B"/>
            </a:solidFill>
            <a:tailEnd type="triangle"/>
          </a:ln>
        </p:spPr>
        <p:style>
          <a:lnRef idx="1">
            <a:schemeClr val="accent1"/>
          </a:lnRef>
          <a:fillRef idx="0">
            <a:schemeClr val="accent1"/>
          </a:fillRef>
          <a:effectRef idx="0">
            <a:schemeClr val="accent1"/>
          </a:effectRef>
          <a:fontRef idx="minor">
            <a:schemeClr val="tx1"/>
          </a:fontRef>
        </p:style>
      </p:cxnSp>
      <p:sp>
        <p:nvSpPr>
          <p:cNvPr id="61" name="Ellipse 60">
            <a:extLst>
              <a:ext uri="{FF2B5EF4-FFF2-40B4-BE49-F238E27FC236}">
                <a16:creationId xmlns:a16="http://schemas.microsoft.com/office/drawing/2014/main" id="{F9D0244C-498D-3FFF-6E3D-AB0E7A14D7AE}"/>
              </a:ext>
            </a:extLst>
          </p:cNvPr>
          <p:cNvSpPr/>
          <p:nvPr/>
        </p:nvSpPr>
        <p:spPr>
          <a:xfrm>
            <a:off x="7597621" y="3676079"/>
            <a:ext cx="160104" cy="160104"/>
          </a:xfrm>
          <a:prstGeom prst="ellipse">
            <a:avLst/>
          </a:prstGeom>
          <a:solidFill>
            <a:srgbClr val="E4002B"/>
          </a:solidFill>
          <a:ln w="571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sz="900"/>
          </a:p>
        </p:txBody>
      </p:sp>
      <p:cxnSp>
        <p:nvCxnSpPr>
          <p:cNvPr id="62" name="Connecteur droit avec flèche 61">
            <a:extLst>
              <a:ext uri="{FF2B5EF4-FFF2-40B4-BE49-F238E27FC236}">
                <a16:creationId xmlns:a16="http://schemas.microsoft.com/office/drawing/2014/main" id="{7868C1FC-66FF-17F1-31EB-CFEDB582827A}"/>
              </a:ext>
            </a:extLst>
          </p:cNvPr>
          <p:cNvCxnSpPr>
            <a:cxnSpLocks/>
          </p:cNvCxnSpPr>
          <p:nvPr/>
        </p:nvCxnSpPr>
        <p:spPr>
          <a:xfrm flipH="1">
            <a:off x="5569365" y="2639644"/>
            <a:ext cx="2097443" cy="1287464"/>
          </a:xfrm>
          <a:prstGeom prst="straightConnector1">
            <a:avLst/>
          </a:prstGeom>
          <a:ln w="28575">
            <a:solidFill>
              <a:srgbClr val="E4002B"/>
            </a:solidFill>
            <a:tailEnd type="triangle"/>
          </a:ln>
        </p:spPr>
        <p:style>
          <a:lnRef idx="1">
            <a:schemeClr val="accent1"/>
          </a:lnRef>
          <a:fillRef idx="0">
            <a:schemeClr val="accent1"/>
          </a:fillRef>
          <a:effectRef idx="0">
            <a:schemeClr val="accent1"/>
          </a:effectRef>
          <a:fontRef idx="minor">
            <a:schemeClr val="tx1"/>
          </a:fontRef>
        </p:style>
      </p:cxnSp>
      <p:sp>
        <p:nvSpPr>
          <p:cNvPr id="1024" name="Ellipse 1023">
            <a:extLst>
              <a:ext uri="{FF2B5EF4-FFF2-40B4-BE49-F238E27FC236}">
                <a16:creationId xmlns:a16="http://schemas.microsoft.com/office/drawing/2014/main" id="{9763B304-90B5-A01C-0337-C30D7544596A}"/>
              </a:ext>
            </a:extLst>
          </p:cNvPr>
          <p:cNvSpPr/>
          <p:nvPr/>
        </p:nvSpPr>
        <p:spPr>
          <a:xfrm>
            <a:off x="7622606" y="2556935"/>
            <a:ext cx="160104" cy="160104"/>
          </a:xfrm>
          <a:prstGeom prst="ellipse">
            <a:avLst/>
          </a:prstGeom>
          <a:solidFill>
            <a:srgbClr val="E4002B"/>
          </a:solidFill>
          <a:ln w="571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sz="900"/>
          </a:p>
        </p:txBody>
      </p:sp>
    </p:spTree>
    <p:extLst>
      <p:ext uri="{BB962C8B-B14F-4D97-AF65-F5344CB8AC3E}">
        <p14:creationId xmlns:p14="http://schemas.microsoft.com/office/powerpoint/2010/main" val="181452827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357B20-FDE8-A8C7-CD87-AAFB1CD32DD3}"/>
            </a:ext>
          </a:extLst>
        </p:cNvPr>
        <p:cNvGrpSpPr/>
        <p:nvPr/>
      </p:nvGrpSpPr>
      <p:grpSpPr>
        <a:xfrm>
          <a:off x="0" y="0"/>
          <a:ext cx="0" cy="0"/>
          <a:chOff x="0" y="0"/>
          <a:chExt cx="0" cy="0"/>
        </a:xfrm>
      </p:grpSpPr>
      <p:sp>
        <p:nvSpPr>
          <p:cNvPr id="22" name="object 13">
            <a:extLst>
              <a:ext uri="{FF2B5EF4-FFF2-40B4-BE49-F238E27FC236}">
                <a16:creationId xmlns:a16="http://schemas.microsoft.com/office/drawing/2014/main" id="{72B43EEF-2728-F94A-0FCA-A868BFCC6CDE}"/>
              </a:ext>
            </a:extLst>
          </p:cNvPr>
          <p:cNvSpPr txBox="1"/>
          <p:nvPr/>
        </p:nvSpPr>
        <p:spPr>
          <a:xfrm>
            <a:off x="8481901" y="4357830"/>
            <a:ext cx="3041802" cy="1231106"/>
          </a:xfrm>
          <a:prstGeom prst="rect">
            <a:avLst/>
          </a:prstGeom>
        </p:spPr>
        <p:txBody>
          <a:bodyPr vert="horz" wrap="square" lIns="0" tIns="0" rIns="0" bIns="0" rtlCol="0">
            <a:spAutoFit/>
          </a:bodyPr>
          <a:lstStyle/>
          <a:p>
            <a:pPr marL="179151" indent="-171450">
              <a:buFont typeface="Arial" panose="020B0604020202020204" pitchFamily="34" charset="0"/>
              <a:buChar char="•"/>
            </a:pPr>
            <a:r>
              <a:rPr lang="fr-FR" sz="1000" spc="12" dirty="0">
                <a:latin typeface="Arial" panose="020B0604020202020204" pitchFamily="34" charset="0"/>
                <a:cs typeface="Arial" panose="020B0604020202020204" pitchFamily="34" charset="0"/>
              </a:rPr>
              <a:t>Accélère la régénération, un puissant levier de structuration de la filière du bâtiment durable, de la circularité et de la décarbonation urbaine</a:t>
            </a:r>
          </a:p>
          <a:p>
            <a:pPr marL="7701"/>
            <a:endParaRPr lang="fr-FR" sz="1000" spc="12" dirty="0">
              <a:latin typeface="Arial" panose="020B0604020202020204" pitchFamily="34" charset="0"/>
              <a:cs typeface="Arial" panose="020B0604020202020204" pitchFamily="34" charset="0"/>
            </a:endParaRPr>
          </a:p>
          <a:p>
            <a:pPr marL="179151" indent="-171450">
              <a:buFont typeface="Arial" panose="020B0604020202020204" pitchFamily="34" charset="0"/>
              <a:buChar char="•"/>
            </a:pPr>
            <a:r>
              <a:rPr lang="fr-FR" sz="1000" b="1" spc="12" dirty="0">
                <a:latin typeface="Arial" panose="020B0604020202020204" pitchFamily="34" charset="0"/>
                <a:cs typeface="Arial" panose="020B0604020202020204" pitchFamily="34" charset="0"/>
              </a:rPr>
              <a:t>Végétalise en profondeur</a:t>
            </a:r>
            <a:r>
              <a:rPr lang="fr-FR" sz="1000" spc="12" dirty="0">
                <a:latin typeface="Arial" panose="020B0604020202020204" pitchFamily="34" charset="0"/>
                <a:cs typeface="Arial" panose="020B0604020202020204" pitchFamily="34" charset="0"/>
              </a:rPr>
              <a:t> et diversifie la programmation au profit de la mixité urbaine et de la qualité d’usages</a:t>
            </a:r>
          </a:p>
          <a:p>
            <a:pPr marL="179151" indent="-171450">
              <a:buFont typeface="Arial" panose="020B0604020202020204" pitchFamily="34" charset="0"/>
              <a:buChar char="•"/>
            </a:pPr>
            <a:endParaRPr lang="fr-FR" sz="1000" spc="12" dirty="0">
              <a:latin typeface="Arial" panose="020B0604020202020204" pitchFamily="34" charset="0"/>
              <a:cs typeface="Arial" panose="020B0604020202020204" pitchFamily="34" charset="0"/>
            </a:endParaRPr>
          </a:p>
        </p:txBody>
      </p:sp>
      <p:pic>
        <p:nvPicPr>
          <p:cNvPr id="34" name="Image 33">
            <a:extLst>
              <a:ext uri="{FF2B5EF4-FFF2-40B4-BE49-F238E27FC236}">
                <a16:creationId xmlns:a16="http://schemas.microsoft.com/office/drawing/2014/main" id="{9A123700-E37A-13B9-E19B-35C87517FCAC}"/>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8479929" y="2097850"/>
            <a:ext cx="3171498" cy="2089562"/>
          </a:xfrm>
          <a:prstGeom prst="rect">
            <a:avLst/>
          </a:prstGeom>
        </p:spPr>
      </p:pic>
      <p:grpSp>
        <p:nvGrpSpPr>
          <p:cNvPr id="4" name="Groupe 3">
            <a:extLst>
              <a:ext uri="{FF2B5EF4-FFF2-40B4-BE49-F238E27FC236}">
                <a16:creationId xmlns:a16="http://schemas.microsoft.com/office/drawing/2014/main" id="{6BBECAC1-65EA-8060-7F1C-F812590085A4}"/>
              </a:ext>
            </a:extLst>
          </p:cNvPr>
          <p:cNvGrpSpPr/>
          <p:nvPr/>
        </p:nvGrpSpPr>
        <p:grpSpPr>
          <a:xfrm rot="16200000">
            <a:off x="11251626" y="5918022"/>
            <a:ext cx="1392174" cy="487782"/>
            <a:chOff x="6189044" y="11173899"/>
            <a:chExt cx="5165853" cy="1809980"/>
          </a:xfrm>
        </p:grpSpPr>
        <p:sp>
          <p:nvSpPr>
            <p:cNvPr id="7" name="Rectangle 6">
              <a:extLst>
                <a:ext uri="{FF2B5EF4-FFF2-40B4-BE49-F238E27FC236}">
                  <a16:creationId xmlns:a16="http://schemas.microsoft.com/office/drawing/2014/main" id="{C9630EBE-A6B8-751A-E76D-E43BBDA89ED0}"/>
                </a:ext>
              </a:extLst>
            </p:cNvPr>
            <p:cNvSpPr/>
            <p:nvPr/>
          </p:nvSpPr>
          <p:spPr>
            <a:xfrm>
              <a:off x="6275672" y="11251933"/>
              <a:ext cx="3291840" cy="66955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00"/>
            </a:p>
          </p:txBody>
        </p:sp>
        <p:sp>
          <p:nvSpPr>
            <p:cNvPr id="8" name="Rectangle 7">
              <a:extLst>
                <a:ext uri="{FF2B5EF4-FFF2-40B4-BE49-F238E27FC236}">
                  <a16:creationId xmlns:a16="http://schemas.microsoft.com/office/drawing/2014/main" id="{1203A1D5-4816-1B8B-50A5-419150A6BF27}"/>
                </a:ext>
              </a:extLst>
            </p:cNvPr>
            <p:cNvSpPr/>
            <p:nvPr/>
          </p:nvSpPr>
          <p:spPr>
            <a:xfrm>
              <a:off x="9805156" y="12159152"/>
              <a:ext cx="1389025" cy="66955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00"/>
            </a:p>
          </p:txBody>
        </p:sp>
        <p:pic>
          <p:nvPicPr>
            <p:cNvPr id="10" name="Graphique 9">
              <a:extLst>
                <a:ext uri="{FF2B5EF4-FFF2-40B4-BE49-F238E27FC236}">
                  <a16:creationId xmlns:a16="http://schemas.microsoft.com/office/drawing/2014/main" id="{0DE0AA0D-105B-618B-43B3-E9369484C8FD}"/>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6189044" y="11173899"/>
              <a:ext cx="5165853" cy="1809980"/>
            </a:xfrm>
            <a:prstGeom prst="rect">
              <a:avLst/>
            </a:prstGeom>
          </p:spPr>
        </p:pic>
      </p:grpSp>
      <p:sp>
        <p:nvSpPr>
          <p:cNvPr id="12" name="Rectangle 11">
            <a:extLst>
              <a:ext uri="{FF2B5EF4-FFF2-40B4-BE49-F238E27FC236}">
                <a16:creationId xmlns:a16="http://schemas.microsoft.com/office/drawing/2014/main" id="{553D613A-F57A-23A6-2399-A41BE687A404}"/>
              </a:ext>
            </a:extLst>
          </p:cNvPr>
          <p:cNvSpPr/>
          <p:nvPr/>
        </p:nvSpPr>
        <p:spPr>
          <a:xfrm>
            <a:off x="397" y="0"/>
            <a:ext cx="105878" cy="6858000"/>
          </a:xfrm>
          <a:prstGeom prst="rect">
            <a:avLst/>
          </a:prstGeom>
          <a:solidFill>
            <a:srgbClr val="E400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00" dirty="0"/>
          </a:p>
        </p:txBody>
      </p:sp>
      <p:sp>
        <p:nvSpPr>
          <p:cNvPr id="14" name="object 8">
            <a:extLst>
              <a:ext uri="{FF2B5EF4-FFF2-40B4-BE49-F238E27FC236}">
                <a16:creationId xmlns:a16="http://schemas.microsoft.com/office/drawing/2014/main" id="{6B380286-D1EA-DAEC-B4D1-596D87EED92A}"/>
              </a:ext>
            </a:extLst>
          </p:cNvPr>
          <p:cNvSpPr txBox="1">
            <a:spLocks/>
          </p:cNvSpPr>
          <p:nvPr/>
        </p:nvSpPr>
        <p:spPr>
          <a:xfrm>
            <a:off x="515074" y="-4878"/>
            <a:ext cx="7323038" cy="1696465"/>
          </a:xfrm>
          <a:prstGeom prst="rect">
            <a:avLst/>
          </a:prstGeom>
        </p:spPr>
        <p:txBody>
          <a:bodyPr vert="horz" wrap="square" lIns="0" tIns="3658" rIns="0" bIns="0" rtlCol="0" anchor="ctr">
            <a:spAutoFit/>
          </a:bodyPr>
          <a:lstStyle>
            <a:lvl1pPr algn="l" defTabSz="1828709" rtl="0" eaLnBrk="1" latinLnBrk="0" hangingPunct="1">
              <a:lnSpc>
                <a:spcPct val="90000"/>
              </a:lnSpc>
              <a:spcBef>
                <a:spcPct val="0"/>
              </a:spcBef>
              <a:buNone/>
              <a:defRPr sz="8800" kern="1200">
                <a:solidFill>
                  <a:schemeClr val="tx1"/>
                </a:solidFill>
                <a:latin typeface="+mj-lt"/>
                <a:ea typeface="+mj-ea"/>
                <a:cs typeface="+mj-cs"/>
              </a:defRPr>
            </a:lvl1pPr>
          </a:lstStyle>
          <a:p>
            <a:pPr marL="3851">
              <a:lnSpc>
                <a:spcPct val="100000"/>
              </a:lnSpc>
              <a:spcBef>
                <a:spcPts val="29"/>
              </a:spcBef>
              <a:tabLst>
                <a:tab pos="1528050" algn="l"/>
              </a:tabLst>
            </a:pPr>
            <a:endParaRPr lang="fr-FR" sz="2200" spc="-2" dirty="0">
              <a:solidFill>
                <a:srgbClr val="E4002B"/>
              </a:solidFill>
              <a:latin typeface="Arial Black" panose="020B0A04020102020204" pitchFamily="34" charset="0"/>
            </a:endParaRPr>
          </a:p>
          <a:p>
            <a:pPr marL="3851">
              <a:lnSpc>
                <a:spcPct val="100000"/>
              </a:lnSpc>
              <a:spcBef>
                <a:spcPts val="29"/>
              </a:spcBef>
              <a:tabLst>
                <a:tab pos="1528050" algn="l"/>
              </a:tabLst>
            </a:pPr>
            <a:r>
              <a:rPr lang="fr-FR" sz="2200" spc="-2" dirty="0">
                <a:solidFill>
                  <a:srgbClr val="E4002B"/>
                </a:solidFill>
                <a:latin typeface="Arial Black" panose="020B0A04020102020204" pitchFamily="34" charset="0"/>
              </a:rPr>
              <a:t>SUR LE CENTRE, UNE VOLONTÉ</a:t>
            </a:r>
            <a:br>
              <a:rPr lang="fr-FR" sz="2200" spc="-2" dirty="0">
                <a:solidFill>
                  <a:srgbClr val="E4002B"/>
                </a:solidFill>
                <a:latin typeface="Arial Black" panose="020B0A04020102020204" pitchFamily="34" charset="0"/>
              </a:rPr>
            </a:br>
            <a:r>
              <a:rPr lang="fr-FR" sz="2200" spc="-2" dirty="0">
                <a:latin typeface="Arial Black" panose="020B0A04020102020204" pitchFamily="34" charset="0"/>
              </a:rPr>
              <a:t>      DE RENOUVELER L’OFFRE EXISTANTE</a:t>
            </a:r>
            <a:br>
              <a:rPr lang="fr-FR" sz="2200" spc="-2" dirty="0">
                <a:latin typeface="Arial Black" panose="020B0A04020102020204" pitchFamily="34" charset="0"/>
              </a:rPr>
            </a:br>
            <a:r>
              <a:rPr lang="fr-FR" sz="2200" spc="-2" dirty="0">
                <a:latin typeface="Arial Black" panose="020B0A04020102020204" pitchFamily="34" charset="0"/>
              </a:rPr>
              <a:t>      ET DIVERSIFIER L’OFFRE</a:t>
            </a:r>
          </a:p>
          <a:p>
            <a:pPr marL="3851">
              <a:lnSpc>
                <a:spcPct val="100000"/>
              </a:lnSpc>
              <a:spcBef>
                <a:spcPts val="29"/>
              </a:spcBef>
              <a:tabLst>
                <a:tab pos="1528050" algn="l"/>
              </a:tabLst>
            </a:pPr>
            <a:endParaRPr lang="fr-FR" sz="2200" spc="-2" dirty="0">
              <a:latin typeface="Arial Black" panose="020B0A04020102020204" pitchFamily="34" charset="0"/>
            </a:endParaRPr>
          </a:p>
        </p:txBody>
      </p:sp>
      <p:pic>
        <p:nvPicPr>
          <p:cNvPr id="15" name="Espace réservé du contenu 4">
            <a:extLst>
              <a:ext uri="{FF2B5EF4-FFF2-40B4-BE49-F238E27FC236}">
                <a16:creationId xmlns:a16="http://schemas.microsoft.com/office/drawing/2014/main" id="{13CAA05C-C941-4CDC-C12D-E939F41F0FFD}"/>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4019121" y="1827213"/>
            <a:ext cx="4152966" cy="4555152"/>
          </a:xfrm>
          <a:prstGeom prst="rect">
            <a:avLst/>
          </a:prstGeom>
        </p:spPr>
      </p:pic>
      <p:sp>
        <p:nvSpPr>
          <p:cNvPr id="17" name="object 8">
            <a:extLst>
              <a:ext uri="{FF2B5EF4-FFF2-40B4-BE49-F238E27FC236}">
                <a16:creationId xmlns:a16="http://schemas.microsoft.com/office/drawing/2014/main" id="{7AF6C81A-7673-AE5A-6D89-C1FF6F186FDD}"/>
              </a:ext>
            </a:extLst>
          </p:cNvPr>
          <p:cNvSpPr txBox="1">
            <a:spLocks/>
          </p:cNvSpPr>
          <p:nvPr/>
        </p:nvSpPr>
        <p:spPr>
          <a:xfrm>
            <a:off x="533003" y="1804130"/>
            <a:ext cx="1207294" cy="293721"/>
          </a:xfrm>
          <a:prstGeom prst="rect">
            <a:avLst/>
          </a:prstGeom>
          <a:solidFill>
            <a:srgbClr val="E4002B"/>
          </a:solidFill>
        </p:spPr>
        <p:txBody>
          <a:bodyPr vert="horz" wrap="square" lIns="54000" tIns="54000" rIns="54000" bIns="54000" rtlCol="0" anchor="ctr">
            <a:spAutoFit/>
          </a:bodyPr>
          <a:lstStyle>
            <a:lvl1pPr algn="l" defTabSz="1828709" rtl="0" eaLnBrk="1" latinLnBrk="0" hangingPunct="1">
              <a:lnSpc>
                <a:spcPct val="90000"/>
              </a:lnSpc>
              <a:spcBef>
                <a:spcPct val="0"/>
              </a:spcBef>
              <a:buNone/>
              <a:defRPr sz="8800" kern="1200">
                <a:solidFill>
                  <a:schemeClr val="tx1"/>
                </a:solidFill>
                <a:latin typeface="+mj-lt"/>
                <a:ea typeface="+mj-ea"/>
                <a:cs typeface="+mj-cs"/>
              </a:defRPr>
            </a:lvl1pPr>
          </a:lstStyle>
          <a:p>
            <a:pPr marL="3851">
              <a:lnSpc>
                <a:spcPct val="100000"/>
              </a:lnSpc>
              <a:spcBef>
                <a:spcPts val="29"/>
              </a:spcBef>
              <a:tabLst>
                <a:tab pos="1528050" algn="l"/>
              </a:tabLst>
            </a:pPr>
            <a:r>
              <a:rPr lang="fr-FR" sz="1200" b="1" dirty="0">
                <a:solidFill>
                  <a:schemeClr val="bg1"/>
                </a:solidFill>
                <a:latin typeface="Arial" panose="020B0604020202020204" pitchFamily="34" charset="0"/>
                <a:cs typeface="Arial" panose="020B0604020202020204" pitchFamily="34" charset="0"/>
              </a:rPr>
              <a:t>CONFLUENCE</a:t>
            </a:r>
          </a:p>
        </p:txBody>
      </p:sp>
      <p:pic>
        <p:nvPicPr>
          <p:cNvPr id="18" name="Picture 2" descr="Projet retenu pour les îlots B1-C1 Nord">
            <a:extLst>
              <a:ext uri="{FF2B5EF4-FFF2-40B4-BE49-F238E27FC236}">
                <a16:creationId xmlns:a16="http://schemas.microsoft.com/office/drawing/2014/main" id="{44A8CB80-0E3F-6EBE-D95F-AEA3CE3EDFA6}"/>
              </a:ext>
            </a:extLst>
          </p:cNvPr>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538035" y="2074767"/>
            <a:ext cx="3172065" cy="2112645"/>
          </a:xfrm>
          <a:prstGeom prst="rect">
            <a:avLst/>
          </a:prstGeom>
          <a:noFill/>
          <a:extLst>
            <a:ext uri="{909E8E84-426E-40DD-AFC4-6F175D3DCCD1}">
              <a14:hiddenFill xmlns:a14="http://schemas.microsoft.com/office/drawing/2010/main">
                <a:solidFill>
                  <a:srgbClr val="FFFFFF"/>
                </a:solidFill>
              </a14:hiddenFill>
            </a:ext>
          </a:extLst>
        </p:spPr>
      </p:pic>
      <p:sp>
        <p:nvSpPr>
          <p:cNvPr id="19" name="object 13">
            <a:extLst>
              <a:ext uri="{FF2B5EF4-FFF2-40B4-BE49-F238E27FC236}">
                <a16:creationId xmlns:a16="http://schemas.microsoft.com/office/drawing/2014/main" id="{0A7A0CA7-9B38-FAB6-909B-E8043219EB80}"/>
              </a:ext>
            </a:extLst>
          </p:cNvPr>
          <p:cNvSpPr txBox="1"/>
          <p:nvPr/>
        </p:nvSpPr>
        <p:spPr>
          <a:xfrm>
            <a:off x="538035" y="4357830"/>
            <a:ext cx="2633309" cy="923330"/>
          </a:xfrm>
          <a:prstGeom prst="rect">
            <a:avLst/>
          </a:prstGeom>
        </p:spPr>
        <p:txBody>
          <a:bodyPr vert="horz" wrap="square" lIns="0" tIns="0" rIns="0" bIns="0" rtlCol="0">
            <a:spAutoFit/>
          </a:bodyPr>
          <a:lstStyle/>
          <a:p>
            <a:pPr marL="179151" indent="-171450">
              <a:buFont typeface="Arial" panose="020B0604020202020204" pitchFamily="34" charset="0"/>
              <a:buChar char="•"/>
            </a:pPr>
            <a:r>
              <a:rPr lang="fr-FR" sz="1000" b="1" spc="12" dirty="0">
                <a:latin typeface="Arial" panose="020B0604020202020204" pitchFamily="34" charset="0"/>
                <a:cs typeface="Arial" panose="020B0604020202020204" pitchFamily="34" charset="0"/>
              </a:rPr>
              <a:t>Diversifie</a:t>
            </a:r>
            <a:r>
              <a:rPr lang="fr-FR" sz="1000" spc="12" dirty="0">
                <a:latin typeface="Arial" panose="020B0604020202020204" pitchFamily="34" charset="0"/>
                <a:cs typeface="Arial" panose="020B0604020202020204" pitchFamily="34" charset="0"/>
              </a:rPr>
              <a:t> la programmation économique pour couvrir l’ensemble des parcours entrepreneuriaux</a:t>
            </a:r>
            <a:br>
              <a:rPr lang="fr-FR" sz="1000" spc="12" dirty="0">
                <a:latin typeface="Arial" panose="020B0604020202020204" pitchFamily="34" charset="0"/>
                <a:cs typeface="Arial" panose="020B0604020202020204" pitchFamily="34" charset="0"/>
              </a:rPr>
            </a:br>
            <a:endParaRPr lang="fr-FR" sz="1000" spc="12" dirty="0">
              <a:latin typeface="Arial" panose="020B0604020202020204" pitchFamily="34" charset="0"/>
              <a:cs typeface="Arial" panose="020B0604020202020204" pitchFamily="34" charset="0"/>
            </a:endParaRPr>
          </a:p>
          <a:p>
            <a:pPr marL="179151" indent="-171450">
              <a:buFont typeface="Arial" panose="020B0604020202020204" pitchFamily="34" charset="0"/>
              <a:buChar char="•"/>
            </a:pPr>
            <a:r>
              <a:rPr lang="fr-FR" sz="1000" b="1" spc="12" dirty="0">
                <a:latin typeface="Arial" panose="020B0604020202020204" pitchFamily="34" charset="0"/>
                <a:cs typeface="Arial" panose="020B0604020202020204" pitchFamily="34" charset="0"/>
              </a:rPr>
              <a:t>Une référence européenne </a:t>
            </a:r>
            <a:r>
              <a:rPr lang="fr-FR" sz="1000" spc="12" dirty="0">
                <a:latin typeface="Arial" panose="020B0604020202020204" pitchFamily="34" charset="0"/>
                <a:cs typeface="Arial" panose="020B0604020202020204" pitchFamily="34" charset="0"/>
              </a:rPr>
              <a:t>sur la qualité et la performance des immobiliers neufs </a:t>
            </a:r>
          </a:p>
        </p:txBody>
      </p:sp>
      <p:sp>
        <p:nvSpPr>
          <p:cNvPr id="20" name="object 8">
            <a:extLst>
              <a:ext uri="{FF2B5EF4-FFF2-40B4-BE49-F238E27FC236}">
                <a16:creationId xmlns:a16="http://schemas.microsoft.com/office/drawing/2014/main" id="{633E0AB9-EB3D-A139-3CF0-90A591AEB652}"/>
              </a:ext>
            </a:extLst>
          </p:cNvPr>
          <p:cNvSpPr txBox="1">
            <a:spLocks/>
          </p:cNvSpPr>
          <p:nvPr/>
        </p:nvSpPr>
        <p:spPr>
          <a:xfrm>
            <a:off x="8476870" y="1804130"/>
            <a:ext cx="1207294" cy="293721"/>
          </a:xfrm>
          <a:prstGeom prst="rect">
            <a:avLst/>
          </a:prstGeom>
          <a:solidFill>
            <a:srgbClr val="E4002B"/>
          </a:solidFill>
        </p:spPr>
        <p:txBody>
          <a:bodyPr vert="horz" wrap="square" lIns="54000" tIns="54000" rIns="54000" bIns="54000" rtlCol="0" anchor="ctr">
            <a:spAutoFit/>
          </a:bodyPr>
          <a:lstStyle>
            <a:lvl1pPr algn="l" defTabSz="1828709" rtl="0" eaLnBrk="1" latinLnBrk="0" hangingPunct="1">
              <a:lnSpc>
                <a:spcPct val="90000"/>
              </a:lnSpc>
              <a:spcBef>
                <a:spcPct val="0"/>
              </a:spcBef>
              <a:buNone/>
              <a:defRPr sz="8800" kern="1200">
                <a:solidFill>
                  <a:schemeClr val="tx1"/>
                </a:solidFill>
                <a:latin typeface="+mj-lt"/>
                <a:ea typeface="+mj-ea"/>
                <a:cs typeface="+mj-cs"/>
              </a:defRPr>
            </a:lvl1pPr>
          </a:lstStyle>
          <a:p>
            <a:pPr marL="3851">
              <a:lnSpc>
                <a:spcPct val="100000"/>
              </a:lnSpc>
              <a:spcBef>
                <a:spcPts val="29"/>
              </a:spcBef>
              <a:tabLst>
                <a:tab pos="1528050" algn="l"/>
              </a:tabLst>
            </a:pPr>
            <a:r>
              <a:rPr lang="fr-FR" sz="1200" b="1" dirty="0">
                <a:solidFill>
                  <a:schemeClr val="bg1"/>
                </a:solidFill>
                <a:latin typeface="Arial" panose="020B0604020202020204" pitchFamily="34" charset="0"/>
                <a:cs typeface="Arial" panose="020B0604020202020204" pitchFamily="34" charset="0"/>
              </a:rPr>
              <a:t>PART-DIEU</a:t>
            </a:r>
          </a:p>
        </p:txBody>
      </p:sp>
      <p:cxnSp>
        <p:nvCxnSpPr>
          <p:cNvPr id="25" name="Connecteur droit avec flèche 24">
            <a:extLst>
              <a:ext uri="{FF2B5EF4-FFF2-40B4-BE49-F238E27FC236}">
                <a16:creationId xmlns:a16="http://schemas.microsoft.com/office/drawing/2014/main" id="{1C2ECECB-CA28-BAC0-911F-58153E72B2EA}"/>
              </a:ext>
            </a:extLst>
          </p:cNvPr>
          <p:cNvCxnSpPr>
            <a:cxnSpLocks/>
          </p:cNvCxnSpPr>
          <p:nvPr/>
        </p:nvCxnSpPr>
        <p:spPr>
          <a:xfrm flipH="1">
            <a:off x="6035437" y="3945204"/>
            <a:ext cx="2647371" cy="242208"/>
          </a:xfrm>
          <a:prstGeom prst="straightConnector1">
            <a:avLst/>
          </a:prstGeom>
          <a:ln w="28575">
            <a:solidFill>
              <a:srgbClr val="E4002B"/>
            </a:solidFill>
            <a:tailEnd type="triangle"/>
          </a:ln>
        </p:spPr>
        <p:style>
          <a:lnRef idx="1">
            <a:schemeClr val="accent1"/>
          </a:lnRef>
          <a:fillRef idx="0">
            <a:schemeClr val="accent1"/>
          </a:fillRef>
          <a:effectRef idx="0">
            <a:schemeClr val="accent1"/>
          </a:effectRef>
          <a:fontRef idx="minor">
            <a:schemeClr val="tx1"/>
          </a:fontRef>
        </p:style>
      </p:cxnSp>
      <p:sp>
        <p:nvSpPr>
          <p:cNvPr id="26" name="Ellipse 25">
            <a:extLst>
              <a:ext uri="{FF2B5EF4-FFF2-40B4-BE49-F238E27FC236}">
                <a16:creationId xmlns:a16="http://schemas.microsoft.com/office/drawing/2014/main" id="{BEB6E7D8-C7F5-D66F-5275-5BFC9BAA04DE}"/>
              </a:ext>
            </a:extLst>
          </p:cNvPr>
          <p:cNvSpPr/>
          <p:nvPr/>
        </p:nvSpPr>
        <p:spPr>
          <a:xfrm>
            <a:off x="8638606" y="3862495"/>
            <a:ext cx="160104" cy="160104"/>
          </a:xfrm>
          <a:prstGeom prst="ellipse">
            <a:avLst/>
          </a:prstGeom>
          <a:solidFill>
            <a:srgbClr val="E4002B"/>
          </a:solidFill>
          <a:ln w="571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sz="900"/>
          </a:p>
        </p:txBody>
      </p:sp>
      <p:cxnSp>
        <p:nvCxnSpPr>
          <p:cNvPr id="29" name="Connecteur droit avec flèche 28">
            <a:extLst>
              <a:ext uri="{FF2B5EF4-FFF2-40B4-BE49-F238E27FC236}">
                <a16:creationId xmlns:a16="http://schemas.microsoft.com/office/drawing/2014/main" id="{EBB6B483-C75D-111A-5440-57972A886FE5}"/>
              </a:ext>
            </a:extLst>
          </p:cNvPr>
          <p:cNvCxnSpPr>
            <a:cxnSpLocks/>
          </p:cNvCxnSpPr>
          <p:nvPr/>
        </p:nvCxnSpPr>
        <p:spPr>
          <a:xfrm>
            <a:off x="3435128" y="3942547"/>
            <a:ext cx="2042144" cy="515502"/>
          </a:xfrm>
          <a:prstGeom prst="straightConnector1">
            <a:avLst/>
          </a:prstGeom>
          <a:ln w="28575">
            <a:solidFill>
              <a:srgbClr val="E4002B"/>
            </a:solidFill>
            <a:tailEnd type="triangle"/>
          </a:ln>
        </p:spPr>
        <p:style>
          <a:lnRef idx="1">
            <a:schemeClr val="accent1"/>
          </a:lnRef>
          <a:fillRef idx="0">
            <a:schemeClr val="accent1"/>
          </a:fillRef>
          <a:effectRef idx="0">
            <a:schemeClr val="accent1"/>
          </a:effectRef>
          <a:fontRef idx="minor">
            <a:schemeClr val="tx1"/>
          </a:fontRef>
        </p:style>
      </p:cxnSp>
      <p:sp>
        <p:nvSpPr>
          <p:cNvPr id="28" name="Ellipse 27">
            <a:extLst>
              <a:ext uri="{FF2B5EF4-FFF2-40B4-BE49-F238E27FC236}">
                <a16:creationId xmlns:a16="http://schemas.microsoft.com/office/drawing/2014/main" id="{11C5E3D0-BCCE-49EB-714B-3E42ACBAB3CE}"/>
              </a:ext>
            </a:extLst>
          </p:cNvPr>
          <p:cNvSpPr/>
          <p:nvPr/>
        </p:nvSpPr>
        <p:spPr>
          <a:xfrm>
            <a:off x="3355076" y="3862495"/>
            <a:ext cx="160104" cy="160104"/>
          </a:xfrm>
          <a:prstGeom prst="ellipse">
            <a:avLst/>
          </a:prstGeom>
          <a:solidFill>
            <a:srgbClr val="E4002B"/>
          </a:solidFill>
          <a:ln w="571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sz="900"/>
          </a:p>
        </p:txBody>
      </p:sp>
    </p:spTree>
    <p:extLst>
      <p:ext uri="{BB962C8B-B14F-4D97-AF65-F5344CB8AC3E}">
        <p14:creationId xmlns:p14="http://schemas.microsoft.com/office/powerpoint/2010/main" val="278172588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2">
            <a:extLst>
              <a:ext uri="{FF2B5EF4-FFF2-40B4-BE49-F238E27FC236}">
                <a16:creationId xmlns:a16="http://schemas.microsoft.com/office/drawing/2014/main" id="{DE71E5AD-FAD4-F489-0E3C-1EFB13CCCB59}"/>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06275" y="0"/>
            <a:ext cx="12085328" cy="5439316"/>
          </a:xfrm>
          <a:prstGeom prst="rect">
            <a:avLst/>
          </a:prstGeom>
        </p:spPr>
      </p:pic>
      <p:sp>
        <p:nvSpPr>
          <p:cNvPr id="16" name="Rectangle 15">
            <a:extLst>
              <a:ext uri="{FF2B5EF4-FFF2-40B4-BE49-F238E27FC236}">
                <a16:creationId xmlns:a16="http://schemas.microsoft.com/office/drawing/2014/main" id="{CA02F96C-E8D1-9EFA-10ED-C1198D700EF3}"/>
              </a:ext>
            </a:extLst>
          </p:cNvPr>
          <p:cNvSpPr/>
          <p:nvPr/>
        </p:nvSpPr>
        <p:spPr>
          <a:xfrm>
            <a:off x="397" y="1867605"/>
            <a:ext cx="12191207" cy="3571711"/>
          </a:xfrm>
          <a:prstGeom prst="rect">
            <a:avLst/>
          </a:prstGeom>
          <a:gradFill flip="none" rotWithShape="1">
            <a:gsLst>
              <a:gs pos="0">
                <a:schemeClr val="tx1"/>
              </a:gs>
              <a:gs pos="100000">
                <a:schemeClr val="tx1">
                  <a:alpha val="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00" dirty="0">
              <a:solidFill>
                <a:srgbClr val="0070C0"/>
              </a:solidFill>
            </a:endParaRPr>
          </a:p>
        </p:txBody>
      </p:sp>
      <p:grpSp>
        <p:nvGrpSpPr>
          <p:cNvPr id="11" name="Groupe 10">
            <a:extLst>
              <a:ext uri="{FF2B5EF4-FFF2-40B4-BE49-F238E27FC236}">
                <a16:creationId xmlns:a16="http://schemas.microsoft.com/office/drawing/2014/main" id="{0F383EC9-EF06-39F6-2963-19BF4497E9FB}"/>
              </a:ext>
            </a:extLst>
          </p:cNvPr>
          <p:cNvGrpSpPr/>
          <p:nvPr/>
        </p:nvGrpSpPr>
        <p:grpSpPr>
          <a:xfrm>
            <a:off x="106275" y="5959745"/>
            <a:ext cx="2582927" cy="904990"/>
            <a:chOff x="6189044" y="11173899"/>
            <a:chExt cx="5165853" cy="1809980"/>
          </a:xfrm>
        </p:grpSpPr>
        <p:sp>
          <p:nvSpPr>
            <p:cNvPr id="9" name="Rectangle 8">
              <a:extLst>
                <a:ext uri="{FF2B5EF4-FFF2-40B4-BE49-F238E27FC236}">
                  <a16:creationId xmlns:a16="http://schemas.microsoft.com/office/drawing/2014/main" id="{EA9E93AE-24BA-AB1C-A7DA-9A1EABC1B679}"/>
                </a:ext>
              </a:extLst>
            </p:cNvPr>
            <p:cNvSpPr/>
            <p:nvPr/>
          </p:nvSpPr>
          <p:spPr>
            <a:xfrm>
              <a:off x="6275672" y="11251933"/>
              <a:ext cx="3291840" cy="66955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00"/>
            </a:p>
          </p:txBody>
        </p:sp>
        <p:sp>
          <p:nvSpPr>
            <p:cNvPr id="10" name="Rectangle 9">
              <a:extLst>
                <a:ext uri="{FF2B5EF4-FFF2-40B4-BE49-F238E27FC236}">
                  <a16:creationId xmlns:a16="http://schemas.microsoft.com/office/drawing/2014/main" id="{E3CFEACD-7F62-BB60-ABBE-C835D2E8FFBA}"/>
                </a:ext>
              </a:extLst>
            </p:cNvPr>
            <p:cNvSpPr/>
            <p:nvPr/>
          </p:nvSpPr>
          <p:spPr>
            <a:xfrm>
              <a:off x="9805156" y="12159152"/>
              <a:ext cx="1389025" cy="66955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00"/>
            </a:p>
          </p:txBody>
        </p:sp>
        <p:pic>
          <p:nvPicPr>
            <p:cNvPr id="8" name="Graphique 7">
              <a:extLst>
                <a:ext uri="{FF2B5EF4-FFF2-40B4-BE49-F238E27FC236}">
                  <a16:creationId xmlns:a16="http://schemas.microsoft.com/office/drawing/2014/main" id="{95A9565D-9AFB-2044-0093-F6D43C6B329F}"/>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6189044" y="11173899"/>
              <a:ext cx="5165853" cy="1809980"/>
            </a:xfrm>
            <a:prstGeom prst="rect">
              <a:avLst/>
            </a:prstGeom>
          </p:spPr>
        </p:pic>
      </p:grpSp>
      <p:sp>
        <p:nvSpPr>
          <p:cNvPr id="13" name="object 2">
            <a:extLst>
              <a:ext uri="{FF2B5EF4-FFF2-40B4-BE49-F238E27FC236}">
                <a16:creationId xmlns:a16="http://schemas.microsoft.com/office/drawing/2014/main" id="{A211DB27-E702-4A3A-4759-BD08E71C18B6}"/>
              </a:ext>
            </a:extLst>
          </p:cNvPr>
          <p:cNvSpPr txBox="1">
            <a:spLocks/>
          </p:cNvSpPr>
          <p:nvPr/>
        </p:nvSpPr>
        <p:spPr>
          <a:xfrm>
            <a:off x="1821957" y="2949589"/>
            <a:ext cx="9191665" cy="1603047"/>
          </a:xfrm>
          <a:prstGeom prst="rect">
            <a:avLst/>
          </a:prstGeom>
        </p:spPr>
        <p:txBody>
          <a:bodyPr vert="horz" wrap="square" lIns="0" tIns="40430" rIns="0" bIns="0" rtlCol="0" anchor="ctr">
            <a:spAutoFit/>
          </a:bodyPr>
          <a:lstStyle>
            <a:lvl1pPr algn="l" defTabSz="457200" rtl="0" eaLnBrk="0" fontAlgn="base" hangingPunct="0">
              <a:spcBef>
                <a:spcPct val="0"/>
              </a:spcBef>
              <a:spcAft>
                <a:spcPct val="0"/>
              </a:spcAft>
              <a:defRPr sz="1100" kern="1200">
                <a:solidFill>
                  <a:schemeClr val="tx1"/>
                </a:solidFill>
                <a:latin typeface="Univers LT Std 57 Cn" panose="020B0506020202050204" pitchFamily="34" charset="0"/>
                <a:ea typeface="+mj-ea"/>
                <a:cs typeface="+mj-cs"/>
              </a:defRPr>
            </a:lvl1pPr>
            <a:lvl2pPr algn="l" defTabSz="457200" rtl="0" eaLnBrk="0" fontAlgn="base" hangingPunct="0">
              <a:spcBef>
                <a:spcPct val="0"/>
              </a:spcBef>
              <a:spcAft>
                <a:spcPct val="0"/>
              </a:spcAft>
              <a:defRPr sz="1100">
                <a:solidFill>
                  <a:schemeClr val="tx1"/>
                </a:solidFill>
                <a:latin typeface="Univers LT Std 57 Cn" panose="020B0506020202050204" pitchFamily="34" charset="0"/>
                <a:cs typeface="Arial" panose="020B0604020202020204" pitchFamily="34" charset="0"/>
              </a:defRPr>
            </a:lvl2pPr>
            <a:lvl3pPr algn="l" defTabSz="457200" rtl="0" eaLnBrk="0" fontAlgn="base" hangingPunct="0">
              <a:spcBef>
                <a:spcPct val="0"/>
              </a:spcBef>
              <a:spcAft>
                <a:spcPct val="0"/>
              </a:spcAft>
              <a:defRPr sz="1100">
                <a:solidFill>
                  <a:schemeClr val="tx1"/>
                </a:solidFill>
                <a:latin typeface="Univers LT Std 57 Cn" panose="020B0506020202050204" pitchFamily="34" charset="0"/>
                <a:cs typeface="Arial" panose="020B0604020202020204" pitchFamily="34" charset="0"/>
              </a:defRPr>
            </a:lvl3pPr>
            <a:lvl4pPr algn="l" defTabSz="457200" rtl="0" eaLnBrk="0" fontAlgn="base" hangingPunct="0">
              <a:spcBef>
                <a:spcPct val="0"/>
              </a:spcBef>
              <a:spcAft>
                <a:spcPct val="0"/>
              </a:spcAft>
              <a:defRPr sz="1100">
                <a:solidFill>
                  <a:schemeClr val="tx1"/>
                </a:solidFill>
                <a:latin typeface="Univers LT Std 57 Cn" panose="020B0506020202050204" pitchFamily="34" charset="0"/>
                <a:cs typeface="Arial" panose="020B0604020202020204" pitchFamily="34" charset="0"/>
              </a:defRPr>
            </a:lvl4pPr>
            <a:lvl5pPr algn="l" defTabSz="457200" rtl="0" eaLnBrk="0" fontAlgn="base" hangingPunct="0">
              <a:spcBef>
                <a:spcPct val="0"/>
              </a:spcBef>
              <a:spcAft>
                <a:spcPct val="0"/>
              </a:spcAft>
              <a:defRPr sz="1100">
                <a:solidFill>
                  <a:schemeClr val="tx1"/>
                </a:solidFill>
                <a:latin typeface="Univers LT Std 57 Cn" panose="020B0506020202050204" pitchFamily="34" charset="0"/>
                <a:cs typeface="Arial" panose="020B0604020202020204" pitchFamily="34" charset="0"/>
              </a:defRPr>
            </a:lvl5pPr>
            <a:lvl6pPr marL="457200" algn="l" defTabSz="457200" rtl="0" fontAlgn="base">
              <a:spcBef>
                <a:spcPct val="0"/>
              </a:spcBef>
              <a:spcAft>
                <a:spcPct val="0"/>
              </a:spcAft>
              <a:defRPr sz="1200">
                <a:solidFill>
                  <a:schemeClr val="tx1"/>
                </a:solidFill>
                <a:latin typeface="Arial" panose="020B0604020202020204" pitchFamily="34" charset="0"/>
                <a:cs typeface="Arial" panose="020B0604020202020204" pitchFamily="34" charset="0"/>
              </a:defRPr>
            </a:lvl6pPr>
            <a:lvl7pPr marL="914400" algn="l" defTabSz="457200" rtl="0" fontAlgn="base">
              <a:spcBef>
                <a:spcPct val="0"/>
              </a:spcBef>
              <a:spcAft>
                <a:spcPct val="0"/>
              </a:spcAft>
              <a:defRPr sz="1200">
                <a:solidFill>
                  <a:schemeClr val="tx1"/>
                </a:solidFill>
                <a:latin typeface="Arial" panose="020B0604020202020204" pitchFamily="34" charset="0"/>
                <a:cs typeface="Arial" panose="020B0604020202020204" pitchFamily="34" charset="0"/>
              </a:defRPr>
            </a:lvl7pPr>
            <a:lvl8pPr marL="1371600" algn="l" defTabSz="457200" rtl="0" fontAlgn="base">
              <a:spcBef>
                <a:spcPct val="0"/>
              </a:spcBef>
              <a:spcAft>
                <a:spcPct val="0"/>
              </a:spcAft>
              <a:defRPr sz="1200">
                <a:solidFill>
                  <a:schemeClr val="tx1"/>
                </a:solidFill>
                <a:latin typeface="Arial" panose="020B0604020202020204" pitchFamily="34" charset="0"/>
                <a:cs typeface="Arial" panose="020B0604020202020204" pitchFamily="34" charset="0"/>
              </a:defRPr>
            </a:lvl8pPr>
            <a:lvl9pPr marL="1828800" algn="l" defTabSz="457200" rtl="0" fontAlgn="base">
              <a:spcBef>
                <a:spcPct val="0"/>
              </a:spcBef>
              <a:spcAft>
                <a:spcPct val="0"/>
              </a:spcAft>
              <a:defRPr sz="1200">
                <a:solidFill>
                  <a:schemeClr val="tx1"/>
                </a:solidFill>
                <a:latin typeface="Arial" panose="020B0604020202020204" pitchFamily="34" charset="0"/>
                <a:cs typeface="Arial" panose="020B0604020202020204" pitchFamily="34" charset="0"/>
              </a:defRPr>
            </a:lvl9pPr>
          </a:lstStyle>
          <a:p>
            <a:pPr marL="7701" marR="3082">
              <a:lnSpc>
                <a:spcPts val="3000"/>
              </a:lnSpc>
              <a:spcBef>
                <a:spcPts val="318"/>
              </a:spcBef>
            </a:pPr>
            <a:r>
              <a:rPr lang="fr-FR" sz="2400" spc="-6" dirty="0">
                <a:solidFill>
                  <a:schemeClr val="bg1"/>
                </a:solidFill>
                <a:latin typeface="Arial Black"/>
                <a:cs typeface="Arial Black"/>
              </a:rPr>
              <a:t>L’INDUSTRIE, UNE HISTOIRE LYONNAISE</a:t>
            </a:r>
            <a:br>
              <a:rPr lang="fr-FR" sz="2400" spc="-6" dirty="0">
                <a:solidFill>
                  <a:schemeClr val="bg1"/>
                </a:solidFill>
                <a:latin typeface="Arial Black"/>
                <a:cs typeface="Arial Black"/>
              </a:rPr>
            </a:br>
            <a:r>
              <a:rPr lang="fr-FR" sz="2400" spc="-6" dirty="0">
                <a:solidFill>
                  <a:schemeClr val="bg1"/>
                </a:solidFill>
                <a:latin typeface="Arial Black"/>
                <a:cs typeface="Arial Black"/>
              </a:rPr>
              <a:t>ET UNE STRATÉGIE POUR LA TRANSFORMATION </a:t>
            </a:r>
            <a:br>
              <a:rPr lang="fr-FR" sz="2400" spc="-6" dirty="0">
                <a:solidFill>
                  <a:schemeClr val="bg1"/>
                </a:solidFill>
                <a:latin typeface="Arial Black"/>
                <a:cs typeface="Arial Black"/>
              </a:rPr>
            </a:br>
            <a:r>
              <a:rPr lang="fr-FR" sz="2400" spc="-6" dirty="0">
                <a:solidFill>
                  <a:schemeClr val="bg1"/>
                </a:solidFill>
                <a:latin typeface="Arial Black"/>
                <a:cs typeface="Arial Black"/>
              </a:rPr>
              <a:t>DU TERRITOIRE</a:t>
            </a:r>
          </a:p>
          <a:p>
            <a:pPr marL="7701" marR="3082">
              <a:lnSpc>
                <a:spcPts val="3000"/>
              </a:lnSpc>
              <a:spcBef>
                <a:spcPts val="318"/>
              </a:spcBef>
            </a:pPr>
            <a:endParaRPr lang="fr-FR" sz="2400" spc="-6" dirty="0">
              <a:solidFill>
                <a:schemeClr val="bg1"/>
              </a:solidFill>
              <a:latin typeface="Arial Black"/>
              <a:cs typeface="Arial Black"/>
            </a:endParaRPr>
          </a:p>
        </p:txBody>
      </p:sp>
      <p:sp>
        <p:nvSpPr>
          <p:cNvPr id="5" name="Rectangle 4">
            <a:extLst>
              <a:ext uri="{FF2B5EF4-FFF2-40B4-BE49-F238E27FC236}">
                <a16:creationId xmlns:a16="http://schemas.microsoft.com/office/drawing/2014/main" id="{30D772E5-CE0B-504C-05E4-9ADDDBFFEBB0}"/>
              </a:ext>
            </a:extLst>
          </p:cNvPr>
          <p:cNvSpPr/>
          <p:nvPr/>
        </p:nvSpPr>
        <p:spPr>
          <a:xfrm>
            <a:off x="397" y="0"/>
            <a:ext cx="105878" cy="6858000"/>
          </a:xfrm>
          <a:prstGeom prst="rect">
            <a:avLst/>
          </a:prstGeom>
          <a:solidFill>
            <a:srgbClr val="E400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00"/>
          </a:p>
        </p:txBody>
      </p:sp>
    </p:spTree>
    <p:extLst>
      <p:ext uri="{BB962C8B-B14F-4D97-AF65-F5344CB8AC3E}">
        <p14:creationId xmlns:p14="http://schemas.microsoft.com/office/powerpoint/2010/main" val="119702430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88AE27-BA78-7AF7-874B-A8E12A95F5A4}"/>
            </a:ext>
          </a:extLst>
        </p:cNvPr>
        <p:cNvGrpSpPr/>
        <p:nvPr/>
      </p:nvGrpSpPr>
      <p:grpSpPr>
        <a:xfrm>
          <a:off x="0" y="0"/>
          <a:ext cx="0" cy="0"/>
          <a:chOff x="0" y="0"/>
          <a:chExt cx="0" cy="0"/>
        </a:xfrm>
      </p:grpSpPr>
      <p:pic>
        <p:nvPicPr>
          <p:cNvPr id="23" name="Image 22">
            <a:extLst>
              <a:ext uri="{FF2B5EF4-FFF2-40B4-BE49-F238E27FC236}">
                <a16:creationId xmlns:a16="http://schemas.microsoft.com/office/drawing/2014/main" id="{EC268C7A-D475-2CD3-4622-277A6DC91074}"/>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7536978" y="0"/>
            <a:ext cx="4654626" cy="6858000"/>
          </a:xfrm>
          <a:prstGeom prst="rect">
            <a:avLst/>
          </a:prstGeom>
        </p:spPr>
      </p:pic>
      <p:sp>
        <p:nvSpPr>
          <p:cNvPr id="45" name="Rectangle 44">
            <a:extLst>
              <a:ext uri="{FF2B5EF4-FFF2-40B4-BE49-F238E27FC236}">
                <a16:creationId xmlns:a16="http://schemas.microsoft.com/office/drawing/2014/main" id="{53689B95-5A3A-DDFC-C11E-B6CB15AB158A}"/>
              </a:ext>
            </a:extLst>
          </p:cNvPr>
          <p:cNvSpPr/>
          <p:nvPr/>
        </p:nvSpPr>
        <p:spPr>
          <a:xfrm>
            <a:off x="397" y="0"/>
            <a:ext cx="105878" cy="6858000"/>
          </a:xfrm>
          <a:prstGeom prst="rect">
            <a:avLst/>
          </a:prstGeom>
          <a:solidFill>
            <a:srgbClr val="E400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00" dirty="0"/>
          </a:p>
        </p:txBody>
      </p:sp>
      <p:sp>
        <p:nvSpPr>
          <p:cNvPr id="3" name="Rectangle 2">
            <a:extLst>
              <a:ext uri="{FF2B5EF4-FFF2-40B4-BE49-F238E27FC236}">
                <a16:creationId xmlns:a16="http://schemas.microsoft.com/office/drawing/2014/main" id="{18CB1103-F90A-093E-1664-D2B10FCBC4E4}"/>
              </a:ext>
            </a:extLst>
          </p:cNvPr>
          <p:cNvSpPr/>
          <p:nvPr/>
        </p:nvSpPr>
        <p:spPr>
          <a:xfrm>
            <a:off x="5721698" y="0"/>
            <a:ext cx="2426084" cy="6869135"/>
          </a:xfrm>
          <a:prstGeom prst="rect">
            <a:avLst/>
          </a:prstGeom>
          <a:solidFill>
            <a:srgbClr val="E4002B"/>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sz="900"/>
          </a:p>
        </p:txBody>
      </p:sp>
      <p:pic>
        <p:nvPicPr>
          <p:cNvPr id="24" name="Graphique 23">
            <a:extLst>
              <a:ext uri="{FF2B5EF4-FFF2-40B4-BE49-F238E27FC236}">
                <a16:creationId xmlns:a16="http://schemas.microsoft.com/office/drawing/2014/main" id="{4C651E96-9681-79E3-7250-240EE2E04685}"/>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rot="16200000">
            <a:off x="11252913" y="5918020"/>
            <a:ext cx="1392175" cy="487782"/>
          </a:xfrm>
          <a:prstGeom prst="rect">
            <a:avLst/>
          </a:prstGeom>
        </p:spPr>
      </p:pic>
      <p:grpSp>
        <p:nvGrpSpPr>
          <p:cNvPr id="121" name="Groupe 120">
            <a:extLst>
              <a:ext uri="{FF2B5EF4-FFF2-40B4-BE49-F238E27FC236}">
                <a16:creationId xmlns:a16="http://schemas.microsoft.com/office/drawing/2014/main" id="{D375AE3E-A86C-3684-ECB6-4825BF5F1CE9}"/>
              </a:ext>
            </a:extLst>
          </p:cNvPr>
          <p:cNvGrpSpPr/>
          <p:nvPr/>
        </p:nvGrpSpPr>
        <p:grpSpPr>
          <a:xfrm>
            <a:off x="5777555" y="814032"/>
            <a:ext cx="2251840" cy="1828619"/>
            <a:chOff x="13577843" y="8216521"/>
            <a:chExt cx="4503680" cy="3657236"/>
          </a:xfrm>
        </p:grpSpPr>
        <p:sp>
          <p:nvSpPr>
            <p:cNvPr id="18" name="ZoneTexte 17">
              <a:extLst>
                <a:ext uri="{FF2B5EF4-FFF2-40B4-BE49-F238E27FC236}">
                  <a16:creationId xmlns:a16="http://schemas.microsoft.com/office/drawing/2014/main" id="{6FC1867E-7BCE-1097-BBF1-C62DA62C401B}"/>
                </a:ext>
              </a:extLst>
            </p:cNvPr>
            <p:cNvSpPr txBox="1"/>
            <p:nvPr/>
          </p:nvSpPr>
          <p:spPr>
            <a:xfrm>
              <a:off x="14792471" y="8498477"/>
              <a:ext cx="3289052" cy="3375280"/>
            </a:xfrm>
            <a:prstGeom prst="rect">
              <a:avLst/>
            </a:prstGeom>
            <a:noFill/>
          </p:spPr>
          <p:txBody>
            <a:bodyPr wrap="square">
              <a:spAutoFit/>
            </a:bodyPr>
            <a:lstStyle/>
            <a:p>
              <a:pPr defTabSz="171450">
                <a:lnSpc>
                  <a:spcPts val="2000"/>
                </a:lnSpc>
                <a:defRPr/>
              </a:pPr>
              <a:r>
                <a:rPr lang="fr-FR" sz="3600" b="1" spc="12" dirty="0">
                  <a:solidFill>
                    <a:schemeClr val="bg1"/>
                  </a:solidFill>
                  <a:latin typeface="Arial"/>
                </a:rPr>
                <a:t>1 015 </a:t>
              </a:r>
            </a:p>
            <a:p>
              <a:pPr defTabSz="171450">
                <a:defRPr/>
              </a:pPr>
              <a:r>
                <a:rPr lang="fr-FR" sz="1600" b="1" dirty="0">
                  <a:latin typeface="Arial"/>
                </a:rPr>
                <a:t>créations d’entreprises industrielles</a:t>
              </a:r>
              <a:br>
                <a:rPr lang="fr-FR" sz="1600" b="1" dirty="0">
                  <a:latin typeface="Arial"/>
                </a:rPr>
              </a:br>
              <a:r>
                <a:rPr lang="fr-FR" sz="1600" b="1" dirty="0">
                  <a:latin typeface="Arial"/>
                </a:rPr>
                <a:t>en 2022 (+13 %)</a:t>
              </a:r>
            </a:p>
            <a:p>
              <a:pPr defTabSz="171450">
                <a:defRPr/>
              </a:pPr>
              <a:r>
                <a:rPr lang="fr-FR" sz="700" i="1" spc="12" dirty="0">
                  <a:latin typeface="Arial"/>
                </a:rPr>
                <a:t>(source : Insee-REE 2022)</a:t>
              </a:r>
            </a:p>
          </p:txBody>
        </p:sp>
        <p:sp>
          <p:nvSpPr>
            <p:cNvPr id="21" name="Ellipse 20">
              <a:extLst>
                <a:ext uri="{FF2B5EF4-FFF2-40B4-BE49-F238E27FC236}">
                  <a16:creationId xmlns:a16="http://schemas.microsoft.com/office/drawing/2014/main" id="{BDE19353-1ED6-CDFD-E139-F9B8BACD3D55}"/>
                </a:ext>
              </a:extLst>
            </p:cNvPr>
            <p:cNvSpPr/>
            <p:nvPr/>
          </p:nvSpPr>
          <p:spPr>
            <a:xfrm>
              <a:off x="13577843" y="8216521"/>
              <a:ext cx="1143083" cy="11430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sz="900"/>
            </a:p>
          </p:txBody>
        </p:sp>
        <p:grpSp>
          <p:nvGrpSpPr>
            <p:cNvPr id="30" name="Graphique 25">
              <a:extLst>
                <a:ext uri="{FF2B5EF4-FFF2-40B4-BE49-F238E27FC236}">
                  <a16:creationId xmlns:a16="http://schemas.microsoft.com/office/drawing/2014/main" id="{DBFBFD51-8C77-A7BE-4DDC-DDF74B1C09B0}"/>
                </a:ext>
              </a:extLst>
            </p:cNvPr>
            <p:cNvGrpSpPr/>
            <p:nvPr/>
          </p:nvGrpSpPr>
          <p:grpSpPr>
            <a:xfrm>
              <a:off x="13748933" y="8421538"/>
              <a:ext cx="783112" cy="772130"/>
              <a:chOff x="11611611" y="6283166"/>
              <a:chExt cx="1161477" cy="1145188"/>
            </a:xfrm>
            <a:noFill/>
          </p:grpSpPr>
          <p:grpSp>
            <p:nvGrpSpPr>
              <p:cNvPr id="32" name="Graphique 25">
                <a:extLst>
                  <a:ext uri="{FF2B5EF4-FFF2-40B4-BE49-F238E27FC236}">
                    <a16:creationId xmlns:a16="http://schemas.microsoft.com/office/drawing/2014/main" id="{EC6CC1FC-1789-8D9D-6D7E-0534FCF5224B}"/>
                  </a:ext>
                </a:extLst>
              </p:cNvPr>
              <p:cNvGrpSpPr/>
              <p:nvPr/>
            </p:nvGrpSpPr>
            <p:grpSpPr>
              <a:xfrm>
                <a:off x="11611611" y="6584630"/>
                <a:ext cx="829817" cy="843724"/>
                <a:chOff x="11611611" y="6584630"/>
                <a:chExt cx="829817" cy="843724"/>
              </a:xfrm>
              <a:noFill/>
            </p:grpSpPr>
            <p:sp>
              <p:nvSpPr>
                <p:cNvPr id="33" name="Forme libre : forme 32">
                  <a:extLst>
                    <a:ext uri="{FF2B5EF4-FFF2-40B4-BE49-F238E27FC236}">
                      <a16:creationId xmlns:a16="http://schemas.microsoft.com/office/drawing/2014/main" id="{65B9AEE7-D2D9-97DE-F3CF-09E8D38A4A0D}"/>
                    </a:ext>
                  </a:extLst>
                </p:cNvPr>
                <p:cNvSpPr/>
                <p:nvPr/>
              </p:nvSpPr>
              <p:spPr>
                <a:xfrm>
                  <a:off x="11611611" y="6584630"/>
                  <a:ext cx="829817" cy="843724"/>
                </a:xfrm>
                <a:custGeom>
                  <a:avLst/>
                  <a:gdLst>
                    <a:gd name="connsiteX0" fmla="*/ 771144 w 829817"/>
                    <a:gd name="connsiteY0" fmla="*/ 421672 h 843724"/>
                    <a:gd name="connsiteX1" fmla="*/ 768096 w 829817"/>
                    <a:gd name="connsiteY1" fmla="*/ 375761 h 843724"/>
                    <a:gd name="connsiteX2" fmla="*/ 829818 w 829817"/>
                    <a:gd name="connsiteY2" fmla="*/ 333470 h 843724"/>
                    <a:gd name="connsiteX3" fmla="*/ 802481 w 829817"/>
                    <a:gd name="connsiteY3" fmla="*/ 249555 h 843724"/>
                    <a:gd name="connsiteX4" fmla="*/ 727996 w 829817"/>
                    <a:gd name="connsiteY4" fmla="*/ 251651 h 843724"/>
                    <a:gd name="connsiteX5" fmla="*/ 673608 w 829817"/>
                    <a:gd name="connsiteY5" fmla="*/ 176975 h 843724"/>
                    <a:gd name="connsiteX6" fmla="*/ 698659 w 829817"/>
                    <a:gd name="connsiteY6" fmla="*/ 106585 h 843724"/>
                    <a:gd name="connsiteX7" fmla="*/ 627221 w 829817"/>
                    <a:gd name="connsiteY7" fmla="*/ 54674 h 843724"/>
                    <a:gd name="connsiteX8" fmla="*/ 568166 w 829817"/>
                    <a:gd name="connsiteY8" fmla="*/ 100013 h 843724"/>
                    <a:gd name="connsiteX9" fmla="*/ 480155 w 829817"/>
                    <a:gd name="connsiteY9" fmla="*/ 71533 h 843724"/>
                    <a:gd name="connsiteX10" fmla="*/ 459105 w 829817"/>
                    <a:gd name="connsiteY10" fmla="*/ 0 h 843724"/>
                    <a:gd name="connsiteX11" fmla="*/ 370713 w 829817"/>
                    <a:gd name="connsiteY11" fmla="*/ 0 h 843724"/>
                    <a:gd name="connsiteX12" fmla="*/ 349663 w 829817"/>
                    <a:gd name="connsiteY12" fmla="*/ 71533 h 843724"/>
                    <a:gd name="connsiteX13" fmla="*/ 261652 w 829817"/>
                    <a:gd name="connsiteY13" fmla="*/ 100013 h 843724"/>
                    <a:gd name="connsiteX14" fmla="*/ 202692 w 829817"/>
                    <a:gd name="connsiteY14" fmla="*/ 54578 h 843724"/>
                    <a:gd name="connsiteX15" fmla="*/ 131255 w 829817"/>
                    <a:gd name="connsiteY15" fmla="*/ 106490 h 843724"/>
                    <a:gd name="connsiteX16" fmla="*/ 156305 w 829817"/>
                    <a:gd name="connsiteY16" fmla="*/ 176879 h 843724"/>
                    <a:gd name="connsiteX17" fmla="*/ 101918 w 829817"/>
                    <a:gd name="connsiteY17" fmla="*/ 251555 h 843724"/>
                    <a:gd name="connsiteX18" fmla="*/ 27337 w 829817"/>
                    <a:gd name="connsiteY18" fmla="*/ 249555 h 843724"/>
                    <a:gd name="connsiteX19" fmla="*/ 0 w 829817"/>
                    <a:gd name="connsiteY19" fmla="*/ 333566 h 843724"/>
                    <a:gd name="connsiteX20" fmla="*/ 61722 w 829817"/>
                    <a:gd name="connsiteY20" fmla="*/ 375857 h 843724"/>
                    <a:gd name="connsiteX21" fmla="*/ 58674 w 829817"/>
                    <a:gd name="connsiteY21" fmla="*/ 421767 h 843724"/>
                    <a:gd name="connsiteX22" fmla="*/ 61722 w 829817"/>
                    <a:gd name="connsiteY22" fmla="*/ 468059 h 843724"/>
                    <a:gd name="connsiteX23" fmla="*/ 0 w 829817"/>
                    <a:gd name="connsiteY23" fmla="*/ 510349 h 843724"/>
                    <a:gd name="connsiteX24" fmla="*/ 27337 w 829817"/>
                    <a:gd name="connsiteY24" fmla="*/ 594360 h 843724"/>
                    <a:gd name="connsiteX25" fmla="*/ 102108 w 829817"/>
                    <a:gd name="connsiteY25" fmla="*/ 592265 h 843724"/>
                    <a:gd name="connsiteX26" fmla="*/ 156305 w 829817"/>
                    <a:gd name="connsiteY26" fmla="*/ 666655 h 843724"/>
                    <a:gd name="connsiteX27" fmla="*/ 131159 w 829817"/>
                    <a:gd name="connsiteY27" fmla="*/ 737330 h 843724"/>
                    <a:gd name="connsiteX28" fmla="*/ 202597 w 829817"/>
                    <a:gd name="connsiteY28" fmla="*/ 789242 h 843724"/>
                    <a:gd name="connsiteX29" fmla="*/ 261938 w 829817"/>
                    <a:gd name="connsiteY29" fmla="*/ 743522 h 843724"/>
                    <a:gd name="connsiteX30" fmla="*/ 349472 w 829817"/>
                    <a:gd name="connsiteY30" fmla="*/ 771811 h 843724"/>
                    <a:gd name="connsiteX31" fmla="*/ 370713 w 829817"/>
                    <a:gd name="connsiteY31" fmla="*/ 843725 h 843724"/>
                    <a:gd name="connsiteX32" fmla="*/ 459105 w 829817"/>
                    <a:gd name="connsiteY32" fmla="*/ 843725 h 843724"/>
                    <a:gd name="connsiteX33" fmla="*/ 480346 w 829817"/>
                    <a:gd name="connsiteY33" fmla="*/ 771811 h 843724"/>
                    <a:gd name="connsiteX34" fmla="*/ 567881 w 829817"/>
                    <a:gd name="connsiteY34" fmla="*/ 743522 h 843724"/>
                    <a:gd name="connsiteX35" fmla="*/ 627221 w 829817"/>
                    <a:gd name="connsiteY35" fmla="*/ 789242 h 843724"/>
                    <a:gd name="connsiteX36" fmla="*/ 698659 w 829817"/>
                    <a:gd name="connsiteY36" fmla="*/ 737330 h 843724"/>
                    <a:gd name="connsiteX37" fmla="*/ 673513 w 829817"/>
                    <a:gd name="connsiteY37" fmla="*/ 666655 h 843724"/>
                    <a:gd name="connsiteX38" fmla="*/ 727710 w 829817"/>
                    <a:gd name="connsiteY38" fmla="*/ 592265 h 843724"/>
                    <a:gd name="connsiteX39" fmla="*/ 802481 w 829817"/>
                    <a:gd name="connsiteY39" fmla="*/ 594360 h 843724"/>
                    <a:gd name="connsiteX40" fmla="*/ 829818 w 829817"/>
                    <a:gd name="connsiteY40" fmla="*/ 510349 h 843724"/>
                    <a:gd name="connsiteX41" fmla="*/ 768096 w 829817"/>
                    <a:gd name="connsiteY41" fmla="*/ 468059 h 843724"/>
                    <a:gd name="connsiteX42" fmla="*/ 771144 w 829817"/>
                    <a:gd name="connsiteY42" fmla="*/ 421672 h 843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829817" h="843724">
                      <a:moveTo>
                        <a:pt x="771144" y="421672"/>
                      </a:moveTo>
                      <a:cubicBezTo>
                        <a:pt x="771144" y="406146"/>
                        <a:pt x="770001" y="390811"/>
                        <a:pt x="768096" y="375761"/>
                      </a:cubicBezTo>
                      <a:lnTo>
                        <a:pt x="829818" y="333470"/>
                      </a:lnTo>
                      <a:lnTo>
                        <a:pt x="802481" y="249555"/>
                      </a:lnTo>
                      <a:lnTo>
                        <a:pt x="727996" y="251651"/>
                      </a:lnTo>
                      <a:cubicBezTo>
                        <a:pt x="713137" y="224409"/>
                        <a:pt x="694753" y="199358"/>
                        <a:pt x="673608" y="176975"/>
                      </a:cubicBezTo>
                      <a:lnTo>
                        <a:pt x="698659" y="106585"/>
                      </a:lnTo>
                      <a:lnTo>
                        <a:pt x="627221" y="54674"/>
                      </a:lnTo>
                      <a:lnTo>
                        <a:pt x="568166" y="100013"/>
                      </a:lnTo>
                      <a:cubicBezTo>
                        <a:pt x="540639" y="86868"/>
                        <a:pt x="511112" y="77248"/>
                        <a:pt x="480155" y="71533"/>
                      </a:cubicBezTo>
                      <a:lnTo>
                        <a:pt x="459105" y="0"/>
                      </a:lnTo>
                      <a:lnTo>
                        <a:pt x="370713" y="0"/>
                      </a:lnTo>
                      <a:lnTo>
                        <a:pt x="349663" y="71533"/>
                      </a:lnTo>
                      <a:cubicBezTo>
                        <a:pt x="318802" y="77248"/>
                        <a:pt x="289274" y="86868"/>
                        <a:pt x="261652" y="100013"/>
                      </a:cubicBezTo>
                      <a:lnTo>
                        <a:pt x="202692" y="54578"/>
                      </a:lnTo>
                      <a:lnTo>
                        <a:pt x="131255" y="106490"/>
                      </a:lnTo>
                      <a:lnTo>
                        <a:pt x="156305" y="176879"/>
                      </a:lnTo>
                      <a:cubicBezTo>
                        <a:pt x="135160" y="199263"/>
                        <a:pt x="116777" y="224314"/>
                        <a:pt x="101918" y="251555"/>
                      </a:cubicBezTo>
                      <a:lnTo>
                        <a:pt x="27337" y="249555"/>
                      </a:lnTo>
                      <a:lnTo>
                        <a:pt x="0" y="333566"/>
                      </a:lnTo>
                      <a:lnTo>
                        <a:pt x="61722" y="375857"/>
                      </a:lnTo>
                      <a:cubicBezTo>
                        <a:pt x="59817" y="390906"/>
                        <a:pt x="58674" y="406146"/>
                        <a:pt x="58674" y="421767"/>
                      </a:cubicBezTo>
                      <a:cubicBezTo>
                        <a:pt x="58674" y="437483"/>
                        <a:pt x="59817" y="452914"/>
                        <a:pt x="61722" y="468059"/>
                      </a:cubicBezTo>
                      <a:lnTo>
                        <a:pt x="0" y="510349"/>
                      </a:lnTo>
                      <a:lnTo>
                        <a:pt x="27337" y="594360"/>
                      </a:lnTo>
                      <a:lnTo>
                        <a:pt x="102108" y="592265"/>
                      </a:lnTo>
                      <a:cubicBezTo>
                        <a:pt x="116967" y="619411"/>
                        <a:pt x="135255" y="644366"/>
                        <a:pt x="156305" y="666655"/>
                      </a:cubicBezTo>
                      <a:lnTo>
                        <a:pt x="131159" y="737330"/>
                      </a:lnTo>
                      <a:lnTo>
                        <a:pt x="202597" y="789242"/>
                      </a:lnTo>
                      <a:lnTo>
                        <a:pt x="261938" y="743522"/>
                      </a:lnTo>
                      <a:cubicBezTo>
                        <a:pt x="289370" y="756571"/>
                        <a:pt x="318707" y="766191"/>
                        <a:pt x="349472" y="771811"/>
                      </a:cubicBezTo>
                      <a:lnTo>
                        <a:pt x="370713" y="843725"/>
                      </a:lnTo>
                      <a:lnTo>
                        <a:pt x="459105" y="843725"/>
                      </a:lnTo>
                      <a:lnTo>
                        <a:pt x="480346" y="771811"/>
                      </a:lnTo>
                      <a:cubicBezTo>
                        <a:pt x="511112" y="766096"/>
                        <a:pt x="540449" y="756571"/>
                        <a:pt x="567881" y="743522"/>
                      </a:cubicBezTo>
                      <a:lnTo>
                        <a:pt x="627221" y="789242"/>
                      </a:lnTo>
                      <a:lnTo>
                        <a:pt x="698659" y="737330"/>
                      </a:lnTo>
                      <a:lnTo>
                        <a:pt x="673513" y="666655"/>
                      </a:lnTo>
                      <a:cubicBezTo>
                        <a:pt x="694658" y="644366"/>
                        <a:pt x="712946" y="619411"/>
                        <a:pt x="727710" y="592265"/>
                      </a:cubicBezTo>
                      <a:lnTo>
                        <a:pt x="802481" y="594360"/>
                      </a:lnTo>
                      <a:lnTo>
                        <a:pt x="829818" y="510349"/>
                      </a:lnTo>
                      <a:lnTo>
                        <a:pt x="768096" y="468059"/>
                      </a:lnTo>
                      <a:cubicBezTo>
                        <a:pt x="770001" y="452818"/>
                        <a:pt x="771144" y="437388"/>
                        <a:pt x="771144" y="421672"/>
                      </a:cubicBezTo>
                      <a:close/>
                    </a:path>
                  </a:pathLst>
                </a:custGeom>
                <a:noFill/>
                <a:ln w="31553" cap="rnd">
                  <a:solidFill>
                    <a:srgbClr val="E4002B"/>
                  </a:solidFill>
                  <a:prstDash val="solid"/>
                  <a:round/>
                </a:ln>
              </p:spPr>
              <p:txBody>
                <a:bodyPr rtlCol="0" anchor="ctr"/>
                <a:lstStyle/>
                <a:p>
                  <a:endParaRPr lang="fr-FR" sz="900"/>
                </a:p>
              </p:txBody>
            </p:sp>
            <p:sp>
              <p:nvSpPr>
                <p:cNvPr id="38" name="Forme libre : forme 37">
                  <a:extLst>
                    <a:ext uri="{FF2B5EF4-FFF2-40B4-BE49-F238E27FC236}">
                      <a16:creationId xmlns:a16="http://schemas.microsoft.com/office/drawing/2014/main" id="{5583E4E0-3348-DD3A-93C9-5D60B7B266A4}"/>
                    </a:ext>
                  </a:extLst>
                </p:cNvPr>
                <p:cNvSpPr/>
                <p:nvPr/>
              </p:nvSpPr>
              <p:spPr>
                <a:xfrm rot="-2700000">
                  <a:off x="11742094" y="6721884"/>
                  <a:ext cx="568827" cy="568827"/>
                </a:xfrm>
                <a:custGeom>
                  <a:avLst/>
                  <a:gdLst>
                    <a:gd name="connsiteX0" fmla="*/ 568828 w 568827"/>
                    <a:gd name="connsiteY0" fmla="*/ 284414 h 568827"/>
                    <a:gd name="connsiteX1" fmla="*/ 284414 w 568827"/>
                    <a:gd name="connsiteY1" fmla="*/ 568828 h 568827"/>
                    <a:gd name="connsiteX2" fmla="*/ 0 w 568827"/>
                    <a:gd name="connsiteY2" fmla="*/ 284414 h 568827"/>
                    <a:gd name="connsiteX3" fmla="*/ 284414 w 568827"/>
                    <a:gd name="connsiteY3" fmla="*/ 0 h 568827"/>
                    <a:gd name="connsiteX4" fmla="*/ 568828 w 568827"/>
                    <a:gd name="connsiteY4" fmla="*/ 284414 h 5688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8827" h="568827">
                      <a:moveTo>
                        <a:pt x="568828" y="284414"/>
                      </a:moveTo>
                      <a:cubicBezTo>
                        <a:pt x="568828" y="441491"/>
                        <a:pt x="441491" y="568828"/>
                        <a:pt x="284414" y="568828"/>
                      </a:cubicBezTo>
                      <a:cubicBezTo>
                        <a:pt x="127336" y="568828"/>
                        <a:pt x="0" y="441491"/>
                        <a:pt x="0" y="284414"/>
                      </a:cubicBezTo>
                      <a:cubicBezTo>
                        <a:pt x="0" y="127336"/>
                        <a:pt x="127336" y="0"/>
                        <a:pt x="284414" y="0"/>
                      </a:cubicBezTo>
                      <a:cubicBezTo>
                        <a:pt x="441491" y="0"/>
                        <a:pt x="568828" y="127336"/>
                        <a:pt x="568828" y="284414"/>
                      </a:cubicBezTo>
                      <a:close/>
                    </a:path>
                  </a:pathLst>
                </a:custGeom>
                <a:noFill/>
                <a:ln w="31553" cap="rnd">
                  <a:solidFill>
                    <a:srgbClr val="E4002B"/>
                  </a:solidFill>
                  <a:prstDash val="solid"/>
                  <a:round/>
                </a:ln>
              </p:spPr>
              <p:txBody>
                <a:bodyPr rtlCol="0" anchor="ctr"/>
                <a:lstStyle/>
                <a:p>
                  <a:endParaRPr lang="fr-FR" sz="900"/>
                </a:p>
              </p:txBody>
            </p:sp>
            <p:sp>
              <p:nvSpPr>
                <p:cNvPr id="39" name="Forme libre : forme 38">
                  <a:extLst>
                    <a:ext uri="{FF2B5EF4-FFF2-40B4-BE49-F238E27FC236}">
                      <a16:creationId xmlns:a16="http://schemas.microsoft.com/office/drawing/2014/main" id="{2FFF2AD7-0C5D-7477-C13B-BCC6C99DA3D2}"/>
                    </a:ext>
                  </a:extLst>
                </p:cNvPr>
                <p:cNvSpPr/>
                <p:nvPr/>
              </p:nvSpPr>
              <p:spPr>
                <a:xfrm rot="-4846898">
                  <a:off x="11802211" y="6781986"/>
                  <a:ext cx="448634" cy="448634"/>
                </a:xfrm>
                <a:custGeom>
                  <a:avLst/>
                  <a:gdLst>
                    <a:gd name="connsiteX0" fmla="*/ 448634 w 448634"/>
                    <a:gd name="connsiteY0" fmla="*/ 224317 h 448634"/>
                    <a:gd name="connsiteX1" fmla="*/ 224317 w 448634"/>
                    <a:gd name="connsiteY1" fmla="*/ 448634 h 448634"/>
                    <a:gd name="connsiteX2" fmla="*/ 0 w 448634"/>
                    <a:gd name="connsiteY2" fmla="*/ 224317 h 448634"/>
                    <a:gd name="connsiteX3" fmla="*/ 224317 w 448634"/>
                    <a:gd name="connsiteY3" fmla="*/ 0 h 448634"/>
                    <a:gd name="connsiteX4" fmla="*/ 448634 w 448634"/>
                    <a:gd name="connsiteY4" fmla="*/ 224317 h 4486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8634" h="448634">
                      <a:moveTo>
                        <a:pt x="448634" y="224317"/>
                      </a:moveTo>
                      <a:cubicBezTo>
                        <a:pt x="448634" y="348204"/>
                        <a:pt x="348204" y="448634"/>
                        <a:pt x="224317" y="448634"/>
                      </a:cubicBezTo>
                      <a:cubicBezTo>
                        <a:pt x="100430" y="448634"/>
                        <a:pt x="0" y="348204"/>
                        <a:pt x="0" y="224317"/>
                      </a:cubicBezTo>
                      <a:cubicBezTo>
                        <a:pt x="0" y="100430"/>
                        <a:pt x="100430" y="0"/>
                        <a:pt x="224317" y="0"/>
                      </a:cubicBezTo>
                      <a:cubicBezTo>
                        <a:pt x="348204" y="0"/>
                        <a:pt x="448634" y="100430"/>
                        <a:pt x="448634" y="224317"/>
                      </a:cubicBezTo>
                      <a:close/>
                    </a:path>
                  </a:pathLst>
                </a:custGeom>
                <a:noFill/>
                <a:ln w="31553" cap="rnd">
                  <a:solidFill>
                    <a:srgbClr val="E4002B"/>
                  </a:solidFill>
                  <a:prstDash val="solid"/>
                  <a:round/>
                </a:ln>
              </p:spPr>
              <p:txBody>
                <a:bodyPr rtlCol="0" anchor="ctr"/>
                <a:lstStyle/>
                <a:p>
                  <a:endParaRPr lang="fr-FR" sz="900"/>
                </a:p>
              </p:txBody>
            </p:sp>
          </p:grpSp>
          <p:grpSp>
            <p:nvGrpSpPr>
              <p:cNvPr id="40" name="Graphique 25">
                <a:extLst>
                  <a:ext uri="{FF2B5EF4-FFF2-40B4-BE49-F238E27FC236}">
                    <a16:creationId xmlns:a16="http://schemas.microsoft.com/office/drawing/2014/main" id="{CDD66450-CCCF-7989-F729-3EBE3B459A66}"/>
                  </a:ext>
                </a:extLst>
              </p:cNvPr>
              <p:cNvGrpSpPr/>
              <p:nvPr/>
            </p:nvGrpSpPr>
            <p:grpSpPr>
              <a:xfrm>
                <a:off x="12291028" y="6283166"/>
                <a:ext cx="482060" cy="490061"/>
                <a:chOff x="12291028" y="6283166"/>
                <a:chExt cx="482060" cy="490061"/>
              </a:xfrm>
              <a:noFill/>
            </p:grpSpPr>
            <p:sp>
              <p:nvSpPr>
                <p:cNvPr id="41" name="Forme libre : forme 40">
                  <a:extLst>
                    <a:ext uri="{FF2B5EF4-FFF2-40B4-BE49-F238E27FC236}">
                      <a16:creationId xmlns:a16="http://schemas.microsoft.com/office/drawing/2014/main" id="{FB74450B-82EB-59DC-26B2-0A9ADEAECB3E}"/>
                    </a:ext>
                  </a:extLst>
                </p:cNvPr>
                <p:cNvSpPr/>
                <p:nvPr/>
              </p:nvSpPr>
              <p:spPr>
                <a:xfrm>
                  <a:off x="12291028" y="6283166"/>
                  <a:ext cx="482060" cy="490061"/>
                </a:xfrm>
                <a:custGeom>
                  <a:avLst/>
                  <a:gdLst>
                    <a:gd name="connsiteX0" fmla="*/ 447675 w 482060"/>
                    <a:gd name="connsiteY0" fmla="*/ 244888 h 490061"/>
                    <a:gd name="connsiteX1" fmla="*/ 445865 w 482060"/>
                    <a:gd name="connsiteY1" fmla="*/ 218218 h 490061"/>
                    <a:gd name="connsiteX2" fmla="*/ 481679 w 482060"/>
                    <a:gd name="connsiteY2" fmla="*/ 193643 h 490061"/>
                    <a:gd name="connsiteX3" fmla="*/ 465868 w 482060"/>
                    <a:gd name="connsiteY3" fmla="*/ 144875 h 490061"/>
                    <a:gd name="connsiteX4" fmla="*/ 422624 w 482060"/>
                    <a:gd name="connsiteY4" fmla="*/ 146114 h 490061"/>
                    <a:gd name="connsiteX5" fmla="*/ 391001 w 482060"/>
                    <a:gd name="connsiteY5" fmla="*/ 102775 h 490061"/>
                    <a:gd name="connsiteX6" fmla="*/ 405574 w 482060"/>
                    <a:gd name="connsiteY6" fmla="*/ 61912 h 490061"/>
                    <a:gd name="connsiteX7" fmla="*/ 364045 w 482060"/>
                    <a:gd name="connsiteY7" fmla="*/ 31718 h 490061"/>
                    <a:gd name="connsiteX8" fmla="*/ 329755 w 482060"/>
                    <a:gd name="connsiteY8" fmla="*/ 58103 h 490061"/>
                    <a:gd name="connsiteX9" fmla="*/ 278701 w 482060"/>
                    <a:gd name="connsiteY9" fmla="*/ 41529 h 490061"/>
                    <a:gd name="connsiteX10" fmla="*/ 266509 w 482060"/>
                    <a:gd name="connsiteY10" fmla="*/ 0 h 490061"/>
                    <a:gd name="connsiteX11" fmla="*/ 215170 w 482060"/>
                    <a:gd name="connsiteY11" fmla="*/ 0 h 490061"/>
                    <a:gd name="connsiteX12" fmla="*/ 202978 w 482060"/>
                    <a:gd name="connsiteY12" fmla="*/ 41529 h 490061"/>
                    <a:gd name="connsiteX13" fmla="*/ 151924 w 482060"/>
                    <a:gd name="connsiteY13" fmla="*/ 58103 h 490061"/>
                    <a:gd name="connsiteX14" fmla="*/ 117634 w 482060"/>
                    <a:gd name="connsiteY14" fmla="*/ 31718 h 490061"/>
                    <a:gd name="connsiteX15" fmla="*/ 76105 w 482060"/>
                    <a:gd name="connsiteY15" fmla="*/ 61912 h 490061"/>
                    <a:gd name="connsiteX16" fmla="*/ 90678 w 482060"/>
                    <a:gd name="connsiteY16" fmla="*/ 102775 h 490061"/>
                    <a:gd name="connsiteX17" fmla="*/ 59055 w 482060"/>
                    <a:gd name="connsiteY17" fmla="*/ 146114 h 490061"/>
                    <a:gd name="connsiteX18" fmla="*/ 15811 w 482060"/>
                    <a:gd name="connsiteY18" fmla="*/ 144875 h 490061"/>
                    <a:gd name="connsiteX19" fmla="*/ 0 w 482060"/>
                    <a:gd name="connsiteY19" fmla="*/ 193643 h 490061"/>
                    <a:gd name="connsiteX20" fmla="*/ 35814 w 482060"/>
                    <a:gd name="connsiteY20" fmla="*/ 218218 h 490061"/>
                    <a:gd name="connsiteX21" fmla="*/ 34004 w 482060"/>
                    <a:gd name="connsiteY21" fmla="*/ 244888 h 490061"/>
                    <a:gd name="connsiteX22" fmla="*/ 35814 w 482060"/>
                    <a:gd name="connsiteY22" fmla="*/ 271748 h 490061"/>
                    <a:gd name="connsiteX23" fmla="*/ 0 w 482060"/>
                    <a:gd name="connsiteY23" fmla="*/ 296323 h 490061"/>
                    <a:gd name="connsiteX24" fmla="*/ 15811 w 482060"/>
                    <a:gd name="connsiteY24" fmla="*/ 345091 h 490061"/>
                    <a:gd name="connsiteX25" fmla="*/ 59245 w 482060"/>
                    <a:gd name="connsiteY25" fmla="*/ 343853 h 490061"/>
                    <a:gd name="connsiteX26" fmla="*/ 90773 w 482060"/>
                    <a:gd name="connsiteY26" fmla="*/ 387001 h 490061"/>
                    <a:gd name="connsiteX27" fmla="*/ 76200 w 482060"/>
                    <a:gd name="connsiteY27" fmla="*/ 428054 h 490061"/>
                    <a:gd name="connsiteX28" fmla="*/ 117729 w 482060"/>
                    <a:gd name="connsiteY28" fmla="*/ 458248 h 490061"/>
                    <a:gd name="connsiteX29" fmla="*/ 152209 w 482060"/>
                    <a:gd name="connsiteY29" fmla="*/ 431768 h 490061"/>
                    <a:gd name="connsiteX30" fmla="*/ 203073 w 482060"/>
                    <a:gd name="connsiteY30" fmla="*/ 448247 h 490061"/>
                    <a:gd name="connsiteX31" fmla="*/ 215360 w 482060"/>
                    <a:gd name="connsiteY31" fmla="*/ 490061 h 490061"/>
                    <a:gd name="connsiteX32" fmla="*/ 266700 w 482060"/>
                    <a:gd name="connsiteY32" fmla="*/ 490061 h 490061"/>
                    <a:gd name="connsiteX33" fmla="*/ 278987 w 482060"/>
                    <a:gd name="connsiteY33" fmla="*/ 448247 h 490061"/>
                    <a:gd name="connsiteX34" fmla="*/ 329851 w 482060"/>
                    <a:gd name="connsiteY34" fmla="*/ 431768 h 490061"/>
                    <a:gd name="connsiteX35" fmla="*/ 364331 w 482060"/>
                    <a:gd name="connsiteY35" fmla="*/ 458248 h 490061"/>
                    <a:gd name="connsiteX36" fmla="*/ 405860 w 482060"/>
                    <a:gd name="connsiteY36" fmla="*/ 428054 h 490061"/>
                    <a:gd name="connsiteX37" fmla="*/ 391287 w 482060"/>
                    <a:gd name="connsiteY37" fmla="*/ 387001 h 490061"/>
                    <a:gd name="connsiteX38" fmla="*/ 422815 w 482060"/>
                    <a:gd name="connsiteY38" fmla="*/ 343853 h 490061"/>
                    <a:gd name="connsiteX39" fmla="*/ 466249 w 482060"/>
                    <a:gd name="connsiteY39" fmla="*/ 345091 h 490061"/>
                    <a:gd name="connsiteX40" fmla="*/ 482060 w 482060"/>
                    <a:gd name="connsiteY40" fmla="*/ 296323 h 490061"/>
                    <a:gd name="connsiteX41" fmla="*/ 446246 w 482060"/>
                    <a:gd name="connsiteY41" fmla="*/ 271748 h 490061"/>
                    <a:gd name="connsiteX42" fmla="*/ 447675 w 482060"/>
                    <a:gd name="connsiteY42" fmla="*/ 244888 h 490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82060" h="490061">
                      <a:moveTo>
                        <a:pt x="447675" y="244888"/>
                      </a:moveTo>
                      <a:cubicBezTo>
                        <a:pt x="447675" y="235839"/>
                        <a:pt x="447008" y="226981"/>
                        <a:pt x="445865" y="218218"/>
                      </a:cubicBezTo>
                      <a:lnTo>
                        <a:pt x="481679" y="193643"/>
                      </a:lnTo>
                      <a:lnTo>
                        <a:pt x="465868" y="144875"/>
                      </a:lnTo>
                      <a:lnTo>
                        <a:pt x="422624" y="146114"/>
                      </a:lnTo>
                      <a:cubicBezTo>
                        <a:pt x="414052" y="130302"/>
                        <a:pt x="403384" y="115729"/>
                        <a:pt x="391001" y="102775"/>
                      </a:cubicBezTo>
                      <a:lnTo>
                        <a:pt x="405574" y="61912"/>
                      </a:lnTo>
                      <a:lnTo>
                        <a:pt x="364045" y="31718"/>
                      </a:lnTo>
                      <a:lnTo>
                        <a:pt x="329755" y="58103"/>
                      </a:lnTo>
                      <a:cubicBezTo>
                        <a:pt x="313753" y="50483"/>
                        <a:pt x="296609" y="44863"/>
                        <a:pt x="278701" y="41529"/>
                      </a:cubicBezTo>
                      <a:lnTo>
                        <a:pt x="266509" y="0"/>
                      </a:lnTo>
                      <a:lnTo>
                        <a:pt x="215170" y="0"/>
                      </a:lnTo>
                      <a:lnTo>
                        <a:pt x="202978" y="41529"/>
                      </a:lnTo>
                      <a:cubicBezTo>
                        <a:pt x="185071" y="44863"/>
                        <a:pt x="167926" y="50483"/>
                        <a:pt x="151924" y="58103"/>
                      </a:cubicBezTo>
                      <a:lnTo>
                        <a:pt x="117634" y="31718"/>
                      </a:lnTo>
                      <a:lnTo>
                        <a:pt x="76105" y="61912"/>
                      </a:lnTo>
                      <a:lnTo>
                        <a:pt x="90678" y="102775"/>
                      </a:lnTo>
                      <a:cubicBezTo>
                        <a:pt x="78391" y="115729"/>
                        <a:pt x="67723" y="130302"/>
                        <a:pt x="59055" y="146114"/>
                      </a:cubicBezTo>
                      <a:lnTo>
                        <a:pt x="15811" y="144875"/>
                      </a:lnTo>
                      <a:lnTo>
                        <a:pt x="0" y="193643"/>
                      </a:lnTo>
                      <a:lnTo>
                        <a:pt x="35814" y="218218"/>
                      </a:lnTo>
                      <a:cubicBezTo>
                        <a:pt x="34671" y="226981"/>
                        <a:pt x="34004" y="235839"/>
                        <a:pt x="34004" y="244888"/>
                      </a:cubicBezTo>
                      <a:cubicBezTo>
                        <a:pt x="34004" y="254032"/>
                        <a:pt x="34671" y="262985"/>
                        <a:pt x="35814" y="271748"/>
                      </a:cubicBezTo>
                      <a:lnTo>
                        <a:pt x="0" y="296323"/>
                      </a:lnTo>
                      <a:lnTo>
                        <a:pt x="15811" y="345091"/>
                      </a:lnTo>
                      <a:lnTo>
                        <a:pt x="59245" y="343853"/>
                      </a:lnTo>
                      <a:cubicBezTo>
                        <a:pt x="67818" y="359569"/>
                        <a:pt x="78486" y="374142"/>
                        <a:pt x="90773" y="387001"/>
                      </a:cubicBezTo>
                      <a:lnTo>
                        <a:pt x="76200" y="428054"/>
                      </a:lnTo>
                      <a:lnTo>
                        <a:pt x="117729" y="458248"/>
                      </a:lnTo>
                      <a:lnTo>
                        <a:pt x="152209" y="431768"/>
                      </a:lnTo>
                      <a:cubicBezTo>
                        <a:pt x="168116" y="439388"/>
                        <a:pt x="185166" y="444913"/>
                        <a:pt x="203073" y="448247"/>
                      </a:cubicBezTo>
                      <a:lnTo>
                        <a:pt x="215360" y="490061"/>
                      </a:lnTo>
                      <a:lnTo>
                        <a:pt x="266700" y="490061"/>
                      </a:lnTo>
                      <a:lnTo>
                        <a:pt x="278987" y="448247"/>
                      </a:lnTo>
                      <a:cubicBezTo>
                        <a:pt x="296799" y="444913"/>
                        <a:pt x="313849" y="439388"/>
                        <a:pt x="329851" y="431768"/>
                      </a:cubicBezTo>
                      <a:lnTo>
                        <a:pt x="364331" y="458248"/>
                      </a:lnTo>
                      <a:lnTo>
                        <a:pt x="405860" y="428054"/>
                      </a:lnTo>
                      <a:lnTo>
                        <a:pt x="391287" y="387001"/>
                      </a:lnTo>
                      <a:cubicBezTo>
                        <a:pt x="403574" y="374047"/>
                        <a:pt x="414147" y="359569"/>
                        <a:pt x="422815" y="343853"/>
                      </a:cubicBezTo>
                      <a:lnTo>
                        <a:pt x="466249" y="345091"/>
                      </a:lnTo>
                      <a:lnTo>
                        <a:pt x="482060" y="296323"/>
                      </a:lnTo>
                      <a:lnTo>
                        <a:pt x="446246" y="271748"/>
                      </a:lnTo>
                      <a:cubicBezTo>
                        <a:pt x="447008" y="262985"/>
                        <a:pt x="447675" y="254032"/>
                        <a:pt x="447675" y="244888"/>
                      </a:cubicBezTo>
                      <a:close/>
                    </a:path>
                  </a:pathLst>
                </a:custGeom>
                <a:noFill/>
                <a:ln w="31553" cap="rnd">
                  <a:solidFill>
                    <a:srgbClr val="E4002B"/>
                  </a:solidFill>
                  <a:prstDash val="solid"/>
                  <a:round/>
                </a:ln>
              </p:spPr>
              <p:txBody>
                <a:bodyPr rtlCol="0" anchor="ctr"/>
                <a:lstStyle/>
                <a:p>
                  <a:endParaRPr lang="fr-FR" sz="900"/>
                </a:p>
              </p:txBody>
            </p:sp>
            <p:sp>
              <p:nvSpPr>
                <p:cNvPr id="47" name="Forme libre : forme 46">
                  <a:extLst>
                    <a:ext uri="{FF2B5EF4-FFF2-40B4-BE49-F238E27FC236}">
                      <a16:creationId xmlns:a16="http://schemas.microsoft.com/office/drawing/2014/main" id="{DB5B4048-C913-F1B3-5733-C2C3C92F3FE9}"/>
                    </a:ext>
                  </a:extLst>
                </p:cNvPr>
                <p:cNvSpPr/>
                <p:nvPr/>
              </p:nvSpPr>
              <p:spPr>
                <a:xfrm rot="-4602852">
                  <a:off x="12401555" y="6397887"/>
                  <a:ext cx="260594" cy="260594"/>
                </a:xfrm>
                <a:custGeom>
                  <a:avLst/>
                  <a:gdLst>
                    <a:gd name="connsiteX0" fmla="*/ 260594 w 260594"/>
                    <a:gd name="connsiteY0" fmla="*/ 130297 h 260594"/>
                    <a:gd name="connsiteX1" fmla="*/ 130297 w 260594"/>
                    <a:gd name="connsiteY1" fmla="*/ 260594 h 260594"/>
                    <a:gd name="connsiteX2" fmla="*/ 0 w 260594"/>
                    <a:gd name="connsiteY2" fmla="*/ 130297 h 260594"/>
                    <a:gd name="connsiteX3" fmla="*/ 130297 w 260594"/>
                    <a:gd name="connsiteY3" fmla="*/ 0 h 260594"/>
                    <a:gd name="connsiteX4" fmla="*/ 260594 w 260594"/>
                    <a:gd name="connsiteY4" fmla="*/ 130297 h 2605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594" h="260594">
                      <a:moveTo>
                        <a:pt x="260594" y="130297"/>
                      </a:moveTo>
                      <a:cubicBezTo>
                        <a:pt x="260594" y="202258"/>
                        <a:pt x="202258" y="260594"/>
                        <a:pt x="130297" y="260594"/>
                      </a:cubicBezTo>
                      <a:cubicBezTo>
                        <a:pt x="58336" y="260594"/>
                        <a:pt x="0" y="202258"/>
                        <a:pt x="0" y="130297"/>
                      </a:cubicBezTo>
                      <a:cubicBezTo>
                        <a:pt x="0" y="58336"/>
                        <a:pt x="58336" y="0"/>
                        <a:pt x="130297" y="0"/>
                      </a:cubicBezTo>
                      <a:cubicBezTo>
                        <a:pt x="202258" y="0"/>
                        <a:pt x="260594" y="58336"/>
                        <a:pt x="260594" y="130297"/>
                      </a:cubicBezTo>
                      <a:close/>
                    </a:path>
                  </a:pathLst>
                </a:custGeom>
                <a:noFill/>
                <a:ln w="31552" cap="rnd">
                  <a:solidFill>
                    <a:srgbClr val="E4002B"/>
                  </a:solidFill>
                  <a:prstDash val="solid"/>
                  <a:round/>
                </a:ln>
              </p:spPr>
              <p:txBody>
                <a:bodyPr rtlCol="0" anchor="ctr"/>
                <a:lstStyle/>
                <a:p>
                  <a:endParaRPr lang="fr-FR" sz="900"/>
                </a:p>
              </p:txBody>
            </p:sp>
          </p:grpSp>
        </p:grpSp>
      </p:grpSp>
      <p:sp>
        <p:nvSpPr>
          <p:cNvPr id="8" name="Ellipse 7">
            <a:extLst>
              <a:ext uri="{FF2B5EF4-FFF2-40B4-BE49-F238E27FC236}">
                <a16:creationId xmlns:a16="http://schemas.microsoft.com/office/drawing/2014/main" id="{23185C40-292B-75FD-3138-630507BE0F80}"/>
              </a:ext>
            </a:extLst>
          </p:cNvPr>
          <p:cNvSpPr/>
          <p:nvPr/>
        </p:nvSpPr>
        <p:spPr>
          <a:xfrm>
            <a:off x="5777475" y="2411087"/>
            <a:ext cx="571542" cy="57154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sz="900" dirty="0"/>
          </a:p>
        </p:txBody>
      </p:sp>
      <p:grpSp>
        <p:nvGrpSpPr>
          <p:cNvPr id="57" name="Graphique 55">
            <a:extLst>
              <a:ext uri="{FF2B5EF4-FFF2-40B4-BE49-F238E27FC236}">
                <a16:creationId xmlns:a16="http://schemas.microsoft.com/office/drawing/2014/main" id="{83B0477B-5DBE-B164-A9EF-49DA66C0C9C7}"/>
              </a:ext>
            </a:extLst>
          </p:cNvPr>
          <p:cNvGrpSpPr/>
          <p:nvPr/>
        </p:nvGrpSpPr>
        <p:grpSpPr>
          <a:xfrm>
            <a:off x="5835883" y="2492529"/>
            <a:ext cx="473359" cy="345064"/>
            <a:chOff x="11256228" y="6164826"/>
            <a:chExt cx="1218929" cy="888563"/>
          </a:xfrm>
          <a:solidFill>
            <a:srgbClr val="E4002B"/>
          </a:solidFill>
        </p:grpSpPr>
        <p:sp>
          <p:nvSpPr>
            <p:cNvPr id="58" name="Forme libre : forme 57">
              <a:extLst>
                <a:ext uri="{FF2B5EF4-FFF2-40B4-BE49-F238E27FC236}">
                  <a16:creationId xmlns:a16="http://schemas.microsoft.com/office/drawing/2014/main" id="{9A76FE96-6785-E33A-B6C7-5E73C1BEC3D0}"/>
                </a:ext>
              </a:extLst>
            </p:cNvPr>
            <p:cNvSpPr/>
            <p:nvPr/>
          </p:nvSpPr>
          <p:spPr>
            <a:xfrm>
              <a:off x="11600585" y="6164826"/>
              <a:ext cx="526264" cy="888563"/>
            </a:xfrm>
            <a:custGeom>
              <a:avLst/>
              <a:gdLst>
                <a:gd name="connsiteX0" fmla="*/ 502649 w 526264"/>
                <a:gd name="connsiteY0" fmla="*/ 888564 h 888563"/>
                <a:gd name="connsiteX1" fmla="*/ 27356 w 526264"/>
                <a:gd name="connsiteY1" fmla="*/ 888564 h 888563"/>
                <a:gd name="connsiteX2" fmla="*/ 0 w 526264"/>
                <a:gd name="connsiteY2" fmla="*/ 861416 h 888563"/>
                <a:gd name="connsiteX3" fmla="*/ 0 w 526264"/>
                <a:gd name="connsiteY3" fmla="*/ 287139 h 888563"/>
                <a:gd name="connsiteX4" fmla="*/ 12739 w 526264"/>
                <a:gd name="connsiteY4" fmla="*/ 264168 h 888563"/>
                <a:gd name="connsiteX5" fmla="*/ 488031 w 526264"/>
                <a:gd name="connsiteY5" fmla="*/ 3132 h 888563"/>
                <a:gd name="connsiteX6" fmla="*/ 513299 w 526264"/>
                <a:gd name="connsiteY6" fmla="*/ 3132 h 888563"/>
                <a:gd name="connsiteX7" fmla="*/ 526038 w 526264"/>
                <a:gd name="connsiteY7" fmla="*/ 26104 h 888563"/>
                <a:gd name="connsiteX8" fmla="*/ 526038 w 526264"/>
                <a:gd name="connsiteY8" fmla="*/ 861416 h 888563"/>
                <a:gd name="connsiteX9" fmla="*/ 502649 w 526264"/>
                <a:gd name="connsiteY9" fmla="*/ 888564 h 888563"/>
                <a:gd name="connsiteX10" fmla="*/ 52834 w 526264"/>
                <a:gd name="connsiteY10" fmla="*/ 836357 h 888563"/>
                <a:gd name="connsiteX11" fmla="*/ 475293 w 526264"/>
                <a:gd name="connsiteY11" fmla="*/ 836357 h 888563"/>
                <a:gd name="connsiteX12" fmla="*/ 475293 w 526264"/>
                <a:gd name="connsiteY12" fmla="*/ 69957 h 888563"/>
                <a:gd name="connsiteX13" fmla="*/ 52834 w 526264"/>
                <a:gd name="connsiteY13" fmla="*/ 301757 h 888563"/>
                <a:gd name="connsiteX14" fmla="*/ 52834 w 526264"/>
                <a:gd name="connsiteY14" fmla="*/ 836357 h 888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26264" h="888563">
                  <a:moveTo>
                    <a:pt x="502649" y="888564"/>
                  </a:moveTo>
                  <a:lnTo>
                    <a:pt x="27356" y="888564"/>
                  </a:lnTo>
                  <a:cubicBezTo>
                    <a:pt x="12530" y="888564"/>
                    <a:pt x="0" y="876034"/>
                    <a:pt x="0" y="861416"/>
                  </a:cubicBezTo>
                  <a:lnTo>
                    <a:pt x="0" y="287139"/>
                  </a:lnTo>
                  <a:cubicBezTo>
                    <a:pt x="0" y="276697"/>
                    <a:pt x="4177" y="268344"/>
                    <a:pt x="12739" y="264168"/>
                  </a:cubicBezTo>
                  <a:lnTo>
                    <a:pt x="488031" y="3132"/>
                  </a:lnTo>
                  <a:cubicBezTo>
                    <a:pt x="496384" y="-1044"/>
                    <a:pt x="507035" y="-1044"/>
                    <a:pt x="513299" y="3132"/>
                  </a:cubicBezTo>
                  <a:cubicBezTo>
                    <a:pt x="521653" y="7309"/>
                    <a:pt x="526038" y="15662"/>
                    <a:pt x="526038" y="26104"/>
                  </a:cubicBezTo>
                  <a:lnTo>
                    <a:pt x="526038" y="861416"/>
                  </a:lnTo>
                  <a:cubicBezTo>
                    <a:pt x="528126" y="876034"/>
                    <a:pt x="515388" y="888564"/>
                    <a:pt x="502649" y="888564"/>
                  </a:cubicBezTo>
                  <a:close/>
                  <a:moveTo>
                    <a:pt x="52834" y="836357"/>
                  </a:moveTo>
                  <a:lnTo>
                    <a:pt x="475293" y="836357"/>
                  </a:lnTo>
                  <a:lnTo>
                    <a:pt x="475293" y="69957"/>
                  </a:lnTo>
                  <a:lnTo>
                    <a:pt x="52834" y="301757"/>
                  </a:lnTo>
                  <a:lnTo>
                    <a:pt x="52834" y="836357"/>
                  </a:lnTo>
                  <a:close/>
                </a:path>
              </a:pathLst>
            </a:custGeom>
            <a:grpFill/>
            <a:ln w="20856" cap="flat">
              <a:noFill/>
              <a:prstDash val="solid"/>
              <a:miter/>
            </a:ln>
          </p:spPr>
          <p:txBody>
            <a:bodyPr rtlCol="0" anchor="ctr"/>
            <a:lstStyle/>
            <a:p>
              <a:endParaRPr lang="fr-FR" sz="900"/>
            </a:p>
          </p:txBody>
        </p:sp>
        <p:sp>
          <p:nvSpPr>
            <p:cNvPr id="59" name="Forme libre : forme 58">
              <a:extLst>
                <a:ext uri="{FF2B5EF4-FFF2-40B4-BE49-F238E27FC236}">
                  <a16:creationId xmlns:a16="http://schemas.microsoft.com/office/drawing/2014/main" id="{3F61BD1C-27EC-5A69-ACB0-159502544B71}"/>
                </a:ext>
              </a:extLst>
            </p:cNvPr>
            <p:cNvSpPr/>
            <p:nvPr/>
          </p:nvSpPr>
          <p:spPr>
            <a:xfrm>
              <a:off x="12075878" y="6660792"/>
              <a:ext cx="344151" cy="392596"/>
            </a:xfrm>
            <a:custGeom>
              <a:avLst/>
              <a:gdLst>
                <a:gd name="connsiteX0" fmla="*/ 316792 w 344151"/>
                <a:gd name="connsiteY0" fmla="*/ 392597 h 392596"/>
                <a:gd name="connsiteX1" fmla="*/ 27357 w 344151"/>
                <a:gd name="connsiteY1" fmla="*/ 392597 h 392596"/>
                <a:gd name="connsiteX2" fmla="*/ 0 w 344151"/>
                <a:gd name="connsiteY2" fmla="*/ 365449 h 392596"/>
                <a:gd name="connsiteX3" fmla="*/ 0 w 344151"/>
                <a:gd name="connsiteY3" fmla="*/ 27148 h 392596"/>
                <a:gd name="connsiteX4" fmla="*/ 27357 w 344151"/>
                <a:gd name="connsiteY4" fmla="*/ 0 h 392596"/>
                <a:gd name="connsiteX5" fmla="*/ 316792 w 344151"/>
                <a:gd name="connsiteY5" fmla="*/ 0 h 392596"/>
                <a:gd name="connsiteX6" fmla="*/ 344149 w 344151"/>
                <a:gd name="connsiteY6" fmla="*/ 27148 h 392596"/>
                <a:gd name="connsiteX7" fmla="*/ 344149 w 344151"/>
                <a:gd name="connsiteY7" fmla="*/ 367538 h 392596"/>
                <a:gd name="connsiteX8" fmla="*/ 316792 w 344151"/>
                <a:gd name="connsiteY8" fmla="*/ 392597 h 392596"/>
                <a:gd name="connsiteX9" fmla="*/ 52833 w 344151"/>
                <a:gd name="connsiteY9" fmla="*/ 340390 h 392596"/>
                <a:gd name="connsiteX10" fmla="*/ 291524 w 344151"/>
                <a:gd name="connsiteY10" fmla="*/ 340390 h 392596"/>
                <a:gd name="connsiteX11" fmla="*/ 291524 w 344151"/>
                <a:gd name="connsiteY11" fmla="*/ 52207 h 392596"/>
                <a:gd name="connsiteX12" fmla="*/ 52833 w 344151"/>
                <a:gd name="connsiteY12" fmla="*/ 52207 h 392596"/>
                <a:gd name="connsiteX13" fmla="*/ 52833 w 344151"/>
                <a:gd name="connsiteY13" fmla="*/ 340390 h 392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44151" h="392596">
                  <a:moveTo>
                    <a:pt x="316792" y="392597"/>
                  </a:moveTo>
                  <a:lnTo>
                    <a:pt x="27357" y="392597"/>
                  </a:lnTo>
                  <a:cubicBezTo>
                    <a:pt x="12530" y="392597"/>
                    <a:pt x="0" y="380067"/>
                    <a:pt x="0" y="365449"/>
                  </a:cubicBezTo>
                  <a:lnTo>
                    <a:pt x="0" y="27148"/>
                  </a:lnTo>
                  <a:cubicBezTo>
                    <a:pt x="0" y="12530"/>
                    <a:pt x="12739" y="0"/>
                    <a:pt x="27357" y="0"/>
                  </a:cubicBezTo>
                  <a:lnTo>
                    <a:pt x="316792" y="0"/>
                  </a:lnTo>
                  <a:cubicBezTo>
                    <a:pt x="331619" y="0"/>
                    <a:pt x="344149" y="12530"/>
                    <a:pt x="344149" y="27148"/>
                  </a:cubicBezTo>
                  <a:lnTo>
                    <a:pt x="344149" y="367538"/>
                  </a:lnTo>
                  <a:cubicBezTo>
                    <a:pt x="344358" y="380067"/>
                    <a:pt x="331619" y="392597"/>
                    <a:pt x="316792" y="392597"/>
                  </a:cubicBezTo>
                  <a:close/>
                  <a:moveTo>
                    <a:pt x="52833" y="340390"/>
                  </a:moveTo>
                  <a:lnTo>
                    <a:pt x="291524" y="340390"/>
                  </a:lnTo>
                  <a:lnTo>
                    <a:pt x="291524" y="52207"/>
                  </a:lnTo>
                  <a:lnTo>
                    <a:pt x="52833" y="52207"/>
                  </a:lnTo>
                  <a:lnTo>
                    <a:pt x="52833" y="340390"/>
                  </a:lnTo>
                  <a:close/>
                </a:path>
              </a:pathLst>
            </a:custGeom>
            <a:grpFill/>
            <a:ln w="20856" cap="flat">
              <a:noFill/>
              <a:prstDash val="solid"/>
              <a:miter/>
            </a:ln>
          </p:spPr>
          <p:txBody>
            <a:bodyPr rtlCol="0" anchor="ctr"/>
            <a:lstStyle/>
            <a:p>
              <a:endParaRPr lang="fr-FR" sz="900"/>
            </a:p>
          </p:txBody>
        </p:sp>
        <p:sp>
          <p:nvSpPr>
            <p:cNvPr id="65" name="Forme libre : forme 64">
              <a:extLst>
                <a:ext uri="{FF2B5EF4-FFF2-40B4-BE49-F238E27FC236}">
                  <a16:creationId xmlns:a16="http://schemas.microsoft.com/office/drawing/2014/main" id="{CB862ABB-9456-615F-B7BF-F84596E11542}"/>
                </a:ext>
              </a:extLst>
            </p:cNvPr>
            <p:cNvSpPr/>
            <p:nvPr/>
          </p:nvSpPr>
          <p:spPr>
            <a:xfrm>
              <a:off x="11309061" y="6608585"/>
              <a:ext cx="346237" cy="444803"/>
            </a:xfrm>
            <a:custGeom>
              <a:avLst/>
              <a:gdLst>
                <a:gd name="connsiteX0" fmla="*/ 318881 w 346237"/>
                <a:gd name="connsiteY0" fmla="*/ 444804 h 444803"/>
                <a:gd name="connsiteX1" fmla="*/ 27356 w 346237"/>
                <a:gd name="connsiteY1" fmla="*/ 444804 h 444803"/>
                <a:gd name="connsiteX2" fmla="*/ 0 w 346237"/>
                <a:gd name="connsiteY2" fmla="*/ 417656 h 444803"/>
                <a:gd name="connsiteX3" fmla="*/ 0 w 346237"/>
                <a:gd name="connsiteY3" fmla="*/ 27148 h 444803"/>
                <a:gd name="connsiteX4" fmla="*/ 27356 w 346237"/>
                <a:gd name="connsiteY4" fmla="*/ 0 h 444803"/>
                <a:gd name="connsiteX5" fmla="*/ 318881 w 346237"/>
                <a:gd name="connsiteY5" fmla="*/ 0 h 444803"/>
                <a:gd name="connsiteX6" fmla="*/ 346237 w 346237"/>
                <a:gd name="connsiteY6" fmla="*/ 27148 h 444803"/>
                <a:gd name="connsiteX7" fmla="*/ 346237 w 346237"/>
                <a:gd name="connsiteY7" fmla="*/ 419745 h 444803"/>
                <a:gd name="connsiteX8" fmla="*/ 318881 w 346237"/>
                <a:gd name="connsiteY8" fmla="*/ 444804 h 444803"/>
                <a:gd name="connsiteX9" fmla="*/ 54922 w 346237"/>
                <a:gd name="connsiteY9" fmla="*/ 392597 h 444803"/>
                <a:gd name="connsiteX10" fmla="*/ 293612 w 346237"/>
                <a:gd name="connsiteY10" fmla="*/ 392597 h 444803"/>
                <a:gd name="connsiteX11" fmla="*/ 293612 w 346237"/>
                <a:gd name="connsiteY11" fmla="*/ 52207 h 444803"/>
                <a:gd name="connsiteX12" fmla="*/ 54922 w 346237"/>
                <a:gd name="connsiteY12" fmla="*/ 52207 h 444803"/>
                <a:gd name="connsiteX13" fmla="*/ 54922 w 346237"/>
                <a:gd name="connsiteY13" fmla="*/ 392597 h 444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46237" h="444803">
                  <a:moveTo>
                    <a:pt x="318881" y="444804"/>
                  </a:moveTo>
                  <a:lnTo>
                    <a:pt x="27356" y="444804"/>
                  </a:lnTo>
                  <a:cubicBezTo>
                    <a:pt x="12530" y="444804"/>
                    <a:pt x="0" y="432274"/>
                    <a:pt x="0" y="417656"/>
                  </a:cubicBezTo>
                  <a:lnTo>
                    <a:pt x="0" y="27148"/>
                  </a:lnTo>
                  <a:cubicBezTo>
                    <a:pt x="0" y="12530"/>
                    <a:pt x="12739" y="0"/>
                    <a:pt x="27356" y="0"/>
                  </a:cubicBezTo>
                  <a:lnTo>
                    <a:pt x="318881" y="0"/>
                  </a:lnTo>
                  <a:cubicBezTo>
                    <a:pt x="333707" y="0"/>
                    <a:pt x="346237" y="12530"/>
                    <a:pt x="346237" y="27148"/>
                  </a:cubicBezTo>
                  <a:lnTo>
                    <a:pt x="346237" y="419745"/>
                  </a:lnTo>
                  <a:cubicBezTo>
                    <a:pt x="344358" y="432274"/>
                    <a:pt x="331619" y="444804"/>
                    <a:pt x="318881" y="444804"/>
                  </a:cubicBezTo>
                  <a:close/>
                  <a:moveTo>
                    <a:pt x="54922" y="392597"/>
                  </a:moveTo>
                  <a:lnTo>
                    <a:pt x="293612" y="392597"/>
                  </a:lnTo>
                  <a:lnTo>
                    <a:pt x="293612" y="52207"/>
                  </a:lnTo>
                  <a:lnTo>
                    <a:pt x="54922" y="52207"/>
                  </a:lnTo>
                  <a:lnTo>
                    <a:pt x="54922" y="392597"/>
                  </a:lnTo>
                  <a:close/>
                </a:path>
              </a:pathLst>
            </a:custGeom>
            <a:grpFill/>
            <a:ln w="20856" cap="flat">
              <a:noFill/>
              <a:prstDash val="solid"/>
              <a:miter/>
            </a:ln>
          </p:spPr>
          <p:txBody>
            <a:bodyPr rtlCol="0" anchor="ctr"/>
            <a:lstStyle/>
            <a:p>
              <a:endParaRPr lang="fr-FR" sz="900"/>
            </a:p>
          </p:txBody>
        </p:sp>
        <p:sp>
          <p:nvSpPr>
            <p:cNvPr id="66" name="Forme libre : forme 65">
              <a:extLst>
                <a:ext uri="{FF2B5EF4-FFF2-40B4-BE49-F238E27FC236}">
                  <a16:creationId xmlns:a16="http://schemas.microsoft.com/office/drawing/2014/main" id="{649FD8EE-DD6E-E5CF-BE6D-33BB1249559C}"/>
                </a:ext>
              </a:extLst>
            </p:cNvPr>
            <p:cNvSpPr/>
            <p:nvPr/>
          </p:nvSpPr>
          <p:spPr>
            <a:xfrm>
              <a:off x="11256228" y="6529231"/>
              <a:ext cx="399070" cy="131561"/>
            </a:xfrm>
            <a:custGeom>
              <a:avLst/>
              <a:gdLst>
                <a:gd name="connsiteX0" fmla="*/ 371714 w 399070"/>
                <a:gd name="connsiteY0" fmla="*/ 131562 h 131561"/>
                <a:gd name="connsiteX1" fmla="*/ 27565 w 399070"/>
                <a:gd name="connsiteY1" fmla="*/ 131562 h 131561"/>
                <a:gd name="connsiteX2" fmla="*/ 0 w 399070"/>
                <a:gd name="connsiteY2" fmla="*/ 104414 h 131561"/>
                <a:gd name="connsiteX3" fmla="*/ 0 w 399070"/>
                <a:gd name="connsiteY3" fmla="*/ 27148 h 131561"/>
                <a:gd name="connsiteX4" fmla="*/ 27565 w 399070"/>
                <a:gd name="connsiteY4" fmla="*/ 0 h 131561"/>
                <a:gd name="connsiteX5" fmla="*/ 371714 w 399070"/>
                <a:gd name="connsiteY5" fmla="*/ 0 h 131561"/>
                <a:gd name="connsiteX6" fmla="*/ 399071 w 399070"/>
                <a:gd name="connsiteY6" fmla="*/ 27148 h 131561"/>
                <a:gd name="connsiteX7" fmla="*/ 399071 w 399070"/>
                <a:gd name="connsiteY7" fmla="*/ 106502 h 131561"/>
                <a:gd name="connsiteX8" fmla="*/ 371714 w 399070"/>
                <a:gd name="connsiteY8" fmla="*/ 131562 h 131561"/>
                <a:gd name="connsiteX9" fmla="*/ 54922 w 399070"/>
                <a:gd name="connsiteY9" fmla="*/ 79355 h 131561"/>
                <a:gd name="connsiteX10" fmla="*/ 346446 w 399070"/>
                <a:gd name="connsiteY10" fmla="*/ 79355 h 131561"/>
                <a:gd name="connsiteX11" fmla="*/ 346446 w 399070"/>
                <a:gd name="connsiteY11" fmla="*/ 52207 h 131561"/>
                <a:gd name="connsiteX12" fmla="*/ 54922 w 399070"/>
                <a:gd name="connsiteY12" fmla="*/ 52207 h 131561"/>
                <a:gd name="connsiteX13" fmla="*/ 54922 w 399070"/>
                <a:gd name="connsiteY13" fmla="*/ 79355 h 131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99070" h="131561">
                  <a:moveTo>
                    <a:pt x="371714" y="131562"/>
                  </a:moveTo>
                  <a:lnTo>
                    <a:pt x="27565" y="131562"/>
                  </a:lnTo>
                  <a:cubicBezTo>
                    <a:pt x="12739" y="131562"/>
                    <a:pt x="0" y="119032"/>
                    <a:pt x="0" y="104414"/>
                  </a:cubicBezTo>
                  <a:lnTo>
                    <a:pt x="0" y="27148"/>
                  </a:lnTo>
                  <a:cubicBezTo>
                    <a:pt x="0" y="12530"/>
                    <a:pt x="12739" y="0"/>
                    <a:pt x="27565" y="0"/>
                  </a:cubicBezTo>
                  <a:lnTo>
                    <a:pt x="371714" y="0"/>
                  </a:lnTo>
                  <a:cubicBezTo>
                    <a:pt x="386541" y="0"/>
                    <a:pt x="399071" y="12530"/>
                    <a:pt x="399071" y="27148"/>
                  </a:cubicBezTo>
                  <a:lnTo>
                    <a:pt x="399071" y="106502"/>
                  </a:lnTo>
                  <a:cubicBezTo>
                    <a:pt x="397191" y="119032"/>
                    <a:pt x="384453" y="131562"/>
                    <a:pt x="371714" y="131562"/>
                  </a:cubicBezTo>
                  <a:close/>
                  <a:moveTo>
                    <a:pt x="54922" y="79355"/>
                  </a:moveTo>
                  <a:lnTo>
                    <a:pt x="346446" y="79355"/>
                  </a:lnTo>
                  <a:lnTo>
                    <a:pt x="346446" y="52207"/>
                  </a:lnTo>
                  <a:lnTo>
                    <a:pt x="54922" y="52207"/>
                  </a:lnTo>
                  <a:lnTo>
                    <a:pt x="54922" y="79355"/>
                  </a:lnTo>
                  <a:close/>
                </a:path>
              </a:pathLst>
            </a:custGeom>
            <a:grpFill/>
            <a:ln w="20856" cap="flat">
              <a:noFill/>
              <a:prstDash val="solid"/>
              <a:miter/>
            </a:ln>
          </p:spPr>
          <p:txBody>
            <a:bodyPr rtlCol="0" anchor="ctr"/>
            <a:lstStyle/>
            <a:p>
              <a:endParaRPr lang="fr-FR" sz="900"/>
            </a:p>
          </p:txBody>
        </p:sp>
        <p:sp>
          <p:nvSpPr>
            <p:cNvPr id="67" name="Forme libre : forme 66">
              <a:extLst>
                <a:ext uri="{FF2B5EF4-FFF2-40B4-BE49-F238E27FC236}">
                  <a16:creationId xmlns:a16="http://schemas.microsoft.com/office/drawing/2014/main" id="{F6CBC2D2-3740-031F-EC4A-A10C78ED9B5E}"/>
                </a:ext>
              </a:extLst>
            </p:cNvPr>
            <p:cNvSpPr/>
            <p:nvPr/>
          </p:nvSpPr>
          <p:spPr>
            <a:xfrm>
              <a:off x="12075878" y="6579349"/>
              <a:ext cx="399279" cy="133650"/>
            </a:xfrm>
            <a:custGeom>
              <a:avLst/>
              <a:gdLst>
                <a:gd name="connsiteX0" fmla="*/ 369626 w 399279"/>
                <a:gd name="connsiteY0" fmla="*/ 133650 h 133650"/>
                <a:gd name="connsiteX1" fmla="*/ 27357 w 399279"/>
                <a:gd name="connsiteY1" fmla="*/ 133650 h 133650"/>
                <a:gd name="connsiteX2" fmla="*/ 0 w 399279"/>
                <a:gd name="connsiteY2" fmla="*/ 106502 h 133650"/>
                <a:gd name="connsiteX3" fmla="*/ 0 w 399279"/>
                <a:gd name="connsiteY3" fmla="*/ 27148 h 133650"/>
                <a:gd name="connsiteX4" fmla="*/ 27357 w 399279"/>
                <a:gd name="connsiteY4" fmla="*/ 0 h 133650"/>
                <a:gd name="connsiteX5" fmla="*/ 371714 w 399279"/>
                <a:gd name="connsiteY5" fmla="*/ 0 h 133650"/>
                <a:gd name="connsiteX6" fmla="*/ 399279 w 399279"/>
                <a:gd name="connsiteY6" fmla="*/ 27148 h 133650"/>
                <a:gd name="connsiteX7" fmla="*/ 399279 w 399279"/>
                <a:gd name="connsiteY7" fmla="*/ 106502 h 133650"/>
                <a:gd name="connsiteX8" fmla="*/ 369626 w 399279"/>
                <a:gd name="connsiteY8" fmla="*/ 133650 h 133650"/>
                <a:gd name="connsiteX9" fmla="*/ 52833 w 399279"/>
                <a:gd name="connsiteY9" fmla="*/ 81443 h 133650"/>
                <a:gd name="connsiteX10" fmla="*/ 344358 w 399279"/>
                <a:gd name="connsiteY10" fmla="*/ 81443 h 133650"/>
                <a:gd name="connsiteX11" fmla="*/ 344358 w 399279"/>
                <a:gd name="connsiteY11" fmla="*/ 54295 h 133650"/>
                <a:gd name="connsiteX12" fmla="*/ 52833 w 399279"/>
                <a:gd name="connsiteY12" fmla="*/ 54295 h 133650"/>
                <a:gd name="connsiteX13" fmla="*/ 52833 w 399279"/>
                <a:gd name="connsiteY13" fmla="*/ 81443 h 133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99279" h="133650">
                  <a:moveTo>
                    <a:pt x="369626" y="133650"/>
                  </a:moveTo>
                  <a:lnTo>
                    <a:pt x="27357" y="133650"/>
                  </a:lnTo>
                  <a:cubicBezTo>
                    <a:pt x="12530" y="133650"/>
                    <a:pt x="0" y="121120"/>
                    <a:pt x="0" y="106502"/>
                  </a:cubicBezTo>
                  <a:lnTo>
                    <a:pt x="0" y="27148"/>
                  </a:lnTo>
                  <a:cubicBezTo>
                    <a:pt x="0" y="12530"/>
                    <a:pt x="12739" y="0"/>
                    <a:pt x="27357" y="0"/>
                  </a:cubicBezTo>
                  <a:lnTo>
                    <a:pt x="371714" y="0"/>
                  </a:lnTo>
                  <a:cubicBezTo>
                    <a:pt x="386541" y="0"/>
                    <a:pt x="399279" y="12530"/>
                    <a:pt x="399279" y="27148"/>
                  </a:cubicBezTo>
                  <a:lnTo>
                    <a:pt x="399279" y="106502"/>
                  </a:lnTo>
                  <a:cubicBezTo>
                    <a:pt x="397191" y="121120"/>
                    <a:pt x="384453" y="133650"/>
                    <a:pt x="369626" y="133650"/>
                  </a:cubicBezTo>
                  <a:close/>
                  <a:moveTo>
                    <a:pt x="52833" y="81443"/>
                  </a:moveTo>
                  <a:lnTo>
                    <a:pt x="344358" y="81443"/>
                  </a:lnTo>
                  <a:lnTo>
                    <a:pt x="344358" y="54295"/>
                  </a:lnTo>
                  <a:lnTo>
                    <a:pt x="52833" y="54295"/>
                  </a:lnTo>
                  <a:lnTo>
                    <a:pt x="52833" y="81443"/>
                  </a:lnTo>
                  <a:close/>
                </a:path>
              </a:pathLst>
            </a:custGeom>
            <a:grpFill/>
            <a:ln w="20856" cap="flat">
              <a:noFill/>
              <a:prstDash val="solid"/>
              <a:miter/>
            </a:ln>
          </p:spPr>
          <p:txBody>
            <a:bodyPr rtlCol="0" anchor="ctr"/>
            <a:lstStyle/>
            <a:p>
              <a:endParaRPr lang="fr-FR" sz="900"/>
            </a:p>
          </p:txBody>
        </p:sp>
        <p:sp>
          <p:nvSpPr>
            <p:cNvPr id="68" name="Forme libre : forme 67">
              <a:extLst>
                <a:ext uri="{FF2B5EF4-FFF2-40B4-BE49-F238E27FC236}">
                  <a16:creationId xmlns:a16="http://schemas.microsoft.com/office/drawing/2014/main" id="{7AE0AD43-58A7-630C-4AE0-836C1817F705}"/>
                </a:ext>
              </a:extLst>
            </p:cNvPr>
            <p:cNvSpPr/>
            <p:nvPr/>
          </p:nvSpPr>
          <p:spPr>
            <a:xfrm>
              <a:off x="12259647" y="6451142"/>
              <a:ext cx="158725" cy="184591"/>
            </a:xfrm>
            <a:custGeom>
              <a:avLst/>
              <a:gdLst>
                <a:gd name="connsiteX0" fmla="*/ 133023 w 158725"/>
                <a:gd name="connsiteY0" fmla="*/ 184591 h 184591"/>
                <a:gd name="connsiteX1" fmla="*/ 27357 w 158725"/>
                <a:gd name="connsiteY1" fmla="*/ 184591 h 184591"/>
                <a:gd name="connsiteX2" fmla="*/ 0 w 158725"/>
                <a:gd name="connsiteY2" fmla="*/ 157444 h 184591"/>
                <a:gd name="connsiteX3" fmla="*/ 0 w 158725"/>
                <a:gd name="connsiteY3" fmla="*/ 78089 h 184591"/>
                <a:gd name="connsiteX4" fmla="*/ 14827 w 158725"/>
                <a:gd name="connsiteY4" fmla="*/ 55118 h 184591"/>
                <a:gd name="connsiteX5" fmla="*/ 120494 w 158725"/>
                <a:gd name="connsiteY5" fmla="*/ 2911 h 184591"/>
                <a:gd name="connsiteX6" fmla="*/ 145762 w 158725"/>
                <a:gd name="connsiteY6" fmla="*/ 4999 h 184591"/>
                <a:gd name="connsiteX7" fmla="*/ 158501 w 158725"/>
                <a:gd name="connsiteY7" fmla="*/ 27970 h 184591"/>
                <a:gd name="connsiteX8" fmla="*/ 158501 w 158725"/>
                <a:gd name="connsiteY8" fmla="*/ 159532 h 184591"/>
                <a:gd name="connsiteX9" fmla="*/ 133023 w 158725"/>
                <a:gd name="connsiteY9" fmla="*/ 184591 h 184591"/>
                <a:gd name="connsiteX10" fmla="*/ 54922 w 158725"/>
                <a:gd name="connsiteY10" fmla="*/ 132384 h 184591"/>
                <a:gd name="connsiteX11" fmla="*/ 107755 w 158725"/>
                <a:gd name="connsiteY11" fmla="*/ 132384 h 184591"/>
                <a:gd name="connsiteX12" fmla="*/ 107755 w 158725"/>
                <a:gd name="connsiteY12" fmla="*/ 69736 h 184591"/>
                <a:gd name="connsiteX13" fmla="*/ 54922 w 158725"/>
                <a:gd name="connsiteY13" fmla="*/ 96883 h 184591"/>
                <a:gd name="connsiteX14" fmla="*/ 54922 w 158725"/>
                <a:gd name="connsiteY14" fmla="*/ 132384 h 184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8725" h="184591">
                  <a:moveTo>
                    <a:pt x="133023" y="184591"/>
                  </a:moveTo>
                  <a:lnTo>
                    <a:pt x="27357" y="184591"/>
                  </a:lnTo>
                  <a:cubicBezTo>
                    <a:pt x="12530" y="184591"/>
                    <a:pt x="0" y="172062"/>
                    <a:pt x="0" y="157444"/>
                  </a:cubicBezTo>
                  <a:lnTo>
                    <a:pt x="0" y="78089"/>
                  </a:lnTo>
                  <a:cubicBezTo>
                    <a:pt x="0" y="67648"/>
                    <a:pt x="6265" y="59294"/>
                    <a:pt x="14827" y="55118"/>
                  </a:cubicBezTo>
                  <a:lnTo>
                    <a:pt x="120494" y="2911"/>
                  </a:lnTo>
                  <a:cubicBezTo>
                    <a:pt x="128847" y="-1266"/>
                    <a:pt x="137409" y="-1266"/>
                    <a:pt x="145762" y="4999"/>
                  </a:cubicBezTo>
                  <a:cubicBezTo>
                    <a:pt x="154115" y="11264"/>
                    <a:pt x="158501" y="17529"/>
                    <a:pt x="158501" y="27970"/>
                  </a:cubicBezTo>
                  <a:lnTo>
                    <a:pt x="158501" y="159532"/>
                  </a:lnTo>
                  <a:cubicBezTo>
                    <a:pt x="160589" y="172062"/>
                    <a:pt x="147850" y="184591"/>
                    <a:pt x="133023" y="184591"/>
                  </a:cubicBezTo>
                  <a:close/>
                  <a:moveTo>
                    <a:pt x="54922" y="132384"/>
                  </a:moveTo>
                  <a:lnTo>
                    <a:pt x="107755" y="132384"/>
                  </a:lnTo>
                  <a:lnTo>
                    <a:pt x="107755" y="69736"/>
                  </a:lnTo>
                  <a:lnTo>
                    <a:pt x="54922" y="96883"/>
                  </a:lnTo>
                  <a:lnTo>
                    <a:pt x="54922" y="132384"/>
                  </a:lnTo>
                  <a:close/>
                </a:path>
              </a:pathLst>
            </a:custGeom>
            <a:grpFill/>
            <a:ln w="20856" cap="flat">
              <a:noFill/>
              <a:prstDash val="solid"/>
              <a:miter/>
            </a:ln>
          </p:spPr>
          <p:txBody>
            <a:bodyPr rtlCol="0" anchor="ctr"/>
            <a:lstStyle/>
            <a:p>
              <a:endParaRPr lang="fr-FR" sz="900"/>
            </a:p>
          </p:txBody>
        </p:sp>
        <p:sp>
          <p:nvSpPr>
            <p:cNvPr id="69" name="Forme libre : forme 68">
              <a:extLst>
                <a:ext uri="{FF2B5EF4-FFF2-40B4-BE49-F238E27FC236}">
                  <a16:creationId xmlns:a16="http://schemas.microsoft.com/office/drawing/2014/main" id="{69CE7908-CFC9-224E-1F16-C69A66A99EB4}"/>
                </a:ext>
              </a:extLst>
            </p:cNvPr>
            <p:cNvSpPr/>
            <p:nvPr/>
          </p:nvSpPr>
          <p:spPr>
            <a:xfrm>
              <a:off x="11389251" y="6398385"/>
              <a:ext cx="158500" cy="185140"/>
            </a:xfrm>
            <a:custGeom>
              <a:avLst/>
              <a:gdLst>
                <a:gd name="connsiteX0" fmla="*/ 133232 w 158500"/>
                <a:gd name="connsiteY0" fmla="*/ 185140 h 185140"/>
                <a:gd name="connsiteX1" fmla="*/ 27565 w 158500"/>
                <a:gd name="connsiteY1" fmla="*/ 185140 h 185140"/>
                <a:gd name="connsiteX2" fmla="*/ 0 w 158500"/>
                <a:gd name="connsiteY2" fmla="*/ 157993 h 185140"/>
                <a:gd name="connsiteX3" fmla="*/ 0 w 158500"/>
                <a:gd name="connsiteY3" fmla="*/ 26431 h 185140"/>
                <a:gd name="connsiteX4" fmla="*/ 12739 w 158500"/>
                <a:gd name="connsiteY4" fmla="*/ 3460 h 185140"/>
                <a:gd name="connsiteX5" fmla="*/ 38007 w 158500"/>
                <a:gd name="connsiteY5" fmla="*/ 1372 h 185140"/>
                <a:gd name="connsiteX6" fmla="*/ 143674 w 158500"/>
                <a:gd name="connsiteY6" fmla="*/ 53579 h 185140"/>
                <a:gd name="connsiteX7" fmla="*/ 158501 w 158500"/>
                <a:gd name="connsiteY7" fmla="*/ 76550 h 185140"/>
                <a:gd name="connsiteX8" fmla="*/ 158501 w 158500"/>
                <a:gd name="connsiteY8" fmla="*/ 157993 h 185140"/>
                <a:gd name="connsiteX9" fmla="*/ 133232 w 158500"/>
                <a:gd name="connsiteY9" fmla="*/ 185140 h 185140"/>
                <a:gd name="connsiteX10" fmla="*/ 52834 w 158500"/>
                <a:gd name="connsiteY10" fmla="*/ 132933 h 185140"/>
                <a:gd name="connsiteX11" fmla="*/ 105667 w 158500"/>
                <a:gd name="connsiteY11" fmla="*/ 132933 h 185140"/>
                <a:gd name="connsiteX12" fmla="*/ 105667 w 158500"/>
                <a:gd name="connsiteY12" fmla="*/ 95344 h 185140"/>
                <a:gd name="connsiteX13" fmla="*/ 52834 w 158500"/>
                <a:gd name="connsiteY13" fmla="*/ 70285 h 185140"/>
                <a:gd name="connsiteX14" fmla="*/ 52834 w 158500"/>
                <a:gd name="connsiteY14" fmla="*/ 132933 h 185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8500" h="185140">
                  <a:moveTo>
                    <a:pt x="133232" y="185140"/>
                  </a:moveTo>
                  <a:lnTo>
                    <a:pt x="27565" y="185140"/>
                  </a:lnTo>
                  <a:cubicBezTo>
                    <a:pt x="12739" y="185140"/>
                    <a:pt x="0" y="172611"/>
                    <a:pt x="0" y="157993"/>
                  </a:cubicBezTo>
                  <a:lnTo>
                    <a:pt x="0" y="26431"/>
                  </a:lnTo>
                  <a:cubicBezTo>
                    <a:pt x="0" y="18078"/>
                    <a:pt x="4177" y="9725"/>
                    <a:pt x="12739" y="3460"/>
                  </a:cubicBezTo>
                  <a:cubicBezTo>
                    <a:pt x="21092" y="-717"/>
                    <a:pt x="29654" y="-717"/>
                    <a:pt x="38007" y="1372"/>
                  </a:cubicBezTo>
                  <a:lnTo>
                    <a:pt x="143674" y="53579"/>
                  </a:lnTo>
                  <a:cubicBezTo>
                    <a:pt x="152027" y="57755"/>
                    <a:pt x="158501" y="66108"/>
                    <a:pt x="158501" y="76550"/>
                  </a:cubicBezTo>
                  <a:lnTo>
                    <a:pt x="158501" y="157993"/>
                  </a:lnTo>
                  <a:cubicBezTo>
                    <a:pt x="158501" y="172611"/>
                    <a:pt x="145762" y="185140"/>
                    <a:pt x="133232" y="185140"/>
                  </a:cubicBezTo>
                  <a:close/>
                  <a:moveTo>
                    <a:pt x="52834" y="132933"/>
                  </a:moveTo>
                  <a:lnTo>
                    <a:pt x="105667" y="132933"/>
                  </a:lnTo>
                  <a:lnTo>
                    <a:pt x="105667" y="95344"/>
                  </a:lnTo>
                  <a:lnTo>
                    <a:pt x="52834" y="70285"/>
                  </a:lnTo>
                  <a:lnTo>
                    <a:pt x="52834" y="132933"/>
                  </a:lnTo>
                  <a:close/>
                </a:path>
              </a:pathLst>
            </a:custGeom>
            <a:grpFill/>
            <a:ln w="20856" cap="flat">
              <a:noFill/>
              <a:prstDash val="solid"/>
              <a:miter/>
            </a:ln>
          </p:spPr>
          <p:txBody>
            <a:bodyPr rtlCol="0" anchor="ctr"/>
            <a:lstStyle/>
            <a:p>
              <a:endParaRPr lang="fr-FR" sz="900"/>
            </a:p>
          </p:txBody>
        </p:sp>
        <p:sp>
          <p:nvSpPr>
            <p:cNvPr id="71" name="Forme libre : forme 70">
              <a:extLst>
                <a:ext uri="{FF2B5EF4-FFF2-40B4-BE49-F238E27FC236}">
                  <a16:creationId xmlns:a16="http://schemas.microsoft.com/office/drawing/2014/main" id="{4414DC6B-602E-A8C7-F1DB-B86F9DB397F7}"/>
                </a:ext>
              </a:extLst>
            </p:cNvPr>
            <p:cNvSpPr/>
            <p:nvPr/>
          </p:nvSpPr>
          <p:spPr>
            <a:xfrm>
              <a:off x="11733609" y="6531319"/>
              <a:ext cx="52833" cy="52207"/>
            </a:xfrm>
            <a:custGeom>
              <a:avLst/>
              <a:gdLst>
                <a:gd name="connsiteX0" fmla="*/ 0 w 52833"/>
                <a:gd name="connsiteY0" fmla="*/ 0 h 52207"/>
                <a:gd name="connsiteX1" fmla="*/ 52834 w 52833"/>
                <a:gd name="connsiteY1" fmla="*/ 0 h 52207"/>
                <a:gd name="connsiteX2" fmla="*/ 52834 w 52833"/>
                <a:gd name="connsiteY2" fmla="*/ 52207 h 52207"/>
                <a:gd name="connsiteX3" fmla="*/ 0 w 52833"/>
                <a:gd name="connsiteY3" fmla="*/ 52207 h 52207"/>
              </a:gdLst>
              <a:ahLst/>
              <a:cxnLst>
                <a:cxn ang="0">
                  <a:pos x="connsiteX0" y="connsiteY0"/>
                </a:cxn>
                <a:cxn ang="0">
                  <a:pos x="connsiteX1" y="connsiteY1"/>
                </a:cxn>
                <a:cxn ang="0">
                  <a:pos x="connsiteX2" y="connsiteY2"/>
                </a:cxn>
                <a:cxn ang="0">
                  <a:pos x="connsiteX3" y="connsiteY3"/>
                </a:cxn>
              </a:cxnLst>
              <a:rect l="l" t="t" r="r" b="b"/>
              <a:pathLst>
                <a:path w="52833" h="52207">
                  <a:moveTo>
                    <a:pt x="0" y="0"/>
                  </a:moveTo>
                  <a:lnTo>
                    <a:pt x="52834" y="0"/>
                  </a:lnTo>
                  <a:lnTo>
                    <a:pt x="52834" y="52207"/>
                  </a:lnTo>
                  <a:lnTo>
                    <a:pt x="0" y="52207"/>
                  </a:lnTo>
                  <a:close/>
                </a:path>
              </a:pathLst>
            </a:custGeom>
            <a:grpFill/>
            <a:ln w="20856" cap="flat">
              <a:noFill/>
              <a:prstDash val="solid"/>
              <a:miter/>
            </a:ln>
          </p:spPr>
          <p:txBody>
            <a:bodyPr rtlCol="0" anchor="ctr"/>
            <a:lstStyle/>
            <a:p>
              <a:endParaRPr lang="fr-FR" sz="900"/>
            </a:p>
          </p:txBody>
        </p:sp>
        <p:sp>
          <p:nvSpPr>
            <p:cNvPr id="72" name="Forme libre : forme 71">
              <a:extLst>
                <a:ext uri="{FF2B5EF4-FFF2-40B4-BE49-F238E27FC236}">
                  <a16:creationId xmlns:a16="http://schemas.microsoft.com/office/drawing/2014/main" id="{21F1A06F-A9C3-85E2-E328-5D59F78AF49E}"/>
                </a:ext>
              </a:extLst>
            </p:cNvPr>
            <p:cNvSpPr/>
            <p:nvPr/>
          </p:nvSpPr>
          <p:spPr>
            <a:xfrm>
              <a:off x="11839276" y="6531319"/>
              <a:ext cx="52833" cy="52207"/>
            </a:xfrm>
            <a:custGeom>
              <a:avLst/>
              <a:gdLst>
                <a:gd name="connsiteX0" fmla="*/ 0 w 52833"/>
                <a:gd name="connsiteY0" fmla="*/ 0 h 52207"/>
                <a:gd name="connsiteX1" fmla="*/ 52834 w 52833"/>
                <a:gd name="connsiteY1" fmla="*/ 0 h 52207"/>
                <a:gd name="connsiteX2" fmla="*/ 52834 w 52833"/>
                <a:gd name="connsiteY2" fmla="*/ 52207 h 52207"/>
                <a:gd name="connsiteX3" fmla="*/ 0 w 52833"/>
                <a:gd name="connsiteY3" fmla="*/ 52207 h 52207"/>
              </a:gdLst>
              <a:ahLst/>
              <a:cxnLst>
                <a:cxn ang="0">
                  <a:pos x="connsiteX0" y="connsiteY0"/>
                </a:cxn>
                <a:cxn ang="0">
                  <a:pos x="connsiteX1" y="connsiteY1"/>
                </a:cxn>
                <a:cxn ang="0">
                  <a:pos x="connsiteX2" y="connsiteY2"/>
                </a:cxn>
                <a:cxn ang="0">
                  <a:pos x="connsiteX3" y="connsiteY3"/>
                </a:cxn>
              </a:cxnLst>
              <a:rect l="l" t="t" r="r" b="b"/>
              <a:pathLst>
                <a:path w="52833" h="52207">
                  <a:moveTo>
                    <a:pt x="0" y="0"/>
                  </a:moveTo>
                  <a:lnTo>
                    <a:pt x="52834" y="0"/>
                  </a:lnTo>
                  <a:lnTo>
                    <a:pt x="52834" y="52207"/>
                  </a:lnTo>
                  <a:lnTo>
                    <a:pt x="0" y="52207"/>
                  </a:lnTo>
                  <a:close/>
                </a:path>
              </a:pathLst>
            </a:custGeom>
            <a:grpFill/>
            <a:ln w="20856" cap="flat">
              <a:noFill/>
              <a:prstDash val="solid"/>
              <a:miter/>
            </a:ln>
          </p:spPr>
          <p:txBody>
            <a:bodyPr rtlCol="0" anchor="ctr"/>
            <a:lstStyle/>
            <a:p>
              <a:endParaRPr lang="fr-FR" sz="900"/>
            </a:p>
          </p:txBody>
        </p:sp>
        <p:sp>
          <p:nvSpPr>
            <p:cNvPr id="73" name="Forme libre : forme 72">
              <a:extLst>
                <a:ext uri="{FF2B5EF4-FFF2-40B4-BE49-F238E27FC236}">
                  <a16:creationId xmlns:a16="http://schemas.microsoft.com/office/drawing/2014/main" id="{3B9035C8-F0E8-5956-FEA2-1E4E4EBC7330}"/>
                </a:ext>
              </a:extLst>
            </p:cNvPr>
            <p:cNvSpPr/>
            <p:nvPr/>
          </p:nvSpPr>
          <p:spPr>
            <a:xfrm>
              <a:off x="11944943" y="6531319"/>
              <a:ext cx="52833" cy="52207"/>
            </a:xfrm>
            <a:custGeom>
              <a:avLst/>
              <a:gdLst>
                <a:gd name="connsiteX0" fmla="*/ 0 w 52833"/>
                <a:gd name="connsiteY0" fmla="*/ 0 h 52207"/>
                <a:gd name="connsiteX1" fmla="*/ 52833 w 52833"/>
                <a:gd name="connsiteY1" fmla="*/ 0 h 52207"/>
                <a:gd name="connsiteX2" fmla="*/ 52833 w 52833"/>
                <a:gd name="connsiteY2" fmla="*/ 52207 h 52207"/>
                <a:gd name="connsiteX3" fmla="*/ 0 w 52833"/>
                <a:gd name="connsiteY3" fmla="*/ 52207 h 52207"/>
              </a:gdLst>
              <a:ahLst/>
              <a:cxnLst>
                <a:cxn ang="0">
                  <a:pos x="connsiteX0" y="connsiteY0"/>
                </a:cxn>
                <a:cxn ang="0">
                  <a:pos x="connsiteX1" y="connsiteY1"/>
                </a:cxn>
                <a:cxn ang="0">
                  <a:pos x="connsiteX2" y="connsiteY2"/>
                </a:cxn>
                <a:cxn ang="0">
                  <a:pos x="connsiteX3" y="connsiteY3"/>
                </a:cxn>
              </a:cxnLst>
              <a:rect l="l" t="t" r="r" b="b"/>
              <a:pathLst>
                <a:path w="52833" h="52207">
                  <a:moveTo>
                    <a:pt x="0" y="0"/>
                  </a:moveTo>
                  <a:lnTo>
                    <a:pt x="52833" y="0"/>
                  </a:lnTo>
                  <a:lnTo>
                    <a:pt x="52833" y="52207"/>
                  </a:lnTo>
                  <a:lnTo>
                    <a:pt x="0" y="52207"/>
                  </a:lnTo>
                  <a:close/>
                </a:path>
              </a:pathLst>
            </a:custGeom>
            <a:grpFill/>
            <a:ln w="20856" cap="flat">
              <a:noFill/>
              <a:prstDash val="solid"/>
              <a:miter/>
            </a:ln>
          </p:spPr>
          <p:txBody>
            <a:bodyPr rtlCol="0" anchor="ctr"/>
            <a:lstStyle/>
            <a:p>
              <a:endParaRPr lang="fr-FR" sz="900"/>
            </a:p>
          </p:txBody>
        </p:sp>
        <p:sp>
          <p:nvSpPr>
            <p:cNvPr id="77" name="Forme libre : forme 76">
              <a:extLst>
                <a:ext uri="{FF2B5EF4-FFF2-40B4-BE49-F238E27FC236}">
                  <a16:creationId xmlns:a16="http://schemas.microsoft.com/office/drawing/2014/main" id="{59393271-10A4-1B44-AC5C-AD0373048126}"/>
                </a:ext>
              </a:extLst>
            </p:cNvPr>
            <p:cNvSpPr/>
            <p:nvPr/>
          </p:nvSpPr>
          <p:spPr>
            <a:xfrm>
              <a:off x="11733609" y="6635733"/>
              <a:ext cx="52833" cy="52207"/>
            </a:xfrm>
            <a:custGeom>
              <a:avLst/>
              <a:gdLst>
                <a:gd name="connsiteX0" fmla="*/ 0 w 52833"/>
                <a:gd name="connsiteY0" fmla="*/ 0 h 52207"/>
                <a:gd name="connsiteX1" fmla="*/ 52834 w 52833"/>
                <a:gd name="connsiteY1" fmla="*/ 0 h 52207"/>
                <a:gd name="connsiteX2" fmla="*/ 52834 w 52833"/>
                <a:gd name="connsiteY2" fmla="*/ 52207 h 52207"/>
                <a:gd name="connsiteX3" fmla="*/ 0 w 52833"/>
                <a:gd name="connsiteY3" fmla="*/ 52207 h 52207"/>
              </a:gdLst>
              <a:ahLst/>
              <a:cxnLst>
                <a:cxn ang="0">
                  <a:pos x="connsiteX0" y="connsiteY0"/>
                </a:cxn>
                <a:cxn ang="0">
                  <a:pos x="connsiteX1" y="connsiteY1"/>
                </a:cxn>
                <a:cxn ang="0">
                  <a:pos x="connsiteX2" y="connsiteY2"/>
                </a:cxn>
                <a:cxn ang="0">
                  <a:pos x="connsiteX3" y="connsiteY3"/>
                </a:cxn>
              </a:cxnLst>
              <a:rect l="l" t="t" r="r" b="b"/>
              <a:pathLst>
                <a:path w="52833" h="52207">
                  <a:moveTo>
                    <a:pt x="0" y="0"/>
                  </a:moveTo>
                  <a:lnTo>
                    <a:pt x="52834" y="0"/>
                  </a:lnTo>
                  <a:lnTo>
                    <a:pt x="52834" y="52207"/>
                  </a:lnTo>
                  <a:lnTo>
                    <a:pt x="0" y="52207"/>
                  </a:lnTo>
                  <a:close/>
                </a:path>
              </a:pathLst>
            </a:custGeom>
            <a:grpFill/>
            <a:ln w="20856" cap="flat">
              <a:noFill/>
              <a:prstDash val="solid"/>
              <a:miter/>
            </a:ln>
          </p:spPr>
          <p:txBody>
            <a:bodyPr rtlCol="0" anchor="ctr"/>
            <a:lstStyle/>
            <a:p>
              <a:endParaRPr lang="fr-FR" sz="900"/>
            </a:p>
          </p:txBody>
        </p:sp>
        <p:sp>
          <p:nvSpPr>
            <p:cNvPr id="88" name="Forme libre : forme 87">
              <a:extLst>
                <a:ext uri="{FF2B5EF4-FFF2-40B4-BE49-F238E27FC236}">
                  <a16:creationId xmlns:a16="http://schemas.microsoft.com/office/drawing/2014/main" id="{997D5626-9CBB-C0F8-21DB-3AC0AD9D3F89}"/>
                </a:ext>
              </a:extLst>
            </p:cNvPr>
            <p:cNvSpPr/>
            <p:nvPr/>
          </p:nvSpPr>
          <p:spPr>
            <a:xfrm>
              <a:off x="11839276" y="6635733"/>
              <a:ext cx="52833" cy="52207"/>
            </a:xfrm>
            <a:custGeom>
              <a:avLst/>
              <a:gdLst>
                <a:gd name="connsiteX0" fmla="*/ 0 w 52833"/>
                <a:gd name="connsiteY0" fmla="*/ 0 h 52207"/>
                <a:gd name="connsiteX1" fmla="*/ 52834 w 52833"/>
                <a:gd name="connsiteY1" fmla="*/ 0 h 52207"/>
                <a:gd name="connsiteX2" fmla="*/ 52834 w 52833"/>
                <a:gd name="connsiteY2" fmla="*/ 52207 h 52207"/>
                <a:gd name="connsiteX3" fmla="*/ 0 w 52833"/>
                <a:gd name="connsiteY3" fmla="*/ 52207 h 52207"/>
              </a:gdLst>
              <a:ahLst/>
              <a:cxnLst>
                <a:cxn ang="0">
                  <a:pos x="connsiteX0" y="connsiteY0"/>
                </a:cxn>
                <a:cxn ang="0">
                  <a:pos x="connsiteX1" y="connsiteY1"/>
                </a:cxn>
                <a:cxn ang="0">
                  <a:pos x="connsiteX2" y="connsiteY2"/>
                </a:cxn>
                <a:cxn ang="0">
                  <a:pos x="connsiteX3" y="connsiteY3"/>
                </a:cxn>
              </a:cxnLst>
              <a:rect l="l" t="t" r="r" b="b"/>
              <a:pathLst>
                <a:path w="52833" h="52207">
                  <a:moveTo>
                    <a:pt x="0" y="0"/>
                  </a:moveTo>
                  <a:lnTo>
                    <a:pt x="52834" y="0"/>
                  </a:lnTo>
                  <a:lnTo>
                    <a:pt x="52834" y="52207"/>
                  </a:lnTo>
                  <a:lnTo>
                    <a:pt x="0" y="52207"/>
                  </a:lnTo>
                  <a:close/>
                </a:path>
              </a:pathLst>
            </a:custGeom>
            <a:grpFill/>
            <a:ln w="20856" cap="flat">
              <a:noFill/>
              <a:prstDash val="solid"/>
              <a:miter/>
            </a:ln>
          </p:spPr>
          <p:txBody>
            <a:bodyPr rtlCol="0" anchor="ctr"/>
            <a:lstStyle/>
            <a:p>
              <a:endParaRPr lang="fr-FR" sz="900"/>
            </a:p>
          </p:txBody>
        </p:sp>
        <p:sp>
          <p:nvSpPr>
            <p:cNvPr id="89" name="Forme libre : forme 88">
              <a:extLst>
                <a:ext uri="{FF2B5EF4-FFF2-40B4-BE49-F238E27FC236}">
                  <a16:creationId xmlns:a16="http://schemas.microsoft.com/office/drawing/2014/main" id="{3A5512AB-C3D3-FC99-83CC-3F2E62407E67}"/>
                </a:ext>
              </a:extLst>
            </p:cNvPr>
            <p:cNvSpPr/>
            <p:nvPr/>
          </p:nvSpPr>
          <p:spPr>
            <a:xfrm>
              <a:off x="11944943" y="6635733"/>
              <a:ext cx="52833" cy="52207"/>
            </a:xfrm>
            <a:custGeom>
              <a:avLst/>
              <a:gdLst>
                <a:gd name="connsiteX0" fmla="*/ 0 w 52833"/>
                <a:gd name="connsiteY0" fmla="*/ 0 h 52207"/>
                <a:gd name="connsiteX1" fmla="*/ 52833 w 52833"/>
                <a:gd name="connsiteY1" fmla="*/ 0 h 52207"/>
                <a:gd name="connsiteX2" fmla="*/ 52833 w 52833"/>
                <a:gd name="connsiteY2" fmla="*/ 52207 h 52207"/>
                <a:gd name="connsiteX3" fmla="*/ 0 w 52833"/>
                <a:gd name="connsiteY3" fmla="*/ 52207 h 52207"/>
              </a:gdLst>
              <a:ahLst/>
              <a:cxnLst>
                <a:cxn ang="0">
                  <a:pos x="connsiteX0" y="connsiteY0"/>
                </a:cxn>
                <a:cxn ang="0">
                  <a:pos x="connsiteX1" y="connsiteY1"/>
                </a:cxn>
                <a:cxn ang="0">
                  <a:pos x="connsiteX2" y="connsiteY2"/>
                </a:cxn>
                <a:cxn ang="0">
                  <a:pos x="connsiteX3" y="connsiteY3"/>
                </a:cxn>
              </a:cxnLst>
              <a:rect l="l" t="t" r="r" b="b"/>
              <a:pathLst>
                <a:path w="52833" h="52207">
                  <a:moveTo>
                    <a:pt x="0" y="0"/>
                  </a:moveTo>
                  <a:lnTo>
                    <a:pt x="52833" y="0"/>
                  </a:lnTo>
                  <a:lnTo>
                    <a:pt x="52833" y="52207"/>
                  </a:lnTo>
                  <a:lnTo>
                    <a:pt x="0" y="52207"/>
                  </a:lnTo>
                  <a:close/>
                </a:path>
              </a:pathLst>
            </a:custGeom>
            <a:grpFill/>
            <a:ln w="20856" cap="flat">
              <a:noFill/>
              <a:prstDash val="solid"/>
              <a:miter/>
            </a:ln>
          </p:spPr>
          <p:txBody>
            <a:bodyPr rtlCol="0" anchor="ctr"/>
            <a:lstStyle/>
            <a:p>
              <a:endParaRPr lang="fr-FR" sz="900"/>
            </a:p>
          </p:txBody>
        </p:sp>
        <p:sp>
          <p:nvSpPr>
            <p:cNvPr id="92" name="Forme libre : forme 91">
              <a:extLst>
                <a:ext uri="{FF2B5EF4-FFF2-40B4-BE49-F238E27FC236}">
                  <a16:creationId xmlns:a16="http://schemas.microsoft.com/office/drawing/2014/main" id="{962323FB-8F4E-9A2E-5065-4D485EC81476}"/>
                </a:ext>
              </a:extLst>
            </p:cNvPr>
            <p:cNvSpPr/>
            <p:nvPr/>
          </p:nvSpPr>
          <p:spPr>
            <a:xfrm>
              <a:off x="11733609" y="6740147"/>
              <a:ext cx="52833" cy="52207"/>
            </a:xfrm>
            <a:custGeom>
              <a:avLst/>
              <a:gdLst>
                <a:gd name="connsiteX0" fmla="*/ 0 w 52833"/>
                <a:gd name="connsiteY0" fmla="*/ 0 h 52207"/>
                <a:gd name="connsiteX1" fmla="*/ 52834 w 52833"/>
                <a:gd name="connsiteY1" fmla="*/ 0 h 52207"/>
                <a:gd name="connsiteX2" fmla="*/ 52834 w 52833"/>
                <a:gd name="connsiteY2" fmla="*/ 52207 h 52207"/>
                <a:gd name="connsiteX3" fmla="*/ 0 w 52833"/>
                <a:gd name="connsiteY3" fmla="*/ 52207 h 52207"/>
              </a:gdLst>
              <a:ahLst/>
              <a:cxnLst>
                <a:cxn ang="0">
                  <a:pos x="connsiteX0" y="connsiteY0"/>
                </a:cxn>
                <a:cxn ang="0">
                  <a:pos x="connsiteX1" y="connsiteY1"/>
                </a:cxn>
                <a:cxn ang="0">
                  <a:pos x="connsiteX2" y="connsiteY2"/>
                </a:cxn>
                <a:cxn ang="0">
                  <a:pos x="connsiteX3" y="connsiteY3"/>
                </a:cxn>
              </a:cxnLst>
              <a:rect l="l" t="t" r="r" b="b"/>
              <a:pathLst>
                <a:path w="52833" h="52207">
                  <a:moveTo>
                    <a:pt x="0" y="0"/>
                  </a:moveTo>
                  <a:lnTo>
                    <a:pt x="52834" y="0"/>
                  </a:lnTo>
                  <a:lnTo>
                    <a:pt x="52834" y="52207"/>
                  </a:lnTo>
                  <a:lnTo>
                    <a:pt x="0" y="52207"/>
                  </a:lnTo>
                  <a:close/>
                </a:path>
              </a:pathLst>
            </a:custGeom>
            <a:grpFill/>
            <a:ln w="20856" cap="flat">
              <a:noFill/>
              <a:prstDash val="solid"/>
              <a:miter/>
            </a:ln>
          </p:spPr>
          <p:txBody>
            <a:bodyPr rtlCol="0" anchor="ctr"/>
            <a:lstStyle/>
            <a:p>
              <a:endParaRPr lang="fr-FR" sz="900"/>
            </a:p>
          </p:txBody>
        </p:sp>
        <p:sp>
          <p:nvSpPr>
            <p:cNvPr id="93" name="Forme libre : forme 92">
              <a:extLst>
                <a:ext uri="{FF2B5EF4-FFF2-40B4-BE49-F238E27FC236}">
                  <a16:creationId xmlns:a16="http://schemas.microsoft.com/office/drawing/2014/main" id="{2F55D273-659E-46AA-7DBA-318DA4ECD530}"/>
                </a:ext>
              </a:extLst>
            </p:cNvPr>
            <p:cNvSpPr/>
            <p:nvPr/>
          </p:nvSpPr>
          <p:spPr>
            <a:xfrm>
              <a:off x="11839276" y="6740147"/>
              <a:ext cx="52833" cy="52207"/>
            </a:xfrm>
            <a:custGeom>
              <a:avLst/>
              <a:gdLst>
                <a:gd name="connsiteX0" fmla="*/ 0 w 52833"/>
                <a:gd name="connsiteY0" fmla="*/ 0 h 52207"/>
                <a:gd name="connsiteX1" fmla="*/ 52834 w 52833"/>
                <a:gd name="connsiteY1" fmla="*/ 0 h 52207"/>
                <a:gd name="connsiteX2" fmla="*/ 52834 w 52833"/>
                <a:gd name="connsiteY2" fmla="*/ 52207 h 52207"/>
                <a:gd name="connsiteX3" fmla="*/ 0 w 52833"/>
                <a:gd name="connsiteY3" fmla="*/ 52207 h 52207"/>
              </a:gdLst>
              <a:ahLst/>
              <a:cxnLst>
                <a:cxn ang="0">
                  <a:pos x="connsiteX0" y="connsiteY0"/>
                </a:cxn>
                <a:cxn ang="0">
                  <a:pos x="connsiteX1" y="connsiteY1"/>
                </a:cxn>
                <a:cxn ang="0">
                  <a:pos x="connsiteX2" y="connsiteY2"/>
                </a:cxn>
                <a:cxn ang="0">
                  <a:pos x="connsiteX3" y="connsiteY3"/>
                </a:cxn>
              </a:cxnLst>
              <a:rect l="l" t="t" r="r" b="b"/>
              <a:pathLst>
                <a:path w="52833" h="52207">
                  <a:moveTo>
                    <a:pt x="0" y="0"/>
                  </a:moveTo>
                  <a:lnTo>
                    <a:pt x="52834" y="0"/>
                  </a:lnTo>
                  <a:lnTo>
                    <a:pt x="52834" y="52207"/>
                  </a:lnTo>
                  <a:lnTo>
                    <a:pt x="0" y="52207"/>
                  </a:lnTo>
                  <a:close/>
                </a:path>
              </a:pathLst>
            </a:custGeom>
            <a:grpFill/>
            <a:ln w="20856" cap="flat">
              <a:noFill/>
              <a:prstDash val="solid"/>
              <a:miter/>
            </a:ln>
          </p:spPr>
          <p:txBody>
            <a:bodyPr rtlCol="0" anchor="ctr"/>
            <a:lstStyle/>
            <a:p>
              <a:endParaRPr lang="fr-FR" sz="900"/>
            </a:p>
          </p:txBody>
        </p:sp>
        <p:sp>
          <p:nvSpPr>
            <p:cNvPr id="94" name="Forme libre : forme 93">
              <a:extLst>
                <a:ext uri="{FF2B5EF4-FFF2-40B4-BE49-F238E27FC236}">
                  <a16:creationId xmlns:a16="http://schemas.microsoft.com/office/drawing/2014/main" id="{79055A52-AC36-25C8-F121-4D4C67B3C823}"/>
                </a:ext>
              </a:extLst>
            </p:cNvPr>
            <p:cNvSpPr/>
            <p:nvPr/>
          </p:nvSpPr>
          <p:spPr>
            <a:xfrm>
              <a:off x="11944943" y="6740147"/>
              <a:ext cx="52833" cy="52207"/>
            </a:xfrm>
            <a:custGeom>
              <a:avLst/>
              <a:gdLst>
                <a:gd name="connsiteX0" fmla="*/ 0 w 52833"/>
                <a:gd name="connsiteY0" fmla="*/ 0 h 52207"/>
                <a:gd name="connsiteX1" fmla="*/ 52833 w 52833"/>
                <a:gd name="connsiteY1" fmla="*/ 0 h 52207"/>
                <a:gd name="connsiteX2" fmla="*/ 52833 w 52833"/>
                <a:gd name="connsiteY2" fmla="*/ 52207 h 52207"/>
                <a:gd name="connsiteX3" fmla="*/ 0 w 52833"/>
                <a:gd name="connsiteY3" fmla="*/ 52207 h 52207"/>
              </a:gdLst>
              <a:ahLst/>
              <a:cxnLst>
                <a:cxn ang="0">
                  <a:pos x="connsiteX0" y="connsiteY0"/>
                </a:cxn>
                <a:cxn ang="0">
                  <a:pos x="connsiteX1" y="connsiteY1"/>
                </a:cxn>
                <a:cxn ang="0">
                  <a:pos x="connsiteX2" y="connsiteY2"/>
                </a:cxn>
                <a:cxn ang="0">
                  <a:pos x="connsiteX3" y="connsiteY3"/>
                </a:cxn>
              </a:cxnLst>
              <a:rect l="l" t="t" r="r" b="b"/>
              <a:pathLst>
                <a:path w="52833" h="52207">
                  <a:moveTo>
                    <a:pt x="0" y="0"/>
                  </a:moveTo>
                  <a:lnTo>
                    <a:pt x="52833" y="0"/>
                  </a:lnTo>
                  <a:lnTo>
                    <a:pt x="52833" y="52207"/>
                  </a:lnTo>
                  <a:lnTo>
                    <a:pt x="0" y="52207"/>
                  </a:lnTo>
                  <a:close/>
                </a:path>
              </a:pathLst>
            </a:custGeom>
            <a:grpFill/>
            <a:ln w="20856" cap="flat">
              <a:noFill/>
              <a:prstDash val="solid"/>
              <a:miter/>
            </a:ln>
          </p:spPr>
          <p:txBody>
            <a:bodyPr rtlCol="0" anchor="ctr"/>
            <a:lstStyle/>
            <a:p>
              <a:endParaRPr lang="fr-FR" sz="900"/>
            </a:p>
          </p:txBody>
        </p:sp>
        <p:sp>
          <p:nvSpPr>
            <p:cNvPr id="95" name="Forme libre : forme 94">
              <a:extLst>
                <a:ext uri="{FF2B5EF4-FFF2-40B4-BE49-F238E27FC236}">
                  <a16:creationId xmlns:a16="http://schemas.microsoft.com/office/drawing/2014/main" id="{1B8E8BCC-E211-3FD3-32F0-391B714ECF6B}"/>
                </a:ext>
              </a:extLst>
            </p:cNvPr>
            <p:cNvSpPr/>
            <p:nvPr/>
          </p:nvSpPr>
          <p:spPr>
            <a:xfrm>
              <a:off x="11733609" y="6844561"/>
              <a:ext cx="52833" cy="52207"/>
            </a:xfrm>
            <a:custGeom>
              <a:avLst/>
              <a:gdLst>
                <a:gd name="connsiteX0" fmla="*/ 0 w 52833"/>
                <a:gd name="connsiteY0" fmla="*/ 0 h 52207"/>
                <a:gd name="connsiteX1" fmla="*/ 52834 w 52833"/>
                <a:gd name="connsiteY1" fmla="*/ 0 h 52207"/>
                <a:gd name="connsiteX2" fmla="*/ 52834 w 52833"/>
                <a:gd name="connsiteY2" fmla="*/ 52207 h 52207"/>
                <a:gd name="connsiteX3" fmla="*/ 0 w 52833"/>
                <a:gd name="connsiteY3" fmla="*/ 52207 h 52207"/>
              </a:gdLst>
              <a:ahLst/>
              <a:cxnLst>
                <a:cxn ang="0">
                  <a:pos x="connsiteX0" y="connsiteY0"/>
                </a:cxn>
                <a:cxn ang="0">
                  <a:pos x="connsiteX1" y="connsiteY1"/>
                </a:cxn>
                <a:cxn ang="0">
                  <a:pos x="connsiteX2" y="connsiteY2"/>
                </a:cxn>
                <a:cxn ang="0">
                  <a:pos x="connsiteX3" y="connsiteY3"/>
                </a:cxn>
              </a:cxnLst>
              <a:rect l="l" t="t" r="r" b="b"/>
              <a:pathLst>
                <a:path w="52833" h="52207">
                  <a:moveTo>
                    <a:pt x="0" y="0"/>
                  </a:moveTo>
                  <a:lnTo>
                    <a:pt x="52834" y="0"/>
                  </a:lnTo>
                  <a:lnTo>
                    <a:pt x="52834" y="52207"/>
                  </a:lnTo>
                  <a:lnTo>
                    <a:pt x="0" y="52207"/>
                  </a:lnTo>
                  <a:close/>
                </a:path>
              </a:pathLst>
            </a:custGeom>
            <a:grpFill/>
            <a:ln w="20856" cap="flat">
              <a:noFill/>
              <a:prstDash val="solid"/>
              <a:miter/>
            </a:ln>
          </p:spPr>
          <p:txBody>
            <a:bodyPr rtlCol="0" anchor="ctr"/>
            <a:lstStyle/>
            <a:p>
              <a:endParaRPr lang="fr-FR" sz="900"/>
            </a:p>
          </p:txBody>
        </p:sp>
        <p:sp>
          <p:nvSpPr>
            <p:cNvPr id="96" name="Forme libre : forme 95">
              <a:extLst>
                <a:ext uri="{FF2B5EF4-FFF2-40B4-BE49-F238E27FC236}">
                  <a16:creationId xmlns:a16="http://schemas.microsoft.com/office/drawing/2014/main" id="{8640A2FC-781E-C086-E491-8F40D77012E0}"/>
                </a:ext>
              </a:extLst>
            </p:cNvPr>
            <p:cNvSpPr/>
            <p:nvPr/>
          </p:nvSpPr>
          <p:spPr>
            <a:xfrm>
              <a:off x="11839276" y="6844561"/>
              <a:ext cx="52833" cy="52207"/>
            </a:xfrm>
            <a:custGeom>
              <a:avLst/>
              <a:gdLst>
                <a:gd name="connsiteX0" fmla="*/ 0 w 52833"/>
                <a:gd name="connsiteY0" fmla="*/ 0 h 52207"/>
                <a:gd name="connsiteX1" fmla="*/ 52834 w 52833"/>
                <a:gd name="connsiteY1" fmla="*/ 0 h 52207"/>
                <a:gd name="connsiteX2" fmla="*/ 52834 w 52833"/>
                <a:gd name="connsiteY2" fmla="*/ 52207 h 52207"/>
                <a:gd name="connsiteX3" fmla="*/ 0 w 52833"/>
                <a:gd name="connsiteY3" fmla="*/ 52207 h 52207"/>
              </a:gdLst>
              <a:ahLst/>
              <a:cxnLst>
                <a:cxn ang="0">
                  <a:pos x="connsiteX0" y="connsiteY0"/>
                </a:cxn>
                <a:cxn ang="0">
                  <a:pos x="connsiteX1" y="connsiteY1"/>
                </a:cxn>
                <a:cxn ang="0">
                  <a:pos x="connsiteX2" y="connsiteY2"/>
                </a:cxn>
                <a:cxn ang="0">
                  <a:pos x="connsiteX3" y="connsiteY3"/>
                </a:cxn>
              </a:cxnLst>
              <a:rect l="l" t="t" r="r" b="b"/>
              <a:pathLst>
                <a:path w="52833" h="52207">
                  <a:moveTo>
                    <a:pt x="0" y="0"/>
                  </a:moveTo>
                  <a:lnTo>
                    <a:pt x="52834" y="0"/>
                  </a:lnTo>
                  <a:lnTo>
                    <a:pt x="52834" y="52207"/>
                  </a:lnTo>
                  <a:lnTo>
                    <a:pt x="0" y="52207"/>
                  </a:lnTo>
                  <a:close/>
                </a:path>
              </a:pathLst>
            </a:custGeom>
            <a:grpFill/>
            <a:ln w="20856" cap="flat">
              <a:noFill/>
              <a:prstDash val="solid"/>
              <a:miter/>
            </a:ln>
          </p:spPr>
          <p:txBody>
            <a:bodyPr rtlCol="0" anchor="ctr"/>
            <a:lstStyle/>
            <a:p>
              <a:endParaRPr lang="fr-FR" sz="900"/>
            </a:p>
          </p:txBody>
        </p:sp>
        <p:sp>
          <p:nvSpPr>
            <p:cNvPr id="97" name="Forme libre : forme 96">
              <a:extLst>
                <a:ext uri="{FF2B5EF4-FFF2-40B4-BE49-F238E27FC236}">
                  <a16:creationId xmlns:a16="http://schemas.microsoft.com/office/drawing/2014/main" id="{E38A8565-CEBB-330D-2EE6-65DDE24A1ECD}"/>
                </a:ext>
              </a:extLst>
            </p:cNvPr>
            <p:cNvSpPr/>
            <p:nvPr/>
          </p:nvSpPr>
          <p:spPr>
            <a:xfrm>
              <a:off x="11944943" y="6844561"/>
              <a:ext cx="52833" cy="52207"/>
            </a:xfrm>
            <a:custGeom>
              <a:avLst/>
              <a:gdLst>
                <a:gd name="connsiteX0" fmla="*/ 0 w 52833"/>
                <a:gd name="connsiteY0" fmla="*/ 0 h 52207"/>
                <a:gd name="connsiteX1" fmla="*/ 52833 w 52833"/>
                <a:gd name="connsiteY1" fmla="*/ 0 h 52207"/>
                <a:gd name="connsiteX2" fmla="*/ 52833 w 52833"/>
                <a:gd name="connsiteY2" fmla="*/ 52207 h 52207"/>
                <a:gd name="connsiteX3" fmla="*/ 0 w 52833"/>
                <a:gd name="connsiteY3" fmla="*/ 52207 h 52207"/>
              </a:gdLst>
              <a:ahLst/>
              <a:cxnLst>
                <a:cxn ang="0">
                  <a:pos x="connsiteX0" y="connsiteY0"/>
                </a:cxn>
                <a:cxn ang="0">
                  <a:pos x="connsiteX1" y="connsiteY1"/>
                </a:cxn>
                <a:cxn ang="0">
                  <a:pos x="connsiteX2" y="connsiteY2"/>
                </a:cxn>
                <a:cxn ang="0">
                  <a:pos x="connsiteX3" y="connsiteY3"/>
                </a:cxn>
              </a:cxnLst>
              <a:rect l="l" t="t" r="r" b="b"/>
              <a:pathLst>
                <a:path w="52833" h="52207">
                  <a:moveTo>
                    <a:pt x="0" y="0"/>
                  </a:moveTo>
                  <a:lnTo>
                    <a:pt x="52833" y="0"/>
                  </a:lnTo>
                  <a:lnTo>
                    <a:pt x="52833" y="52207"/>
                  </a:lnTo>
                  <a:lnTo>
                    <a:pt x="0" y="52207"/>
                  </a:lnTo>
                  <a:close/>
                </a:path>
              </a:pathLst>
            </a:custGeom>
            <a:grpFill/>
            <a:ln w="20856" cap="flat">
              <a:noFill/>
              <a:prstDash val="solid"/>
              <a:miter/>
            </a:ln>
          </p:spPr>
          <p:txBody>
            <a:bodyPr rtlCol="0" anchor="ctr"/>
            <a:lstStyle/>
            <a:p>
              <a:endParaRPr lang="fr-FR" sz="900"/>
            </a:p>
          </p:txBody>
        </p:sp>
        <p:sp>
          <p:nvSpPr>
            <p:cNvPr id="98" name="Forme libre : forme 97">
              <a:extLst>
                <a:ext uri="{FF2B5EF4-FFF2-40B4-BE49-F238E27FC236}">
                  <a16:creationId xmlns:a16="http://schemas.microsoft.com/office/drawing/2014/main" id="{FD4D2912-9408-9319-FF09-7A82D65DCA23}"/>
                </a:ext>
              </a:extLst>
            </p:cNvPr>
            <p:cNvSpPr/>
            <p:nvPr/>
          </p:nvSpPr>
          <p:spPr>
            <a:xfrm>
              <a:off x="11414519" y="6738059"/>
              <a:ext cx="54924" cy="315330"/>
            </a:xfrm>
            <a:custGeom>
              <a:avLst/>
              <a:gdLst>
                <a:gd name="connsiteX0" fmla="*/ 27565 w 54924"/>
                <a:gd name="connsiteY0" fmla="*/ 315330 h 315330"/>
                <a:gd name="connsiteX1" fmla="*/ 0 w 54924"/>
                <a:gd name="connsiteY1" fmla="*/ 288183 h 315330"/>
                <a:gd name="connsiteX2" fmla="*/ 0 w 54924"/>
                <a:gd name="connsiteY2" fmla="*/ 27148 h 315330"/>
                <a:gd name="connsiteX3" fmla="*/ 27565 w 54924"/>
                <a:gd name="connsiteY3" fmla="*/ 0 h 315330"/>
                <a:gd name="connsiteX4" fmla="*/ 54922 w 54924"/>
                <a:gd name="connsiteY4" fmla="*/ 27148 h 315330"/>
                <a:gd name="connsiteX5" fmla="*/ 54922 w 54924"/>
                <a:gd name="connsiteY5" fmla="*/ 288183 h 315330"/>
                <a:gd name="connsiteX6" fmla="*/ 27565 w 54924"/>
                <a:gd name="connsiteY6" fmla="*/ 315330 h 315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924" h="315330">
                  <a:moveTo>
                    <a:pt x="27565" y="315330"/>
                  </a:moveTo>
                  <a:cubicBezTo>
                    <a:pt x="12739" y="315330"/>
                    <a:pt x="0" y="302801"/>
                    <a:pt x="0" y="288183"/>
                  </a:cubicBezTo>
                  <a:lnTo>
                    <a:pt x="0" y="27148"/>
                  </a:lnTo>
                  <a:cubicBezTo>
                    <a:pt x="0" y="12530"/>
                    <a:pt x="12739" y="0"/>
                    <a:pt x="27565" y="0"/>
                  </a:cubicBezTo>
                  <a:cubicBezTo>
                    <a:pt x="42392" y="0"/>
                    <a:pt x="54922" y="12530"/>
                    <a:pt x="54922" y="27148"/>
                  </a:cubicBezTo>
                  <a:lnTo>
                    <a:pt x="54922" y="288183"/>
                  </a:lnTo>
                  <a:cubicBezTo>
                    <a:pt x="55131" y="302801"/>
                    <a:pt x="42392" y="315330"/>
                    <a:pt x="27565" y="315330"/>
                  </a:cubicBezTo>
                  <a:close/>
                </a:path>
              </a:pathLst>
            </a:custGeom>
            <a:grpFill/>
            <a:ln w="20856" cap="flat">
              <a:noFill/>
              <a:prstDash val="solid"/>
              <a:miter/>
            </a:ln>
          </p:spPr>
          <p:txBody>
            <a:bodyPr rtlCol="0" anchor="ctr"/>
            <a:lstStyle/>
            <a:p>
              <a:endParaRPr lang="fr-FR" sz="900"/>
            </a:p>
          </p:txBody>
        </p:sp>
        <p:sp>
          <p:nvSpPr>
            <p:cNvPr id="99" name="Forme libre : forme 98">
              <a:extLst>
                <a:ext uri="{FF2B5EF4-FFF2-40B4-BE49-F238E27FC236}">
                  <a16:creationId xmlns:a16="http://schemas.microsoft.com/office/drawing/2014/main" id="{50B692A8-6043-696A-E426-15F0C5D5616D}"/>
                </a:ext>
              </a:extLst>
            </p:cNvPr>
            <p:cNvSpPr/>
            <p:nvPr/>
          </p:nvSpPr>
          <p:spPr>
            <a:xfrm>
              <a:off x="12259855" y="6842473"/>
              <a:ext cx="54712" cy="210916"/>
            </a:xfrm>
            <a:custGeom>
              <a:avLst/>
              <a:gdLst>
                <a:gd name="connsiteX0" fmla="*/ 27356 w 54712"/>
                <a:gd name="connsiteY0" fmla="*/ 210916 h 210916"/>
                <a:gd name="connsiteX1" fmla="*/ 0 w 54712"/>
                <a:gd name="connsiteY1" fmla="*/ 183769 h 210916"/>
                <a:gd name="connsiteX2" fmla="*/ 0 w 54712"/>
                <a:gd name="connsiteY2" fmla="*/ 27148 h 210916"/>
                <a:gd name="connsiteX3" fmla="*/ 27356 w 54712"/>
                <a:gd name="connsiteY3" fmla="*/ 0 h 210916"/>
                <a:gd name="connsiteX4" fmla="*/ 54713 w 54712"/>
                <a:gd name="connsiteY4" fmla="*/ 27148 h 210916"/>
                <a:gd name="connsiteX5" fmla="*/ 54713 w 54712"/>
                <a:gd name="connsiteY5" fmla="*/ 183769 h 210916"/>
                <a:gd name="connsiteX6" fmla="*/ 27356 w 54712"/>
                <a:gd name="connsiteY6" fmla="*/ 210916 h 210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712" h="210916">
                  <a:moveTo>
                    <a:pt x="27356" y="210916"/>
                  </a:moveTo>
                  <a:cubicBezTo>
                    <a:pt x="12530" y="210916"/>
                    <a:pt x="0" y="198387"/>
                    <a:pt x="0" y="183769"/>
                  </a:cubicBezTo>
                  <a:lnTo>
                    <a:pt x="0" y="27148"/>
                  </a:lnTo>
                  <a:cubicBezTo>
                    <a:pt x="0" y="12530"/>
                    <a:pt x="12738" y="0"/>
                    <a:pt x="27356" y="0"/>
                  </a:cubicBezTo>
                  <a:cubicBezTo>
                    <a:pt x="41974" y="0"/>
                    <a:pt x="54713" y="12530"/>
                    <a:pt x="54713" y="27148"/>
                  </a:cubicBezTo>
                  <a:lnTo>
                    <a:pt x="54713" y="183769"/>
                  </a:lnTo>
                  <a:cubicBezTo>
                    <a:pt x="54713" y="198387"/>
                    <a:pt x="41974" y="210916"/>
                    <a:pt x="27356" y="210916"/>
                  </a:cubicBezTo>
                  <a:close/>
                </a:path>
              </a:pathLst>
            </a:custGeom>
            <a:grpFill/>
            <a:ln w="20856" cap="flat">
              <a:noFill/>
              <a:prstDash val="solid"/>
              <a:miter/>
            </a:ln>
          </p:spPr>
          <p:txBody>
            <a:bodyPr rtlCol="0" anchor="ctr"/>
            <a:lstStyle/>
            <a:p>
              <a:endParaRPr lang="fr-FR" sz="900"/>
            </a:p>
          </p:txBody>
        </p:sp>
      </p:grpSp>
      <p:grpSp>
        <p:nvGrpSpPr>
          <p:cNvPr id="105" name="Groupe 104">
            <a:extLst>
              <a:ext uri="{FF2B5EF4-FFF2-40B4-BE49-F238E27FC236}">
                <a16:creationId xmlns:a16="http://schemas.microsoft.com/office/drawing/2014/main" id="{1F179895-4C58-A799-C4C6-8A122608D6B8}"/>
              </a:ext>
            </a:extLst>
          </p:cNvPr>
          <p:cNvGrpSpPr/>
          <p:nvPr/>
        </p:nvGrpSpPr>
        <p:grpSpPr>
          <a:xfrm>
            <a:off x="538917" y="1846564"/>
            <a:ext cx="4842618" cy="875794"/>
            <a:chOff x="2182813" y="4794031"/>
            <a:chExt cx="9685235" cy="1751587"/>
          </a:xfrm>
        </p:grpSpPr>
        <p:sp>
          <p:nvSpPr>
            <p:cNvPr id="107" name="ZoneTexte 106">
              <a:extLst>
                <a:ext uri="{FF2B5EF4-FFF2-40B4-BE49-F238E27FC236}">
                  <a16:creationId xmlns:a16="http://schemas.microsoft.com/office/drawing/2014/main" id="{ACE40230-9DA5-A888-840B-B3558ADFF550}"/>
                </a:ext>
              </a:extLst>
            </p:cNvPr>
            <p:cNvSpPr txBox="1"/>
            <p:nvPr/>
          </p:nvSpPr>
          <p:spPr>
            <a:xfrm>
              <a:off x="2387249" y="5868510"/>
              <a:ext cx="9480799" cy="677108"/>
            </a:xfrm>
            <a:prstGeom prst="rect">
              <a:avLst/>
            </a:prstGeom>
            <a:noFill/>
            <a:ln>
              <a:solidFill>
                <a:schemeClr val="tx1"/>
              </a:solidFill>
            </a:ln>
          </p:spPr>
          <p:txBody>
            <a:bodyPr wrap="none" rtlCol="0">
              <a:spAutoFit/>
            </a:bodyPr>
            <a:lstStyle/>
            <a:p>
              <a:r>
                <a:rPr lang="fr-FR" sz="1600" b="1" dirty="0">
                  <a:solidFill>
                    <a:srgbClr val="E4002B"/>
                  </a:solidFill>
                  <a:latin typeface="Arial" panose="020B0604020202020204" pitchFamily="34" charset="0"/>
                  <a:cs typeface="Arial" panose="020B0604020202020204" pitchFamily="34" charset="0"/>
                </a:rPr>
                <a:t>12,4 % </a:t>
              </a:r>
              <a:r>
                <a:rPr lang="fr-FR" sz="1600" b="1" dirty="0">
                  <a:latin typeface="Arial" panose="020B0604020202020204" pitchFamily="34" charset="0"/>
                  <a:cs typeface="Arial" panose="020B0604020202020204" pitchFamily="34" charset="0"/>
                </a:rPr>
                <a:t>de l’ensemble de l’emploi en 2022, dont</a:t>
              </a:r>
            </a:p>
          </p:txBody>
        </p:sp>
        <p:sp>
          <p:nvSpPr>
            <p:cNvPr id="106" name="ZoneTexte 105">
              <a:extLst>
                <a:ext uri="{FF2B5EF4-FFF2-40B4-BE49-F238E27FC236}">
                  <a16:creationId xmlns:a16="http://schemas.microsoft.com/office/drawing/2014/main" id="{E5AE1318-1F87-8FE8-D04E-9EE32E9F23AD}"/>
                </a:ext>
              </a:extLst>
            </p:cNvPr>
            <p:cNvSpPr txBox="1"/>
            <p:nvPr/>
          </p:nvSpPr>
          <p:spPr>
            <a:xfrm>
              <a:off x="2182813" y="4794031"/>
              <a:ext cx="6820731" cy="923329"/>
            </a:xfrm>
            <a:prstGeom prst="rect">
              <a:avLst/>
            </a:prstGeom>
            <a:solidFill>
              <a:schemeClr val="tx1"/>
            </a:solidFill>
          </p:spPr>
          <p:txBody>
            <a:bodyPr wrap="square" rtlCol="0">
              <a:spAutoFit/>
            </a:bodyPr>
            <a:lstStyle/>
            <a:p>
              <a:r>
                <a:rPr lang="fr-FR" sz="2400" b="1" dirty="0">
                  <a:solidFill>
                    <a:schemeClr val="bg1"/>
                  </a:solidFill>
                  <a:latin typeface="Arial" panose="020B0604020202020204" pitchFamily="34" charset="0"/>
                  <a:cs typeface="Arial" panose="020B0604020202020204" pitchFamily="34" charset="0"/>
                </a:rPr>
                <a:t>80 500 </a:t>
              </a:r>
              <a:r>
                <a:rPr lang="fr-FR" sz="2400" b="1" dirty="0">
                  <a:solidFill>
                    <a:srgbClr val="E4002B"/>
                  </a:solidFill>
                  <a:latin typeface="Arial" panose="020B0604020202020204" pitchFamily="34" charset="0"/>
                  <a:cs typeface="Arial" panose="020B0604020202020204" pitchFamily="34" charset="0"/>
                </a:rPr>
                <a:t>EMPLOIS </a:t>
              </a:r>
            </a:p>
          </p:txBody>
        </p:sp>
      </p:grpSp>
      <p:sp>
        <p:nvSpPr>
          <p:cNvPr id="108" name="Rectangle 107">
            <a:extLst>
              <a:ext uri="{FF2B5EF4-FFF2-40B4-BE49-F238E27FC236}">
                <a16:creationId xmlns:a16="http://schemas.microsoft.com/office/drawing/2014/main" id="{AAB5389E-6D51-E73D-8EE5-F073A138E40B}"/>
              </a:ext>
            </a:extLst>
          </p:cNvPr>
          <p:cNvSpPr/>
          <p:nvPr/>
        </p:nvSpPr>
        <p:spPr>
          <a:xfrm>
            <a:off x="471571" y="6539246"/>
            <a:ext cx="5477640" cy="204902"/>
          </a:xfrm>
          <a:prstGeom prst="rect">
            <a:avLst/>
          </a:prstGeom>
          <a:no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wrap="square" lIns="54000" tIns="27000" rIns="54000" bIns="54000" rtlCol="0" anchor="ctr">
            <a:spAutoFit/>
          </a:bodyPr>
          <a:lstStyle/>
          <a:p>
            <a:pPr defTabSz="171450">
              <a:spcBef>
                <a:spcPts val="600"/>
              </a:spcBef>
              <a:buClr>
                <a:srgbClr val="F60000"/>
              </a:buClr>
              <a:defRPr/>
            </a:pPr>
            <a:r>
              <a:rPr lang="fr-FR" sz="800" i="1" spc="12" dirty="0">
                <a:solidFill>
                  <a:schemeClr val="tx1"/>
                </a:solidFill>
                <a:latin typeface="Arial"/>
              </a:rPr>
              <a:t>(source : Urssaf </a:t>
            </a:r>
            <a:r>
              <a:rPr lang="fr-FR" sz="600" i="1" spc="12" dirty="0">
                <a:solidFill>
                  <a:schemeClr val="tx1"/>
                </a:solidFill>
                <a:latin typeface="Arial"/>
              </a:rPr>
              <a:t>31/12/2022</a:t>
            </a:r>
            <a:r>
              <a:rPr lang="fr-FR" sz="800" i="1" spc="12" dirty="0">
                <a:solidFill>
                  <a:schemeClr val="tx1"/>
                </a:solidFill>
                <a:latin typeface="Arial"/>
              </a:rPr>
              <a:t>, incluant les apprentis)</a:t>
            </a:r>
          </a:p>
        </p:txBody>
      </p:sp>
      <p:grpSp>
        <p:nvGrpSpPr>
          <p:cNvPr id="117" name="Groupe 116">
            <a:extLst>
              <a:ext uri="{FF2B5EF4-FFF2-40B4-BE49-F238E27FC236}">
                <a16:creationId xmlns:a16="http://schemas.microsoft.com/office/drawing/2014/main" id="{16F543B9-D27C-867D-343E-1B1DCEC01CE8}"/>
              </a:ext>
            </a:extLst>
          </p:cNvPr>
          <p:cNvGrpSpPr/>
          <p:nvPr/>
        </p:nvGrpSpPr>
        <p:grpSpPr>
          <a:xfrm>
            <a:off x="1091804" y="2861885"/>
            <a:ext cx="2370856" cy="659053"/>
            <a:chOff x="2182813" y="5837832"/>
            <a:chExt cx="4741712" cy="1318104"/>
          </a:xfrm>
        </p:grpSpPr>
        <p:sp>
          <p:nvSpPr>
            <p:cNvPr id="109" name="ZoneTexte 108">
              <a:extLst>
                <a:ext uri="{FF2B5EF4-FFF2-40B4-BE49-F238E27FC236}">
                  <a16:creationId xmlns:a16="http://schemas.microsoft.com/office/drawing/2014/main" id="{A5B806E2-30D2-1CC1-A2A7-17A55F050E42}"/>
                </a:ext>
              </a:extLst>
            </p:cNvPr>
            <p:cNvSpPr txBox="1"/>
            <p:nvPr/>
          </p:nvSpPr>
          <p:spPr>
            <a:xfrm>
              <a:off x="2182813" y="5837832"/>
              <a:ext cx="1651734" cy="800219"/>
            </a:xfrm>
            <a:prstGeom prst="rect">
              <a:avLst/>
            </a:prstGeom>
            <a:solidFill>
              <a:schemeClr val="tx1"/>
            </a:solidFill>
            <a:ln>
              <a:solidFill>
                <a:schemeClr val="bg1"/>
              </a:solidFill>
            </a:ln>
          </p:spPr>
          <p:txBody>
            <a:bodyPr wrap="none" rtlCol="0">
              <a:spAutoFit/>
            </a:bodyPr>
            <a:lstStyle/>
            <a:p>
              <a:r>
                <a:rPr lang="fr-FR" sz="2000" b="1" dirty="0">
                  <a:solidFill>
                    <a:schemeClr val="bg1"/>
                  </a:solidFill>
                  <a:latin typeface="Arial" panose="020B0604020202020204" pitchFamily="34" charset="0"/>
                  <a:cs typeface="Arial" panose="020B0604020202020204" pitchFamily="34" charset="0"/>
                </a:rPr>
                <a:t>9 734</a:t>
              </a:r>
            </a:p>
          </p:txBody>
        </p:sp>
        <p:sp>
          <p:nvSpPr>
            <p:cNvPr id="110" name="ZoneTexte 109">
              <a:extLst>
                <a:ext uri="{FF2B5EF4-FFF2-40B4-BE49-F238E27FC236}">
                  <a16:creationId xmlns:a16="http://schemas.microsoft.com/office/drawing/2014/main" id="{E6199563-1424-FAB3-F701-053D46D0D7D8}"/>
                </a:ext>
              </a:extLst>
            </p:cNvPr>
            <p:cNvSpPr txBox="1"/>
            <p:nvPr/>
          </p:nvSpPr>
          <p:spPr>
            <a:xfrm>
              <a:off x="2634247" y="6540383"/>
              <a:ext cx="4290278" cy="615553"/>
            </a:xfrm>
            <a:prstGeom prst="rect">
              <a:avLst/>
            </a:prstGeom>
            <a:noFill/>
            <a:ln>
              <a:solidFill>
                <a:schemeClr val="tx1"/>
              </a:solidFill>
            </a:ln>
          </p:spPr>
          <p:txBody>
            <a:bodyPr wrap="none" rtlCol="0">
              <a:spAutoFit/>
            </a:bodyPr>
            <a:lstStyle/>
            <a:p>
              <a:r>
                <a:rPr lang="fr-FR" sz="1400" dirty="0">
                  <a:latin typeface="Arial" panose="020B0604020202020204" pitchFamily="34" charset="0"/>
                  <a:cs typeface="Arial" panose="020B0604020202020204" pitchFamily="34" charset="0"/>
                </a:rPr>
                <a:t>dans l’industrie chimique</a:t>
              </a:r>
            </a:p>
          </p:txBody>
        </p:sp>
      </p:grpSp>
      <p:grpSp>
        <p:nvGrpSpPr>
          <p:cNvPr id="118" name="Groupe 117">
            <a:extLst>
              <a:ext uri="{FF2B5EF4-FFF2-40B4-BE49-F238E27FC236}">
                <a16:creationId xmlns:a16="http://schemas.microsoft.com/office/drawing/2014/main" id="{5016F03B-090B-BCC1-AE42-03F76352D867}"/>
              </a:ext>
            </a:extLst>
          </p:cNvPr>
          <p:cNvGrpSpPr/>
          <p:nvPr/>
        </p:nvGrpSpPr>
        <p:grpSpPr>
          <a:xfrm>
            <a:off x="1091804" y="3626746"/>
            <a:ext cx="2936716" cy="659053"/>
            <a:chOff x="2597695" y="7272705"/>
            <a:chExt cx="5873432" cy="1318104"/>
          </a:xfrm>
        </p:grpSpPr>
        <p:sp>
          <p:nvSpPr>
            <p:cNvPr id="112" name="ZoneTexte 111">
              <a:extLst>
                <a:ext uri="{FF2B5EF4-FFF2-40B4-BE49-F238E27FC236}">
                  <a16:creationId xmlns:a16="http://schemas.microsoft.com/office/drawing/2014/main" id="{7B733372-B8BB-C3A5-E0BB-0C55B211E2DC}"/>
                </a:ext>
              </a:extLst>
            </p:cNvPr>
            <p:cNvSpPr txBox="1"/>
            <p:nvPr/>
          </p:nvSpPr>
          <p:spPr>
            <a:xfrm>
              <a:off x="3049129" y="7975256"/>
              <a:ext cx="5421998" cy="615553"/>
            </a:xfrm>
            <a:prstGeom prst="rect">
              <a:avLst/>
            </a:prstGeom>
            <a:noFill/>
            <a:ln>
              <a:solidFill>
                <a:schemeClr val="tx1"/>
              </a:solidFill>
            </a:ln>
          </p:spPr>
          <p:txBody>
            <a:bodyPr wrap="none" rtlCol="0">
              <a:spAutoFit/>
            </a:bodyPr>
            <a:lstStyle/>
            <a:p>
              <a:r>
                <a:rPr lang="fr-FR" sz="1400" dirty="0">
                  <a:latin typeface="Arial" panose="020B0604020202020204" pitchFamily="34" charset="0"/>
                  <a:cs typeface="Arial" panose="020B0604020202020204" pitchFamily="34" charset="0"/>
                </a:rPr>
                <a:t>dans l’industrie pharmaceutique</a:t>
              </a:r>
            </a:p>
          </p:txBody>
        </p:sp>
        <p:sp>
          <p:nvSpPr>
            <p:cNvPr id="111" name="ZoneTexte 110">
              <a:extLst>
                <a:ext uri="{FF2B5EF4-FFF2-40B4-BE49-F238E27FC236}">
                  <a16:creationId xmlns:a16="http://schemas.microsoft.com/office/drawing/2014/main" id="{C0F81AAA-D274-0E13-554C-8227F635B27E}"/>
                </a:ext>
              </a:extLst>
            </p:cNvPr>
            <p:cNvSpPr txBox="1"/>
            <p:nvPr/>
          </p:nvSpPr>
          <p:spPr>
            <a:xfrm>
              <a:off x="2597695" y="7272705"/>
              <a:ext cx="1651734" cy="800219"/>
            </a:xfrm>
            <a:prstGeom prst="rect">
              <a:avLst/>
            </a:prstGeom>
            <a:solidFill>
              <a:srgbClr val="E4002B"/>
            </a:solidFill>
            <a:ln>
              <a:noFill/>
            </a:ln>
          </p:spPr>
          <p:txBody>
            <a:bodyPr wrap="none" rtlCol="0">
              <a:spAutoFit/>
            </a:bodyPr>
            <a:lstStyle/>
            <a:p>
              <a:r>
                <a:rPr lang="fr-FR" sz="2000" b="1" dirty="0">
                  <a:solidFill>
                    <a:schemeClr val="bg1"/>
                  </a:solidFill>
                  <a:latin typeface="Arial" panose="020B0604020202020204" pitchFamily="34" charset="0"/>
                  <a:cs typeface="Arial" panose="020B0604020202020204" pitchFamily="34" charset="0"/>
                </a:rPr>
                <a:t>8 175</a:t>
              </a:r>
            </a:p>
          </p:txBody>
        </p:sp>
      </p:grpSp>
      <p:grpSp>
        <p:nvGrpSpPr>
          <p:cNvPr id="119" name="Groupe 118">
            <a:extLst>
              <a:ext uri="{FF2B5EF4-FFF2-40B4-BE49-F238E27FC236}">
                <a16:creationId xmlns:a16="http://schemas.microsoft.com/office/drawing/2014/main" id="{59C3D11E-4E5D-CB31-7584-D3174A1B2DD1}"/>
              </a:ext>
            </a:extLst>
          </p:cNvPr>
          <p:cNvGrpSpPr/>
          <p:nvPr/>
        </p:nvGrpSpPr>
        <p:grpSpPr>
          <a:xfrm>
            <a:off x="1091804" y="4391608"/>
            <a:ext cx="3731805" cy="659053"/>
            <a:chOff x="3048358" y="8758451"/>
            <a:chExt cx="7463608" cy="1318104"/>
          </a:xfrm>
        </p:grpSpPr>
        <p:sp>
          <p:nvSpPr>
            <p:cNvPr id="113" name="ZoneTexte 112">
              <a:extLst>
                <a:ext uri="{FF2B5EF4-FFF2-40B4-BE49-F238E27FC236}">
                  <a16:creationId xmlns:a16="http://schemas.microsoft.com/office/drawing/2014/main" id="{A7071EC6-D3B4-247C-A8FC-8EF96382B027}"/>
                </a:ext>
              </a:extLst>
            </p:cNvPr>
            <p:cNvSpPr txBox="1"/>
            <p:nvPr/>
          </p:nvSpPr>
          <p:spPr>
            <a:xfrm>
              <a:off x="3048358" y="8758451"/>
              <a:ext cx="1651734" cy="800219"/>
            </a:xfrm>
            <a:prstGeom prst="rect">
              <a:avLst/>
            </a:prstGeom>
            <a:solidFill>
              <a:schemeClr val="tx1"/>
            </a:solidFill>
            <a:ln>
              <a:solidFill>
                <a:schemeClr val="bg1"/>
              </a:solidFill>
            </a:ln>
          </p:spPr>
          <p:txBody>
            <a:bodyPr wrap="none" rtlCol="0">
              <a:spAutoFit/>
            </a:bodyPr>
            <a:lstStyle/>
            <a:p>
              <a:r>
                <a:rPr lang="fr-FR" sz="2000" b="1" dirty="0">
                  <a:solidFill>
                    <a:schemeClr val="bg1"/>
                  </a:solidFill>
                  <a:latin typeface="Arial" panose="020B0604020202020204" pitchFamily="34" charset="0"/>
                  <a:cs typeface="Arial" panose="020B0604020202020204" pitchFamily="34" charset="0"/>
                </a:rPr>
                <a:t>9 477</a:t>
              </a:r>
            </a:p>
          </p:txBody>
        </p:sp>
        <p:sp>
          <p:nvSpPr>
            <p:cNvPr id="114" name="ZoneTexte 113">
              <a:extLst>
                <a:ext uri="{FF2B5EF4-FFF2-40B4-BE49-F238E27FC236}">
                  <a16:creationId xmlns:a16="http://schemas.microsoft.com/office/drawing/2014/main" id="{CCB3A440-F38D-6726-7295-922A2A115CBC}"/>
                </a:ext>
              </a:extLst>
            </p:cNvPr>
            <p:cNvSpPr txBox="1"/>
            <p:nvPr/>
          </p:nvSpPr>
          <p:spPr>
            <a:xfrm>
              <a:off x="3499792" y="9461002"/>
              <a:ext cx="7012174" cy="615553"/>
            </a:xfrm>
            <a:prstGeom prst="rect">
              <a:avLst/>
            </a:prstGeom>
            <a:noFill/>
            <a:ln>
              <a:solidFill>
                <a:schemeClr val="tx1"/>
              </a:solidFill>
            </a:ln>
          </p:spPr>
          <p:txBody>
            <a:bodyPr wrap="none" rtlCol="0">
              <a:spAutoFit/>
            </a:bodyPr>
            <a:lstStyle/>
            <a:p>
              <a:r>
                <a:rPr lang="fr-FR" sz="1400" dirty="0">
                  <a:latin typeface="Arial" panose="020B0604020202020204" pitchFamily="34" charset="0"/>
                  <a:cs typeface="Arial" panose="020B0604020202020204" pitchFamily="34" charset="0"/>
                </a:rPr>
                <a:t>dans le secteur de la production d’énergie</a:t>
              </a:r>
            </a:p>
          </p:txBody>
        </p:sp>
      </p:grpSp>
      <p:grpSp>
        <p:nvGrpSpPr>
          <p:cNvPr id="120" name="Groupe 119">
            <a:extLst>
              <a:ext uri="{FF2B5EF4-FFF2-40B4-BE49-F238E27FC236}">
                <a16:creationId xmlns:a16="http://schemas.microsoft.com/office/drawing/2014/main" id="{8689D7EE-F602-8824-2B73-C82EEE33B1D1}"/>
              </a:ext>
            </a:extLst>
          </p:cNvPr>
          <p:cNvGrpSpPr/>
          <p:nvPr/>
        </p:nvGrpSpPr>
        <p:grpSpPr>
          <a:xfrm>
            <a:off x="1091804" y="5156467"/>
            <a:ext cx="4315363" cy="874496"/>
            <a:chOff x="3507642" y="10427001"/>
            <a:chExt cx="8630724" cy="1748992"/>
          </a:xfrm>
        </p:grpSpPr>
        <p:sp>
          <p:nvSpPr>
            <p:cNvPr id="116" name="ZoneTexte 115">
              <a:extLst>
                <a:ext uri="{FF2B5EF4-FFF2-40B4-BE49-F238E27FC236}">
                  <a16:creationId xmlns:a16="http://schemas.microsoft.com/office/drawing/2014/main" id="{399C21BB-BBB0-4F73-65C1-6493F8AD7111}"/>
                </a:ext>
              </a:extLst>
            </p:cNvPr>
            <p:cNvSpPr txBox="1"/>
            <p:nvPr/>
          </p:nvSpPr>
          <p:spPr>
            <a:xfrm>
              <a:off x="3959076" y="11129553"/>
              <a:ext cx="8179290" cy="1046440"/>
            </a:xfrm>
            <a:prstGeom prst="rect">
              <a:avLst/>
            </a:prstGeom>
            <a:noFill/>
            <a:ln>
              <a:solidFill>
                <a:schemeClr val="tx1"/>
              </a:solidFill>
            </a:ln>
          </p:spPr>
          <p:txBody>
            <a:bodyPr wrap="none" rtlCol="0">
              <a:spAutoFit/>
            </a:bodyPr>
            <a:lstStyle/>
            <a:p>
              <a:r>
                <a:rPr lang="fr-FR" sz="1400" spc="12" dirty="0">
                  <a:latin typeface="Arial"/>
                </a:rPr>
                <a:t>dans la métallurgie et la fabrication de machines</a:t>
              </a:r>
              <a:br>
                <a:rPr lang="fr-FR" sz="1400" spc="12" dirty="0">
                  <a:latin typeface="Arial"/>
                </a:rPr>
              </a:br>
              <a:r>
                <a:rPr lang="fr-FR" sz="1400" spc="12" dirty="0">
                  <a:latin typeface="Arial"/>
                </a:rPr>
                <a:t>et d’équipements</a:t>
              </a:r>
              <a:endParaRPr lang="fr-FR" sz="1400" dirty="0">
                <a:latin typeface="Arial" panose="020B0604020202020204" pitchFamily="34" charset="0"/>
                <a:cs typeface="Arial" panose="020B0604020202020204" pitchFamily="34" charset="0"/>
              </a:endParaRPr>
            </a:p>
          </p:txBody>
        </p:sp>
        <p:sp>
          <p:nvSpPr>
            <p:cNvPr id="115" name="ZoneTexte 114">
              <a:extLst>
                <a:ext uri="{FF2B5EF4-FFF2-40B4-BE49-F238E27FC236}">
                  <a16:creationId xmlns:a16="http://schemas.microsoft.com/office/drawing/2014/main" id="{6876036C-205D-E595-6F58-816EAFDB3479}"/>
                </a:ext>
              </a:extLst>
            </p:cNvPr>
            <p:cNvSpPr txBox="1"/>
            <p:nvPr/>
          </p:nvSpPr>
          <p:spPr>
            <a:xfrm>
              <a:off x="3507642" y="10427001"/>
              <a:ext cx="1937070" cy="800220"/>
            </a:xfrm>
            <a:prstGeom prst="rect">
              <a:avLst/>
            </a:prstGeom>
            <a:solidFill>
              <a:srgbClr val="E4002B"/>
            </a:solidFill>
            <a:ln>
              <a:noFill/>
            </a:ln>
          </p:spPr>
          <p:txBody>
            <a:bodyPr wrap="none" rtlCol="0">
              <a:spAutoFit/>
            </a:bodyPr>
            <a:lstStyle/>
            <a:p>
              <a:r>
                <a:rPr lang="fr-FR" sz="2000" b="1" dirty="0">
                  <a:solidFill>
                    <a:schemeClr val="bg1"/>
                  </a:solidFill>
                  <a:latin typeface="Arial" panose="020B0604020202020204" pitchFamily="34" charset="0"/>
                  <a:cs typeface="Arial" panose="020B0604020202020204" pitchFamily="34" charset="0"/>
                </a:rPr>
                <a:t>13 130</a:t>
              </a:r>
            </a:p>
          </p:txBody>
        </p:sp>
      </p:grpSp>
      <p:sp>
        <p:nvSpPr>
          <p:cNvPr id="5" name="Rectangle 4">
            <a:extLst>
              <a:ext uri="{FF2B5EF4-FFF2-40B4-BE49-F238E27FC236}">
                <a16:creationId xmlns:a16="http://schemas.microsoft.com/office/drawing/2014/main" id="{342CFF2C-914D-F130-6CE2-8E707D7475B0}"/>
              </a:ext>
            </a:extLst>
          </p:cNvPr>
          <p:cNvSpPr/>
          <p:nvPr/>
        </p:nvSpPr>
        <p:spPr>
          <a:xfrm>
            <a:off x="8148499" y="0"/>
            <a:ext cx="105878" cy="6858000"/>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00"/>
          </a:p>
        </p:txBody>
      </p:sp>
      <p:sp>
        <p:nvSpPr>
          <p:cNvPr id="6" name="Rectangle 5">
            <a:extLst>
              <a:ext uri="{FF2B5EF4-FFF2-40B4-BE49-F238E27FC236}">
                <a16:creationId xmlns:a16="http://schemas.microsoft.com/office/drawing/2014/main" id="{114B606C-D409-0922-225A-EAC3FB65361E}"/>
              </a:ext>
            </a:extLst>
          </p:cNvPr>
          <p:cNvSpPr/>
          <p:nvPr/>
        </p:nvSpPr>
        <p:spPr>
          <a:xfrm>
            <a:off x="6384789" y="2340036"/>
            <a:ext cx="1649495" cy="989732"/>
          </a:xfrm>
          <a:prstGeom prst="rect">
            <a:avLst/>
          </a:prstGeom>
          <a:no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wrap="square" lIns="54000" tIns="27000" rIns="54000" bIns="54000" rtlCol="0" anchor="ctr">
            <a:spAutoFit/>
          </a:bodyPr>
          <a:lstStyle/>
          <a:p>
            <a:pPr defTabSz="171450">
              <a:defRPr/>
            </a:pPr>
            <a:r>
              <a:rPr lang="fr-FR" sz="3600" b="1" spc="12" dirty="0">
                <a:solidFill>
                  <a:schemeClr val="bg1"/>
                </a:solidFill>
                <a:latin typeface="Arial"/>
              </a:rPr>
              <a:t>8 021 </a:t>
            </a:r>
            <a:br>
              <a:rPr lang="fr-FR" sz="3600" b="1" spc="12" dirty="0">
                <a:solidFill>
                  <a:srgbClr val="F60000"/>
                </a:solidFill>
                <a:latin typeface="Arial"/>
              </a:rPr>
            </a:br>
            <a:r>
              <a:rPr lang="fr-FR" sz="1600" b="1" dirty="0">
                <a:solidFill>
                  <a:schemeClr val="tx1"/>
                </a:solidFill>
                <a:latin typeface="Arial"/>
              </a:rPr>
              <a:t>établissements</a:t>
            </a:r>
            <a:br>
              <a:rPr lang="fr-FR" sz="2200" b="1" dirty="0">
                <a:solidFill>
                  <a:schemeClr val="tx1"/>
                </a:solidFill>
                <a:latin typeface="Arial"/>
              </a:rPr>
            </a:br>
            <a:r>
              <a:rPr lang="fr-FR" sz="700" i="1" spc="12" dirty="0">
                <a:solidFill>
                  <a:schemeClr val="tx1"/>
                </a:solidFill>
                <a:latin typeface="Arial"/>
              </a:rPr>
              <a:t>(source : Insee-REE 01/01/2021)</a:t>
            </a:r>
          </a:p>
        </p:txBody>
      </p:sp>
      <p:sp>
        <p:nvSpPr>
          <p:cNvPr id="70" name="object 13">
            <a:extLst>
              <a:ext uri="{FF2B5EF4-FFF2-40B4-BE49-F238E27FC236}">
                <a16:creationId xmlns:a16="http://schemas.microsoft.com/office/drawing/2014/main" id="{229FBAE1-16C3-4AA5-BBBA-B5DDD56EAE36}"/>
              </a:ext>
            </a:extLst>
          </p:cNvPr>
          <p:cNvSpPr txBox="1"/>
          <p:nvPr/>
        </p:nvSpPr>
        <p:spPr>
          <a:xfrm>
            <a:off x="5811936" y="3902569"/>
            <a:ext cx="2197932" cy="846555"/>
          </a:xfrm>
          <a:prstGeom prst="rect">
            <a:avLst/>
          </a:prstGeom>
          <a:noFill/>
        </p:spPr>
        <p:txBody>
          <a:bodyPr vert="horz" wrap="square" lIns="90000" tIns="90000" rIns="90000" bIns="90000" rtlCol="0">
            <a:spAutoFit/>
          </a:bodyPr>
          <a:lstStyle/>
          <a:p>
            <a:pPr marL="175301" indent="-171450">
              <a:lnSpc>
                <a:spcPct val="90000"/>
              </a:lnSpc>
              <a:buFont typeface="Arial" panose="020B0604020202020204" pitchFamily="34" charset="0"/>
              <a:buChar char="•"/>
            </a:pPr>
            <a:r>
              <a:rPr lang="fr-FR" sz="1200" spc="6" dirty="0">
                <a:solidFill>
                  <a:schemeClr val="bg1"/>
                </a:solidFill>
                <a:latin typeface="Arial" panose="020B0604020202020204" pitchFamily="34" charset="0"/>
                <a:cs typeface="Arial" panose="020B0604020202020204" pitchFamily="34" charset="0"/>
              </a:rPr>
              <a:t>Produire </a:t>
            </a:r>
            <a:r>
              <a:rPr lang="fr-FR" sz="1200" b="1" spc="6" dirty="0">
                <a:solidFill>
                  <a:schemeClr val="bg1"/>
                </a:solidFill>
                <a:latin typeface="Arial" panose="020B0604020202020204" pitchFamily="34" charset="0"/>
                <a:cs typeface="Arial" panose="020B0604020202020204" pitchFamily="34" charset="0"/>
              </a:rPr>
              <a:t>mieux</a:t>
            </a:r>
          </a:p>
          <a:p>
            <a:pPr marL="175301" indent="-171450">
              <a:lnSpc>
                <a:spcPct val="90000"/>
              </a:lnSpc>
              <a:buFont typeface="Arial" panose="020B0604020202020204" pitchFamily="34" charset="0"/>
              <a:buChar char="•"/>
            </a:pPr>
            <a:r>
              <a:rPr lang="fr-FR" sz="1200" spc="6" dirty="0">
                <a:solidFill>
                  <a:schemeClr val="bg1"/>
                </a:solidFill>
                <a:latin typeface="Arial" panose="020B0604020202020204" pitchFamily="34" charset="0"/>
                <a:cs typeface="Arial" panose="020B0604020202020204" pitchFamily="34" charset="0"/>
              </a:rPr>
              <a:t>Produire </a:t>
            </a:r>
            <a:r>
              <a:rPr lang="fr-FR" sz="1200" b="1" spc="6" dirty="0">
                <a:solidFill>
                  <a:schemeClr val="bg1"/>
                </a:solidFill>
                <a:latin typeface="Arial" panose="020B0604020202020204" pitchFamily="34" charset="0"/>
                <a:cs typeface="Arial" panose="020B0604020202020204" pitchFamily="34" charset="0"/>
              </a:rPr>
              <a:t>plus près</a:t>
            </a:r>
          </a:p>
          <a:p>
            <a:pPr marL="175301" indent="-171450">
              <a:lnSpc>
                <a:spcPct val="90000"/>
              </a:lnSpc>
              <a:buFont typeface="Arial" panose="020B0604020202020204" pitchFamily="34" charset="0"/>
              <a:buChar char="•"/>
            </a:pPr>
            <a:r>
              <a:rPr lang="fr-FR" sz="1200" spc="6" dirty="0">
                <a:solidFill>
                  <a:schemeClr val="bg1"/>
                </a:solidFill>
                <a:latin typeface="Arial" panose="020B0604020202020204" pitchFamily="34" charset="0"/>
                <a:cs typeface="Arial" panose="020B0604020202020204" pitchFamily="34" charset="0"/>
              </a:rPr>
              <a:t>Chaînes de valeur plus </a:t>
            </a:r>
            <a:r>
              <a:rPr lang="fr-FR" sz="1200" b="1" spc="6" dirty="0">
                <a:solidFill>
                  <a:schemeClr val="bg1"/>
                </a:solidFill>
                <a:latin typeface="Arial" panose="020B0604020202020204" pitchFamily="34" charset="0"/>
                <a:cs typeface="Arial" panose="020B0604020202020204" pitchFamily="34" charset="0"/>
              </a:rPr>
              <a:t>résilientes</a:t>
            </a:r>
          </a:p>
        </p:txBody>
      </p:sp>
      <p:sp>
        <p:nvSpPr>
          <p:cNvPr id="75" name="object 13">
            <a:extLst>
              <a:ext uri="{FF2B5EF4-FFF2-40B4-BE49-F238E27FC236}">
                <a16:creationId xmlns:a16="http://schemas.microsoft.com/office/drawing/2014/main" id="{C8F58807-5EED-4328-AA5A-4384C8557641}"/>
              </a:ext>
            </a:extLst>
          </p:cNvPr>
          <p:cNvSpPr txBox="1"/>
          <p:nvPr/>
        </p:nvSpPr>
        <p:spPr>
          <a:xfrm>
            <a:off x="5811936" y="3593778"/>
            <a:ext cx="2346152" cy="332399"/>
          </a:xfrm>
          <a:prstGeom prst="rect">
            <a:avLst/>
          </a:prstGeom>
        </p:spPr>
        <p:txBody>
          <a:bodyPr vert="horz" wrap="square" lIns="0" tIns="0" rIns="0" bIns="0" rtlCol="0">
            <a:spAutoFit/>
          </a:bodyPr>
          <a:lstStyle/>
          <a:p>
            <a:pPr marL="3851">
              <a:lnSpc>
                <a:spcPct val="90000"/>
              </a:lnSpc>
            </a:pPr>
            <a:r>
              <a:rPr lang="fr-FR" sz="1200" b="1" spc="6" dirty="0">
                <a:solidFill>
                  <a:schemeClr val="bg1"/>
                </a:solidFill>
                <a:latin typeface="Arial"/>
                <a:cs typeface="Arial"/>
              </a:rPr>
              <a:t>MOTEUR DE LA TRANSITION DU TERRITOIRE</a:t>
            </a:r>
          </a:p>
        </p:txBody>
      </p:sp>
      <p:sp>
        <p:nvSpPr>
          <p:cNvPr id="82" name="object 13">
            <a:extLst>
              <a:ext uri="{FF2B5EF4-FFF2-40B4-BE49-F238E27FC236}">
                <a16:creationId xmlns:a16="http://schemas.microsoft.com/office/drawing/2014/main" id="{60DFF5FC-3AF7-4553-A711-FAB9C058E53B}"/>
              </a:ext>
            </a:extLst>
          </p:cNvPr>
          <p:cNvSpPr txBox="1"/>
          <p:nvPr/>
        </p:nvSpPr>
        <p:spPr>
          <a:xfrm>
            <a:off x="5811936" y="5131656"/>
            <a:ext cx="2293075" cy="1012755"/>
          </a:xfrm>
          <a:prstGeom prst="rect">
            <a:avLst/>
          </a:prstGeom>
          <a:noFill/>
        </p:spPr>
        <p:txBody>
          <a:bodyPr vert="horz" wrap="square" lIns="90000" tIns="90000" rIns="90000" bIns="90000" rtlCol="0">
            <a:spAutoFit/>
          </a:bodyPr>
          <a:lstStyle/>
          <a:p>
            <a:pPr marL="175301" indent="-171450">
              <a:lnSpc>
                <a:spcPct val="90000"/>
              </a:lnSpc>
              <a:buFont typeface="Arial" panose="020B0604020202020204" pitchFamily="34" charset="0"/>
              <a:buChar char="•"/>
            </a:pPr>
            <a:r>
              <a:rPr lang="fr-FR" sz="1200" spc="6" dirty="0">
                <a:solidFill>
                  <a:schemeClr val="bg1"/>
                </a:solidFill>
                <a:latin typeface="Arial" panose="020B0604020202020204" pitchFamily="34" charset="0"/>
                <a:cs typeface="Arial" panose="020B0604020202020204" pitchFamily="34" charset="0"/>
              </a:rPr>
              <a:t>Recruter </a:t>
            </a:r>
            <a:r>
              <a:rPr lang="fr-FR" sz="1200" b="1" spc="6" dirty="0">
                <a:solidFill>
                  <a:schemeClr val="bg1"/>
                </a:solidFill>
                <a:latin typeface="Arial" panose="020B0604020202020204" pitchFamily="34" charset="0"/>
                <a:cs typeface="Arial" panose="020B0604020202020204" pitchFamily="34" charset="0"/>
              </a:rPr>
              <a:t>différemment</a:t>
            </a:r>
          </a:p>
          <a:p>
            <a:pPr marL="175301" indent="-171450">
              <a:lnSpc>
                <a:spcPct val="90000"/>
              </a:lnSpc>
              <a:buFont typeface="Arial" panose="020B0604020202020204" pitchFamily="34" charset="0"/>
              <a:buChar char="•"/>
            </a:pPr>
            <a:r>
              <a:rPr lang="fr-FR" sz="1200" spc="6" dirty="0">
                <a:solidFill>
                  <a:schemeClr val="bg1"/>
                </a:solidFill>
                <a:latin typeface="Arial" panose="020B0604020202020204" pitchFamily="34" charset="0"/>
                <a:cs typeface="Arial" panose="020B0604020202020204" pitchFamily="34" charset="0"/>
              </a:rPr>
              <a:t>Recruter </a:t>
            </a:r>
            <a:r>
              <a:rPr lang="fr-FR" sz="1200" b="1" spc="6" dirty="0">
                <a:solidFill>
                  <a:schemeClr val="bg1"/>
                </a:solidFill>
                <a:latin typeface="Arial" panose="020B0604020202020204" pitchFamily="34" charset="0"/>
                <a:cs typeface="Arial" panose="020B0604020202020204" pitchFamily="34" charset="0"/>
              </a:rPr>
              <a:t>local</a:t>
            </a:r>
          </a:p>
          <a:p>
            <a:pPr marL="175301" indent="-171450">
              <a:lnSpc>
                <a:spcPct val="90000"/>
              </a:lnSpc>
              <a:buFont typeface="Arial" panose="020B0604020202020204" pitchFamily="34" charset="0"/>
              <a:buChar char="•"/>
            </a:pPr>
            <a:r>
              <a:rPr lang="fr-FR" sz="1200" spc="6" dirty="0">
                <a:solidFill>
                  <a:schemeClr val="bg1"/>
                </a:solidFill>
                <a:latin typeface="Arial" panose="020B0604020202020204" pitchFamily="34" charset="0"/>
                <a:cs typeface="Arial" panose="020B0604020202020204" pitchFamily="34" charset="0"/>
              </a:rPr>
              <a:t>Renforcer </a:t>
            </a:r>
            <a:r>
              <a:rPr lang="fr-FR" sz="1200" b="1" spc="6" dirty="0">
                <a:solidFill>
                  <a:schemeClr val="bg1"/>
                </a:solidFill>
                <a:latin typeface="Arial" panose="020B0604020202020204" pitchFamily="34" charset="0"/>
                <a:cs typeface="Arial" panose="020B0604020202020204" pitchFamily="34" charset="0"/>
              </a:rPr>
              <a:t>les compétences et l’accès à l’emploi industriel</a:t>
            </a:r>
            <a:endParaRPr lang="fr-FR" sz="1200" spc="6" dirty="0">
              <a:solidFill>
                <a:schemeClr val="bg1"/>
              </a:solidFill>
              <a:latin typeface="Arial" panose="020B0604020202020204" pitchFamily="34" charset="0"/>
              <a:cs typeface="Arial" panose="020B0604020202020204" pitchFamily="34" charset="0"/>
            </a:endParaRPr>
          </a:p>
        </p:txBody>
      </p:sp>
      <p:sp>
        <p:nvSpPr>
          <p:cNvPr id="84" name="object 13">
            <a:extLst>
              <a:ext uri="{FF2B5EF4-FFF2-40B4-BE49-F238E27FC236}">
                <a16:creationId xmlns:a16="http://schemas.microsoft.com/office/drawing/2014/main" id="{53496179-B259-418B-BC2F-CA06C350288C}"/>
              </a:ext>
            </a:extLst>
          </p:cNvPr>
          <p:cNvSpPr txBox="1"/>
          <p:nvPr/>
        </p:nvSpPr>
        <p:spPr>
          <a:xfrm>
            <a:off x="5811936" y="4960749"/>
            <a:ext cx="4031538" cy="166199"/>
          </a:xfrm>
          <a:prstGeom prst="rect">
            <a:avLst/>
          </a:prstGeom>
        </p:spPr>
        <p:txBody>
          <a:bodyPr vert="horz" wrap="square" lIns="0" tIns="0" rIns="0" bIns="0" rtlCol="0">
            <a:spAutoFit/>
          </a:bodyPr>
          <a:lstStyle/>
          <a:p>
            <a:pPr marL="3851">
              <a:lnSpc>
                <a:spcPct val="90000"/>
              </a:lnSpc>
            </a:pPr>
            <a:r>
              <a:rPr lang="fr-FR" sz="1200" b="1" spc="6" dirty="0">
                <a:solidFill>
                  <a:schemeClr val="bg1"/>
                </a:solidFill>
                <a:latin typeface="Arial"/>
                <a:cs typeface="Arial"/>
              </a:rPr>
              <a:t>MOTEUR DE L’EMPLOI</a:t>
            </a:r>
          </a:p>
        </p:txBody>
      </p:sp>
      <p:sp>
        <p:nvSpPr>
          <p:cNvPr id="85" name="object 8">
            <a:extLst>
              <a:ext uri="{FF2B5EF4-FFF2-40B4-BE49-F238E27FC236}">
                <a16:creationId xmlns:a16="http://schemas.microsoft.com/office/drawing/2014/main" id="{E8D8F1CE-E14B-442E-86A4-A4760A7EB891}"/>
              </a:ext>
            </a:extLst>
          </p:cNvPr>
          <p:cNvSpPr txBox="1">
            <a:spLocks/>
          </p:cNvSpPr>
          <p:nvPr/>
        </p:nvSpPr>
        <p:spPr>
          <a:xfrm>
            <a:off x="515074" y="506027"/>
            <a:ext cx="10480426" cy="1019356"/>
          </a:xfrm>
          <a:prstGeom prst="rect">
            <a:avLst/>
          </a:prstGeom>
        </p:spPr>
        <p:txBody>
          <a:bodyPr vert="horz" wrap="square" lIns="0" tIns="3658" rIns="0" bIns="0" rtlCol="0" anchor="ctr">
            <a:spAutoFit/>
          </a:bodyPr>
          <a:lstStyle>
            <a:lvl1pPr algn="l" defTabSz="1828709" rtl="0" eaLnBrk="1" latinLnBrk="0" hangingPunct="1">
              <a:lnSpc>
                <a:spcPct val="90000"/>
              </a:lnSpc>
              <a:spcBef>
                <a:spcPct val="0"/>
              </a:spcBef>
              <a:buNone/>
              <a:defRPr sz="8800" kern="1200">
                <a:solidFill>
                  <a:schemeClr val="tx1"/>
                </a:solidFill>
                <a:latin typeface="+mj-lt"/>
                <a:ea typeface="+mj-ea"/>
                <a:cs typeface="+mj-cs"/>
              </a:defRPr>
            </a:lvl1pPr>
          </a:lstStyle>
          <a:p>
            <a:pPr marL="3851">
              <a:lnSpc>
                <a:spcPct val="100000"/>
              </a:lnSpc>
              <a:spcBef>
                <a:spcPts val="29"/>
              </a:spcBef>
              <a:tabLst>
                <a:tab pos="1528050" algn="l"/>
              </a:tabLst>
            </a:pPr>
            <a:r>
              <a:rPr lang="fr-FR" sz="2200" spc="-2" dirty="0">
                <a:solidFill>
                  <a:srgbClr val="E4002B"/>
                </a:solidFill>
                <a:latin typeface="Arial Black" panose="020B0A04020102020204" pitchFamily="34" charset="0"/>
              </a:rPr>
              <a:t>L’INDUSTRIE, </a:t>
            </a:r>
            <a:r>
              <a:rPr lang="fr-FR" altLang="fr-FR" sz="2200" spc="-2" dirty="0">
                <a:latin typeface="Arial Black" panose="020B0A04020102020204" pitchFamily="34" charset="0"/>
              </a:rPr>
              <a:t>AU CŒUR </a:t>
            </a:r>
          </a:p>
          <a:p>
            <a:pPr marL="3851">
              <a:lnSpc>
                <a:spcPct val="100000"/>
              </a:lnSpc>
              <a:spcBef>
                <a:spcPts val="29"/>
              </a:spcBef>
              <a:tabLst>
                <a:tab pos="1528050" algn="l"/>
              </a:tabLst>
            </a:pPr>
            <a:r>
              <a:rPr lang="fr-FR" altLang="fr-FR" sz="2200" spc="-2" dirty="0">
                <a:latin typeface="Arial Black" panose="020B0A04020102020204" pitchFamily="34" charset="0"/>
              </a:rPr>
              <a:t>      DU PROJET MÉTROPOLITAIN</a:t>
            </a:r>
          </a:p>
          <a:p>
            <a:pPr marL="3851">
              <a:lnSpc>
                <a:spcPct val="100000"/>
              </a:lnSpc>
              <a:spcBef>
                <a:spcPts val="29"/>
              </a:spcBef>
              <a:tabLst>
                <a:tab pos="1528050" algn="l"/>
              </a:tabLst>
            </a:pPr>
            <a:r>
              <a:rPr lang="fr-FR" sz="2200" spc="-2" dirty="0">
                <a:latin typeface="Arial Black" panose="020B0A04020102020204" pitchFamily="34" charset="0"/>
              </a:rPr>
              <a:t> </a:t>
            </a:r>
          </a:p>
        </p:txBody>
      </p:sp>
    </p:spTree>
    <p:extLst>
      <p:ext uri="{BB962C8B-B14F-4D97-AF65-F5344CB8AC3E}">
        <p14:creationId xmlns:p14="http://schemas.microsoft.com/office/powerpoint/2010/main" val="404687544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21BEB2-3831-3559-0C04-2CEC113C64BE}"/>
            </a:ext>
          </a:extLst>
        </p:cNvPr>
        <p:cNvGrpSpPr/>
        <p:nvPr/>
      </p:nvGrpSpPr>
      <p:grpSpPr>
        <a:xfrm>
          <a:off x="0" y="0"/>
          <a:ext cx="0" cy="0"/>
          <a:chOff x="0" y="0"/>
          <a:chExt cx="0" cy="0"/>
        </a:xfrm>
      </p:grpSpPr>
      <p:pic>
        <p:nvPicPr>
          <p:cNvPr id="3" name="Image 2">
            <a:extLst>
              <a:ext uri="{FF2B5EF4-FFF2-40B4-BE49-F238E27FC236}">
                <a16:creationId xmlns:a16="http://schemas.microsoft.com/office/drawing/2014/main" id="{4023FDDE-3E3E-41AF-BE80-D5EB418681B3}"/>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9245997" y="0"/>
            <a:ext cx="2945607" cy="6858000"/>
          </a:xfrm>
          <a:prstGeom prst="rect">
            <a:avLst/>
          </a:prstGeom>
        </p:spPr>
      </p:pic>
      <p:sp>
        <p:nvSpPr>
          <p:cNvPr id="4" name="Rectangle 3">
            <a:extLst>
              <a:ext uri="{FF2B5EF4-FFF2-40B4-BE49-F238E27FC236}">
                <a16:creationId xmlns:a16="http://schemas.microsoft.com/office/drawing/2014/main" id="{C7502A49-87F9-1BBA-915F-8329EFCB64C2}"/>
              </a:ext>
            </a:extLst>
          </p:cNvPr>
          <p:cNvSpPr/>
          <p:nvPr/>
        </p:nvSpPr>
        <p:spPr>
          <a:xfrm>
            <a:off x="9245997" y="0"/>
            <a:ext cx="105878" cy="6858000"/>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00"/>
          </a:p>
        </p:txBody>
      </p:sp>
      <p:sp>
        <p:nvSpPr>
          <p:cNvPr id="10" name="Rectangle 9">
            <a:extLst>
              <a:ext uri="{FF2B5EF4-FFF2-40B4-BE49-F238E27FC236}">
                <a16:creationId xmlns:a16="http://schemas.microsoft.com/office/drawing/2014/main" id="{EF64BF6B-4729-862E-A160-67343D536371}"/>
              </a:ext>
            </a:extLst>
          </p:cNvPr>
          <p:cNvSpPr/>
          <p:nvPr/>
        </p:nvSpPr>
        <p:spPr>
          <a:xfrm>
            <a:off x="397" y="0"/>
            <a:ext cx="105878" cy="6858000"/>
          </a:xfrm>
          <a:prstGeom prst="rect">
            <a:avLst/>
          </a:prstGeom>
          <a:solidFill>
            <a:srgbClr val="E400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00"/>
          </a:p>
        </p:txBody>
      </p:sp>
      <p:sp>
        <p:nvSpPr>
          <p:cNvPr id="11" name="object 8">
            <a:extLst>
              <a:ext uri="{FF2B5EF4-FFF2-40B4-BE49-F238E27FC236}">
                <a16:creationId xmlns:a16="http://schemas.microsoft.com/office/drawing/2014/main" id="{E435921B-54BD-D6D3-7A8A-19EC87D74DED}"/>
              </a:ext>
            </a:extLst>
          </p:cNvPr>
          <p:cNvSpPr txBox="1">
            <a:spLocks/>
          </p:cNvSpPr>
          <p:nvPr/>
        </p:nvSpPr>
        <p:spPr>
          <a:xfrm>
            <a:off x="515074" y="506027"/>
            <a:ext cx="10480426" cy="1019356"/>
          </a:xfrm>
          <a:prstGeom prst="rect">
            <a:avLst/>
          </a:prstGeom>
        </p:spPr>
        <p:txBody>
          <a:bodyPr vert="horz" wrap="square" lIns="0" tIns="3658" rIns="0" bIns="0" rtlCol="0" anchor="ctr">
            <a:spAutoFit/>
          </a:bodyPr>
          <a:lstStyle>
            <a:lvl1pPr algn="l" defTabSz="1828709" rtl="0" eaLnBrk="1" latinLnBrk="0" hangingPunct="1">
              <a:lnSpc>
                <a:spcPct val="90000"/>
              </a:lnSpc>
              <a:spcBef>
                <a:spcPct val="0"/>
              </a:spcBef>
              <a:buNone/>
              <a:defRPr sz="8800" kern="1200">
                <a:solidFill>
                  <a:schemeClr val="tx1"/>
                </a:solidFill>
                <a:latin typeface="+mj-lt"/>
                <a:ea typeface="+mj-ea"/>
                <a:cs typeface="+mj-cs"/>
              </a:defRPr>
            </a:lvl1pPr>
          </a:lstStyle>
          <a:p>
            <a:pPr marL="3851">
              <a:lnSpc>
                <a:spcPct val="100000"/>
              </a:lnSpc>
              <a:spcBef>
                <a:spcPts val="29"/>
              </a:spcBef>
              <a:tabLst>
                <a:tab pos="1528050" algn="l"/>
              </a:tabLst>
            </a:pPr>
            <a:r>
              <a:rPr lang="fr-FR" sz="2200" spc="-2" dirty="0">
                <a:solidFill>
                  <a:srgbClr val="E4002B"/>
                </a:solidFill>
                <a:latin typeface="Arial Black" panose="020B0A04020102020204" pitchFamily="34" charset="0"/>
              </a:rPr>
              <a:t>UNE STRATÉGIE GLOBALE </a:t>
            </a:r>
          </a:p>
          <a:p>
            <a:pPr marL="3851">
              <a:lnSpc>
                <a:spcPct val="100000"/>
              </a:lnSpc>
              <a:spcBef>
                <a:spcPts val="29"/>
              </a:spcBef>
              <a:tabLst>
                <a:tab pos="1528050" algn="l"/>
              </a:tabLst>
            </a:pPr>
            <a:r>
              <a:rPr lang="fr-FR" sz="2200" spc="-2" dirty="0">
                <a:latin typeface="Arial Black" panose="020B0A04020102020204" pitchFamily="34" charset="0"/>
              </a:rPr>
              <a:t>      AU CŒUR DU PROJET MÉTROPOLITAIN</a:t>
            </a:r>
          </a:p>
          <a:p>
            <a:pPr marL="3851">
              <a:lnSpc>
                <a:spcPct val="100000"/>
              </a:lnSpc>
              <a:spcBef>
                <a:spcPts val="29"/>
              </a:spcBef>
              <a:tabLst>
                <a:tab pos="1528050" algn="l"/>
              </a:tabLst>
            </a:pPr>
            <a:r>
              <a:rPr lang="fr-FR" sz="2200" spc="-2" dirty="0">
                <a:latin typeface="Arial Black" panose="020B0A04020102020204" pitchFamily="34" charset="0"/>
              </a:rPr>
              <a:t> </a:t>
            </a:r>
          </a:p>
        </p:txBody>
      </p:sp>
      <p:pic>
        <p:nvPicPr>
          <p:cNvPr id="69" name="Graphique 68">
            <a:extLst>
              <a:ext uri="{FF2B5EF4-FFF2-40B4-BE49-F238E27FC236}">
                <a16:creationId xmlns:a16="http://schemas.microsoft.com/office/drawing/2014/main" id="{25EEBE01-9898-E4D1-3D9A-99699BA2E853}"/>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rot="16200000">
            <a:off x="11252913" y="5918020"/>
            <a:ext cx="1392175" cy="487782"/>
          </a:xfrm>
          <a:prstGeom prst="rect">
            <a:avLst/>
          </a:prstGeom>
        </p:spPr>
      </p:pic>
      <p:grpSp>
        <p:nvGrpSpPr>
          <p:cNvPr id="47" name="Groupe 46">
            <a:extLst>
              <a:ext uri="{FF2B5EF4-FFF2-40B4-BE49-F238E27FC236}">
                <a16:creationId xmlns:a16="http://schemas.microsoft.com/office/drawing/2014/main" id="{18B2C763-560E-3775-47A9-90C1179B27CF}"/>
              </a:ext>
            </a:extLst>
          </p:cNvPr>
          <p:cNvGrpSpPr/>
          <p:nvPr/>
        </p:nvGrpSpPr>
        <p:grpSpPr>
          <a:xfrm>
            <a:off x="295263" y="1639594"/>
            <a:ext cx="8559409" cy="3934921"/>
            <a:chOff x="589731" y="2864321"/>
            <a:chExt cx="17118818" cy="7869841"/>
          </a:xfrm>
        </p:grpSpPr>
        <p:sp>
          <p:nvSpPr>
            <p:cNvPr id="2" name="Ellipse 1">
              <a:extLst>
                <a:ext uri="{FF2B5EF4-FFF2-40B4-BE49-F238E27FC236}">
                  <a16:creationId xmlns:a16="http://schemas.microsoft.com/office/drawing/2014/main" id="{E0F63379-2B52-8868-05AB-AD9B868A7272}"/>
                </a:ext>
              </a:extLst>
            </p:cNvPr>
            <p:cNvSpPr/>
            <p:nvPr/>
          </p:nvSpPr>
          <p:spPr>
            <a:xfrm>
              <a:off x="5845092" y="4560370"/>
              <a:ext cx="6019800" cy="6019800"/>
            </a:xfrm>
            <a:prstGeom prst="ellipse">
              <a:avLst/>
            </a:prstGeom>
            <a:solidFill>
              <a:schemeClr val="bg1"/>
            </a:solidFill>
            <a:ln>
              <a:noFill/>
            </a:ln>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sz="900"/>
            </a:p>
          </p:txBody>
        </p:sp>
        <p:sp>
          <p:nvSpPr>
            <p:cNvPr id="7" name="object 13">
              <a:extLst>
                <a:ext uri="{FF2B5EF4-FFF2-40B4-BE49-F238E27FC236}">
                  <a16:creationId xmlns:a16="http://schemas.microsoft.com/office/drawing/2014/main" id="{314A3D94-8E47-6A2D-79B9-CF53D6D00006}"/>
                </a:ext>
              </a:extLst>
            </p:cNvPr>
            <p:cNvSpPr txBox="1"/>
            <p:nvPr/>
          </p:nvSpPr>
          <p:spPr>
            <a:xfrm>
              <a:off x="6605761" y="8289574"/>
              <a:ext cx="4498464" cy="755978"/>
            </a:xfrm>
            <a:prstGeom prst="rect">
              <a:avLst/>
            </a:prstGeom>
          </p:spPr>
          <p:txBody>
            <a:bodyPr vert="horz" wrap="square" lIns="0" tIns="0" rIns="0" bIns="0" rtlCol="0">
              <a:spAutoFit/>
            </a:bodyPr>
            <a:lstStyle/>
            <a:p>
              <a:pPr marL="6419" algn="ctr" defTabSz="914343" eaLnBrk="0" fontAlgn="base" hangingPunct="0">
                <a:lnSpc>
                  <a:spcPct val="90000"/>
                </a:lnSpc>
                <a:spcBef>
                  <a:spcPct val="0"/>
                </a:spcBef>
                <a:spcAft>
                  <a:spcPct val="0"/>
                </a:spcAft>
              </a:pPr>
              <a:r>
                <a:rPr lang="fr-FR" sz="2729" b="1" spc="11" dirty="0">
                  <a:latin typeface="Arial" panose="020B0604020202020204" pitchFamily="34" charset="0"/>
                  <a:cs typeface="Arial" panose="020B0604020202020204" pitchFamily="34" charset="0"/>
                </a:rPr>
                <a:t>INDUSTRIE</a:t>
              </a:r>
              <a:endParaRPr lang="fr-FR" sz="2023" b="1" spc="-3" dirty="0">
                <a:latin typeface="Arial" panose="020B0604020202020204" pitchFamily="34" charset="0"/>
                <a:cs typeface="Arial" panose="020B0604020202020204" pitchFamily="34" charset="0"/>
              </a:endParaRPr>
            </a:p>
          </p:txBody>
        </p:sp>
        <p:grpSp>
          <p:nvGrpSpPr>
            <p:cNvPr id="35" name="Groupe 34">
              <a:extLst>
                <a:ext uri="{FF2B5EF4-FFF2-40B4-BE49-F238E27FC236}">
                  <a16:creationId xmlns:a16="http://schemas.microsoft.com/office/drawing/2014/main" id="{8ED8259D-2874-FC9B-CF61-2ABA1799C496}"/>
                </a:ext>
              </a:extLst>
            </p:cNvPr>
            <p:cNvGrpSpPr/>
            <p:nvPr/>
          </p:nvGrpSpPr>
          <p:grpSpPr>
            <a:xfrm>
              <a:off x="589731" y="4121944"/>
              <a:ext cx="3412799" cy="1997354"/>
              <a:chOff x="3898232" y="4121944"/>
              <a:chExt cx="3412799" cy="1997354"/>
            </a:xfrm>
          </p:grpSpPr>
          <p:sp>
            <p:nvSpPr>
              <p:cNvPr id="12" name="object 13">
                <a:extLst>
                  <a:ext uri="{FF2B5EF4-FFF2-40B4-BE49-F238E27FC236}">
                    <a16:creationId xmlns:a16="http://schemas.microsoft.com/office/drawing/2014/main" id="{34B8A033-BEEF-90F2-6B27-549A51B44D6C}"/>
                  </a:ext>
                </a:extLst>
              </p:cNvPr>
              <p:cNvSpPr txBox="1"/>
              <p:nvPr/>
            </p:nvSpPr>
            <p:spPr>
              <a:xfrm>
                <a:off x="3898232" y="4662488"/>
                <a:ext cx="3383923" cy="1456810"/>
              </a:xfrm>
              <a:prstGeom prst="rect">
                <a:avLst/>
              </a:prstGeom>
            </p:spPr>
            <p:txBody>
              <a:bodyPr vert="horz" wrap="square" lIns="0" tIns="0" rIns="0" bIns="0" rtlCol="0">
                <a:spAutoFit/>
              </a:bodyPr>
              <a:lstStyle/>
              <a:p>
                <a:pPr marL="6419" algn="r" defTabSz="914343" eaLnBrk="0" fontAlgn="base" hangingPunct="0">
                  <a:lnSpc>
                    <a:spcPct val="90000"/>
                  </a:lnSpc>
                  <a:spcBef>
                    <a:spcPts val="303"/>
                  </a:spcBef>
                  <a:spcAft>
                    <a:spcPct val="0"/>
                  </a:spcAft>
                </a:pPr>
                <a:r>
                  <a:rPr lang="fr-FR" sz="1315" b="1" spc="11" dirty="0">
                    <a:solidFill>
                      <a:srgbClr val="000000"/>
                    </a:solidFill>
                    <a:latin typeface="Arial"/>
                    <a:cs typeface="Arial"/>
                  </a:rPr>
                  <a:t>Une offre d’accueil complète et adaptée </a:t>
                </a:r>
                <a:r>
                  <a:rPr lang="fr-FR" sz="1315" spc="11" dirty="0">
                    <a:solidFill>
                      <a:srgbClr val="000000"/>
                    </a:solidFill>
                    <a:latin typeface="Arial"/>
                    <a:cs typeface="Arial"/>
                  </a:rPr>
                  <a:t>pour une place de l’industrie renouvelée</a:t>
                </a:r>
              </a:p>
            </p:txBody>
          </p:sp>
          <p:sp>
            <p:nvSpPr>
              <p:cNvPr id="14" name="ZoneTexte 13">
                <a:extLst>
                  <a:ext uri="{FF2B5EF4-FFF2-40B4-BE49-F238E27FC236}">
                    <a16:creationId xmlns:a16="http://schemas.microsoft.com/office/drawing/2014/main" id="{1C9B45F0-9FFB-492F-89D6-C8F80481DA5B}"/>
                  </a:ext>
                </a:extLst>
              </p:cNvPr>
              <p:cNvSpPr txBox="1"/>
              <p:nvPr/>
            </p:nvSpPr>
            <p:spPr>
              <a:xfrm>
                <a:off x="4639368" y="4121944"/>
                <a:ext cx="2671663" cy="615554"/>
              </a:xfrm>
              <a:prstGeom prst="rect">
                <a:avLst/>
              </a:prstGeom>
              <a:noFill/>
            </p:spPr>
            <p:txBody>
              <a:bodyPr wrap="square">
                <a:spAutoFit/>
              </a:bodyPr>
              <a:lstStyle/>
              <a:p>
                <a:r>
                  <a:rPr lang="fr-FR" sz="1400" b="1" spc="11" dirty="0">
                    <a:solidFill>
                      <a:srgbClr val="E4002B"/>
                    </a:solidFill>
                    <a:latin typeface="Arial"/>
                    <a:cs typeface="Arial"/>
                  </a:rPr>
                  <a:t>ACCUEILLIR</a:t>
                </a:r>
                <a:endParaRPr lang="fr-FR" sz="1400" dirty="0">
                  <a:solidFill>
                    <a:srgbClr val="E4002B"/>
                  </a:solidFill>
                </a:endParaRPr>
              </a:p>
            </p:txBody>
          </p:sp>
        </p:grpSp>
        <p:grpSp>
          <p:nvGrpSpPr>
            <p:cNvPr id="40" name="Groupe 39">
              <a:extLst>
                <a:ext uri="{FF2B5EF4-FFF2-40B4-BE49-F238E27FC236}">
                  <a16:creationId xmlns:a16="http://schemas.microsoft.com/office/drawing/2014/main" id="{2A261BFC-050F-1D9B-75F8-E1EED25BA796}"/>
                </a:ext>
              </a:extLst>
            </p:cNvPr>
            <p:cNvGrpSpPr/>
            <p:nvPr/>
          </p:nvGrpSpPr>
          <p:grpSpPr>
            <a:xfrm>
              <a:off x="762338" y="8674693"/>
              <a:ext cx="3401060" cy="1997353"/>
              <a:chOff x="4370077" y="8674693"/>
              <a:chExt cx="3401060" cy="1997353"/>
            </a:xfrm>
          </p:grpSpPr>
          <p:sp>
            <p:nvSpPr>
              <p:cNvPr id="15" name="object 13">
                <a:extLst>
                  <a:ext uri="{FF2B5EF4-FFF2-40B4-BE49-F238E27FC236}">
                    <a16:creationId xmlns:a16="http://schemas.microsoft.com/office/drawing/2014/main" id="{8ADA3B81-3D5D-6BF3-2306-576B4ABBCCD9}"/>
                  </a:ext>
                </a:extLst>
              </p:cNvPr>
              <p:cNvSpPr txBox="1"/>
              <p:nvPr/>
            </p:nvSpPr>
            <p:spPr>
              <a:xfrm>
                <a:off x="4370077" y="9215237"/>
                <a:ext cx="3169564" cy="1456809"/>
              </a:xfrm>
              <a:prstGeom prst="rect">
                <a:avLst/>
              </a:prstGeom>
            </p:spPr>
            <p:txBody>
              <a:bodyPr vert="horz" wrap="square" lIns="0" tIns="0" rIns="0" bIns="0" rtlCol="0">
                <a:spAutoFit/>
              </a:bodyPr>
              <a:lstStyle/>
              <a:p>
                <a:pPr marL="6419" algn="r" defTabSz="914343" eaLnBrk="0" fontAlgn="base" hangingPunct="0">
                  <a:lnSpc>
                    <a:spcPct val="90000"/>
                  </a:lnSpc>
                  <a:spcBef>
                    <a:spcPts val="303"/>
                  </a:spcBef>
                  <a:spcAft>
                    <a:spcPct val="0"/>
                  </a:spcAft>
                </a:pPr>
                <a:r>
                  <a:rPr lang="fr-FR" sz="1315" spc="11" dirty="0">
                    <a:solidFill>
                      <a:srgbClr val="000000"/>
                    </a:solidFill>
                    <a:latin typeface="Arial"/>
                    <a:cs typeface="Arial"/>
                  </a:rPr>
                  <a:t>Un plan qui implique</a:t>
                </a:r>
                <a:br>
                  <a:rPr lang="fr-FR" sz="1315" spc="11" dirty="0">
                    <a:solidFill>
                      <a:srgbClr val="000000"/>
                    </a:solidFill>
                    <a:latin typeface="Arial"/>
                    <a:cs typeface="Arial"/>
                  </a:rPr>
                </a:br>
                <a:r>
                  <a:rPr lang="fr-FR" sz="1315" b="1" spc="11" dirty="0">
                    <a:solidFill>
                      <a:srgbClr val="000000"/>
                    </a:solidFill>
                    <a:latin typeface="Arial"/>
                    <a:cs typeface="Arial"/>
                  </a:rPr>
                  <a:t>les territoires, les entreprises et les habitants</a:t>
                </a:r>
              </a:p>
            </p:txBody>
          </p:sp>
          <p:sp>
            <p:nvSpPr>
              <p:cNvPr id="16" name="ZoneTexte 15">
                <a:extLst>
                  <a:ext uri="{FF2B5EF4-FFF2-40B4-BE49-F238E27FC236}">
                    <a16:creationId xmlns:a16="http://schemas.microsoft.com/office/drawing/2014/main" id="{365E192D-5F3F-03C1-E85E-6AB443208359}"/>
                  </a:ext>
                </a:extLst>
              </p:cNvPr>
              <p:cNvSpPr txBox="1"/>
              <p:nvPr/>
            </p:nvSpPr>
            <p:spPr>
              <a:xfrm>
                <a:off x="5099473" y="8674693"/>
                <a:ext cx="2671664" cy="615554"/>
              </a:xfrm>
              <a:prstGeom prst="rect">
                <a:avLst/>
              </a:prstGeom>
              <a:noFill/>
            </p:spPr>
            <p:txBody>
              <a:bodyPr wrap="square">
                <a:spAutoFit/>
              </a:bodyPr>
              <a:lstStyle/>
              <a:p>
                <a:r>
                  <a:rPr lang="fr-FR" sz="1400" b="1" spc="11" dirty="0">
                    <a:solidFill>
                      <a:srgbClr val="E4002B"/>
                    </a:solidFill>
                    <a:latin typeface="Arial"/>
                    <a:cs typeface="Arial"/>
                  </a:rPr>
                  <a:t>COOPÉRER</a:t>
                </a:r>
                <a:endParaRPr lang="fr-FR" sz="1600" dirty="0">
                  <a:solidFill>
                    <a:srgbClr val="E4002B"/>
                  </a:solidFill>
                </a:endParaRPr>
              </a:p>
            </p:txBody>
          </p:sp>
        </p:grpSp>
        <p:grpSp>
          <p:nvGrpSpPr>
            <p:cNvPr id="36" name="Groupe 35">
              <a:extLst>
                <a:ext uri="{FF2B5EF4-FFF2-40B4-BE49-F238E27FC236}">
                  <a16:creationId xmlns:a16="http://schemas.microsoft.com/office/drawing/2014/main" id="{676AE837-A4AE-E0E6-B97E-181018C55267}"/>
                </a:ext>
              </a:extLst>
            </p:cNvPr>
            <p:cNvGrpSpPr/>
            <p:nvPr/>
          </p:nvGrpSpPr>
          <p:grpSpPr>
            <a:xfrm>
              <a:off x="13684701" y="4154680"/>
              <a:ext cx="3813527" cy="1997354"/>
              <a:chOff x="15125448" y="4154680"/>
              <a:chExt cx="3813527" cy="1997354"/>
            </a:xfrm>
          </p:grpSpPr>
          <p:sp>
            <p:nvSpPr>
              <p:cNvPr id="23" name="object 13">
                <a:extLst>
                  <a:ext uri="{FF2B5EF4-FFF2-40B4-BE49-F238E27FC236}">
                    <a16:creationId xmlns:a16="http://schemas.microsoft.com/office/drawing/2014/main" id="{C1D239B8-BC2B-0365-A0E2-177EF00AD768}"/>
                  </a:ext>
                </a:extLst>
              </p:cNvPr>
              <p:cNvSpPr txBox="1"/>
              <p:nvPr/>
            </p:nvSpPr>
            <p:spPr>
              <a:xfrm>
                <a:off x="15217542" y="4695224"/>
                <a:ext cx="3721433" cy="1456810"/>
              </a:xfrm>
              <a:prstGeom prst="rect">
                <a:avLst/>
              </a:prstGeom>
            </p:spPr>
            <p:txBody>
              <a:bodyPr vert="horz" wrap="square" lIns="0" tIns="0" rIns="0" bIns="0" rtlCol="0">
                <a:spAutoFit/>
              </a:bodyPr>
              <a:lstStyle/>
              <a:p>
                <a:pPr marL="6419" defTabSz="914343" eaLnBrk="0" fontAlgn="base" hangingPunct="0">
                  <a:lnSpc>
                    <a:spcPct val="90000"/>
                  </a:lnSpc>
                  <a:spcBef>
                    <a:spcPts val="303"/>
                  </a:spcBef>
                  <a:spcAft>
                    <a:spcPct val="0"/>
                  </a:spcAft>
                </a:pPr>
                <a:r>
                  <a:rPr lang="fr-FR" sz="1315" spc="11" dirty="0">
                    <a:solidFill>
                      <a:srgbClr val="000000"/>
                    </a:solidFill>
                    <a:latin typeface="Arial"/>
                    <a:cs typeface="Arial"/>
                  </a:rPr>
                  <a:t>Un accompagnement pour une </a:t>
                </a:r>
                <a:r>
                  <a:rPr lang="fr-FR" sz="1315" b="1" spc="11" dirty="0">
                    <a:solidFill>
                      <a:srgbClr val="000000"/>
                    </a:solidFill>
                    <a:latin typeface="Arial"/>
                    <a:cs typeface="Arial"/>
                  </a:rPr>
                  <a:t>industrie plus propre, plus résiliente, plus sûre</a:t>
                </a:r>
              </a:p>
            </p:txBody>
          </p:sp>
          <p:sp>
            <p:nvSpPr>
              <p:cNvPr id="28" name="ZoneTexte 27">
                <a:extLst>
                  <a:ext uri="{FF2B5EF4-FFF2-40B4-BE49-F238E27FC236}">
                    <a16:creationId xmlns:a16="http://schemas.microsoft.com/office/drawing/2014/main" id="{8FE7DA5D-1601-9CDC-EEAB-06CFD16C62C1}"/>
                  </a:ext>
                </a:extLst>
              </p:cNvPr>
              <p:cNvSpPr txBox="1"/>
              <p:nvPr/>
            </p:nvSpPr>
            <p:spPr>
              <a:xfrm>
                <a:off x="15125448" y="4154680"/>
                <a:ext cx="3383923" cy="615554"/>
              </a:xfrm>
              <a:prstGeom prst="rect">
                <a:avLst/>
              </a:prstGeom>
              <a:noFill/>
            </p:spPr>
            <p:txBody>
              <a:bodyPr wrap="square">
                <a:spAutoFit/>
              </a:bodyPr>
              <a:lstStyle/>
              <a:p>
                <a:r>
                  <a:rPr lang="fr-FR" sz="1400" b="1" spc="11" dirty="0">
                    <a:solidFill>
                      <a:srgbClr val="E4002B"/>
                    </a:solidFill>
                    <a:latin typeface="Arial"/>
                    <a:cs typeface="Arial"/>
                  </a:rPr>
                  <a:t>TRANSFORMER</a:t>
                </a:r>
                <a:endParaRPr lang="fr-FR" sz="1600" dirty="0">
                  <a:solidFill>
                    <a:srgbClr val="E4002B"/>
                  </a:solidFill>
                </a:endParaRPr>
              </a:p>
            </p:txBody>
          </p:sp>
        </p:grpSp>
        <p:grpSp>
          <p:nvGrpSpPr>
            <p:cNvPr id="39" name="Groupe 38">
              <a:extLst>
                <a:ext uri="{FF2B5EF4-FFF2-40B4-BE49-F238E27FC236}">
                  <a16:creationId xmlns:a16="http://schemas.microsoft.com/office/drawing/2014/main" id="{E84738A9-439E-6813-99CE-8CB4A74C524E}"/>
                </a:ext>
              </a:extLst>
            </p:cNvPr>
            <p:cNvGrpSpPr/>
            <p:nvPr/>
          </p:nvGrpSpPr>
          <p:grpSpPr>
            <a:xfrm>
              <a:off x="13684701" y="8736808"/>
              <a:ext cx="4023848" cy="1997354"/>
              <a:chOff x="15145081" y="8736808"/>
              <a:chExt cx="4023848" cy="1997354"/>
            </a:xfrm>
          </p:grpSpPr>
          <p:sp>
            <p:nvSpPr>
              <p:cNvPr id="30" name="object 13">
                <a:extLst>
                  <a:ext uri="{FF2B5EF4-FFF2-40B4-BE49-F238E27FC236}">
                    <a16:creationId xmlns:a16="http://schemas.microsoft.com/office/drawing/2014/main" id="{B7AC5A8B-E0E2-0FD9-637A-415CA98D0C58}"/>
                  </a:ext>
                </a:extLst>
              </p:cNvPr>
              <p:cNvSpPr txBox="1"/>
              <p:nvPr/>
            </p:nvSpPr>
            <p:spPr>
              <a:xfrm>
                <a:off x="15237175" y="9277352"/>
                <a:ext cx="3931754" cy="1456810"/>
              </a:xfrm>
              <a:prstGeom prst="rect">
                <a:avLst/>
              </a:prstGeom>
            </p:spPr>
            <p:txBody>
              <a:bodyPr vert="horz" wrap="square" lIns="0" tIns="0" rIns="0" bIns="0" rtlCol="0">
                <a:spAutoFit/>
              </a:bodyPr>
              <a:lstStyle/>
              <a:p>
                <a:pPr marL="6419" defTabSz="914343" eaLnBrk="0" fontAlgn="base" hangingPunct="0">
                  <a:lnSpc>
                    <a:spcPct val="90000"/>
                  </a:lnSpc>
                  <a:spcBef>
                    <a:spcPts val="303"/>
                  </a:spcBef>
                  <a:spcAft>
                    <a:spcPct val="0"/>
                  </a:spcAft>
                </a:pPr>
                <a:r>
                  <a:rPr lang="fr-FR" sz="1315" b="1" spc="11" dirty="0">
                    <a:solidFill>
                      <a:srgbClr val="000000"/>
                    </a:solidFill>
                    <a:latin typeface="Arial"/>
                    <a:cs typeface="Arial"/>
                  </a:rPr>
                  <a:t>Une industrie plus inclusive </a:t>
                </a:r>
                <a:r>
                  <a:rPr lang="fr-FR" sz="1315" spc="11" dirty="0">
                    <a:solidFill>
                      <a:srgbClr val="000000"/>
                    </a:solidFill>
                    <a:latin typeface="Arial"/>
                    <a:cs typeface="Arial"/>
                  </a:rPr>
                  <a:t>et reconnectée à son territoire et à ses habitants</a:t>
                </a:r>
              </a:p>
            </p:txBody>
          </p:sp>
          <p:sp>
            <p:nvSpPr>
              <p:cNvPr id="31" name="ZoneTexte 30">
                <a:extLst>
                  <a:ext uri="{FF2B5EF4-FFF2-40B4-BE49-F238E27FC236}">
                    <a16:creationId xmlns:a16="http://schemas.microsoft.com/office/drawing/2014/main" id="{650DE6CA-4170-53EC-FB0B-79270805A62F}"/>
                  </a:ext>
                </a:extLst>
              </p:cNvPr>
              <p:cNvSpPr txBox="1"/>
              <p:nvPr/>
            </p:nvSpPr>
            <p:spPr>
              <a:xfrm>
                <a:off x="15145081" y="8736808"/>
                <a:ext cx="3383924" cy="615554"/>
              </a:xfrm>
              <a:prstGeom prst="rect">
                <a:avLst/>
              </a:prstGeom>
              <a:noFill/>
            </p:spPr>
            <p:txBody>
              <a:bodyPr wrap="square">
                <a:spAutoFit/>
              </a:bodyPr>
              <a:lstStyle/>
              <a:p>
                <a:r>
                  <a:rPr lang="fr-FR" sz="1400" b="1" spc="11" dirty="0">
                    <a:solidFill>
                      <a:srgbClr val="E4002B"/>
                    </a:solidFill>
                    <a:latin typeface="Arial"/>
                    <a:cs typeface="Arial"/>
                  </a:rPr>
                  <a:t>RECONNECTER</a:t>
                </a:r>
                <a:endParaRPr lang="fr-FR" sz="1600" dirty="0">
                  <a:solidFill>
                    <a:srgbClr val="E4002B"/>
                  </a:solidFill>
                </a:endParaRPr>
              </a:p>
            </p:txBody>
          </p:sp>
        </p:grpSp>
        <p:grpSp>
          <p:nvGrpSpPr>
            <p:cNvPr id="51" name="Groupe 50">
              <a:extLst>
                <a:ext uri="{FF2B5EF4-FFF2-40B4-BE49-F238E27FC236}">
                  <a16:creationId xmlns:a16="http://schemas.microsoft.com/office/drawing/2014/main" id="{399445D3-545C-1F2F-B05F-21A071FC48CD}"/>
                </a:ext>
              </a:extLst>
            </p:cNvPr>
            <p:cNvGrpSpPr/>
            <p:nvPr/>
          </p:nvGrpSpPr>
          <p:grpSpPr>
            <a:xfrm rot="2069179">
              <a:off x="4298988" y="5638541"/>
              <a:ext cx="1581961" cy="570292"/>
              <a:chOff x="15733887" y="1722922"/>
              <a:chExt cx="1581961" cy="570292"/>
            </a:xfrm>
          </p:grpSpPr>
          <p:sp>
            <p:nvSpPr>
              <p:cNvPr id="49" name="Flèche : droite 48">
                <a:extLst>
                  <a:ext uri="{FF2B5EF4-FFF2-40B4-BE49-F238E27FC236}">
                    <a16:creationId xmlns:a16="http://schemas.microsoft.com/office/drawing/2014/main" id="{D441921C-7214-3D1C-89F3-11938078F7ED}"/>
                  </a:ext>
                </a:extLst>
              </p:cNvPr>
              <p:cNvSpPr/>
              <p:nvPr/>
            </p:nvSpPr>
            <p:spPr>
              <a:xfrm>
                <a:off x="16382198" y="1722922"/>
                <a:ext cx="933650" cy="570292"/>
              </a:xfrm>
              <a:prstGeom prst="rightArrow">
                <a:avLst/>
              </a:prstGeom>
              <a:solidFill>
                <a:srgbClr val="E4002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sz="900"/>
              </a:p>
            </p:txBody>
          </p:sp>
          <p:sp>
            <p:nvSpPr>
              <p:cNvPr id="50" name="Flèche : droite 49">
                <a:extLst>
                  <a:ext uri="{FF2B5EF4-FFF2-40B4-BE49-F238E27FC236}">
                    <a16:creationId xmlns:a16="http://schemas.microsoft.com/office/drawing/2014/main" id="{2BA0F353-337A-2734-58AD-CD70EB8F8812}"/>
                  </a:ext>
                </a:extLst>
              </p:cNvPr>
              <p:cNvSpPr/>
              <p:nvPr/>
            </p:nvSpPr>
            <p:spPr>
              <a:xfrm rot="10800000">
                <a:off x="15733887" y="1722922"/>
                <a:ext cx="933650" cy="570292"/>
              </a:xfrm>
              <a:prstGeom prst="rightArrow">
                <a:avLst/>
              </a:prstGeom>
              <a:solidFill>
                <a:srgbClr val="E4002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sz="900"/>
              </a:p>
            </p:txBody>
          </p:sp>
        </p:grpSp>
        <p:grpSp>
          <p:nvGrpSpPr>
            <p:cNvPr id="52" name="Groupe 51">
              <a:extLst>
                <a:ext uri="{FF2B5EF4-FFF2-40B4-BE49-F238E27FC236}">
                  <a16:creationId xmlns:a16="http://schemas.microsoft.com/office/drawing/2014/main" id="{D5583DAD-29F7-3788-C18E-09320DECE94A}"/>
                </a:ext>
              </a:extLst>
            </p:cNvPr>
            <p:cNvGrpSpPr/>
            <p:nvPr/>
          </p:nvGrpSpPr>
          <p:grpSpPr>
            <a:xfrm rot="19715950">
              <a:off x="11721472" y="5611148"/>
              <a:ext cx="1581961" cy="570292"/>
              <a:chOff x="15733887" y="1722922"/>
              <a:chExt cx="1581961" cy="570292"/>
            </a:xfrm>
          </p:grpSpPr>
          <p:sp>
            <p:nvSpPr>
              <p:cNvPr id="53" name="Flèche : droite 52">
                <a:extLst>
                  <a:ext uri="{FF2B5EF4-FFF2-40B4-BE49-F238E27FC236}">
                    <a16:creationId xmlns:a16="http://schemas.microsoft.com/office/drawing/2014/main" id="{F618A296-A627-4008-F8FF-DD69C1AB1B63}"/>
                  </a:ext>
                </a:extLst>
              </p:cNvPr>
              <p:cNvSpPr/>
              <p:nvPr/>
            </p:nvSpPr>
            <p:spPr>
              <a:xfrm>
                <a:off x="16382198" y="1722922"/>
                <a:ext cx="933650" cy="570292"/>
              </a:xfrm>
              <a:prstGeom prst="rightArrow">
                <a:avLst/>
              </a:prstGeom>
              <a:solidFill>
                <a:srgbClr val="E4002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sz="900"/>
              </a:p>
            </p:txBody>
          </p:sp>
          <p:sp>
            <p:nvSpPr>
              <p:cNvPr id="54" name="Flèche : droite 53">
                <a:extLst>
                  <a:ext uri="{FF2B5EF4-FFF2-40B4-BE49-F238E27FC236}">
                    <a16:creationId xmlns:a16="http://schemas.microsoft.com/office/drawing/2014/main" id="{A02A41BF-E054-4D94-A809-C25A188CC4DA}"/>
                  </a:ext>
                </a:extLst>
              </p:cNvPr>
              <p:cNvSpPr/>
              <p:nvPr/>
            </p:nvSpPr>
            <p:spPr>
              <a:xfrm rot="10800000">
                <a:off x="15733887" y="1722922"/>
                <a:ext cx="933650" cy="570292"/>
              </a:xfrm>
              <a:prstGeom prst="rightArrow">
                <a:avLst/>
              </a:prstGeom>
              <a:solidFill>
                <a:srgbClr val="E4002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sz="900"/>
              </a:p>
            </p:txBody>
          </p:sp>
        </p:grpSp>
        <p:grpSp>
          <p:nvGrpSpPr>
            <p:cNvPr id="55" name="Groupe 54">
              <a:extLst>
                <a:ext uri="{FF2B5EF4-FFF2-40B4-BE49-F238E27FC236}">
                  <a16:creationId xmlns:a16="http://schemas.microsoft.com/office/drawing/2014/main" id="{DCC85BD7-4A9F-6FD5-B37B-E054E17166F8}"/>
                </a:ext>
              </a:extLst>
            </p:cNvPr>
            <p:cNvGrpSpPr/>
            <p:nvPr/>
          </p:nvGrpSpPr>
          <p:grpSpPr>
            <a:xfrm rot="20041603">
              <a:off x="4463854" y="9126610"/>
              <a:ext cx="1581961" cy="570292"/>
              <a:chOff x="15733887" y="1722922"/>
              <a:chExt cx="1581961" cy="570292"/>
            </a:xfrm>
          </p:grpSpPr>
          <p:sp>
            <p:nvSpPr>
              <p:cNvPr id="56" name="Flèche : droite 55">
                <a:extLst>
                  <a:ext uri="{FF2B5EF4-FFF2-40B4-BE49-F238E27FC236}">
                    <a16:creationId xmlns:a16="http://schemas.microsoft.com/office/drawing/2014/main" id="{1E09AAFD-A3EC-0A6D-2A9F-658E049B19CF}"/>
                  </a:ext>
                </a:extLst>
              </p:cNvPr>
              <p:cNvSpPr/>
              <p:nvPr/>
            </p:nvSpPr>
            <p:spPr>
              <a:xfrm>
                <a:off x="16382198" y="1722922"/>
                <a:ext cx="933650" cy="570292"/>
              </a:xfrm>
              <a:prstGeom prst="rightArrow">
                <a:avLst/>
              </a:prstGeom>
              <a:solidFill>
                <a:srgbClr val="E4002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sz="900"/>
              </a:p>
            </p:txBody>
          </p:sp>
          <p:sp>
            <p:nvSpPr>
              <p:cNvPr id="57" name="Flèche : droite 56">
                <a:extLst>
                  <a:ext uri="{FF2B5EF4-FFF2-40B4-BE49-F238E27FC236}">
                    <a16:creationId xmlns:a16="http://schemas.microsoft.com/office/drawing/2014/main" id="{391ED631-55CD-8D97-888D-C94F071F390D}"/>
                  </a:ext>
                </a:extLst>
              </p:cNvPr>
              <p:cNvSpPr/>
              <p:nvPr/>
            </p:nvSpPr>
            <p:spPr>
              <a:xfrm rot="10800000">
                <a:off x="15733887" y="1722922"/>
                <a:ext cx="933650" cy="570292"/>
              </a:xfrm>
              <a:prstGeom prst="rightArrow">
                <a:avLst/>
              </a:prstGeom>
              <a:solidFill>
                <a:srgbClr val="E4002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sz="900"/>
              </a:p>
            </p:txBody>
          </p:sp>
        </p:grpSp>
        <p:grpSp>
          <p:nvGrpSpPr>
            <p:cNvPr id="58" name="Groupe 57">
              <a:extLst>
                <a:ext uri="{FF2B5EF4-FFF2-40B4-BE49-F238E27FC236}">
                  <a16:creationId xmlns:a16="http://schemas.microsoft.com/office/drawing/2014/main" id="{97E9B938-4F1C-1DED-2F93-FE6CBE0D7336}"/>
                </a:ext>
              </a:extLst>
            </p:cNvPr>
            <p:cNvGrpSpPr/>
            <p:nvPr/>
          </p:nvGrpSpPr>
          <p:grpSpPr>
            <a:xfrm rot="1680870">
              <a:off x="11730001" y="9147107"/>
              <a:ext cx="1581961" cy="570292"/>
              <a:chOff x="15733887" y="1722922"/>
              <a:chExt cx="1581961" cy="570292"/>
            </a:xfrm>
          </p:grpSpPr>
          <p:sp>
            <p:nvSpPr>
              <p:cNvPr id="59" name="Flèche : droite 58">
                <a:extLst>
                  <a:ext uri="{FF2B5EF4-FFF2-40B4-BE49-F238E27FC236}">
                    <a16:creationId xmlns:a16="http://schemas.microsoft.com/office/drawing/2014/main" id="{7C70128C-CBA0-6339-467F-D9D4D7D07400}"/>
                  </a:ext>
                </a:extLst>
              </p:cNvPr>
              <p:cNvSpPr/>
              <p:nvPr/>
            </p:nvSpPr>
            <p:spPr>
              <a:xfrm>
                <a:off x="16382198" y="1722922"/>
                <a:ext cx="933650" cy="570292"/>
              </a:xfrm>
              <a:prstGeom prst="rightArrow">
                <a:avLst/>
              </a:prstGeom>
              <a:solidFill>
                <a:srgbClr val="E4002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sz="900"/>
              </a:p>
            </p:txBody>
          </p:sp>
          <p:sp>
            <p:nvSpPr>
              <p:cNvPr id="60" name="Flèche : droite 59">
                <a:extLst>
                  <a:ext uri="{FF2B5EF4-FFF2-40B4-BE49-F238E27FC236}">
                    <a16:creationId xmlns:a16="http://schemas.microsoft.com/office/drawing/2014/main" id="{674AE6D5-BA70-58E2-5577-D3F006A59F22}"/>
                  </a:ext>
                </a:extLst>
              </p:cNvPr>
              <p:cNvSpPr/>
              <p:nvPr/>
            </p:nvSpPr>
            <p:spPr>
              <a:xfrm rot="10800000">
                <a:off x="15733887" y="1722922"/>
                <a:ext cx="933650" cy="570292"/>
              </a:xfrm>
              <a:prstGeom prst="rightArrow">
                <a:avLst/>
              </a:prstGeom>
              <a:solidFill>
                <a:srgbClr val="E4002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sz="900" dirty="0"/>
              </a:p>
            </p:txBody>
          </p:sp>
        </p:grpSp>
        <p:grpSp>
          <p:nvGrpSpPr>
            <p:cNvPr id="6" name="Graphique 5">
              <a:extLst>
                <a:ext uri="{FF2B5EF4-FFF2-40B4-BE49-F238E27FC236}">
                  <a16:creationId xmlns:a16="http://schemas.microsoft.com/office/drawing/2014/main" id="{244A17CE-5AE4-3D1C-316E-E352A72997A4}"/>
                </a:ext>
              </a:extLst>
            </p:cNvPr>
            <p:cNvGrpSpPr/>
            <p:nvPr/>
          </p:nvGrpSpPr>
          <p:grpSpPr>
            <a:xfrm>
              <a:off x="13866813" y="7324485"/>
              <a:ext cx="1600200" cy="1259025"/>
              <a:chOff x="11391106" y="6057900"/>
              <a:chExt cx="1600200" cy="1600200"/>
            </a:xfrm>
            <a:noFill/>
          </p:grpSpPr>
          <p:grpSp>
            <p:nvGrpSpPr>
              <p:cNvPr id="9" name="Graphique 5">
                <a:extLst>
                  <a:ext uri="{FF2B5EF4-FFF2-40B4-BE49-F238E27FC236}">
                    <a16:creationId xmlns:a16="http://schemas.microsoft.com/office/drawing/2014/main" id="{8BD44A9A-120F-24AE-BB25-A44BB32A943B}"/>
                  </a:ext>
                </a:extLst>
              </p:cNvPr>
              <p:cNvGrpSpPr/>
              <p:nvPr/>
            </p:nvGrpSpPr>
            <p:grpSpPr>
              <a:xfrm>
                <a:off x="11924506" y="6057900"/>
                <a:ext cx="533400" cy="838200"/>
                <a:chOff x="11924506" y="6057900"/>
                <a:chExt cx="533400" cy="838200"/>
              </a:xfrm>
              <a:noFill/>
            </p:grpSpPr>
            <p:sp>
              <p:nvSpPr>
                <p:cNvPr id="25" name="Forme libre : forme 24">
                  <a:extLst>
                    <a:ext uri="{FF2B5EF4-FFF2-40B4-BE49-F238E27FC236}">
                      <a16:creationId xmlns:a16="http://schemas.microsoft.com/office/drawing/2014/main" id="{B8FCDE84-B5E3-8AE8-4950-FD7699F32DDE}"/>
                    </a:ext>
                  </a:extLst>
                </p:cNvPr>
                <p:cNvSpPr/>
                <p:nvPr/>
              </p:nvSpPr>
              <p:spPr>
                <a:xfrm>
                  <a:off x="12076906" y="6057900"/>
                  <a:ext cx="228600" cy="304800"/>
                </a:xfrm>
                <a:custGeom>
                  <a:avLst/>
                  <a:gdLst>
                    <a:gd name="connsiteX0" fmla="*/ 114300 w 228600"/>
                    <a:gd name="connsiteY0" fmla="*/ 304800 h 304800"/>
                    <a:gd name="connsiteX1" fmla="*/ 114300 w 228600"/>
                    <a:gd name="connsiteY1" fmla="*/ 304800 h 304800"/>
                    <a:gd name="connsiteX2" fmla="*/ 0 w 228600"/>
                    <a:gd name="connsiteY2" fmla="*/ 190500 h 304800"/>
                    <a:gd name="connsiteX3" fmla="*/ 0 w 228600"/>
                    <a:gd name="connsiteY3" fmla="*/ 114300 h 304800"/>
                    <a:gd name="connsiteX4" fmla="*/ 114300 w 228600"/>
                    <a:gd name="connsiteY4" fmla="*/ 0 h 304800"/>
                    <a:gd name="connsiteX5" fmla="*/ 114300 w 228600"/>
                    <a:gd name="connsiteY5" fmla="*/ 0 h 304800"/>
                    <a:gd name="connsiteX6" fmla="*/ 228600 w 228600"/>
                    <a:gd name="connsiteY6" fmla="*/ 114300 h 304800"/>
                    <a:gd name="connsiteX7" fmla="*/ 228600 w 228600"/>
                    <a:gd name="connsiteY7" fmla="*/ 190500 h 304800"/>
                    <a:gd name="connsiteX8" fmla="*/ 114300 w 228600"/>
                    <a:gd name="connsiteY8"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8600" h="304800">
                      <a:moveTo>
                        <a:pt x="114300" y="304800"/>
                      </a:moveTo>
                      <a:lnTo>
                        <a:pt x="114300" y="304800"/>
                      </a:lnTo>
                      <a:cubicBezTo>
                        <a:pt x="51149" y="304800"/>
                        <a:pt x="0" y="253651"/>
                        <a:pt x="0" y="190500"/>
                      </a:cubicBezTo>
                      <a:lnTo>
                        <a:pt x="0" y="114300"/>
                      </a:lnTo>
                      <a:cubicBezTo>
                        <a:pt x="0" y="51149"/>
                        <a:pt x="51149" y="0"/>
                        <a:pt x="114300" y="0"/>
                      </a:cubicBezTo>
                      <a:lnTo>
                        <a:pt x="114300" y="0"/>
                      </a:lnTo>
                      <a:cubicBezTo>
                        <a:pt x="177451" y="0"/>
                        <a:pt x="228600" y="51149"/>
                        <a:pt x="228600" y="114300"/>
                      </a:cubicBezTo>
                      <a:lnTo>
                        <a:pt x="228600" y="190500"/>
                      </a:lnTo>
                      <a:cubicBezTo>
                        <a:pt x="228600" y="253651"/>
                        <a:pt x="177451" y="304800"/>
                        <a:pt x="114300" y="304800"/>
                      </a:cubicBezTo>
                      <a:close/>
                    </a:path>
                  </a:pathLst>
                </a:custGeom>
                <a:noFill/>
                <a:ln w="57150" cap="rnd">
                  <a:solidFill>
                    <a:schemeClr val="tx1"/>
                  </a:solidFill>
                  <a:prstDash val="solid"/>
                  <a:round/>
                </a:ln>
              </p:spPr>
              <p:txBody>
                <a:bodyPr rtlCol="0" anchor="ctr"/>
                <a:lstStyle/>
                <a:p>
                  <a:endParaRPr lang="fr-FR" sz="900"/>
                </a:p>
              </p:txBody>
            </p:sp>
            <p:sp>
              <p:nvSpPr>
                <p:cNvPr id="26" name="Forme libre : forme 25">
                  <a:extLst>
                    <a:ext uri="{FF2B5EF4-FFF2-40B4-BE49-F238E27FC236}">
                      <a16:creationId xmlns:a16="http://schemas.microsoft.com/office/drawing/2014/main" id="{AB6EEA4C-E111-B295-8849-C90877793200}"/>
                    </a:ext>
                  </a:extLst>
                </p:cNvPr>
                <p:cNvSpPr/>
                <p:nvPr/>
              </p:nvSpPr>
              <p:spPr>
                <a:xfrm>
                  <a:off x="11924506" y="6515100"/>
                  <a:ext cx="533400" cy="381000"/>
                </a:xfrm>
                <a:custGeom>
                  <a:avLst/>
                  <a:gdLst>
                    <a:gd name="connsiteX0" fmla="*/ 533400 w 533400"/>
                    <a:gd name="connsiteY0" fmla="*/ 381000 h 381000"/>
                    <a:gd name="connsiteX1" fmla="*/ 0 w 533400"/>
                    <a:gd name="connsiteY1" fmla="*/ 381000 h 381000"/>
                    <a:gd name="connsiteX2" fmla="*/ 0 w 533400"/>
                    <a:gd name="connsiteY2" fmla="*/ 266700 h 381000"/>
                    <a:gd name="connsiteX3" fmla="*/ 266700 w 533400"/>
                    <a:gd name="connsiteY3" fmla="*/ 0 h 381000"/>
                    <a:gd name="connsiteX4" fmla="*/ 266700 w 533400"/>
                    <a:gd name="connsiteY4" fmla="*/ 0 h 381000"/>
                    <a:gd name="connsiteX5" fmla="*/ 533400 w 533400"/>
                    <a:gd name="connsiteY5" fmla="*/ 266700 h 381000"/>
                    <a:gd name="connsiteX6" fmla="*/ 533400 w 533400"/>
                    <a:gd name="connsiteY6" fmla="*/ 381000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3400" h="381000">
                      <a:moveTo>
                        <a:pt x="533400" y="381000"/>
                      </a:moveTo>
                      <a:lnTo>
                        <a:pt x="0" y="381000"/>
                      </a:lnTo>
                      <a:lnTo>
                        <a:pt x="0" y="266700"/>
                      </a:lnTo>
                      <a:cubicBezTo>
                        <a:pt x="0" y="119444"/>
                        <a:pt x="119444" y="0"/>
                        <a:pt x="266700" y="0"/>
                      </a:cubicBezTo>
                      <a:lnTo>
                        <a:pt x="266700" y="0"/>
                      </a:lnTo>
                      <a:cubicBezTo>
                        <a:pt x="413957" y="0"/>
                        <a:pt x="533400" y="119444"/>
                        <a:pt x="533400" y="266700"/>
                      </a:cubicBezTo>
                      <a:lnTo>
                        <a:pt x="533400" y="381000"/>
                      </a:lnTo>
                      <a:close/>
                    </a:path>
                  </a:pathLst>
                </a:custGeom>
                <a:noFill/>
                <a:ln w="57150" cap="rnd">
                  <a:solidFill>
                    <a:schemeClr val="tx1"/>
                  </a:solidFill>
                  <a:prstDash val="solid"/>
                  <a:round/>
                </a:ln>
              </p:spPr>
              <p:txBody>
                <a:bodyPr rtlCol="0" anchor="ctr"/>
                <a:lstStyle/>
                <a:p>
                  <a:endParaRPr lang="fr-FR" sz="900"/>
                </a:p>
              </p:txBody>
            </p:sp>
          </p:grpSp>
          <p:grpSp>
            <p:nvGrpSpPr>
              <p:cNvPr id="13" name="Graphique 5">
                <a:extLst>
                  <a:ext uri="{FF2B5EF4-FFF2-40B4-BE49-F238E27FC236}">
                    <a16:creationId xmlns:a16="http://schemas.microsoft.com/office/drawing/2014/main" id="{0F7C5A85-F2AD-FAB3-60D6-4DBB1D52E1EF}"/>
                  </a:ext>
                </a:extLst>
              </p:cNvPr>
              <p:cNvGrpSpPr/>
              <p:nvPr/>
            </p:nvGrpSpPr>
            <p:grpSpPr>
              <a:xfrm>
                <a:off x="11391106" y="6819900"/>
                <a:ext cx="533400" cy="838200"/>
                <a:chOff x="11391106" y="6819900"/>
                <a:chExt cx="533400" cy="838200"/>
              </a:xfrm>
              <a:noFill/>
            </p:grpSpPr>
            <p:sp>
              <p:nvSpPr>
                <p:cNvPr id="22" name="Forme libre : forme 21">
                  <a:extLst>
                    <a:ext uri="{FF2B5EF4-FFF2-40B4-BE49-F238E27FC236}">
                      <a16:creationId xmlns:a16="http://schemas.microsoft.com/office/drawing/2014/main" id="{B4FDE79A-4FF6-1059-39C7-D97A000BC1D4}"/>
                    </a:ext>
                  </a:extLst>
                </p:cNvPr>
                <p:cNvSpPr/>
                <p:nvPr/>
              </p:nvSpPr>
              <p:spPr>
                <a:xfrm>
                  <a:off x="11543506" y="6819900"/>
                  <a:ext cx="228600" cy="304800"/>
                </a:xfrm>
                <a:custGeom>
                  <a:avLst/>
                  <a:gdLst>
                    <a:gd name="connsiteX0" fmla="*/ 114300 w 228600"/>
                    <a:gd name="connsiteY0" fmla="*/ 304800 h 304800"/>
                    <a:gd name="connsiteX1" fmla="*/ 114300 w 228600"/>
                    <a:gd name="connsiteY1" fmla="*/ 304800 h 304800"/>
                    <a:gd name="connsiteX2" fmla="*/ 0 w 228600"/>
                    <a:gd name="connsiteY2" fmla="*/ 190500 h 304800"/>
                    <a:gd name="connsiteX3" fmla="*/ 0 w 228600"/>
                    <a:gd name="connsiteY3" fmla="*/ 114300 h 304800"/>
                    <a:gd name="connsiteX4" fmla="*/ 114300 w 228600"/>
                    <a:gd name="connsiteY4" fmla="*/ 0 h 304800"/>
                    <a:gd name="connsiteX5" fmla="*/ 114300 w 228600"/>
                    <a:gd name="connsiteY5" fmla="*/ 0 h 304800"/>
                    <a:gd name="connsiteX6" fmla="*/ 228600 w 228600"/>
                    <a:gd name="connsiteY6" fmla="*/ 114300 h 304800"/>
                    <a:gd name="connsiteX7" fmla="*/ 228600 w 228600"/>
                    <a:gd name="connsiteY7" fmla="*/ 190500 h 304800"/>
                    <a:gd name="connsiteX8" fmla="*/ 114300 w 228600"/>
                    <a:gd name="connsiteY8"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8600" h="304800">
                      <a:moveTo>
                        <a:pt x="114300" y="304800"/>
                      </a:moveTo>
                      <a:lnTo>
                        <a:pt x="114300" y="304800"/>
                      </a:lnTo>
                      <a:cubicBezTo>
                        <a:pt x="51149" y="304800"/>
                        <a:pt x="0" y="253651"/>
                        <a:pt x="0" y="190500"/>
                      </a:cubicBezTo>
                      <a:lnTo>
                        <a:pt x="0" y="114300"/>
                      </a:lnTo>
                      <a:cubicBezTo>
                        <a:pt x="0" y="51149"/>
                        <a:pt x="51149" y="0"/>
                        <a:pt x="114300" y="0"/>
                      </a:cubicBezTo>
                      <a:lnTo>
                        <a:pt x="114300" y="0"/>
                      </a:lnTo>
                      <a:cubicBezTo>
                        <a:pt x="177451" y="0"/>
                        <a:pt x="228600" y="51149"/>
                        <a:pt x="228600" y="114300"/>
                      </a:cubicBezTo>
                      <a:lnTo>
                        <a:pt x="228600" y="190500"/>
                      </a:lnTo>
                      <a:cubicBezTo>
                        <a:pt x="228600" y="253651"/>
                        <a:pt x="177451" y="304800"/>
                        <a:pt x="114300" y="304800"/>
                      </a:cubicBezTo>
                      <a:close/>
                    </a:path>
                  </a:pathLst>
                </a:custGeom>
                <a:noFill/>
                <a:ln w="57150" cap="rnd">
                  <a:solidFill>
                    <a:schemeClr val="tx1"/>
                  </a:solidFill>
                  <a:prstDash val="solid"/>
                  <a:round/>
                </a:ln>
              </p:spPr>
              <p:txBody>
                <a:bodyPr rtlCol="0" anchor="ctr"/>
                <a:lstStyle/>
                <a:p>
                  <a:endParaRPr lang="fr-FR" sz="900"/>
                </a:p>
              </p:txBody>
            </p:sp>
            <p:sp>
              <p:nvSpPr>
                <p:cNvPr id="24" name="Forme libre : forme 23">
                  <a:extLst>
                    <a:ext uri="{FF2B5EF4-FFF2-40B4-BE49-F238E27FC236}">
                      <a16:creationId xmlns:a16="http://schemas.microsoft.com/office/drawing/2014/main" id="{31DE1E44-2604-681B-4757-8036F83DEDD5}"/>
                    </a:ext>
                  </a:extLst>
                </p:cNvPr>
                <p:cNvSpPr/>
                <p:nvPr/>
              </p:nvSpPr>
              <p:spPr>
                <a:xfrm>
                  <a:off x="11391106" y="7277100"/>
                  <a:ext cx="533400" cy="381000"/>
                </a:xfrm>
                <a:custGeom>
                  <a:avLst/>
                  <a:gdLst>
                    <a:gd name="connsiteX0" fmla="*/ 533400 w 533400"/>
                    <a:gd name="connsiteY0" fmla="*/ 381000 h 381000"/>
                    <a:gd name="connsiteX1" fmla="*/ 0 w 533400"/>
                    <a:gd name="connsiteY1" fmla="*/ 381000 h 381000"/>
                    <a:gd name="connsiteX2" fmla="*/ 0 w 533400"/>
                    <a:gd name="connsiteY2" fmla="*/ 266700 h 381000"/>
                    <a:gd name="connsiteX3" fmla="*/ 266700 w 533400"/>
                    <a:gd name="connsiteY3" fmla="*/ 0 h 381000"/>
                    <a:gd name="connsiteX4" fmla="*/ 266700 w 533400"/>
                    <a:gd name="connsiteY4" fmla="*/ 0 h 381000"/>
                    <a:gd name="connsiteX5" fmla="*/ 533400 w 533400"/>
                    <a:gd name="connsiteY5" fmla="*/ 266700 h 381000"/>
                    <a:gd name="connsiteX6" fmla="*/ 533400 w 533400"/>
                    <a:gd name="connsiteY6" fmla="*/ 381000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3400" h="381000">
                      <a:moveTo>
                        <a:pt x="533400" y="381000"/>
                      </a:moveTo>
                      <a:lnTo>
                        <a:pt x="0" y="381000"/>
                      </a:lnTo>
                      <a:lnTo>
                        <a:pt x="0" y="266700"/>
                      </a:lnTo>
                      <a:cubicBezTo>
                        <a:pt x="0" y="119443"/>
                        <a:pt x="119444" y="0"/>
                        <a:pt x="266700" y="0"/>
                      </a:cubicBezTo>
                      <a:lnTo>
                        <a:pt x="266700" y="0"/>
                      </a:lnTo>
                      <a:cubicBezTo>
                        <a:pt x="413957" y="0"/>
                        <a:pt x="533400" y="119443"/>
                        <a:pt x="533400" y="266700"/>
                      </a:cubicBezTo>
                      <a:lnTo>
                        <a:pt x="533400" y="381000"/>
                      </a:lnTo>
                      <a:close/>
                    </a:path>
                  </a:pathLst>
                </a:custGeom>
                <a:noFill/>
                <a:ln w="57150" cap="rnd">
                  <a:solidFill>
                    <a:schemeClr val="tx1"/>
                  </a:solidFill>
                  <a:prstDash val="solid"/>
                  <a:round/>
                </a:ln>
              </p:spPr>
              <p:txBody>
                <a:bodyPr rtlCol="0" anchor="ctr"/>
                <a:lstStyle/>
                <a:p>
                  <a:endParaRPr lang="fr-FR" sz="900"/>
                </a:p>
              </p:txBody>
            </p:sp>
          </p:grpSp>
          <p:grpSp>
            <p:nvGrpSpPr>
              <p:cNvPr id="17" name="Graphique 5">
                <a:extLst>
                  <a:ext uri="{FF2B5EF4-FFF2-40B4-BE49-F238E27FC236}">
                    <a16:creationId xmlns:a16="http://schemas.microsoft.com/office/drawing/2014/main" id="{FB413596-EA4A-7D10-5A7A-268CEEF37EF0}"/>
                  </a:ext>
                </a:extLst>
              </p:cNvPr>
              <p:cNvGrpSpPr/>
              <p:nvPr/>
            </p:nvGrpSpPr>
            <p:grpSpPr>
              <a:xfrm>
                <a:off x="12457906" y="6819900"/>
                <a:ext cx="533400" cy="838200"/>
                <a:chOff x="12457906" y="6819900"/>
                <a:chExt cx="533400" cy="838200"/>
              </a:xfrm>
              <a:noFill/>
            </p:grpSpPr>
            <p:sp>
              <p:nvSpPr>
                <p:cNvPr id="20" name="Forme libre : forme 19">
                  <a:extLst>
                    <a:ext uri="{FF2B5EF4-FFF2-40B4-BE49-F238E27FC236}">
                      <a16:creationId xmlns:a16="http://schemas.microsoft.com/office/drawing/2014/main" id="{9C1907B7-7123-4791-50E1-0457EB8C4AC0}"/>
                    </a:ext>
                  </a:extLst>
                </p:cNvPr>
                <p:cNvSpPr/>
                <p:nvPr/>
              </p:nvSpPr>
              <p:spPr>
                <a:xfrm>
                  <a:off x="12610306" y="6819900"/>
                  <a:ext cx="228600" cy="304800"/>
                </a:xfrm>
                <a:custGeom>
                  <a:avLst/>
                  <a:gdLst>
                    <a:gd name="connsiteX0" fmla="*/ 114300 w 228600"/>
                    <a:gd name="connsiteY0" fmla="*/ 304800 h 304800"/>
                    <a:gd name="connsiteX1" fmla="*/ 114300 w 228600"/>
                    <a:gd name="connsiteY1" fmla="*/ 304800 h 304800"/>
                    <a:gd name="connsiteX2" fmla="*/ 0 w 228600"/>
                    <a:gd name="connsiteY2" fmla="*/ 190500 h 304800"/>
                    <a:gd name="connsiteX3" fmla="*/ 0 w 228600"/>
                    <a:gd name="connsiteY3" fmla="*/ 114300 h 304800"/>
                    <a:gd name="connsiteX4" fmla="*/ 114300 w 228600"/>
                    <a:gd name="connsiteY4" fmla="*/ 0 h 304800"/>
                    <a:gd name="connsiteX5" fmla="*/ 114300 w 228600"/>
                    <a:gd name="connsiteY5" fmla="*/ 0 h 304800"/>
                    <a:gd name="connsiteX6" fmla="*/ 228600 w 228600"/>
                    <a:gd name="connsiteY6" fmla="*/ 114300 h 304800"/>
                    <a:gd name="connsiteX7" fmla="*/ 228600 w 228600"/>
                    <a:gd name="connsiteY7" fmla="*/ 190500 h 304800"/>
                    <a:gd name="connsiteX8" fmla="*/ 114300 w 228600"/>
                    <a:gd name="connsiteY8"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8600" h="304800">
                      <a:moveTo>
                        <a:pt x="114300" y="304800"/>
                      </a:moveTo>
                      <a:lnTo>
                        <a:pt x="114300" y="304800"/>
                      </a:lnTo>
                      <a:cubicBezTo>
                        <a:pt x="51149" y="304800"/>
                        <a:pt x="0" y="253651"/>
                        <a:pt x="0" y="190500"/>
                      </a:cubicBezTo>
                      <a:lnTo>
                        <a:pt x="0" y="114300"/>
                      </a:lnTo>
                      <a:cubicBezTo>
                        <a:pt x="0" y="51149"/>
                        <a:pt x="51149" y="0"/>
                        <a:pt x="114300" y="0"/>
                      </a:cubicBezTo>
                      <a:lnTo>
                        <a:pt x="114300" y="0"/>
                      </a:lnTo>
                      <a:cubicBezTo>
                        <a:pt x="177451" y="0"/>
                        <a:pt x="228600" y="51149"/>
                        <a:pt x="228600" y="114300"/>
                      </a:cubicBezTo>
                      <a:lnTo>
                        <a:pt x="228600" y="190500"/>
                      </a:lnTo>
                      <a:cubicBezTo>
                        <a:pt x="228600" y="253651"/>
                        <a:pt x="177451" y="304800"/>
                        <a:pt x="114300" y="304800"/>
                      </a:cubicBezTo>
                      <a:close/>
                    </a:path>
                  </a:pathLst>
                </a:custGeom>
                <a:noFill/>
                <a:ln w="57150" cap="rnd">
                  <a:solidFill>
                    <a:schemeClr val="tx1"/>
                  </a:solidFill>
                  <a:prstDash val="solid"/>
                  <a:round/>
                </a:ln>
              </p:spPr>
              <p:txBody>
                <a:bodyPr rtlCol="0" anchor="ctr"/>
                <a:lstStyle/>
                <a:p>
                  <a:endParaRPr lang="fr-FR" sz="900"/>
                </a:p>
              </p:txBody>
            </p:sp>
            <p:sp>
              <p:nvSpPr>
                <p:cNvPr id="21" name="Forme libre : forme 20">
                  <a:extLst>
                    <a:ext uri="{FF2B5EF4-FFF2-40B4-BE49-F238E27FC236}">
                      <a16:creationId xmlns:a16="http://schemas.microsoft.com/office/drawing/2014/main" id="{02178025-5ADA-5C23-04ED-F36DBA823C4F}"/>
                    </a:ext>
                  </a:extLst>
                </p:cNvPr>
                <p:cNvSpPr/>
                <p:nvPr/>
              </p:nvSpPr>
              <p:spPr>
                <a:xfrm>
                  <a:off x="12457906" y="7277100"/>
                  <a:ext cx="533400" cy="381000"/>
                </a:xfrm>
                <a:custGeom>
                  <a:avLst/>
                  <a:gdLst>
                    <a:gd name="connsiteX0" fmla="*/ 533400 w 533400"/>
                    <a:gd name="connsiteY0" fmla="*/ 381000 h 381000"/>
                    <a:gd name="connsiteX1" fmla="*/ 0 w 533400"/>
                    <a:gd name="connsiteY1" fmla="*/ 381000 h 381000"/>
                    <a:gd name="connsiteX2" fmla="*/ 0 w 533400"/>
                    <a:gd name="connsiteY2" fmla="*/ 266700 h 381000"/>
                    <a:gd name="connsiteX3" fmla="*/ 266700 w 533400"/>
                    <a:gd name="connsiteY3" fmla="*/ 0 h 381000"/>
                    <a:gd name="connsiteX4" fmla="*/ 266700 w 533400"/>
                    <a:gd name="connsiteY4" fmla="*/ 0 h 381000"/>
                    <a:gd name="connsiteX5" fmla="*/ 533400 w 533400"/>
                    <a:gd name="connsiteY5" fmla="*/ 266700 h 381000"/>
                    <a:gd name="connsiteX6" fmla="*/ 533400 w 533400"/>
                    <a:gd name="connsiteY6" fmla="*/ 381000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3400" h="381000">
                      <a:moveTo>
                        <a:pt x="533400" y="381000"/>
                      </a:moveTo>
                      <a:lnTo>
                        <a:pt x="0" y="381000"/>
                      </a:lnTo>
                      <a:lnTo>
                        <a:pt x="0" y="266700"/>
                      </a:lnTo>
                      <a:cubicBezTo>
                        <a:pt x="0" y="119443"/>
                        <a:pt x="119443" y="0"/>
                        <a:pt x="266700" y="0"/>
                      </a:cubicBezTo>
                      <a:lnTo>
                        <a:pt x="266700" y="0"/>
                      </a:lnTo>
                      <a:cubicBezTo>
                        <a:pt x="413957" y="0"/>
                        <a:pt x="533400" y="119443"/>
                        <a:pt x="533400" y="266700"/>
                      </a:cubicBezTo>
                      <a:lnTo>
                        <a:pt x="533400" y="381000"/>
                      </a:lnTo>
                      <a:close/>
                    </a:path>
                  </a:pathLst>
                </a:custGeom>
                <a:noFill/>
                <a:ln w="57150" cap="rnd">
                  <a:solidFill>
                    <a:schemeClr val="tx1"/>
                  </a:solidFill>
                  <a:prstDash val="solid"/>
                  <a:round/>
                </a:ln>
              </p:spPr>
              <p:txBody>
                <a:bodyPr rtlCol="0" anchor="ctr"/>
                <a:lstStyle/>
                <a:p>
                  <a:endParaRPr lang="fr-FR" sz="900"/>
                </a:p>
              </p:txBody>
            </p:sp>
          </p:grpSp>
          <p:sp>
            <p:nvSpPr>
              <p:cNvPr id="18" name="Forme libre : forme 17">
                <a:extLst>
                  <a:ext uri="{FF2B5EF4-FFF2-40B4-BE49-F238E27FC236}">
                    <a16:creationId xmlns:a16="http://schemas.microsoft.com/office/drawing/2014/main" id="{F3D7BC99-52B4-7E74-34C2-DC788DF3E0E1}"/>
                  </a:ext>
                </a:extLst>
              </p:cNvPr>
              <p:cNvSpPr/>
              <p:nvPr/>
            </p:nvSpPr>
            <p:spPr>
              <a:xfrm>
                <a:off x="12191206" y="7048500"/>
                <a:ext cx="9525" cy="152400"/>
              </a:xfrm>
              <a:custGeom>
                <a:avLst/>
                <a:gdLst>
                  <a:gd name="connsiteX0" fmla="*/ 0 w 9525"/>
                  <a:gd name="connsiteY0" fmla="*/ 0 h 152400"/>
                  <a:gd name="connsiteX1" fmla="*/ 0 w 9525"/>
                  <a:gd name="connsiteY1" fmla="*/ 152400 h 152400"/>
                </a:gdLst>
                <a:ahLst/>
                <a:cxnLst>
                  <a:cxn ang="0">
                    <a:pos x="connsiteX0" y="connsiteY0"/>
                  </a:cxn>
                  <a:cxn ang="0">
                    <a:pos x="connsiteX1" y="connsiteY1"/>
                  </a:cxn>
                </a:cxnLst>
                <a:rect l="l" t="t" r="r" b="b"/>
                <a:pathLst>
                  <a:path w="9525" h="152400">
                    <a:moveTo>
                      <a:pt x="0" y="0"/>
                    </a:moveTo>
                    <a:lnTo>
                      <a:pt x="0" y="152400"/>
                    </a:lnTo>
                  </a:path>
                </a:pathLst>
              </a:custGeom>
              <a:ln w="57150" cap="rnd">
                <a:solidFill>
                  <a:schemeClr val="tx1"/>
                </a:solidFill>
                <a:prstDash val="solid"/>
                <a:round/>
              </a:ln>
            </p:spPr>
            <p:txBody>
              <a:bodyPr rtlCol="0" anchor="ctr"/>
              <a:lstStyle/>
              <a:p>
                <a:endParaRPr lang="fr-FR" sz="900"/>
              </a:p>
            </p:txBody>
          </p:sp>
          <p:sp>
            <p:nvSpPr>
              <p:cNvPr id="19" name="Forme libre : forme 18">
                <a:extLst>
                  <a:ext uri="{FF2B5EF4-FFF2-40B4-BE49-F238E27FC236}">
                    <a16:creationId xmlns:a16="http://schemas.microsoft.com/office/drawing/2014/main" id="{4A2A6F6C-11A3-C8B9-B4FC-6125FCC9B860}"/>
                  </a:ext>
                </a:extLst>
              </p:cNvPr>
              <p:cNvSpPr/>
              <p:nvPr/>
            </p:nvSpPr>
            <p:spPr>
              <a:xfrm>
                <a:off x="12000706" y="7200900"/>
                <a:ext cx="381000" cy="76200"/>
              </a:xfrm>
              <a:custGeom>
                <a:avLst/>
                <a:gdLst>
                  <a:gd name="connsiteX0" fmla="*/ 0 w 381000"/>
                  <a:gd name="connsiteY0" fmla="*/ 76200 h 76200"/>
                  <a:gd name="connsiteX1" fmla="*/ 190500 w 381000"/>
                  <a:gd name="connsiteY1" fmla="*/ 0 h 76200"/>
                  <a:gd name="connsiteX2" fmla="*/ 381000 w 381000"/>
                  <a:gd name="connsiteY2" fmla="*/ 76200 h 76200"/>
                </a:gdLst>
                <a:ahLst/>
                <a:cxnLst>
                  <a:cxn ang="0">
                    <a:pos x="connsiteX0" y="connsiteY0"/>
                  </a:cxn>
                  <a:cxn ang="0">
                    <a:pos x="connsiteX1" y="connsiteY1"/>
                  </a:cxn>
                  <a:cxn ang="0">
                    <a:pos x="connsiteX2" y="connsiteY2"/>
                  </a:cxn>
                </a:cxnLst>
                <a:rect l="l" t="t" r="r" b="b"/>
                <a:pathLst>
                  <a:path w="381000" h="76200">
                    <a:moveTo>
                      <a:pt x="0" y="76200"/>
                    </a:moveTo>
                    <a:lnTo>
                      <a:pt x="190500" y="0"/>
                    </a:lnTo>
                    <a:lnTo>
                      <a:pt x="381000" y="76200"/>
                    </a:lnTo>
                  </a:path>
                </a:pathLst>
              </a:custGeom>
              <a:noFill/>
              <a:ln w="57150" cap="rnd">
                <a:solidFill>
                  <a:schemeClr val="tx1"/>
                </a:solidFill>
                <a:prstDash val="solid"/>
                <a:round/>
              </a:ln>
            </p:spPr>
            <p:txBody>
              <a:bodyPr rtlCol="0" anchor="ctr"/>
              <a:lstStyle/>
              <a:p>
                <a:endParaRPr lang="fr-FR" sz="900"/>
              </a:p>
            </p:txBody>
          </p:sp>
        </p:grpSp>
        <p:sp>
          <p:nvSpPr>
            <p:cNvPr id="27" name="Graphique 46">
              <a:extLst>
                <a:ext uri="{FF2B5EF4-FFF2-40B4-BE49-F238E27FC236}">
                  <a16:creationId xmlns:a16="http://schemas.microsoft.com/office/drawing/2014/main" id="{E8D785C8-F92F-4125-05C1-74529A71A38D}"/>
                </a:ext>
              </a:extLst>
            </p:cNvPr>
            <p:cNvSpPr/>
            <p:nvPr/>
          </p:nvSpPr>
          <p:spPr>
            <a:xfrm>
              <a:off x="2625234" y="7397750"/>
              <a:ext cx="1159168" cy="1160906"/>
            </a:xfrm>
            <a:custGeom>
              <a:avLst/>
              <a:gdLst>
                <a:gd name="connsiteX0" fmla="*/ 1075539 w 1159168"/>
                <a:gd name="connsiteY0" fmla="*/ 709708 h 1160906"/>
                <a:gd name="connsiteX1" fmla="*/ 1071062 w 1159168"/>
                <a:gd name="connsiteY1" fmla="*/ 709803 h 1160906"/>
                <a:gd name="connsiteX2" fmla="*/ 1060014 w 1159168"/>
                <a:gd name="connsiteY2" fmla="*/ 706755 h 1160906"/>
                <a:gd name="connsiteX3" fmla="*/ 1058870 w 1159168"/>
                <a:gd name="connsiteY3" fmla="*/ 703517 h 1160906"/>
                <a:gd name="connsiteX4" fmla="*/ 1142214 w 1159168"/>
                <a:gd name="connsiteY4" fmla="*/ 620173 h 1160906"/>
                <a:gd name="connsiteX5" fmla="*/ 1159169 w 1159168"/>
                <a:gd name="connsiteY5" fmla="*/ 579215 h 1160906"/>
                <a:gd name="connsiteX6" fmla="*/ 1142214 w 1159168"/>
                <a:gd name="connsiteY6" fmla="*/ 538258 h 1160906"/>
                <a:gd name="connsiteX7" fmla="*/ 1048679 w 1159168"/>
                <a:gd name="connsiteY7" fmla="*/ 444722 h 1160906"/>
                <a:gd name="connsiteX8" fmla="*/ 1041630 w 1159168"/>
                <a:gd name="connsiteY8" fmla="*/ 443865 h 1160906"/>
                <a:gd name="connsiteX9" fmla="*/ 1032582 w 1159168"/>
                <a:gd name="connsiteY9" fmla="*/ 443294 h 1160906"/>
                <a:gd name="connsiteX10" fmla="*/ 983051 w 1159168"/>
                <a:gd name="connsiteY10" fmla="*/ 495872 h 1160906"/>
                <a:gd name="connsiteX11" fmla="*/ 983242 w 1159168"/>
                <a:gd name="connsiteY11" fmla="*/ 500634 h 1160906"/>
                <a:gd name="connsiteX12" fmla="*/ 964192 w 1159168"/>
                <a:gd name="connsiteY12" fmla="*/ 533591 h 1160906"/>
                <a:gd name="connsiteX13" fmla="*/ 926759 w 1159168"/>
                <a:gd name="connsiteY13" fmla="*/ 533210 h 1160906"/>
                <a:gd name="connsiteX14" fmla="*/ 908566 w 1159168"/>
                <a:gd name="connsiteY14" fmla="*/ 505206 h 1160906"/>
                <a:gd name="connsiteX15" fmla="*/ 919329 w 1159168"/>
                <a:gd name="connsiteY15" fmla="*/ 474345 h 1160906"/>
                <a:gd name="connsiteX16" fmla="*/ 946285 w 1159168"/>
                <a:gd name="connsiteY16" fmla="*/ 463391 h 1160906"/>
                <a:gd name="connsiteX17" fmla="*/ 950571 w 1159168"/>
                <a:gd name="connsiteY17" fmla="*/ 463582 h 1160906"/>
                <a:gd name="connsiteX18" fmla="*/ 991719 w 1159168"/>
                <a:gd name="connsiteY18" fmla="*/ 446913 h 1160906"/>
                <a:gd name="connsiteX19" fmla="*/ 1002673 w 1159168"/>
                <a:gd name="connsiteY19" fmla="*/ 405003 h 1160906"/>
                <a:gd name="connsiteX20" fmla="*/ 1001816 w 1159168"/>
                <a:gd name="connsiteY20" fmla="*/ 397955 h 1160906"/>
                <a:gd name="connsiteX21" fmla="*/ 867323 w 1159168"/>
                <a:gd name="connsiteY21" fmla="*/ 263462 h 1160906"/>
                <a:gd name="connsiteX22" fmla="*/ 867037 w 1159168"/>
                <a:gd name="connsiteY22" fmla="*/ 263747 h 1160906"/>
                <a:gd name="connsiteX23" fmla="*/ 772073 w 1159168"/>
                <a:gd name="connsiteY23" fmla="*/ 168783 h 1160906"/>
                <a:gd name="connsiteX24" fmla="*/ 773120 w 1159168"/>
                <a:gd name="connsiteY24" fmla="*/ 165640 h 1160906"/>
                <a:gd name="connsiteX25" fmla="*/ 783122 w 1159168"/>
                <a:gd name="connsiteY25" fmla="*/ 163068 h 1160906"/>
                <a:gd name="connsiteX26" fmla="*/ 784550 w 1159168"/>
                <a:gd name="connsiteY26" fmla="*/ 163068 h 1160906"/>
                <a:gd name="connsiteX27" fmla="*/ 784550 w 1159168"/>
                <a:gd name="connsiteY27" fmla="*/ 163068 h 1160906"/>
                <a:gd name="connsiteX28" fmla="*/ 788170 w 1159168"/>
                <a:gd name="connsiteY28" fmla="*/ 163163 h 1160906"/>
                <a:gd name="connsiteX29" fmla="*/ 851130 w 1159168"/>
                <a:gd name="connsiteY29" fmla="*/ 131636 h 1160906"/>
                <a:gd name="connsiteX30" fmla="*/ 850273 w 1159168"/>
                <a:gd name="connsiteY30" fmla="*/ 35814 h 1160906"/>
                <a:gd name="connsiteX31" fmla="*/ 787884 w 1159168"/>
                <a:gd name="connsiteY31" fmla="*/ 5334 h 1160906"/>
                <a:gd name="connsiteX32" fmla="*/ 732068 w 1159168"/>
                <a:gd name="connsiteY32" fmla="*/ 28480 h 1160906"/>
                <a:gd name="connsiteX33" fmla="*/ 709017 w 1159168"/>
                <a:gd name="connsiteY33" fmla="*/ 86011 h 1160906"/>
                <a:gd name="connsiteX34" fmla="*/ 709112 w 1159168"/>
                <a:gd name="connsiteY34" fmla="*/ 87821 h 1160906"/>
                <a:gd name="connsiteX35" fmla="*/ 709208 w 1159168"/>
                <a:gd name="connsiteY35" fmla="*/ 89440 h 1160906"/>
                <a:gd name="connsiteX36" fmla="*/ 703493 w 1159168"/>
                <a:gd name="connsiteY36" fmla="*/ 100203 h 1160906"/>
                <a:gd name="connsiteX37" fmla="*/ 620054 w 1159168"/>
                <a:gd name="connsiteY37" fmla="*/ 16955 h 1160906"/>
                <a:gd name="connsiteX38" fmla="*/ 579096 w 1159168"/>
                <a:gd name="connsiteY38" fmla="*/ 0 h 1160906"/>
                <a:gd name="connsiteX39" fmla="*/ 538139 w 1159168"/>
                <a:gd name="connsiteY39" fmla="*/ 16955 h 1160906"/>
                <a:gd name="connsiteX40" fmla="*/ 444698 w 1159168"/>
                <a:gd name="connsiteY40" fmla="*/ 110395 h 1160906"/>
                <a:gd name="connsiteX41" fmla="*/ 443841 w 1159168"/>
                <a:gd name="connsiteY41" fmla="*/ 117443 h 1160906"/>
                <a:gd name="connsiteX42" fmla="*/ 454795 w 1159168"/>
                <a:gd name="connsiteY42" fmla="*/ 159449 h 1160906"/>
                <a:gd name="connsiteX43" fmla="*/ 496229 w 1159168"/>
                <a:gd name="connsiteY43" fmla="*/ 176117 h 1160906"/>
                <a:gd name="connsiteX44" fmla="*/ 500324 w 1159168"/>
                <a:gd name="connsiteY44" fmla="*/ 175927 h 1160906"/>
                <a:gd name="connsiteX45" fmla="*/ 530709 w 1159168"/>
                <a:gd name="connsiteY45" fmla="*/ 191072 h 1160906"/>
                <a:gd name="connsiteX46" fmla="*/ 530328 w 1159168"/>
                <a:gd name="connsiteY46" fmla="*/ 236315 h 1160906"/>
                <a:gd name="connsiteX47" fmla="*/ 500610 w 1159168"/>
                <a:gd name="connsiteY47" fmla="*/ 250889 h 1160906"/>
                <a:gd name="connsiteX48" fmla="*/ 474131 w 1159168"/>
                <a:gd name="connsiteY48" fmla="*/ 239935 h 1160906"/>
                <a:gd name="connsiteX49" fmla="*/ 463177 w 1159168"/>
                <a:gd name="connsiteY49" fmla="*/ 213169 h 1160906"/>
                <a:gd name="connsiteX50" fmla="*/ 463367 w 1159168"/>
                <a:gd name="connsiteY50" fmla="*/ 207455 h 1160906"/>
                <a:gd name="connsiteX51" fmla="*/ 413837 w 1159168"/>
                <a:gd name="connsiteY51" fmla="*/ 156019 h 1160906"/>
                <a:gd name="connsiteX52" fmla="*/ 404789 w 1159168"/>
                <a:gd name="connsiteY52" fmla="*/ 156591 h 1160906"/>
                <a:gd name="connsiteX53" fmla="*/ 397740 w 1159168"/>
                <a:gd name="connsiteY53" fmla="*/ 157448 h 1160906"/>
                <a:gd name="connsiteX54" fmla="*/ 263247 w 1159168"/>
                <a:gd name="connsiteY54" fmla="*/ 291941 h 1160906"/>
                <a:gd name="connsiteX55" fmla="*/ 264676 w 1159168"/>
                <a:gd name="connsiteY55" fmla="*/ 293370 h 1160906"/>
                <a:gd name="connsiteX56" fmla="*/ 168759 w 1159168"/>
                <a:gd name="connsiteY56" fmla="*/ 389192 h 1160906"/>
                <a:gd name="connsiteX57" fmla="*/ 162568 w 1159168"/>
                <a:gd name="connsiteY57" fmla="*/ 376714 h 1160906"/>
                <a:gd name="connsiteX58" fmla="*/ 123325 w 1159168"/>
                <a:gd name="connsiteY58" fmla="*/ 304324 h 1160906"/>
                <a:gd name="connsiteX59" fmla="*/ 42077 w 1159168"/>
                <a:gd name="connsiteY59" fmla="*/ 305562 h 1160906"/>
                <a:gd name="connsiteX60" fmla="*/ 5310 w 1159168"/>
                <a:gd name="connsiteY60" fmla="*/ 364046 h 1160906"/>
                <a:gd name="connsiteX61" fmla="*/ 27980 w 1159168"/>
                <a:gd name="connsiteY61" fmla="*/ 428530 h 1160906"/>
                <a:gd name="connsiteX62" fmla="*/ 88749 w 1159168"/>
                <a:gd name="connsiteY62" fmla="*/ 451485 h 1160906"/>
                <a:gd name="connsiteX63" fmla="*/ 89511 w 1159168"/>
                <a:gd name="connsiteY63" fmla="*/ 451485 h 1160906"/>
                <a:gd name="connsiteX64" fmla="*/ 99131 w 1159168"/>
                <a:gd name="connsiteY64" fmla="*/ 454533 h 1160906"/>
                <a:gd name="connsiteX65" fmla="*/ 100179 w 1159168"/>
                <a:gd name="connsiteY65" fmla="*/ 457772 h 1160906"/>
                <a:gd name="connsiteX66" fmla="*/ 16931 w 1159168"/>
                <a:gd name="connsiteY66" fmla="*/ 541020 h 1160906"/>
                <a:gd name="connsiteX67" fmla="*/ 16931 w 1159168"/>
                <a:gd name="connsiteY67" fmla="*/ 622935 h 1160906"/>
                <a:gd name="connsiteX68" fmla="*/ 110466 w 1159168"/>
                <a:gd name="connsiteY68" fmla="*/ 716471 h 1160906"/>
                <a:gd name="connsiteX69" fmla="*/ 117515 w 1159168"/>
                <a:gd name="connsiteY69" fmla="*/ 717328 h 1160906"/>
                <a:gd name="connsiteX70" fmla="*/ 126563 w 1159168"/>
                <a:gd name="connsiteY70" fmla="*/ 717899 h 1160906"/>
                <a:gd name="connsiteX71" fmla="*/ 176093 w 1159168"/>
                <a:gd name="connsiteY71" fmla="*/ 665702 h 1160906"/>
                <a:gd name="connsiteX72" fmla="*/ 175903 w 1159168"/>
                <a:gd name="connsiteY72" fmla="*/ 660654 h 1160906"/>
                <a:gd name="connsiteX73" fmla="*/ 186857 w 1159168"/>
                <a:gd name="connsiteY73" fmla="*/ 633889 h 1160906"/>
                <a:gd name="connsiteX74" fmla="*/ 213336 w 1159168"/>
                <a:gd name="connsiteY74" fmla="*/ 622935 h 1160906"/>
                <a:gd name="connsiteX75" fmla="*/ 243054 w 1159168"/>
                <a:gd name="connsiteY75" fmla="*/ 637508 h 1160906"/>
                <a:gd name="connsiteX76" fmla="*/ 243435 w 1159168"/>
                <a:gd name="connsiteY76" fmla="*/ 682752 h 1160906"/>
                <a:gd name="connsiteX77" fmla="*/ 212860 w 1159168"/>
                <a:gd name="connsiteY77" fmla="*/ 697897 h 1160906"/>
                <a:gd name="connsiteX78" fmla="*/ 208859 w 1159168"/>
                <a:gd name="connsiteY78" fmla="*/ 697706 h 1160906"/>
                <a:gd name="connsiteX79" fmla="*/ 167426 w 1159168"/>
                <a:gd name="connsiteY79" fmla="*/ 714375 h 1160906"/>
                <a:gd name="connsiteX80" fmla="*/ 156472 w 1159168"/>
                <a:gd name="connsiteY80" fmla="*/ 756380 h 1160906"/>
                <a:gd name="connsiteX81" fmla="*/ 157329 w 1159168"/>
                <a:gd name="connsiteY81" fmla="*/ 763429 h 1160906"/>
                <a:gd name="connsiteX82" fmla="*/ 291727 w 1159168"/>
                <a:gd name="connsiteY82" fmla="*/ 897827 h 1160906"/>
                <a:gd name="connsiteX83" fmla="*/ 292584 w 1159168"/>
                <a:gd name="connsiteY83" fmla="*/ 896969 h 1160906"/>
                <a:gd name="connsiteX84" fmla="*/ 387548 w 1159168"/>
                <a:gd name="connsiteY84" fmla="*/ 991934 h 1160906"/>
                <a:gd name="connsiteX85" fmla="*/ 386405 w 1159168"/>
                <a:gd name="connsiteY85" fmla="*/ 995172 h 1160906"/>
                <a:gd name="connsiteX86" fmla="*/ 375071 w 1159168"/>
                <a:gd name="connsiteY86" fmla="*/ 998220 h 1160906"/>
                <a:gd name="connsiteX87" fmla="*/ 302681 w 1159168"/>
                <a:gd name="connsiteY87" fmla="*/ 1037463 h 1160906"/>
                <a:gd name="connsiteX88" fmla="*/ 303919 w 1159168"/>
                <a:gd name="connsiteY88" fmla="*/ 1118711 h 1160906"/>
                <a:gd name="connsiteX89" fmla="*/ 371070 w 1159168"/>
                <a:gd name="connsiteY89" fmla="*/ 1155954 h 1160906"/>
                <a:gd name="connsiteX90" fmla="*/ 426887 w 1159168"/>
                <a:gd name="connsiteY90" fmla="*/ 1132808 h 1160906"/>
                <a:gd name="connsiteX91" fmla="*/ 449842 w 1159168"/>
                <a:gd name="connsiteY91" fmla="*/ 1072039 h 1160906"/>
                <a:gd name="connsiteX92" fmla="*/ 449842 w 1159168"/>
                <a:gd name="connsiteY92" fmla="*/ 1071277 h 1160906"/>
                <a:gd name="connsiteX93" fmla="*/ 456033 w 1159168"/>
                <a:gd name="connsiteY93" fmla="*/ 1060609 h 1160906"/>
                <a:gd name="connsiteX94" fmla="*/ 539377 w 1159168"/>
                <a:gd name="connsiteY94" fmla="*/ 1143953 h 1160906"/>
                <a:gd name="connsiteX95" fmla="*/ 580334 w 1159168"/>
                <a:gd name="connsiteY95" fmla="*/ 1160907 h 1160906"/>
                <a:gd name="connsiteX96" fmla="*/ 621292 w 1159168"/>
                <a:gd name="connsiteY96" fmla="*/ 1143953 h 1160906"/>
                <a:gd name="connsiteX97" fmla="*/ 714827 w 1159168"/>
                <a:gd name="connsiteY97" fmla="*/ 1050417 h 1160906"/>
                <a:gd name="connsiteX98" fmla="*/ 715685 w 1159168"/>
                <a:gd name="connsiteY98" fmla="*/ 1043369 h 1160906"/>
                <a:gd name="connsiteX99" fmla="*/ 705017 w 1159168"/>
                <a:gd name="connsiteY99" fmla="*/ 1001744 h 1160906"/>
                <a:gd name="connsiteX100" fmla="*/ 663964 w 1159168"/>
                <a:gd name="connsiteY100" fmla="*/ 984790 h 1160906"/>
                <a:gd name="connsiteX101" fmla="*/ 658725 w 1159168"/>
                <a:gd name="connsiteY101" fmla="*/ 984980 h 1160906"/>
                <a:gd name="connsiteX102" fmla="*/ 632246 w 1159168"/>
                <a:gd name="connsiteY102" fmla="*/ 974027 h 1160906"/>
                <a:gd name="connsiteX103" fmla="*/ 621387 w 1159168"/>
                <a:gd name="connsiteY103" fmla="*/ 945261 h 1160906"/>
                <a:gd name="connsiteX104" fmla="*/ 635865 w 1159168"/>
                <a:gd name="connsiteY104" fmla="*/ 917829 h 1160906"/>
                <a:gd name="connsiteX105" fmla="*/ 681109 w 1159168"/>
                <a:gd name="connsiteY105" fmla="*/ 917448 h 1160906"/>
                <a:gd name="connsiteX106" fmla="*/ 696254 w 1159168"/>
                <a:gd name="connsiteY106" fmla="*/ 947833 h 1160906"/>
                <a:gd name="connsiteX107" fmla="*/ 696063 w 1159168"/>
                <a:gd name="connsiteY107" fmla="*/ 951643 h 1160906"/>
                <a:gd name="connsiteX108" fmla="*/ 710636 w 1159168"/>
                <a:gd name="connsiteY108" fmla="*/ 991553 h 1160906"/>
                <a:gd name="connsiteX109" fmla="*/ 754642 w 1159168"/>
                <a:gd name="connsiteY109" fmla="*/ 1004411 h 1160906"/>
                <a:gd name="connsiteX110" fmla="*/ 761690 w 1159168"/>
                <a:gd name="connsiteY110" fmla="*/ 1003554 h 1160906"/>
                <a:gd name="connsiteX111" fmla="*/ 896088 w 1159168"/>
                <a:gd name="connsiteY111" fmla="*/ 869156 h 1160906"/>
                <a:gd name="connsiteX112" fmla="*/ 894659 w 1159168"/>
                <a:gd name="connsiteY112" fmla="*/ 867728 h 1160906"/>
                <a:gd name="connsiteX113" fmla="*/ 990005 w 1159168"/>
                <a:gd name="connsiteY113" fmla="*/ 772382 h 1160906"/>
                <a:gd name="connsiteX114" fmla="*/ 996196 w 1159168"/>
                <a:gd name="connsiteY114" fmla="*/ 783050 h 1160906"/>
                <a:gd name="connsiteX115" fmla="*/ 996196 w 1159168"/>
                <a:gd name="connsiteY115" fmla="*/ 783812 h 1160906"/>
                <a:gd name="connsiteX116" fmla="*/ 1019151 w 1159168"/>
                <a:gd name="connsiteY116" fmla="*/ 844582 h 1160906"/>
                <a:gd name="connsiteX117" fmla="*/ 1074968 w 1159168"/>
                <a:gd name="connsiteY117" fmla="*/ 867728 h 1160906"/>
                <a:gd name="connsiteX118" fmla="*/ 1142119 w 1159168"/>
                <a:gd name="connsiteY118" fmla="*/ 830390 h 1160906"/>
                <a:gd name="connsiteX119" fmla="*/ 1143357 w 1159168"/>
                <a:gd name="connsiteY119" fmla="*/ 749141 h 1160906"/>
                <a:gd name="connsiteX120" fmla="*/ 1075539 w 1159168"/>
                <a:gd name="connsiteY120" fmla="*/ 709708 h 1160906"/>
                <a:gd name="connsiteX121" fmla="*/ 416314 w 1159168"/>
                <a:gd name="connsiteY121" fmla="*/ 197453 h 1160906"/>
                <a:gd name="connsiteX122" fmla="*/ 422029 w 1159168"/>
                <a:gd name="connsiteY122" fmla="*/ 207455 h 1160906"/>
                <a:gd name="connsiteX123" fmla="*/ 421934 w 1159168"/>
                <a:gd name="connsiteY123" fmla="*/ 210407 h 1160906"/>
                <a:gd name="connsiteX124" fmla="*/ 421838 w 1159168"/>
                <a:gd name="connsiteY124" fmla="*/ 211836 h 1160906"/>
                <a:gd name="connsiteX125" fmla="*/ 444889 w 1159168"/>
                <a:gd name="connsiteY125" fmla="*/ 269272 h 1160906"/>
                <a:gd name="connsiteX126" fmla="*/ 500705 w 1159168"/>
                <a:gd name="connsiteY126" fmla="*/ 292418 h 1160906"/>
                <a:gd name="connsiteX127" fmla="*/ 562999 w 1159168"/>
                <a:gd name="connsiteY127" fmla="*/ 261938 h 1160906"/>
                <a:gd name="connsiteX128" fmla="*/ 563761 w 1159168"/>
                <a:gd name="connsiteY128" fmla="*/ 166116 h 1160906"/>
                <a:gd name="connsiteX129" fmla="*/ 499277 w 1159168"/>
                <a:gd name="connsiteY129" fmla="*/ 134588 h 1160906"/>
                <a:gd name="connsiteX130" fmla="*/ 499277 w 1159168"/>
                <a:gd name="connsiteY130" fmla="*/ 134588 h 1160906"/>
                <a:gd name="connsiteX131" fmla="*/ 496229 w 1159168"/>
                <a:gd name="connsiteY131" fmla="*/ 134779 h 1160906"/>
                <a:gd name="connsiteX132" fmla="*/ 485846 w 1159168"/>
                <a:gd name="connsiteY132" fmla="*/ 132112 h 1160906"/>
                <a:gd name="connsiteX133" fmla="*/ 484799 w 1159168"/>
                <a:gd name="connsiteY133" fmla="*/ 128969 h 1160906"/>
                <a:gd name="connsiteX134" fmla="*/ 567476 w 1159168"/>
                <a:gd name="connsiteY134" fmla="*/ 46292 h 1160906"/>
                <a:gd name="connsiteX135" fmla="*/ 590812 w 1159168"/>
                <a:gd name="connsiteY135" fmla="*/ 46292 h 1160906"/>
                <a:gd name="connsiteX136" fmla="*/ 684919 w 1159168"/>
                <a:gd name="connsiteY136" fmla="*/ 140399 h 1160906"/>
                <a:gd name="connsiteX137" fmla="*/ 691967 w 1159168"/>
                <a:gd name="connsiteY137" fmla="*/ 141256 h 1160906"/>
                <a:gd name="connsiteX138" fmla="*/ 701111 w 1159168"/>
                <a:gd name="connsiteY138" fmla="*/ 141827 h 1160906"/>
                <a:gd name="connsiteX139" fmla="*/ 750641 w 1159168"/>
                <a:gd name="connsiteY139" fmla="*/ 89916 h 1160906"/>
                <a:gd name="connsiteX140" fmla="*/ 750451 w 1159168"/>
                <a:gd name="connsiteY140" fmla="*/ 84296 h 1160906"/>
                <a:gd name="connsiteX141" fmla="*/ 761405 w 1159168"/>
                <a:gd name="connsiteY141" fmla="*/ 57817 h 1160906"/>
                <a:gd name="connsiteX142" fmla="*/ 787884 w 1159168"/>
                <a:gd name="connsiteY142" fmla="*/ 46863 h 1160906"/>
                <a:gd name="connsiteX143" fmla="*/ 817697 w 1159168"/>
                <a:gd name="connsiteY143" fmla="*/ 61532 h 1160906"/>
                <a:gd name="connsiteX144" fmla="*/ 818174 w 1159168"/>
                <a:gd name="connsiteY144" fmla="*/ 106775 h 1160906"/>
                <a:gd name="connsiteX145" fmla="*/ 787789 w 1159168"/>
                <a:gd name="connsiteY145" fmla="*/ 121920 h 1160906"/>
                <a:gd name="connsiteX146" fmla="*/ 742069 w 1159168"/>
                <a:gd name="connsiteY146" fmla="*/ 138398 h 1160906"/>
                <a:gd name="connsiteX147" fmla="*/ 731115 w 1159168"/>
                <a:gd name="connsiteY147" fmla="*/ 180404 h 1160906"/>
                <a:gd name="connsiteX148" fmla="*/ 731972 w 1159168"/>
                <a:gd name="connsiteY148" fmla="*/ 187452 h 1160906"/>
                <a:gd name="connsiteX149" fmla="*/ 837700 w 1159168"/>
                <a:gd name="connsiteY149" fmla="*/ 293180 h 1160906"/>
                <a:gd name="connsiteX150" fmla="*/ 796838 w 1159168"/>
                <a:gd name="connsiteY150" fmla="*/ 334042 h 1160906"/>
                <a:gd name="connsiteX151" fmla="*/ 743307 w 1159168"/>
                <a:gd name="connsiteY151" fmla="*/ 387572 h 1160906"/>
                <a:gd name="connsiteX152" fmla="*/ 740069 w 1159168"/>
                <a:gd name="connsiteY152" fmla="*/ 386429 h 1160906"/>
                <a:gd name="connsiteX153" fmla="*/ 737592 w 1159168"/>
                <a:gd name="connsiteY153" fmla="*/ 376523 h 1160906"/>
                <a:gd name="connsiteX154" fmla="*/ 737783 w 1159168"/>
                <a:gd name="connsiteY154" fmla="*/ 373094 h 1160906"/>
                <a:gd name="connsiteX155" fmla="*/ 714637 w 1159168"/>
                <a:gd name="connsiteY155" fmla="*/ 315849 h 1160906"/>
                <a:gd name="connsiteX156" fmla="*/ 658820 w 1159168"/>
                <a:gd name="connsiteY156" fmla="*/ 292703 h 1160906"/>
                <a:gd name="connsiteX157" fmla="*/ 610719 w 1159168"/>
                <a:gd name="connsiteY157" fmla="*/ 309182 h 1160906"/>
                <a:gd name="connsiteX158" fmla="*/ 610148 w 1159168"/>
                <a:gd name="connsiteY158" fmla="*/ 309563 h 1160906"/>
                <a:gd name="connsiteX159" fmla="*/ 605290 w 1159168"/>
                <a:gd name="connsiteY159" fmla="*/ 313849 h 1160906"/>
                <a:gd name="connsiteX160" fmla="*/ 603956 w 1159168"/>
                <a:gd name="connsiteY160" fmla="*/ 314992 h 1160906"/>
                <a:gd name="connsiteX161" fmla="*/ 597479 w 1159168"/>
                <a:gd name="connsiteY161" fmla="*/ 322040 h 1160906"/>
                <a:gd name="connsiteX162" fmla="*/ 596146 w 1159168"/>
                <a:gd name="connsiteY162" fmla="*/ 323850 h 1160906"/>
                <a:gd name="connsiteX163" fmla="*/ 592050 w 1159168"/>
                <a:gd name="connsiteY163" fmla="*/ 329660 h 1160906"/>
                <a:gd name="connsiteX164" fmla="*/ 591193 w 1159168"/>
                <a:gd name="connsiteY164" fmla="*/ 330899 h 1160906"/>
                <a:gd name="connsiteX165" fmla="*/ 590145 w 1159168"/>
                <a:gd name="connsiteY165" fmla="*/ 332804 h 1160906"/>
                <a:gd name="connsiteX166" fmla="*/ 587383 w 1159168"/>
                <a:gd name="connsiteY166" fmla="*/ 338042 h 1160906"/>
                <a:gd name="connsiteX167" fmla="*/ 585668 w 1159168"/>
                <a:gd name="connsiteY167" fmla="*/ 341662 h 1160906"/>
                <a:gd name="connsiteX168" fmla="*/ 583097 w 1159168"/>
                <a:gd name="connsiteY168" fmla="*/ 348996 h 1160906"/>
                <a:gd name="connsiteX169" fmla="*/ 582620 w 1159168"/>
                <a:gd name="connsiteY169" fmla="*/ 350425 h 1160906"/>
                <a:gd name="connsiteX170" fmla="*/ 580525 w 1159168"/>
                <a:gd name="connsiteY170" fmla="*/ 360331 h 1160906"/>
                <a:gd name="connsiteX171" fmla="*/ 580430 w 1159168"/>
                <a:gd name="connsiteY171" fmla="*/ 361188 h 1160906"/>
                <a:gd name="connsiteX172" fmla="*/ 579763 w 1159168"/>
                <a:gd name="connsiteY172" fmla="*/ 367284 h 1160906"/>
                <a:gd name="connsiteX173" fmla="*/ 579763 w 1159168"/>
                <a:gd name="connsiteY173" fmla="*/ 370713 h 1160906"/>
                <a:gd name="connsiteX174" fmla="*/ 579763 w 1159168"/>
                <a:gd name="connsiteY174" fmla="*/ 371380 h 1160906"/>
                <a:gd name="connsiteX175" fmla="*/ 602718 w 1159168"/>
                <a:gd name="connsiteY175" fmla="*/ 427863 h 1160906"/>
                <a:gd name="connsiteX176" fmla="*/ 648248 w 1159168"/>
                <a:gd name="connsiteY176" fmla="*/ 449961 h 1160906"/>
                <a:gd name="connsiteX177" fmla="*/ 648533 w 1159168"/>
                <a:gd name="connsiteY177" fmla="*/ 449961 h 1160906"/>
                <a:gd name="connsiteX178" fmla="*/ 658249 w 1159168"/>
                <a:gd name="connsiteY178" fmla="*/ 450914 h 1160906"/>
                <a:gd name="connsiteX179" fmla="*/ 661964 w 1159168"/>
                <a:gd name="connsiteY179" fmla="*/ 450818 h 1160906"/>
                <a:gd name="connsiteX180" fmla="*/ 663583 w 1159168"/>
                <a:gd name="connsiteY180" fmla="*/ 450723 h 1160906"/>
                <a:gd name="connsiteX181" fmla="*/ 673298 w 1159168"/>
                <a:gd name="connsiteY181" fmla="*/ 453390 h 1160906"/>
                <a:gd name="connsiteX182" fmla="*/ 674346 w 1159168"/>
                <a:gd name="connsiteY182" fmla="*/ 456438 h 1160906"/>
                <a:gd name="connsiteX183" fmla="*/ 620816 w 1159168"/>
                <a:gd name="connsiteY183" fmla="*/ 509969 h 1160906"/>
                <a:gd name="connsiteX184" fmla="*/ 580144 w 1159168"/>
                <a:gd name="connsiteY184" fmla="*/ 550640 h 1160906"/>
                <a:gd name="connsiteX185" fmla="*/ 474416 w 1159168"/>
                <a:gd name="connsiteY185" fmla="*/ 444913 h 1160906"/>
                <a:gd name="connsiteX186" fmla="*/ 467368 w 1159168"/>
                <a:gd name="connsiteY186" fmla="*/ 444056 h 1160906"/>
                <a:gd name="connsiteX187" fmla="*/ 458319 w 1159168"/>
                <a:gd name="connsiteY187" fmla="*/ 443484 h 1160906"/>
                <a:gd name="connsiteX188" fmla="*/ 408313 w 1159168"/>
                <a:gd name="connsiteY188" fmla="*/ 497015 h 1160906"/>
                <a:gd name="connsiteX189" fmla="*/ 408408 w 1159168"/>
                <a:gd name="connsiteY189" fmla="*/ 499777 h 1160906"/>
                <a:gd name="connsiteX190" fmla="*/ 389453 w 1159168"/>
                <a:gd name="connsiteY190" fmla="*/ 534257 h 1160906"/>
                <a:gd name="connsiteX191" fmla="*/ 351544 w 1159168"/>
                <a:gd name="connsiteY191" fmla="*/ 533686 h 1160906"/>
                <a:gd name="connsiteX192" fmla="*/ 336875 w 1159168"/>
                <a:gd name="connsiteY192" fmla="*/ 516636 h 1160906"/>
                <a:gd name="connsiteX193" fmla="*/ 335447 w 1159168"/>
                <a:gd name="connsiteY193" fmla="*/ 513302 h 1160906"/>
                <a:gd name="connsiteX194" fmla="*/ 334970 w 1159168"/>
                <a:gd name="connsiteY194" fmla="*/ 511112 h 1160906"/>
                <a:gd name="connsiteX195" fmla="*/ 338685 w 1159168"/>
                <a:gd name="connsiteY195" fmla="*/ 484251 h 1160906"/>
                <a:gd name="connsiteX196" fmla="*/ 371737 w 1159168"/>
                <a:gd name="connsiteY196" fmla="*/ 465201 h 1160906"/>
                <a:gd name="connsiteX197" fmla="*/ 417457 w 1159168"/>
                <a:gd name="connsiteY197" fmla="*/ 448723 h 1160906"/>
                <a:gd name="connsiteX198" fmla="*/ 428887 w 1159168"/>
                <a:gd name="connsiteY198" fmla="*/ 413957 h 1160906"/>
                <a:gd name="connsiteX199" fmla="*/ 428411 w 1159168"/>
                <a:gd name="connsiteY199" fmla="*/ 405098 h 1160906"/>
                <a:gd name="connsiteX200" fmla="*/ 427553 w 1159168"/>
                <a:gd name="connsiteY200" fmla="*/ 398050 h 1160906"/>
                <a:gd name="connsiteX201" fmla="*/ 321826 w 1159168"/>
                <a:gd name="connsiteY201" fmla="*/ 292227 h 1160906"/>
                <a:gd name="connsiteX202" fmla="*/ 416314 w 1159168"/>
                <a:gd name="connsiteY202" fmla="*/ 197453 h 1160906"/>
                <a:gd name="connsiteX203" fmla="*/ 198572 w 1159168"/>
                <a:gd name="connsiteY203" fmla="*/ 741902 h 1160906"/>
                <a:gd name="connsiteX204" fmla="*/ 208002 w 1159168"/>
                <a:gd name="connsiteY204" fmla="*/ 739235 h 1160906"/>
                <a:gd name="connsiteX205" fmla="*/ 213050 w 1159168"/>
                <a:gd name="connsiteY205" fmla="*/ 739521 h 1160906"/>
                <a:gd name="connsiteX206" fmla="*/ 276487 w 1159168"/>
                <a:gd name="connsiteY206" fmla="*/ 707993 h 1160906"/>
                <a:gd name="connsiteX207" fmla="*/ 275725 w 1159168"/>
                <a:gd name="connsiteY207" fmla="*/ 612172 h 1160906"/>
                <a:gd name="connsiteX208" fmla="*/ 213431 w 1159168"/>
                <a:gd name="connsiteY208" fmla="*/ 581692 h 1160906"/>
                <a:gd name="connsiteX209" fmla="*/ 157615 w 1159168"/>
                <a:gd name="connsiteY209" fmla="*/ 604838 h 1160906"/>
                <a:gd name="connsiteX210" fmla="*/ 134564 w 1159168"/>
                <a:gd name="connsiteY210" fmla="*/ 662273 h 1160906"/>
                <a:gd name="connsiteX211" fmla="*/ 134660 w 1159168"/>
                <a:gd name="connsiteY211" fmla="*/ 663702 h 1160906"/>
                <a:gd name="connsiteX212" fmla="*/ 134755 w 1159168"/>
                <a:gd name="connsiteY212" fmla="*/ 665798 h 1160906"/>
                <a:gd name="connsiteX213" fmla="*/ 129040 w 1159168"/>
                <a:gd name="connsiteY213" fmla="*/ 676561 h 1160906"/>
                <a:gd name="connsiteX214" fmla="*/ 46268 w 1159168"/>
                <a:gd name="connsiteY214" fmla="*/ 593789 h 1160906"/>
                <a:gd name="connsiteX215" fmla="*/ 41410 w 1159168"/>
                <a:gd name="connsiteY215" fmla="*/ 581978 h 1160906"/>
                <a:gd name="connsiteX216" fmla="*/ 46268 w 1159168"/>
                <a:gd name="connsiteY216" fmla="*/ 570357 h 1160906"/>
                <a:gd name="connsiteX217" fmla="*/ 140279 w 1159168"/>
                <a:gd name="connsiteY217" fmla="*/ 476250 h 1160906"/>
                <a:gd name="connsiteX218" fmla="*/ 141137 w 1159168"/>
                <a:gd name="connsiteY218" fmla="*/ 469201 h 1160906"/>
                <a:gd name="connsiteX219" fmla="*/ 130659 w 1159168"/>
                <a:gd name="connsiteY219" fmla="*/ 427673 h 1160906"/>
                <a:gd name="connsiteX220" fmla="*/ 90083 w 1159168"/>
                <a:gd name="connsiteY220" fmla="*/ 410051 h 1160906"/>
                <a:gd name="connsiteX221" fmla="*/ 89225 w 1159168"/>
                <a:gd name="connsiteY221" fmla="*/ 409956 h 1160906"/>
                <a:gd name="connsiteX222" fmla="*/ 86368 w 1159168"/>
                <a:gd name="connsiteY222" fmla="*/ 410147 h 1160906"/>
                <a:gd name="connsiteX223" fmla="*/ 57221 w 1159168"/>
                <a:gd name="connsiteY223" fmla="*/ 399288 h 1160906"/>
                <a:gd name="connsiteX224" fmla="*/ 46458 w 1159168"/>
                <a:gd name="connsiteY224" fmla="*/ 368618 h 1160906"/>
                <a:gd name="connsiteX225" fmla="*/ 64270 w 1159168"/>
                <a:gd name="connsiteY225" fmla="*/ 340519 h 1160906"/>
                <a:gd name="connsiteX226" fmla="*/ 102179 w 1159168"/>
                <a:gd name="connsiteY226" fmla="*/ 339947 h 1160906"/>
                <a:gd name="connsiteX227" fmla="*/ 121229 w 1159168"/>
                <a:gd name="connsiteY227" fmla="*/ 373190 h 1160906"/>
                <a:gd name="connsiteX228" fmla="*/ 121039 w 1159168"/>
                <a:gd name="connsiteY228" fmla="*/ 377381 h 1160906"/>
                <a:gd name="connsiteX229" fmla="*/ 171140 w 1159168"/>
                <a:gd name="connsiteY229" fmla="*/ 430625 h 1160906"/>
                <a:gd name="connsiteX230" fmla="*/ 180189 w 1159168"/>
                <a:gd name="connsiteY230" fmla="*/ 430054 h 1160906"/>
                <a:gd name="connsiteX231" fmla="*/ 187238 w 1159168"/>
                <a:gd name="connsiteY231" fmla="*/ 429197 h 1160906"/>
                <a:gd name="connsiteX232" fmla="*/ 292965 w 1159168"/>
                <a:gd name="connsiteY232" fmla="*/ 323469 h 1160906"/>
                <a:gd name="connsiteX233" fmla="*/ 387072 w 1159168"/>
                <a:gd name="connsiteY233" fmla="*/ 417576 h 1160906"/>
                <a:gd name="connsiteX234" fmla="*/ 386310 w 1159168"/>
                <a:gd name="connsiteY234" fmla="*/ 419386 h 1160906"/>
                <a:gd name="connsiteX235" fmla="*/ 376690 w 1159168"/>
                <a:gd name="connsiteY235" fmla="*/ 422434 h 1160906"/>
                <a:gd name="connsiteX236" fmla="*/ 375928 w 1159168"/>
                <a:gd name="connsiteY236" fmla="*/ 422434 h 1160906"/>
                <a:gd name="connsiteX237" fmla="*/ 315158 w 1159168"/>
                <a:gd name="connsiteY237" fmla="*/ 445389 h 1160906"/>
                <a:gd name="connsiteX238" fmla="*/ 292489 w 1159168"/>
                <a:gd name="connsiteY238" fmla="*/ 509873 h 1160906"/>
                <a:gd name="connsiteX239" fmla="*/ 294870 w 1159168"/>
                <a:gd name="connsiteY239" fmla="*/ 521875 h 1160906"/>
                <a:gd name="connsiteX240" fmla="*/ 296013 w 1159168"/>
                <a:gd name="connsiteY240" fmla="*/ 525780 h 1160906"/>
                <a:gd name="connsiteX241" fmla="*/ 297156 w 1159168"/>
                <a:gd name="connsiteY241" fmla="*/ 529019 h 1160906"/>
                <a:gd name="connsiteX242" fmla="*/ 303728 w 1159168"/>
                <a:gd name="connsiteY242" fmla="*/ 543116 h 1160906"/>
                <a:gd name="connsiteX243" fmla="*/ 371356 w 1159168"/>
                <a:gd name="connsiteY243" fmla="*/ 581216 h 1160906"/>
                <a:gd name="connsiteX244" fmla="*/ 427172 w 1159168"/>
                <a:gd name="connsiteY244" fmla="*/ 558070 h 1160906"/>
                <a:gd name="connsiteX245" fmla="*/ 450318 w 1159168"/>
                <a:gd name="connsiteY245" fmla="*/ 500825 h 1160906"/>
                <a:gd name="connsiteX246" fmla="*/ 450128 w 1159168"/>
                <a:gd name="connsiteY246" fmla="*/ 497776 h 1160906"/>
                <a:gd name="connsiteX247" fmla="*/ 452604 w 1159168"/>
                <a:gd name="connsiteY247" fmla="*/ 487490 h 1160906"/>
                <a:gd name="connsiteX248" fmla="*/ 455843 w 1159168"/>
                <a:gd name="connsiteY248" fmla="*/ 486347 h 1160906"/>
                <a:gd name="connsiteX249" fmla="*/ 549950 w 1159168"/>
                <a:gd name="connsiteY249" fmla="*/ 580454 h 1160906"/>
                <a:gd name="connsiteX250" fmla="*/ 549950 w 1159168"/>
                <a:gd name="connsiteY250" fmla="*/ 580454 h 1160906"/>
                <a:gd name="connsiteX251" fmla="*/ 550140 w 1159168"/>
                <a:gd name="connsiteY251" fmla="*/ 580644 h 1160906"/>
                <a:gd name="connsiteX252" fmla="*/ 444889 w 1159168"/>
                <a:gd name="connsiteY252" fmla="*/ 686276 h 1160906"/>
                <a:gd name="connsiteX253" fmla="*/ 444603 w 1159168"/>
                <a:gd name="connsiteY253" fmla="*/ 686562 h 1160906"/>
                <a:gd name="connsiteX254" fmla="*/ 443746 w 1159168"/>
                <a:gd name="connsiteY254" fmla="*/ 693611 h 1160906"/>
                <a:gd name="connsiteX255" fmla="*/ 454700 w 1159168"/>
                <a:gd name="connsiteY255" fmla="*/ 735616 h 1160906"/>
                <a:gd name="connsiteX256" fmla="*/ 495752 w 1159168"/>
                <a:gd name="connsiteY256" fmla="*/ 752189 h 1160906"/>
                <a:gd name="connsiteX257" fmla="*/ 500896 w 1159168"/>
                <a:gd name="connsiteY257" fmla="*/ 751999 h 1160906"/>
                <a:gd name="connsiteX258" fmla="*/ 530900 w 1159168"/>
                <a:gd name="connsiteY258" fmla="*/ 767144 h 1160906"/>
                <a:gd name="connsiteX259" fmla="*/ 534519 w 1159168"/>
                <a:gd name="connsiteY259" fmla="*/ 805529 h 1160906"/>
                <a:gd name="connsiteX260" fmla="*/ 533281 w 1159168"/>
                <a:gd name="connsiteY260" fmla="*/ 808006 h 1160906"/>
                <a:gd name="connsiteX261" fmla="*/ 531376 w 1159168"/>
                <a:gd name="connsiteY261" fmla="*/ 810959 h 1160906"/>
                <a:gd name="connsiteX262" fmla="*/ 528804 w 1159168"/>
                <a:gd name="connsiteY262" fmla="*/ 814007 h 1160906"/>
                <a:gd name="connsiteX263" fmla="*/ 525566 w 1159168"/>
                <a:gd name="connsiteY263" fmla="*/ 817245 h 1160906"/>
                <a:gd name="connsiteX264" fmla="*/ 521946 w 1159168"/>
                <a:gd name="connsiteY264" fmla="*/ 820103 h 1160906"/>
                <a:gd name="connsiteX265" fmla="*/ 518708 w 1159168"/>
                <a:gd name="connsiteY265" fmla="*/ 822103 h 1160906"/>
                <a:gd name="connsiteX266" fmla="*/ 512516 w 1159168"/>
                <a:gd name="connsiteY266" fmla="*/ 824770 h 1160906"/>
                <a:gd name="connsiteX267" fmla="*/ 510421 w 1159168"/>
                <a:gd name="connsiteY267" fmla="*/ 825532 h 1160906"/>
                <a:gd name="connsiteX268" fmla="*/ 482513 w 1159168"/>
                <a:gd name="connsiteY268" fmla="*/ 822008 h 1160906"/>
                <a:gd name="connsiteX269" fmla="*/ 463463 w 1159168"/>
                <a:gd name="connsiteY269" fmla="*/ 789051 h 1160906"/>
                <a:gd name="connsiteX270" fmla="*/ 463653 w 1159168"/>
                <a:gd name="connsiteY270" fmla="*/ 784288 h 1160906"/>
                <a:gd name="connsiteX271" fmla="*/ 414123 w 1159168"/>
                <a:gd name="connsiteY271" fmla="*/ 731711 h 1160906"/>
                <a:gd name="connsiteX272" fmla="*/ 405074 w 1159168"/>
                <a:gd name="connsiteY272" fmla="*/ 732282 h 1160906"/>
                <a:gd name="connsiteX273" fmla="*/ 398026 w 1159168"/>
                <a:gd name="connsiteY273" fmla="*/ 733139 h 1160906"/>
                <a:gd name="connsiteX274" fmla="*/ 291822 w 1159168"/>
                <a:gd name="connsiteY274" fmla="*/ 839343 h 1160906"/>
                <a:gd name="connsiteX275" fmla="*/ 197429 w 1159168"/>
                <a:gd name="connsiteY275" fmla="*/ 744950 h 1160906"/>
                <a:gd name="connsiteX276" fmla="*/ 198572 w 1159168"/>
                <a:gd name="connsiteY276" fmla="*/ 741902 h 1160906"/>
                <a:gd name="connsiteX277" fmla="*/ 743498 w 1159168"/>
                <a:gd name="connsiteY277" fmla="*/ 963263 h 1160906"/>
                <a:gd name="connsiteX278" fmla="*/ 740259 w 1159168"/>
                <a:gd name="connsiteY278" fmla="*/ 962120 h 1160906"/>
                <a:gd name="connsiteX279" fmla="*/ 737687 w 1159168"/>
                <a:gd name="connsiteY279" fmla="*/ 952690 h 1160906"/>
                <a:gd name="connsiteX280" fmla="*/ 737878 w 1159168"/>
                <a:gd name="connsiteY280" fmla="*/ 948785 h 1160906"/>
                <a:gd name="connsiteX281" fmla="*/ 706350 w 1159168"/>
                <a:gd name="connsiteY281" fmla="*/ 884206 h 1160906"/>
                <a:gd name="connsiteX282" fmla="*/ 610529 w 1159168"/>
                <a:gd name="connsiteY282" fmla="*/ 884968 h 1160906"/>
                <a:gd name="connsiteX283" fmla="*/ 580144 w 1159168"/>
                <a:gd name="connsiteY283" fmla="*/ 942499 h 1160906"/>
                <a:gd name="connsiteX284" fmla="*/ 603099 w 1159168"/>
                <a:gd name="connsiteY284" fmla="*/ 1003078 h 1160906"/>
                <a:gd name="connsiteX285" fmla="*/ 658916 w 1159168"/>
                <a:gd name="connsiteY285" fmla="*/ 1026128 h 1160906"/>
                <a:gd name="connsiteX286" fmla="*/ 661964 w 1159168"/>
                <a:gd name="connsiteY286" fmla="*/ 1026033 h 1160906"/>
                <a:gd name="connsiteX287" fmla="*/ 664155 w 1159168"/>
                <a:gd name="connsiteY287" fmla="*/ 1025938 h 1160906"/>
                <a:gd name="connsiteX288" fmla="*/ 673870 w 1159168"/>
                <a:gd name="connsiteY288" fmla="*/ 1028605 h 1160906"/>
                <a:gd name="connsiteX289" fmla="*/ 674918 w 1159168"/>
                <a:gd name="connsiteY289" fmla="*/ 1031748 h 1160906"/>
                <a:gd name="connsiteX290" fmla="*/ 592145 w 1159168"/>
                <a:gd name="connsiteY290" fmla="*/ 1114520 h 1160906"/>
                <a:gd name="connsiteX291" fmla="*/ 568809 w 1159168"/>
                <a:gd name="connsiteY291" fmla="*/ 1114520 h 1160906"/>
                <a:gd name="connsiteX292" fmla="*/ 474702 w 1159168"/>
                <a:gd name="connsiteY292" fmla="*/ 1020413 h 1160906"/>
                <a:gd name="connsiteX293" fmla="*/ 467654 w 1159168"/>
                <a:gd name="connsiteY293" fmla="*/ 1019556 h 1160906"/>
                <a:gd name="connsiteX294" fmla="*/ 458605 w 1159168"/>
                <a:gd name="connsiteY294" fmla="*/ 1018985 h 1160906"/>
                <a:gd name="connsiteX295" fmla="*/ 408503 w 1159168"/>
                <a:gd name="connsiteY295" fmla="*/ 1070610 h 1160906"/>
                <a:gd name="connsiteX296" fmla="*/ 408408 w 1159168"/>
                <a:gd name="connsiteY296" fmla="*/ 1071372 h 1160906"/>
                <a:gd name="connsiteX297" fmla="*/ 408599 w 1159168"/>
                <a:gd name="connsiteY297" fmla="*/ 1074230 h 1160906"/>
                <a:gd name="connsiteX298" fmla="*/ 397740 w 1159168"/>
                <a:gd name="connsiteY298" fmla="*/ 1103376 h 1160906"/>
                <a:gd name="connsiteX299" fmla="*/ 371261 w 1159168"/>
                <a:gd name="connsiteY299" fmla="*/ 1114330 h 1160906"/>
                <a:gd name="connsiteX300" fmla="*/ 339066 w 1159168"/>
                <a:gd name="connsiteY300" fmla="*/ 1096232 h 1160906"/>
                <a:gd name="connsiteX301" fmla="*/ 338495 w 1159168"/>
                <a:gd name="connsiteY301" fmla="*/ 1058323 h 1160906"/>
                <a:gd name="connsiteX302" fmla="*/ 371070 w 1159168"/>
                <a:gd name="connsiteY302" fmla="*/ 1039368 h 1160906"/>
                <a:gd name="connsiteX303" fmla="*/ 372118 w 1159168"/>
                <a:gd name="connsiteY303" fmla="*/ 1039368 h 1160906"/>
                <a:gd name="connsiteX304" fmla="*/ 376023 w 1159168"/>
                <a:gd name="connsiteY304" fmla="*/ 1039559 h 1160906"/>
                <a:gd name="connsiteX305" fmla="*/ 417838 w 1159168"/>
                <a:gd name="connsiteY305" fmla="*/ 1022318 h 1160906"/>
                <a:gd name="connsiteX306" fmla="*/ 428696 w 1159168"/>
                <a:gd name="connsiteY306" fmla="*/ 980408 h 1160906"/>
                <a:gd name="connsiteX307" fmla="*/ 427839 w 1159168"/>
                <a:gd name="connsiteY307" fmla="*/ 973360 h 1160906"/>
                <a:gd name="connsiteX308" fmla="*/ 322112 w 1159168"/>
                <a:gd name="connsiteY308" fmla="*/ 867632 h 1160906"/>
                <a:gd name="connsiteX309" fmla="*/ 354116 w 1159168"/>
                <a:gd name="connsiteY309" fmla="*/ 835628 h 1160906"/>
                <a:gd name="connsiteX310" fmla="*/ 416314 w 1159168"/>
                <a:gd name="connsiteY310" fmla="*/ 773430 h 1160906"/>
                <a:gd name="connsiteX311" fmla="*/ 422029 w 1159168"/>
                <a:gd name="connsiteY311" fmla="*/ 783812 h 1160906"/>
                <a:gd name="connsiteX312" fmla="*/ 422029 w 1159168"/>
                <a:gd name="connsiteY312" fmla="*/ 785622 h 1160906"/>
                <a:gd name="connsiteX313" fmla="*/ 421838 w 1159168"/>
                <a:gd name="connsiteY313" fmla="*/ 787718 h 1160906"/>
                <a:gd name="connsiteX314" fmla="*/ 444889 w 1159168"/>
                <a:gd name="connsiteY314" fmla="*/ 845249 h 1160906"/>
                <a:gd name="connsiteX315" fmla="*/ 479941 w 1159168"/>
                <a:gd name="connsiteY315" fmla="*/ 865251 h 1160906"/>
                <a:gd name="connsiteX316" fmla="*/ 480989 w 1159168"/>
                <a:gd name="connsiteY316" fmla="*/ 865537 h 1160906"/>
                <a:gd name="connsiteX317" fmla="*/ 490418 w 1159168"/>
                <a:gd name="connsiteY317" fmla="*/ 867347 h 1160906"/>
                <a:gd name="connsiteX318" fmla="*/ 492609 w 1159168"/>
                <a:gd name="connsiteY318" fmla="*/ 867537 h 1160906"/>
                <a:gd name="connsiteX319" fmla="*/ 500705 w 1159168"/>
                <a:gd name="connsiteY319" fmla="*/ 868299 h 1160906"/>
                <a:gd name="connsiteX320" fmla="*/ 531566 w 1159168"/>
                <a:gd name="connsiteY320" fmla="*/ 861917 h 1160906"/>
                <a:gd name="connsiteX321" fmla="*/ 533090 w 1159168"/>
                <a:gd name="connsiteY321" fmla="*/ 861251 h 1160906"/>
                <a:gd name="connsiteX322" fmla="*/ 540901 w 1159168"/>
                <a:gd name="connsiteY322" fmla="*/ 857250 h 1160906"/>
                <a:gd name="connsiteX323" fmla="*/ 541853 w 1159168"/>
                <a:gd name="connsiteY323" fmla="*/ 856774 h 1160906"/>
                <a:gd name="connsiteX324" fmla="*/ 542139 w 1159168"/>
                <a:gd name="connsiteY324" fmla="*/ 856583 h 1160906"/>
                <a:gd name="connsiteX325" fmla="*/ 548807 w 1159168"/>
                <a:gd name="connsiteY325" fmla="*/ 851916 h 1160906"/>
                <a:gd name="connsiteX326" fmla="*/ 549473 w 1159168"/>
                <a:gd name="connsiteY326" fmla="*/ 851440 h 1160906"/>
                <a:gd name="connsiteX327" fmla="*/ 554712 w 1159168"/>
                <a:gd name="connsiteY327" fmla="*/ 846868 h 1160906"/>
                <a:gd name="connsiteX328" fmla="*/ 556427 w 1159168"/>
                <a:gd name="connsiteY328" fmla="*/ 845344 h 1160906"/>
                <a:gd name="connsiteX329" fmla="*/ 559760 w 1159168"/>
                <a:gd name="connsiteY329" fmla="*/ 841724 h 1160906"/>
                <a:gd name="connsiteX330" fmla="*/ 562618 w 1159168"/>
                <a:gd name="connsiteY330" fmla="*/ 838486 h 1160906"/>
                <a:gd name="connsiteX331" fmla="*/ 563094 w 1159168"/>
                <a:gd name="connsiteY331" fmla="*/ 838010 h 1160906"/>
                <a:gd name="connsiteX332" fmla="*/ 563761 w 1159168"/>
                <a:gd name="connsiteY332" fmla="*/ 836962 h 1160906"/>
                <a:gd name="connsiteX333" fmla="*/ 569857 w 1159168"/>
                <a:gd name="connsiteY333" fmla="*/ 827723 h 1160906"/>
                <a:gd name="connsiteX334" fmla="*/ 570428 w 1159168"/>
                <a:gd name="connsiteY334" fmla="*/ 826770 h 1160906"/>
                <a:gd name="connsiteX335" fmla="*/ 579477 w 1159168"/>
                <a:gd name="connsiteY335" fmla="*/ 798576 h 1160906"/>
                <a:gd name="connsiteX336" fmla="*/ 556903 w 1159168"/>
                <a:gd name="connsiteY336" fmla="*/ 733615 h 1160906"/>
                <a:gd name="connsiteX337" fmla="*/ 551950 w 1159168"/>
                <a:gd name="connsiteY337" fmla="*/ 729615 h 1160906"/>
                <a:gd name="connsiteX338" fmla="*/ 550235 w 1159168"/>
                <a:gd name="connsiteY338" fmla="*/ 728186 h 1160906"/>
                <a:gd name="connsiteX339" fmla="*/ 538615 w 1159168"/>
                <a:gd name="connsiteY339" fmla="*/ 720471 h 1160906"/>
                <a:gd name="connsiteX340" fmla="*/ 534995 w 1159168"/>
                <a:gd name="connsiteY340" fmla="*/ 718566 h 1160906"/>
                <a:gd name="connsiteX341" fmla="*/ 528328 w 1159168"/>
                <a:gd name="connsiteY341" fmla="*/ 715709 h 1160906"/>
                <a:gd name="connsiteX342" fmla="*/ 518517 w 1159168"/>
                <a:gd name="connsiteY342" fmla="*/ 712851 h 1160906"/>
                <a:gd name="connsiteX343" fmla="*/ 512421 w 1159168"/>
                <a:gd name="connsiteY343" fmla="*/ 711803 h 1160906"/>
                <a:gd name="connsiteX344" fmla="*/ 505373 w 1159168"/>
                <a:gd name="connsiteY344" fmla="*/ 711137 h 1160906"/>
                <a:gd name="connsiteX345" fmla="*/ 499753 w 1159168"/>
                <a:gd name="connsiteY345" fmla="*/ 710660 h 1160906"/>
                <a:gd name="connsiteX346" fmla="*/ 499753 w 1159168"/>
                <a:gd name="connsiteY346" fmla="*/ 710660 h 1160906"/>
                <a:gd name="connsiteX347" fmla="*/ 496419 w 1159168"/>
                <a:gd name="connsiteY347" fmla="*/ 710851 h 1160906"/>
                <a:gd name="connsiteX348" fmla="*/ 486323 w 1159168"/>
                <a:gd name="connsiteY348" fmla="*/ 708279 h 1160906"/>
                <a:gd name="connsiteX349" fmla="*/ 485275 w 1159168"/>
                <a:gd name="connsiteY349" fmla="*/ 705231 h 1160906"/>
                <a:gd name="connsiteX350" fmla="*/ 538805 w 1159168"/>
                <a:gd name="connsiteY350" fmla="*/ 651701 h 1160906"/>
                <a:gd name="connsiteX351" fmla="*/ 579668 w 1159168"/>
                <a:gd name="connsiteY351" fmla="*/ 610838 h 1160906"/>
                <a:gd name="connsiteX352" fmla="*/ 685395 w 1159168"/>
                <a:gd name="connsiteY352" fmla="*/ 716566 h 1160906"/>
                <a:gd name="connsiteX353" fmla="*/ 692444 w 1159168"/>
                <a:gd name="connsiteY353" fmla="*/ 717423 h 1160906"/>
                <a:gd name="connsiteX354" fmla="*/ 701492 w 1159168"/>
                <a:gd name="connsiteY354" fmla="*/ 717995 h 1160906"/>
                <a:gd name="connsiteX355" fmla="*/ 751022 w 1159168"/>
                <a:gd name="connsiteY355" fmla="*/ 665417 h 1160906"/>
                <a:gd name="connsiteX356" fmla="*/ 750832 w 1159168"/>
                <a:gd name="connsiteY356" fmla="*/ 660559 h 1160906"/>
                <a:gd name="connsiteX357" fmla="*/ 765977 w 1159168"/>
                <a:gd name="connsiteY357" fmla="*/ 630365 h 1160906"/>
                <a:gd name="connsiteX358" fmla="*/ 811220 w 1159168"/>
                <a:gd name="connsiteY358" fmla="*/ 630841 h 1160906"/>
                <a:gd name="connsiteX359" fmla="*/ 821412 w 1159168"/>
                <a:gd name="connsiteY359" fmla="*/ 642938 h 1160906"/>
                <a:gd name="connsiteX360" fmla="*/ 825222 w 1159168"/>
                <a:gd name="connsiteY360" fmla="*/ 657130 h 1160906"/>
                <a:gd name="connsiteX361" fmla="*/ 814364 w 1159168"/>
                <a:gd name="connsiteY361" fmla="*/ 685895 h 1160906"/>
                <a:gd name="connsiteX362" fmla="*/ 787408 w 1159168"/>
                <a:gd name="connsiteY362" fmla="*/ 696849 h 1160906"/>
                <a:gd name="connsiteX363" fmla="*/ 781788 w 1159168"/>
                <a:gd name="connsiteY363" fmla="*/ 696659 h 1160906"/>
                <a:gd name="connsiteX364" fmla="*/ 741593 w 1159168"/>
                <a:gd name="connsiteY364" fmla="*/ 713613 h 1160906"/>
                <a:gd name="connsiteX365" fmla="*/ 730925 w 1159168"/>
                <a:gd name="connsiteY365" fmla="*/ 755237 h 1160906"/>
                <a:gd name="connsiteX366" fmla="*/ 731591 w 1159168"/>
                <a:gd name="connsiteY366" fmla="*/ 762000 h 1160906"/>
                <a:gd name="connsiteX367" fmla="*/ 731972 w 1159168"/>
                <a:gd name="connsiteY367" fmla="*/ 762381 h 1160906"/>
                <a:gd name="connsiteX368" fmla="*/ 732068 w 1159168"/>
                <a:gd name="connsiteY368" fmla="*/ 763143 h 1160906"/>
                <a:gd name="connsiteX369" fmla="*/ 837795 w 1159168"/>
                <a:gd name="connsiteY369" fmla="*/ 868871 h 1160906"/>
                <a:gd name="connsiteX370" fmla="*/ 743498 w 1159168"/>
                <a:gd name="connsiteY370" fmla="*/ 963263 h 1160906"/>
                <a:gd name="connsiteX371" fmla="*/ 1107448 w 1159168"/>
                <a:gd name="connsiteY371" fmla="*/ 808101 h 1160906"/>
                <a:gd name="connsiteX372" fmla="*/ 1075253 w 1159168"/>
                <a:gd name="connsiteY372" fmla="*/ 826199 h 1160906"/>
                <a:gd name="connsiteX373" fmla="*/ 1048774 w 1159168"/>
                <a:gd name="connsiteY373" fmla="*/ 815245 h 1160906"/>
                <a:gd name="connsiteX374" fmla="*/ 1037915 w 1159168"/>
                <a:gd name="connsiteY374" fmla="*/ 785051 h 1160906"/>
                <a:gd name="connsiteX375" fmla="*/ 1038011 w 1159168"/>
                <a:gd name="connsiteY375" fmla="*/ 783717 h 1160906"/>
                <a:gd name="connsiteX376" fmla="*/ 1038011 w 1159168"/>
                <a:gd name="connsiteY376" fmla="*/ 782384 h 1160906"/>
                <a:gd name="connsiteX377" fmla="*/ 987909 w 1159168"/>
                <a:gd name="connsiteY377" fmla="*/ 730758 h 1160906"/>
                <a:gd name="connsiteX378" fmla="*/ 978860 w 1159168"/>
                <a:gd name="connsiteY378" fmla="*/ 731330 h 1160906"/>
                <a:gd name="connsiteX379" fmla="*/ 971812 w 1159168"/>
                <a:gd name="connsiteY379" fmla="*/ 732187 h 1160906"/>
                <a:gd name="connsiteX380" fmla="*/ 866084 w 1159168"/>
                <a:gd name="connsiteY380" fmla="*/ 837914 h 1160906"/>
                <a:gd name="connsiteX381" fmla="*/ 772263 w 1159168"/>
                <a:gd name="connsiteY381" fmla="*/ 744093 h 1160906"/>
                <a:gd name="connsiteX382" fmla="*/ 773120 w 1159168"/>
                <a:gd name="connsiteY382" fmla="*/ 741521 h 1160906"/>
                <a:gd name="connsiteX383" fmla="*/ 782455 w 1159168"/>
                <a:gd name="connsiteY383" fmla="*/ 738854 h 1160906"/>
                <a:gd name="connsiteX384" fmla="*/ 784265 w 1159168"/>
                <a:gd name="connsiteY384" fmla="*/ 738854 h 1160906"/>
                <a:gd name="connsiteX385" fmla="*/ 788170 w 1159168"/>
                <a:gd name="connsiteY385" fmla="*/ 739045 h 1160906"/>
                <a:gd name="connsiteX386" fmla="*/ 843796 w 1159168"/>
                <a:gd name="connsiteY386" fmla="*/ 715994 h 1160906"/>
                <a:gd name="connsiteX387" fmla="*/ 866751 w 1159168"/>
                <a:gd name="connsiteY387" fmla="*/ 655415 h 1160906"/>
                <a:gd name="connsiteX388" fmla="*/ 860846 w 1159168"/>
                <a:gd name="connsiteY388" fmla="*/ 630079 h 1160906"/>
                <a:gd name="connsiteX389" fmla="*/ 835890 w 1159168"/>
                <a:gd name="connsiteY389" fmla="*/ 596646 h 1160906"/>
                <a:gd name="connsiteX390" fmla="*/ 740069 w 1159168"/>
                <a:gd name="connsiteY390" fmla="*/ 595884 h 1160906"/>
                <a:gd name="connsiteX391" fmla="*/ 708541 w 1159168"/>
                <a:gd name="connsiteY391" fmla="*/ 660463 h 1160906"/>
                <a:gd name="connsiteX392" fmla="*/ 708732 w 1159168"/>
                <a:gd name="connsiteY392" fmla="*/ 663321 h 1160906"/>
                <a:gd name="connsiteX393" fmla="*/ 706160 w 1159168"/>
                <a:gd name="connsiteY393" fmla="*/ 673799 h 1160906"/>
                <a:gd name="connsiteX394" fmla="*/ 702921 w 1159168"/>
                <a:gd name="connsiteY394" fmla="*/ 674942 h 1160906"/>
                <a:gd name="connsiteX395" fmla="*/ 608814 w 1159168"/>
                <a:gd name="connsiteY395" fmla="*/ 580835 h 1160906"/>
                <a:gd name="connsiteX396" fmla="*/ 608814 w 1159168"/>
                <a:gd name="connsiteY396" fmla="*/ 580835 h 1160906"/>
                <a:gd name="connsiteX397" fmla="*/ 608624 w 1159168"/>
                <a:gd name="connsiteY397" fmla="*/ 580644 h 1160906"/>
                <a:gd name="connsiteX398" fmla="*/ 714351 w 1159168"/>
                <a:gd name="connsiteY398" fmla="*/ 474917 h 1160906"/>
                <a:gd name="connsiteX399" fmla="*/ 714351 w 1159168"/>
                <a:gd name="connsiteY399" fmla="*/ 474917 h 1160906"/>
                <a:gd name="connsiteX400" fmla="*/ 714637 w 1159168"/>
                <a:gd name="connsiteY400" fmla="*/ 474631 h 1160906"/>
                <a:gd name="connsiteX401" fmla="*/ 715494 w 1159168"/>
                <a:gd name="connsiteY401" fmla="*/ 467582 h 1160906"/>
                <a:gd name="connsiteX402" fmla="*/ 704540 w 1159168"/>
                <a:gd name="connsiteY402" fmla="*/ 425577 h 1160906"/>
                <a:gd name="connsiteX403" fmla="*/ 663488 w 1159168"/>
                <a:gd name="connsiteY403" fmla="*/ 409004 h 1160906"/>
                <a:gd name="connsiteX404" fmla="*/ 658344 w 1159168"/>
                <a:gd name="connsiteY404" fmla="*/ 409194 h 1160906"/>
                <a:gd name="connsiteX405" fmla="*/ 658630 w 1159168"/>
                <a:gd name="connsiteY405" fmla="*/ 409194 h 1160906"/>
                <a:gd name="connsiteX406" fmla="*/ 625864 w 1159168"/>
                <a:gd name="connsiteY406" fmla="*/ 390144 h 1160906"/>
                <a:gd name="connsiteX407" fmla="*/ 622340 w 1159168"/>
                <a:gd name="connsiteY407" fmla="*/ 381572 h 1160906"/>
                <a:gd name="connsiteX408" fmla="*/ 622149 w 1159168"/>
                <a:gd name="connsiteY408" fmla="*/ 380810 h 1160906"/>
                <a:gd name="connsiteX409" fmla="*/ 621101 w 1159168"/>
                <a:gd name="connsiteY409" fmla="*/ 372047 h 1160906"/>
                <a:gd name="connsiteX410" fmla="*/ 621101 w 1159168"/>
                <a:gd name="connsiteY410" fmla="*/ 371285 h 1160906"/>
                <a:gd name="connsiteX411" fmla="*/ 626055 w 1159168"/>
                <a:gd name="connsiteY411" fmla="*/ 353473 h 1160906"/>
                <a:gd name="connsiteX412" fmla="*/ 627388 w 1159168"/>
                <a:gd name="connsiteY412" fmla="*/ 351473 h 1160906"/>
                <a:gd name="connsiteX413" fmla="*/ 631484 w 1159168"/>
                <a:gd name="connsiteY413" fmla="*/ 346329 h 1160906"/>
                <a:gd name="connsiteX414" fmla="*/ 634055 w 1159168"/>
                <a:gd name="connsiteY414" fmla="*/ 343853 h 1160906"/>
                <a:gd name="connsiteX415" fmla="*/ 638437 w 1159168"/>
                <a:gd name="connsiteY415" fmla="*/ 340519 h 1160906"/>
                <a:gd name="connsiteX416" fmla="*/ 680823 w 1159168"/>
                <a:gd name="connsiteY416" fmla="*/ 341948 h 1160906"/>
                <a:gd name="connsiteX417" fmla="*/ 695968 w 1159168"/>
                <a:gd name="connsiteY417" fmla="*/ 372142 h 1160906"/>
                <a:gd name="connsiteX418" fmla="*/ 695777 w 1159168"/>
                <a:gd name="connsiteY418" fmla="*/ 377000 h 1160906"/>
                <a:gd name="connsiteX419" fmla="*/ 703112 w 1159168"/>
                <a:gd name="connsiteY419" fmla="*/ 406622 h 1160906"/>
                <a:gd name="connsiteX420" fmla="*/ 725019 w 1159168"/>
                <a:gd name="connsiteY420" fmla="*/ 425387 h 1160906"/>
                <a:gd name="connsiteX421" fmla="*/ 727686 w 1159168"/>
                <a:gd name="connsiteY421" fmla="*/ 426434 h 1160906"/>
                <a:gd name="connsiteX422" fmla="*/ 736925 w 1159168"/>
                <a:gd name="connsiteY422" fmla="*/ 428625 h 1160906"/>
                <a:gd name="connsiteX423" fmla="*/ 740450 w 1159168"/>
                <a:gd name="connsiteY423" fmla="*/ 429006 h 1160906"/>
                <a:gd name="connsiteX424" fmla="*/ 745307 w 1159168"/>
                <a:gd name="connsiteY424" fmla="*/ 429578 h 1160906"/>
                <a:gd name="connsiteX425" fmla="*/ 754356 w 1159168"/>
                <a:gd name="connsiteY425" fmla="*/ 429006 h 1160906"/>
                <a:gd name="connsiteX426" fmla="*/ 761405 w 1159168"/>
                <a:gd name="connsiteY426" fmla="*/ 428149 h 1160906"/>
                <a:gd name="connsiteX427" fmla="*/ 761690 w 1159168"/>
                <a:gd name="connsiteY427" fmla="*/ 427863 h 1160906"/>
                <a:gd name="connsiteX428" fmla="*/ 867132 w 1159168"/>
                <a:gd name="connsiteY428" fmla="*/ 322421 h 1160906"/>
                <a:gd name="connsiteX429" fmla="*/ 961525 w 1159168"/>
                <a:gd name="connsiteY429" fmla="*/ 416814 h 1160906"/>
                <a:gd name="connsiteX430" fmla="*/ 960477 w 1159168"/>
                <a:gd name="connsiteY430" fmla="*/ 419957 h 1160906"/>
                <a:gd name="connsiteX431" fmla="*/ 950381 w 1159168"/>
                <a:gd name="connsiteY431" fmla="*/ 422529 h 1160906"/>
                <a:gd name="connsiteX432" fmla="*/ 945999 w 1159168"/>
                <a:gd name="connsiteY432" fmla="*/ 422339 h 1160906"/>
                <a:gd name="connsiteX433" fmla="*/ 889897 w 1159168"/>
                <a:gd name="connsiteY433" fmla="*/ 445484 h 1160906"/>
                <a:gd name="connsiteX434" fmla="*/ 867323 w 1159168"/>
                <a:gd name="connsiteY434" fmla="*/ 510445 h 1160906"/>
                <a:gd name="connsiteX435" fmla="*/ 904946 w 1159168"/>
                <a:gd name="connsiteY435" fmla="*/ 568928 h 1160906"/>
                <a:gd name="connsiteX436" fmla="*/ 985242 w 1159168"/>
                <a:gd name="connsiteY436" fmla="*/ 569690 h 1160906"/>
                <a:gd name="connsiteX437" fmla="*/ 1024580 w 1159168"/>
                <a:gd name="connsiteY437" fmla="*/ 499682 h 1160906"/>
                <a:gd name="connsiteX438" fmla="*/ 1024485 w 1159168"/>
                <a:gd name="connsiteY438" fmla="*/ 498062 h 1160906"/>
                <a:gd name="connsiteX439" fmla="*/ 1024390 w 1159168"/>
                <a:gd name="connsiteY439" fmla="*/ 496348 h 1160906"/>
                <a:gd name="connsiteX440" fmla="*/ 1030010 w 1159168"/>
                <a:gd name="connsiteY440" fmla="*/ 485299 h 1160906"/>
                <a:gd name="connsiteX441" fmla="*/ 1112782 w 1159168"/>
                <a:gd name="connsiteY441" fmla="*/ 568071 h 1160906"/>
                <a:gd name="connsiteX442" fmla="*/ 1117640 w 1159168"/>
                <a:gd name="connsiteY442" fmla="*/ 579692 h 1160906"/>
                <a:gd name="connsiteX443" fmla="*/ 1112782 w 1159168"/>
                <a:gd name="connsiteY443" fmla="*/ 591312 h 1160906"/>
                <a:gd name="connsiteX444" fmla="*/ 1018675 w 1159168"/>
                <a:gd name="connsiteY444" fmla="*/ 685419 h 1160906"/>
                <a:gd name="connsiteX445" fmla="*/ 1017818 w 1159168"/>
                <a:gd name="connsiteY445" fmla="*/ 692468 h 1160906"/>
                <a:gd name="connsiteX446" fmla="*/ 1028676 w 1159168"/>
                <a:gd name="connsiteY446" fmla="*/ 734378 h 1160906"/>
                <a:gd name="connsiteX447" fmla="*/ 1070777 w 1159168"/>
                <a:gd name="connsiteY447" fmla="*/ 751618 h 1160906"/>
                <a:gd name="connsiteX448" fmla="*/ 1073539 w 1159168"/>
                <a:gd name="connsiteY448" fmla="*/ 751523 h 1160906"/>
                <a:gd name="connsiteX449" fmla="*/ 1075539 w 1159168"/>
                <a:gd name="connsiteY449" fmla="*/ 751427 h 1160906"/>
                <a:gd name="connsiteX450" fmla="*/ 1108115 w 1159168"/>
                <a:gd name="connsiteY450" fmla="*/ 770477 h 1160906"/>
                <a:gd name="connsiteX451" fmla="*/ 1107448 w 1159168"/>
                <a:gd name="connsiteY451" fmla="*/ 808101 h 1160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Lst>
              <a:rect l="l" t="t" r="r" b="b"/>
              <a:pathLst>
                <a:path w="1159168" h="1160906">
                  <a:moveTo>
                    <a:pt x="1075539" y="709708"/>
                  </a:moveTo>
                  <a:cubicBezTo>
                    <a:pt x="1074110" y="709708"/>
                    <a:pt x="1072777" y="709708"/>
                    <a:pt x="1071062" y="709803"/>
                  </a:cubicBezTo>
                  <a:cubicBezTo>
                    <a:pt x="1065443" y="709708"/>
                    <a:pt x="1061252" y="708184"/>
                    <a:pt x="1060014" y="706755"/>
                  </a:cubicBezTo>
                  <a:cubicBezTo>
                    <a:pt x="1059537" y="706184"/>
                    <a:pt x="1059156" y="705136"/>
                    <a:pt x="1058870" y="703517"/>
                  </a:cubicBezTo>
                  <a:lnTo>
                    <a:pt x="1142214" y="620173"/>
                  </a:lnTo>
                  <a:cubicBezTo>
                    <a:pt x="1153168" y="609219"/>
                    <a:pt x="1159169" y="594646"/>
                    <a:pt x="1159169" y="579215"/>
                  </a:cubicBezTo>
                  <a:cubicBezTo>
                    <a:pt x="1159169" y="563785"/>
                    <a:pt x="1153168" y="549212"/>
                    <a:pt x="1142214" y="538258"/>
                  </a:cubicBezTo>
                  <a:lnTo>
                    <a:pt x="1048679" y="444722"/>
                  </a:lnTo>
                  <a:lnTo>
                    <a:pt x="1041630" y="443865"/>
                  </a:lnTo>
                  <a:cubicBezTo>
                    <a:pt x="1038392" y="443484"/>
                    <a:pt x="1035344" y="443294"/>
                    <a:pt x="1032582" y="443294"/>
                  </a:cubicBezTo>
                  <a:cubicBezTo>
                    <a:pt x="1002959" y="443294"/>
                    <a:pt x="983051" y="464439"/>
                    <a:pt x="983051" y="495872"/>
                  </a:cubicBezTo>
                  <a:cubicBezTo>
                    <a:pt x="983051" y="497967"/>
                    <a:pt x="983147" y="499586"/>
                    <a:pt x="983242" y="500634"/>
                  </a:cubicBezTo>
                  <a:cubicBezTo>
                    <a:pt x="983337" y="514160"/>
                    <a:pt x="976193" y="526447"/>
                    <a:pt x="964192" y="533591"/>
                  </a:cubicBezTo>
                  <a:cubicBezTo>
                    <a:pt x="953143" y="540163"/>
                    <a:pt x="937808" y="539972"/>
                    <a:pt x="926759" y="533210"/>
                  </a:cubicBezTo>
                  <a:cubicBezTo>
                    <a:pt x="916376" y="526828"/>
                    <a:pt x="909899" y="516922"/>
                    <a:pt x="908566" y="505206"/>
                  </a:cubicBezTo>
                  <a:cubicBezTo>
                    <a:pt x="907232" y="493681"/>
                    <a:pt x="911138" y="482441"/>
                    <a:pt x="919329" y="474345"/>
                  </a:cubicBezTo>
                  <a:cubicBezTo>
                    <a:pt x="926378" y="467297"/>
                    <a:pt x="935712" y="463487"/>
                    <a:pt x="946285" y="463391"/>
                  </a:cubicBezTo>
                  <a:cubicBezTo>
                    <a:pt x="947142" y="463487"/>
                    <a:pt x="948571" y="463487"/>
                    <a:pt x="950571" y="463582"/>
                  </a:cubicBezTo>
                  <a:cubicBezTo>
                    <a:pt x="960477" y="463582"/>
                    <a:pt x="978956" y="461391"/>
                    <a:pt x="991719" y="446913"/>
                  </a:cubicBezTo>
                  <a:cubicBezTo>
                    <a:pt x="998196" y="439579"/>
                    <a:pt x="1005340" y="426339"/>
                    <a:pt x="1002673" y="405003"/>
                  </a:cubicBezTo>
                  <a:lnTo>
                    <a:pt x="1001816" y="397955"/>
                  </a:lnTo>
                  <a:lnTo>
                    <a:pt x="867323" y="263462"/>
                  </a:lnTo>
                  <a:lnTo>
                    <a:pt x="867037" y="263747"/>
                  </a:lnTo>
                  <a:lnTo>
                    <a:pt x="772073" y="168783"/>
                  </a:lnTo>
                  <a:cubicBezTo>
                    <a:pt x="772263" y="167164"/>
                    <a:pt x="772644" y="166116"/>
                    <a:pt x="773120" y="165640"/>
                  </a:cubicBezTo>
                  <a:cubicBezTo>
                    <a:pt x="774263" y="164402"/>
                    <a:pt x="778073" y="163068"/>
                    <a:pt x="783122" y="163068"/>
                  </a:cubicBezTo>
                  <a:cubicBezTo>
                    <a:pt x="783979" y="163068"/>
                    <a:pt x="784550" y="163068"/>
                    <a:pt x="784550" y="163068"/>
                  </a:cubicBezTo>
                  <a:lnTo>
                    <a:pt x="784550" y="163068"/>
                  </a:lnTo>
                  <a:lnTo>
                    <a:pt x="788170" y="163163"/>
                  </a:lnTo>
                  <a:cubicBezTo>
                    <a:pt x="813030" y="163163"/>
                    <a:pt x="835890" y="151638"/>
                    <a:pt x="851130" y="131636"/>
                  </a:cubicBezTo>
                  <a:cubicBezTo>
                    <a:pt x="872276" y="103727"/>
                    <a:pt x="871895" y="63437"/>
                    <a:pt x="850273" y="35814"/>
                  </a:cubicBezTo>
                  <a:cubicBezTo>
                    <a:pt x="835033" y="16383"/>
                    <a:pt x="812363" y="5334"/>
                    <a:pt x="787884" y="5334"/>
                  </a:cubicBezTo>
                  <a:cubicBezTo>
                    <a:pt x="766834" y="5334"/>
                    <a:pt x="747022" y="13526"/>
                    <a:pt x="732068" y="28480"/>
                  </a:cubicBezTo>
                  <a:cubicBezTo>
                    <a:pt x="716637" y="43910"/>
                    <a:pt x="708446" y="64294"/>
                    <a:pt x="709017" y="86011"/>
                  </a:cubicBezTo>
                  <a:lnTo>
                    <a:pt x="709112" y="87821"/>
                  </a:lnTo>
                  <a:cubicBezTo>
                    <a:pt x="709112" y="88106"/>
                    <a:pt x="709208" y="88868"/>
                    <a:pt x="709208" y="89440"/>
                  </a:cubicBezTo>
                  <a:cubicBezTo>
                    <a:pt x="709017" y="98203"/>
                    <a:pt x="706731" y="99917"/>
                    <a:pt x="703493" y="100203"/>
                  </a:cubicBezTo>
                  <a:lnTo>
                    <a:pt x="620054" y="16955"/>
                  </a:lnTo>
                  <a:cubicBezTo>
                    <a:pt x="609100" y="6001"/>
                    <a:pt x="594622" y="0"/>
                    <a:pt x="579096" y="0"/>
                  </a:cubicBezTo>
                  <a:cubicBezTo>
                    <a:pt x="563666" y="0"/>
                    <a:pt x="549092" y="6001"/>
                    <a:pt x="538139" y="16955"/>
                  </a:cubicBezTo>
                  <a:lnTo>
                    <a:pt x="444698" y="110395"/>
                  </a:lnTo>
                  <a:lnTo>
                    <a:pt x="443841" y="117443"/>
                  </a:lnTo>
                  <a:cubicBezTo>
                    <a:pt x="441174" y="138875"/>
                    <a:pt x="448318" y="152114"/>
                    <a:pt x="454795" y="159449"/>
                  </a:cubicBezTo>
                  <a:cubicBezTo>
                    <a:pt x="467558" y="173927"/>
                    <a:pt x="486227" y="176117"/>
                    <a:pt x="496229" y="176117"/>
                  </a:cubicBezTo>
                  <a:lnTo>
                    <a:pt x="500324" y="175927"/>
                  </a:lnTo>
                  <a:cubicBezTo>
                    <a:pt x="512421" y="175927"/>
                    <a:pt x="523470" y="181451"/>
                    <a:pt x="530709" y="191072"/>
                  </a:cubicBezTo>
                  <a:cubicBezTo>
                    <a:pt x="540520" y="204026"/>
                    <a:pt x="540329" y="223456"/>
                    <a:pt x="530328" y="236315"/>
                  </a:cubicBezTo>
                  <a:cubicBezTo>
                    <a:pt x="523089" y="245555"/>
                    <a:pt x="512231" y="250889"/>
                    <a:pt x="500610" y="250889"/>
                  </a:cubicBezTo>
                  <a:cubicBezTo>
                    <a:pt x="490609" y="250889"/>
                    <a:pt x="481179" y="246983"/>
                    <a:pt x="474131" y="239935"/>
                  </a:cubicBezTo>
                  <a:cubicBezTo>
                    <a:pt x="466987" y="232791"/>
                    <a:pt x="463082" y="223266"/>
                    <a:pt x="463177" y="213169"/>
                  </a:cubicBezTo>
                  <a:cubicBezTo>
                    <a:pt x="463272" y="212122"/>
                    <a:pt x="463367" y="210217"/>
                    <a:pt x="463367" y="207455"/>
                  </a:cubicBezTo>
                  <a:cubicBezTo>
                    <a:pt x="462701" y="176213"/>
                    <a:pt x="443270" y="156019"/>
                    <a:pt x="413837" y="156019"/>
                  </a:cubicBezTo>
                  <a:cubicBezTo>
                    <a:pt x="410980" y="156019"/>
                    <a:pt x="408027" y="156210"/>
                    <a:pt x="404789" y="156591"/>
                  </a:cubicBezTo>
                  <a:lnTo>
                    <a:pt x="397740" y="157448"/>
                  </a:lnTo>
                  <a:lnTo>
                    <a:pt x="263247" y="291941"/>
                  </a:lnTo>
                  <a:lnTo>
                    <a:pt x="264676" y="293370"/>
                  </a:lnTo>
                  <a:lnTo>
                    <a:pt x="168759" y="389192"/>
                  </a:lnTo>
                  <a:cubicBezTo>
                    <a:pt x="165616" y="388811"/>
                    <a:pt x="162663" y="386715"/>
                    <a:pt x="162568" y="376714"/>
                  </a:cubicBezTo>
                  <a:cubicBezTo>
                    <a:pt x="164092" y="347377"/>
                    <a:pt x="149138" y="319659"/>
                    <a:pt x="123325" y="304324"/>
                  </a:cubicBezTo>
                  <a:cubicBezTo>
                    <a:pt x="98941" y="289846"/>
                    <a:pt x="66080" y="290322"/>
                    <a:pt x="42077" y="305562"/>
                  </a:cubicBezTo>
                  <a:cubicBezTo>
                    <a:pt x="21312" y="318707"/>
                    <a:pt x="7882" y="340043"/>
                    <a:pt x="5310" y="364046"/>
                  </a:cubicBezTo>
                  <a:cubicBezTo>
                    <a:pt x="2643" y="387953"/>
                    <a:pt x="10930" y="411480"/>
                    <a:pt x="27980" y="428530"/>
                  </a:cubicBezTo>
                  <a:cubicBezTo>
                    <a:pt x="44077" y="444627"/>
                    <a:pt x="65889" y="452914"/>
                    <a:pt x="88749" y="451485"/>
                  </a:cubicBezTo>
                  <a:cubicBezTo>
                    <a:pt x="89035" y="451485"/>
                    <a:pt x="89225" y="451485"/>
                    <a:pt x="89511" y="451485"/>
                  </a:cubicBezTo>
                  <a:cubicBezTo>
                    <a:pt x="94559" y="451771"/>
                    <a:pt x="97988" y="453295"/>
                    <a:pt x="99131" y="454533"/>
                  </a:cubicBezTo>
                  <a:cubicBezTo>
                    <a:pt x="99608" y="455105"/>
                    <a:pt x="99989" y="456152"/>
                    <a:pt x="100179" y="457772"/>
                  </a:cubicBezTo>
                  <a:lnTo>
                    <a:pt x="16931" y="541020"/>
                  </a:lnTo>
                  <a:cubicBezTo>
                    <a:pt x="-5644" y="563594"/>
                    <a:pt x="-5644" y="600361"/>
                    <a:pt x="16931" y="622935"/>
                  </a:cubicBezTo>
                  <a:lnTo>
                    <a:pt x="110466" y="716471"/>
                  </a:lnTo>
                  <a:lnTo>
                    <a:pt x="117515" y="717328"/>
                  </a:lnTo>
                  <a:cubicBezTo>
                    <a:pt x="120753" y="717709"/>
                    <a:pt x="123706" y="717899"/>
                    <a:pt x="126563" y="717899"/>
                  </a:cubicBezTo>
                  <a:cubicBezTo>
                    <a:pt x="155996" y="717899"/>
                    <a:pt x="175522" y="697706"/>
                    <a:pt x="176093" y="665702"/>
                  </a:cubicBezTo>
                  <a:cubicBezTo>
                    <a:pt x="176093" y="663416"/>
                    <a:pt x="175903" y="661702"/>
                    <a:pt x="175903" y="660654"/>
                  </a:cubicBezTo>
                  <a:cubicBezTo>
                    <a:pt x="175808" y="650558"/>
                    <a:pt x="179713" y="641033"/>
                    <a:pt x="186857" y="633889"/>
                  </a:cubicBezTo>
                  <a:cubicBezTo>
                    <a:pt x="193905" y="626840"/>
                    <a:pt x="203335" y="622935"/>
                    <a:pt x="213336" y="622935"/>
                  </a:cubicBezTo>
                  <a:cubicBezTo>
                    <a:pt x="224957" y="622935"/>
                    <a:pt x="235815" y="628269"/>
                    <a:pt x="243054" y="637508"/>
                  </a:cubicBezTo>
                  <a:cubicBezTo>
                    <a:pt x="253055" y="650367"/>
                    <a:pt x="253246" y="669798"/>
                    <a:pt x="243435" y="682752"/>
                  </a:cubicBezTo>
                  <a:cubicBezTo>
                    <a:pt x="236196" y="692277"/>
                    <a:pt x="225338" y="697802"/>
                    <a:pt x="212860" y="697897"/>
                  </a:cubicBezTo>
                  <a:lnTo>
                    <a:pt x="208859" y="697706"/>
                  </a:lnTo>
                  <a:cubicBezTo>
                    <a:pt x="198858" y="697706"/>
                    <a:pt x="180189" y="699897"/>
                    <a:pt x="167426" y="714375"/>
                  </a:cubicBezTo>
                  <a:cubicBezTo>
                    <a:pt x="160949" y="721709"/>
                    <a:pt x="153805" y="734949"/>
                    <a:pt x="156472" y="756380"/>
                  </a:cubicBezTo>
                  <a:lnTo>
                    <a:pt x="157329" y="763429"/>
                  </a:lnTo>
                  <a:lnTo>
                    <a:pt x="291727" y="897827"/>
                  </a:lnTo>
                  <a:lnTo>
                    <a:pt x="292584" y="896969"/>
                  </a:lnTo>
                  <a:lnTo>
                    <a:pt x="387548" y="991934"/>
                  </a:lnTo>
                  <a:cubicBezTo>
                    <a:pt x="387358" y="993553"/>
                    <a:pt x="386882" y="994601"/>
                    <a:pt x="386405" y="995172"/>
                  </a:cubicBezTo>
                  <a:cubicBezTo>
                    <a:pt x="385167" y="996601"/>
                    <a:pt x="380976" y="998125"/>
                    <a:pt x="375071" y="998220"/>
                  </a:cubicBezTo>
                  <a:cubicBezTo>
                    <a:pt x="345638" y="996601"/>
                    <a:pt x="318016" y="1011555"/>
                    <a:pt x="302681" y="1037463"/>
                  </a:cubicBezTo>
                  <a:cubicBezTo>
                    <a:pt x="287917" y="1062323"/>
                    <a:pt x="288393" y="1094232"/>
                    <a:pt x="303919" y="1118711"/>
                  </a:cubicBezTo>
                  <a:cubicBezTo>
                    <a:pt x="318778" y="1142048"/>
                    <a:pt x="343829" y="1155954"/>
                    <a:pt x="371070" y="1155954"/>
                  </a:cubicBezTo>
                  <a:cubicBezTo>
                    <a:pt x="392120" y="1155954"/>
                    <a:pt x="411932" y="1147763"/>
                    <a:pt x="426887" y="1132808"/>
                  </a:cubicBezTo>
                  <a:cubicBezTo>
                    <a:pt x="442889" y="1116806"/>
                    <a:pt x="451271" y="1094613"/>
                    <a:pt x="449842" y="1072039"/>
                  </a:cubicBezTo>
                  <a:cubicBezTo>
                    <a:pt x="449842" y="1071753"/>
                    <a:pt x="449842" y="1071467"/>
                    <a:pt x="449842" y="1071277"/>
                  </a:cubicBezTo>
                  <a:cubicBezTo>
                    <a:pt x="450318" y="1062704"/>
                    <a:pt x="452890" y="1060895"/>
                    <a:pt x="456033" y="1060609"/>
                  </a:cubicBezTo>
                  <a:lnTo>
                    <a:pt x="539377" y="1143953"/>
                  </a:lnTo>
                  <a:cubicBezTo>
                    <a:pt x="550331" y="1154906"/>
                    <a:pt x="564904" y="1160907"/>
                    <a:pt x="580334" y="1160907"/>
                  </a:cubicBezTo>
                  <a:cubicBezTo>
                    <a:pt x="595765" y="1160907"/>
                    <a:pt x="610338" y="1154906"/>
                    <a:pt x="621292" y="1143953"/>
                  </a:cubicBezTo>
                  <a:lnTo>
                    <a:pt x="714827" y="1050417"/>
                  </a:lnTo>
                  <a:lnTo>
                    <a:pt x="715685" y="1043369"/>
                  </a:lnTo>
                  <a:cubicBezTo>
                    <a:pt x="718352" y="1022223"/>
                    <a:pt x="711303" y="1009079"/>
                    <a:pt x="705017" y="1001744"/>
                  </a:cubicBezTo>
                  <a:cubicBezTo>
                    <a:pt x="695873" y="991172"/>
                    <a:pt x="681585" y="985076"/>
                    <a:pt x="663964" y="984790"/>
                  </a:cubicBezTo>
                  <a:cubicBezTo>
                    <a:pt x="660344" y="984885"/>
                    <a:pt x="658154" y="985076"/>
                    <a:pt x="658725" y="984980"/>
                  </a:cubicBezTo>
                  <a:cubicBezTo>
                    <a:pt x="648724" y="984980"/>
                    <a:pt x="639294" y="981075"/>
                    <a:pt x="632246" y="974027"/>
                  </a:cubicBezTo>
                  <a:cubicBezTo>
                    <a:pt x="624626" y="966407"/>
                    <a:pt x="620720" y="955929"/>
                    <a:pt x="621387" y="945261"/>
                  </a:cubicBezTo>
                  <a:cubicBezTo>
                    <a:pt x="622054" y="934403"/>
                    <a:pt x="627197" y="924687"/>
                    <a:pt x="635865" y="917829"/>
                  </a:cubicBezTo>
                  <a:cubicBezTo>
                    <a:pt x="648343" y="908018"/>
                    <a:pt x="668536" y="907828"/>
                    <a:pt x="681109" y="917448"/>
                  </a:cubicBezTo>
                  <a:cubicBezTo>
                    <a:pt x="690729" y="924782"/>
                    <a:pt x="696254" y="935831"/>
                    <a:pt x="696254" y="947833"/>
                  </a:cubicBezTo>
                  <a:cubicBezTo>
                    <a:pt x="696158" y="948595"/>
                    <a:pt x="696158" y="949833"/>
                    <a:pt x="696063" y="951643"/>
                  </a:cubicBezTo>
                  <a:cubicBezTo>
                    <a:pt x="695968" y="960977"/>
                    <a:pt x="697873" y="978599"/>
                    <a:pt x="710636" y="991553"/>
                  </a:cubicBezTo>
                  <a:cubicBezTo>
                    <a:pt x="717685" y="998696"/>
                    <a:pt x="731115" y="1007364"/>
                    <a:pt x="754642" y="1004411"/>
                  </a:cubicBezTo>
                  <a:lnTo>
                    <a:pt x="761690" y="1003554"/>
                  </a:lnTo>
                  <a:lnTo>
                    <a:pt x="896088" y="869156"/>
                  </a:lnTo>
                  <a:lnTo>
                    <a:pt x="894659" y="867728"/>
                  </a:lnTo>
                  <a:lnTo>
                    <a:pt x="990005" y="772382"/>
                  </a:lnTo>
                  <a:cubicBezTo>
                    <a:pt x="993148" y="772763"/>
                    <a:pt x="995720" y="774478"/>
                    <a:pt x="996196" y="783050"/>
                  </a:cubicBezTo>
                  <a:cubicBezTo>
                    <a:pt x="996196" y="783336"/>
                    <a:pt x="996196" y="783622"/>
                    <a:pt x="996196" y="783812"/>
                  </a:cubicBezTo>
                  <a:cubicBezTo>
                    <a:pt x="994767" y="806387"/>
                    <a:pt x="1003054" y="828580"/>
                    <a:pt x="1019151" y="844582"/>
                  </a:cubicBezTo>
                  <a:cubicBezTo>
                    <a:pt x="1034010" y="859441"/>
                    <a:pt x="1053822" y="867728"/>
                    <a:pt x="1074968" y="867728"/>
                  </a:cubicBezTo>
                  <a:cubicBezTo>
                    <a:pt x="1102209" y="867728"/>
                    <a:pt x="1127355" y="853821"/>
                    <a:pt x="1142119" y="830390"/>
                  </a:cubicBezTo>
                  <a:cubicBezTo>
                    <a:pt x="1157645" y="805910"/>
                    <a:pt x="1158121" y="774097"/>
                    <a:pt x="1143357" y="749141"/>
                  </a:cubicBezTo>
                  <a:cubicBezTo>
                    <a:pt x="1129165" y="724472"/>
                    <a:pt x="1103638" y="709708"/>
                    <a:pt x="1075539" y="709708"/>
                  </a:cubicBezTo>
                  <a:close/>
                  <a:moveTo>
                    <a:pt x="416314" y="197453"/>
                  </a:moveTo>
                  <a:cubicBezTo>
                    <a:pt x="419552" y="197739"/>
                    <a:pt x="421838" y="199358"/>
                    <a:pt x="422029" y="207455"/>
                  </a:cubicBezTo>
                  <a:cubicBezTo>
                    <a:pt x="422029" y="209074"/>
                    <a:pt x="421934" y="210217"/>
                    <a:pt x="421934" y="210407"/>
                  </a:cubicBezTo>
                  <a:lnTo>
                    <a:pt x="421838" y="211836"/>
                  </a:lnTo>
                  <a:cubicBezTo>
                    <a:pt x="421362" y="233553"/>
                    <a:pt x="429554" y="253937"/>
                    <a:pt x="444889" y="269272"/>
                  </a:cubicBezTo>
                  <a:cubicBezTo>
                    <a:pt x="459748" y="284131"/>
                    <a:pt x="479560" y="292418"/>
                    <a:pt x="500705" y="292418"/>
                  </a:cubicBezTo>
                  <a:cubicBezTo>
                    <a:pt x="525185" y="292418"/>
                    <a:pt x="547854" y="281273"/>
                    <a:pt x="562999" y="261938"/>
                  </a:cubicBezTo>
                  <a:cubicBezTo>
                    <a:pt x="584621" y="234315"/>
                    <a:pt x="584906" y="194024"/>
                    <a:pt x="563761" y="166116"/>
                  </a:cubicBezTo>
                  <a:cubicBezTo>
                    <a:pt x="548616" y="146114"/>
                    <a:pt x="525470" y="134588"/>
                    <a:pt x="499277" y="134588"/>
                  </a:cubicBezTo>
                  <a:lnTo>
                    <a:pt x="499277" y="134588"/>
                  </a:lnTo>
                  <a:lnTo>
                    <a:pt x="496229" y="134779"/>
                  </a:lnTo>
                  <a:cubicBezTo>
                    <a:pt x="490990" y="134779"/>
                    <a:pt x="486989" y="133445"/>
                    <a:pt x="485846" y="132112"/>
                  </a:cubicBezTo>
                  <a:cubicBezTo>
                    <a:pt x="485465" y="131636"/>
                    <a:pt x="484989" y="130588"/>
                    <a:pt x="484799" y="128969"/>
                  </a:cubicBezTo>
                  <a:lnTo>
                    <a:pt x="567476" y="46292"/>
                  </a:lnTo>
                  <a:cubicBezTo>
                    <a:pt x="573667" y="40100"/>
                    <a:pt x="584525" y="40100"/>
                    <a:pt x="590812" y="46292"/>
                  </a:cubicBezTo>
                  <a:lnTo>
                    <a:pt x="684919" y="140399"/>
                  </a:lnTo>
                  <a:lnTo>
                    <a:pt x="691967" y="141256"/>
                  </a:lnTo>
                  <a:cubicBezTo>
                    <a:pt x="695206" y="141637"/>
                    <a:pt x="698254" y="141827"/>
                    <a:pt x="701111" y="141827"/>
                  </a:cubicBezTo>
                  <a:cubicBezTo>
                    <a:pt x="730544" y="141827"/>
                    <a:pt x="749975" y="121634"/>
                    <a:pt x="750641" y="89916"/>
                  </a:cubicBezTo>
                  <a:cubicBezTo>
                    <a:pt x="750641" y="87440"/>
                    <a:pt x="750546" y="85534"/>
                    <a:pt x="750451" y="84296"/>
                  </a:cubicBezTo>
                  <a:cubicBezTo>
                    <a:pt x="750356" y="74295"/>
                    <a:pt x="754261" y="64961"/>
                    <a:pt x="761405" y="57817"/>
                  </a:cubicBezTo>
                  <a:cubicBezTo>
                    <a:pt x="768453" y="50768"/>
                    <a:pt x="777883" y="46863"/>
                    <a:pt x="787884" y="46863"/>
                  </a:cubicBezTo>
                  <a:cubicBezTo>
                    <a:pt x="799505" y="46863"/>
                    <a:pt x="810363" y="52197"/>
                    <a:pt x="817697" y="61532"/>
                  </a:cubicBezTo>
                  <a:cubicBezTo>
                    <a:pt x="827794" y="74390"/>
                    <a:pt x="827984" y="93821"/>
                    <a:pt x="818174" y="106775"/>
                  </a:cubicBezTo>
                  <a:cubicBezTo>
                    <a:pt x="810935" y="116300"/>
                    <a:pt x="800267" y="121825"/>
                    <a:pt x="787789" y="121920"/>
                  </a:cubicBezTo>
                  <a:cubicBezTo>
                    <a:pt x="781693" y="121444"/>
                    <a:pt x="757499" y="120968"/>
                    <a:pt x="742069" y="138398"/>
                  </a:cubicBezTo>
                  <a:cubicBezTo>
                    <a:pt x="735592" y="145733"/>
                    <a:pt x="728448" y="158972"/>
                    <a:pt x="731115" y="180404"/>
                  </a:cubicBezTo>
                  <a:lnTo>
                    <a:pt x="731972" y="187452"/>
                  </a:lnTo>
                  <a:lnTo>
                    <a:pt x="837700" y="293180"/>
                  </a:lnTo>
                  <a:lnTo>
                    <a:pt x="796838" y="334042"/>
                  </a:lnTo>
                  <a:lnTo>
                    <a:pt x="743307" y="387572"/>
                  </a:lnTo>
                  <a:cubicBezTo>
                    <a:pt x="742069" y="387382"/>
                    <a:pt x="740735" y="387096"/>
                    <a:pt x="740069" y="386429"/>
                  </a:cubicBezTo>
                  <a:cubicBezTo>
                    <a:pt x="738830" y="385096"/>
                    <a:pt x="737497" y="381191"/>
                    <a:pt x="737592" y="376523"/>
                  </a:cubicBezTo>
                  <a:lnTo>
                    <a:pt x="737783" y="373094"/>
                  </a:lnTo>
                  <a:cubicBezTo>
                    <a:pt x="738068" y="351377"/>
                    <a:pt x="729877" y="331089"/>
                    <a:pt x="714637" y="315849"/>
                  </a:cubicBezTo>
                  <a:cubicBezTo>
                    <a:pt x="699778" y="300990"/>
                    <a:pt x="679871" y="292703"/>
                    <a:pt x="658820" y="292703"/>
                  </a:cubicBezTo>
                  <a:cubicBezTo>
                    <a:pt x="641104" y="292703"/>
                    <a:pt x="624340" y="298609"/>
                    <a:pt x="610719" y="309182"/>
                  </a:cubicBezTo>
                  <a:cubicBezTo>
                    <a:pt x="610529" y="309372"/>
                    <a:pt x="610338" y="309372"/>
                    <a:pt x="610148" y="309563"/>
                  </a:cubicBezTo>
                  <a:cubicBezTo>
                    <a:pt x="608433" y="310896"/>
                    <a:pt x="606814" y="312325"/>
                    <a:pt x="605290" y="313849"/>
                  </a:cubicBezTo>
                  <a:cubicBezTo>
                    <a:pt x="604909" y="314230"/>
                    <a:pt x="604433" y="314611"/>
                    <a:pt x="603956" y="314992"/>
                  </a:cubicBezTo>
                  <a:cubicBezTo>
                    <a:pt x="601670" y="317183"/>
                    <a:pt x="599480" y="319564"/>
                    <a:pt x="597479" y="322040"/>
                  </a:cubicBezTo>
                  <a:cubicBezTo>
                    <a:pt x="597003" y="322612"/>
                    <a:pt x="596622" y="323279"/>
                    <a:pt x="596146" y="323850"/>
                  </a:cubicBezTo>
                  <a:cubicBezTo>
                    <a:pt x="594717" y="325755"/>
                    <a:pt x="593288" y="327660"/>
                    <a:pt x="592050" y="329660"/>
                  </a:cubicBezTo>
                  <a:cubicBezTo>
                    <a:pt x="591764" y="330137"/>
                    <a:pt x="591479" y="330518"/>
                    <a:pt x="591193" y="330899"/>
                  </a:cubicBezTo>
                  <a:cubicBezTo>
                    <a:pt x="590812" y="331565"/>
                    <a:pt x="590526" y="332232"/>
                    <a:pt x="590145" y="332804"/>
                  </a:cubicBezTo>
                  <a:cubicBezTo>
                    <a:pt x="589193" y="334518"/>
                    <a:pt x="588240" y="336233"/>
                    <a:pt x="587383" y="338042"/>
                  </a:cubicBezTo>
                  <a:cubicBezTo>
                    <a:pt x="586811" y="339281"/>
                    <a:pt x="586240" y="340424"/>
                    <a:pt x="585668" y="341662"/>
                  </a:cubicBezTo>
                  <a:cubicBezTo>
                    <a:pt x="584716" y="344043"/>
                    <a:pt x="583763" y="346520"/>
                    <a:pt x="583097" y="348996"/>
                  </a:cubicBezTo>
                  <a:cubicBezTo>
                    <a:pt x="582906" y="349472"/>
                    <a:pt x="582716" y="349949"/>
                    <a:pt x="582620" y="350425"/>
                  </a:cubicBezTo>
                  <a:cubicBezTo>
                    <a:pt x="581668" y="353663"/>
                    <a:pt x="581001" y="356902"/>
                    <a:pt x="580525" y="360331"/>
                  </a:cubicBezTo>
                  <a:cubicBezTo>
                    <a:pt x="580525" y="360617"/>
                    <a:pt x="580430" y="360902"/>
                    <a:pt x="580430" y="361188"/>
                  </a:cubicBezTo>
                  <a:cubicBezTo>
                    <a:pt x="580144" y="363188"/>
                    <a:pt x="579858" y="365284"/>
                    <a:pt x="579763" y="367284"/>
                  </a:cubicBezTo>
                  <a:cubicBezTo>
                    <a:pt x="579668" y="368427"/>
                    <a:pt x="579763" y="369570"/>
                    <a:pt x="579763" y="370713"/>
                  </a:cubicBezTo>
                  <a:cubicBezTo>
                    <a:pt x="579763" y="370904"/>
                    <a:pt x="579763" y="371189"/>
                    <a:pt x="579763" y="371380"/>
                  </a:cubicBezTo>
                  <a:cubicBezTo>
                    <a:pt x="579572" y="392430"/>
                    <a:pt x="587764" y="412814"/>
                    <a:pt x="602718" y="427863"/>
                  </a:cubicBezTo>
                  <a:cubicBezTo>
                    <a:pt x="615196" y="440341"/>
                    <a:pt x="631103" y="447770"/>
                    <a:pt x="648248" y="449961"/>
                  </a:cubicBezTo>
                  <a:cubicBezTo>
                    <a:pt x="648343" y="449961"/>
                    <a:pt x="648438" y="449961"/>
                    <a:pt x="648533" y="449961"/>
                  </a:cubicBezTo>
                  <a:cubicBezTo>
                    <a:pt x="651772" y="450342"/>
                    <a:pt x="655010" y="450914"/>
                    <a:pt x="658249" y="450914"/>
                  </a:cubicBezTo>
                  <a:lnTo>
                    <a:pt x="661964" y="450818"/>
                  </a:lnTo>
                  <a:cubicBezTo>
                    <a:pt x="662249" y="450818"/>
                    <a:pt x="663011" y="450723"/>
                    <a:pt x="663583" y="450723"/>
                  </a:cubicBezTo>
                  <a:cubicBezTo>
                    <a:pt x="668536" y="450818"/>
                    <a:pt x="672251" y="452152"/>
                    <a:pt x="673298" y="453390"/>
                  </a:cubicBezTo>
                  <a:cubicBezTo>
                    <a:pt x="673680" y="453866"/>
                    <a:pt x="674156" y="454914"/>
                    <a:pt x="674346" y="456438"/>
                  </a:cubicBezTo>
                  <a:lnTo>
                    <a:pt x="620816" y="509969"/>
                  </a:lnTo>
                  <a:lnTo>
                    <a:pt x="580144" y="550640"/>
                  </a:lnTo>
                  <a:lnTo>
                    <a:pt x="474416" y="444913"/>
                  </a:lnTo>
                  <a:lnTo>
                    <a:pt x="467368" y="444056"/>
                  </a:lnTo>
                  <a:cubicBezTo>
                    <a:pt x="464129" y="443675"/>
                    <a:pt x="461081" y="443484"/>
                    <a:pt x="458319" y="443484"/>
                  </a:cubicBezTo>
                  <a:cubicBezTo>
                    <a:pt x="428696" y="443484"/>
                    <a:pt x="408599" y="464915"/>
                    <a:pt x="408313" y="497015"/>
                  </a:cubicBezTo>
                  <a:cubicBezTo>
                    <a:pt x="408313" y="498443"/>
                    <a:pt x="408408" y="499682"/>
                    <a:pt x="408408" y="499777"/>
                  </a:cubicBezTo>
                  <a:cubicBezTo>
                    <a:pt x="409170" y="513874"/>
                    <a:pt x="402026" y="526828"/>
                    <a:pt x="389453" y="534257"/>
                  </a:cubicBezTo>
                  <a:cubicBezTo>
                    <a:pt x="378214" y="540925"/>
                    <a:pt x="362593" y="540639"/>
                    <a:pt x="351544" y="533686"/>
                  </a:cubicBezTo>
                  <a:cubicBezTo>
                    <a:pt x="344781" y="529400"/>
                    <a:pt x="339923" y="523494"/>
                    <a:pt x="336875" y="516636"/>
                  </a:cubicBezTo>
                  <a:cubicBezTo>
                    <a:pt x="336399" y="515493"/>
                    <a:pt x="335828" y="514445"/>
                    <a:pt x="335447" y="513302"/>
                  </a:cubicBezTo>
                  <a:cubicBezTo>
                    <a:pt x="335256" y="512636"/>
                    <a:pt x="335161" y="511778"/>
                    <a:pt x="334970" y="511112"/>
                  </a:cubicBezTo>
                  <a:cubicBezTo>
                    <a:pt x="332875" y="502063"/>
                    <a:pt x="334018" y="492252"/>
                    <a:pt x="338685" y="484251"/>
                  </a:cubicBezTo>
                  <a:cubicBezTo>
                    <a:pt x="345829" y="472250"/>
                    <a:pt x="357545" y="465296"/>
                    <a:pt x="371737" y="465201"/>
                  </a:cubicBezTo>
                  <a:cubicBezTo>
                    <a:pt x="377833" y="465677"/>
                    <a:pt x="402026" y="466154"/>
                    <a:pt x="417457" y="448723"/>
                  </a:cubicBezTo>
                  <a:cubicBezTo>
                    <a:pt x="423172" y="442246"/>
                    <a:pt x="429363" y="431197"/>
                    <a:pt x="428887" y="413957"/>
                  </a:cubicBezTo>
                  <a:cubicBezTo>
                    <a:pt x="428887" y="411099"/>
                    <a:pt x="428792" y="408242"/>
                    <a:pt x="428411" y="405098"/>
                  </a:cubicBezTo>
                  <a:lnTo>
                    <a:pt x="427553" y="398050"/>
                  </a:lnTo>
                  <a:lnTo>
                    <a:pt x="321826" y="292227"/>
                  </a:lnTo>
                  <a:lnTo>
                    <a:pt x="416314" y="197453"/>
                  </a:lnTo>
                  <a:close/>
                  <a:moveTo>
                    <a:pt x="198572" y="741902"/>
                  </a:moveTo>
                  <a:cubicBezTo>
                    <a:pt x="199715" y="740569"/>
                    <a:pt x="203716" y="739235"/>
                    <a:pt x="208002" y="739235"/>
                  </a:cubicBezTo>
                  <a:lnTo>
                    <a:pt x="213050" y="739521"/>
                  </a:lnTo>
                  <a:cubicBezTo>
                    <a:pt x="238196" y="739521"/>
                    <a:pt x="261247" y="727996"/>
                    <a:pt x="276487" y="707993"/>
                  </a:cubicBezTo>
                  <a:cubicBezTo>
                    <a:pt x="297632" y="680085"/>
                    <a:pt x="297251" y="639794"/>
                    <a:pt x="275725" y="612172"/>
                  </a:cubicBezTo>
                  <a:cubicBezTo>
                    <a:pt x="260580" y="592836"/>
                    <a:pt x="237815" y="581692"/>
                    <a:pt x="213431" y="581692"/>
                  </a:cubicBezTo>
                  <a:cubicBezTo>
                    <a:pt x="192381" y="581692"/>
                    <a:pt x="172569" y="589883"/>
                    <a:pt x="157615" y="604838"/>
                  </a:cubicBezTo>
                  <a:cubicBezTo>
                    <a:pt x="142280" y="620173"/>
                    <a:pt x="134088" y="640556"/>
                    <a:pt x="134564" y="662273"/>
                  </a:cubicBezTo>
                  <a:lnTo>
                    <a:pt x="134660" y="663702"/>
                  </a:lnTo>
                  <a:cubicBezTo>
                    <a:pt x="134660" y="663988"/>
                    <a:pt x="134755" y="665036"/>
                    <a:pt x="134755" y="665798"/>
                  </a:cubicBezTo>
                  <a:cubicBezTo>
                    <a:pt x="134564" y="674561"/>
                    <a:pt x="132278" y="676275"/>
                    <a:pt x="129040" y="676561"/>
                  </a:cubicBezTo>
                  <a:lnTo>
                    <a:pt x="46268" y="593789"/>
                  </a:lnTo>
                  <a:cubicBezTo>
                    <a:pt x="43124" y="590550"/>
                    <a:pt x="41410" y="586359"/>
                    <a:pt x="41410" y="581978"/>
                  </a:cubicBezTo>
                  <a:cubicBezTo>
                    <a:pt x="41410" y="577596"/>
                    <a:pt x="43124" y="573405"/>
                    <a:pt x="46268" y="570357"/>
                  </a:cubicBezTo>
                  <a:lnTo>
                    <a:pt x="140279" y="476250"/>
                  </a:lnTo>
                  <a:lnTo>
                    <a:pt x="141137" y="469201"/>
                  </a:lnTo>
                  <a:cubicBezTo>
                    <a:pt x="143804" y="448247"/>
                    <a:pt x="136850" y="435102"/>
                    <a:pt x="130659" y="427673"/>
                  </a:cubicBezTo>
                  <a:cubicBezTo>
                    <a:pt x="121515" y="416909"/>
                    <a:pt x="107132" y="410623"/>
                    <a:pt x="90083" y="410051"/>
                  </a:cubicBezTo>
                  <a:lnTo>
                    <a:pt x="89225" y="409956"/>
                  </a:lnTo>
                  <a:lnTo>
                    <a:pt x="86368" y="410147"/>
                  </a:lnTo>
                  <a:cubicBezTo>
                    <a:pt x="75414" y="411004"/>
                    <a:pt x="64937" y="407003"/>
                    <a:pt x="57221" y="399288"/>
                  </a:cubicBezTo>
                  <a:cubicBezTo>
                    <a:pt x="49125" y="391192"/>
                    <a:pt x="45220" y="380048"/>
                    <a:pt x="46458" y="368618"/>
                  </a:cubicBezTo>
                  <a:cubicBezTo>
                    <a:pt x="47696" y="356997"/>
                    <a:pt x="54078" y="347091"/>
                    <a:pt x="64270" y="340519"/>
                  </a:cubicBezTo>
                  <a:cubicBezTo>
                    <a:pt x="75319" y="333470"/>
                    <a:pt x="90940" y="333280"/>
                    <a:pt x="102179" y="339947"/>
                  </a:cubicBezTo>
                  <a:cubicBezTo>
                    <a:pt x="114752" y="347472"/>
                    <a:pt x="121896" y="360331"/>
                    <a:pt x="121229" y="373190"/>
                  </a:cubicBezTo>
                  <a:cubicBezTo>
                    <a:pt x="121134" y="374333"/>
                    <a:pt x="121039" y="375666"/>
                    <a:pt x="121039" y="377381"/>
                  </a:cubicBezTo>
                  <a:cubicBezTo>
                    <a:pt x="121420" y="409766"/>
                    <a:pt x="141041" y="430625"/>
                    <a:pt x="171140" y="430625"/>
                  </a:cubicBezTo>
                  <a:cubicBezTo>
                    <a:pt x="173998" y="430625"/>
                    <a:pt x="176951" y="430435"/>
                    <a:pt x="180189" y="430054"/>
                  </a:cubicBezTo>
                  <a:lnTo>
                    <a:pt x="187238" y="429197"/>
                  </a:lnTo>
                  <a:lnTo>
                    <a:pt x="292965" y="323469"/>
                  </a:lnTo>
                  <a:lnTo>
                    <a:pt x="387072" y="417576"/>
                  </a:lnTo>
                  <a:cubicBezTo>
                    <a:pt x="386882" y="418433"/>
                    <a:pt x="386596" y="419100"/>
                    <a:pt x="386310" y="419386"/>
                  </a:cubicBezTo>
                  <a:cubicBezTo>
                    <a:pt x="385262" y="420624"/>
                    <a:pt x="381833" y="422148"/>
                    <a:pt x="376690" y="422434"/>
                  </a:cubicBezTo>
                  <a:cubicBezTo>
                    <a:pt x="376404" y="422434"/>
                    <a:pt x="376214" y="422434"/>
                    <a:pt x="375928" y="422434"/>
                  </a:cubicBezTo>
                  <a:cubicBezTo>
                    <a:pt x="353258" y="420910"/>
                    <a:pt x="331256" y="429292"/>
                    <a:pt x="315158" y="445389"/>
                  </a:cubicBezTo>
                  <a:cubicBezTo>
                    <a:pt x="298109" y="462439"/>
                    <a:pt x="289917" y="485870"/>
                    <a:pt x="292489" y="509873"/>
                  </a:cubicBezTo>
                  <a:cubicBezTo>
                    <a:pt x="292965" y="513969"/>
                    <a:pt x="293822" y="517970"/>
                    <a:pt x="294870" y="521875"/>
                  </a:cubicBezTo>
                  <a:cubicBezTo>
                    <a:pt x="295251" y="523208"/>
                    <a:pt x="295632" y="524447"/>
                    <a:pt x="296013" y="525780"/>
                  </a:cubicBezTo>
                  <a:cubicBezTo>
                    <a:pt x="296394" y="526828"/>
                    <a:pt x="296775" y="527971"/>
                    <a:pt x="297156" y="529019"/>
                  </a:cubicBezTo>
                  <a:cubicBezTo>
                    <a:pt x="298966" y="533876"/>
                    <a:pt x="300966" y="538639"/>
                    <a:pt x="303728" y="543116"/>
                  </a:cubicBezTo>
                  <a:cubicBezTo>
                    <a:pt x="318492" y="567023"/>
                    <a:pt x="343733" y="581216"/>
                    <a:pt x="371356" y="581216"/>
                  </a:cubicBezTo>
                  <a:cubicBezTo>
                    <a:pt x="392406" y="581216"/>
                    <a:pt x="412218" y="573024"/>
                    <a:pt x="427172" y="558070"/>
                  </a:cubicBezTo>
                  <a:cubicBezTo>
                    <a:pt x="442412" y="542830"/>
                    <a:pt x="450604" y="522542"/>
                    <a:pt x="450318" y="500825"/>
                  </a:cubicBezTo>
                  <a:lnTo>
                    <a:pt x="450128" y="497776"/>
                  </a:lnTo>
                  <a:cubicBezTo>
                    <a:pt x="450032" y="492728"/>
                    <a:pt x="451366" y="488823"/>
                    <a:pt x="452604" y="487490"/>
                  </a:cubicBezTo>
                  <a:cubicBezTo>
                    <a:pt x="453271" y="486823"/>
                    <a:pt x="454604" y="486537"/>
                    <a:pt x="455843" y="486347"/>
                  </a:cubicBezTo>
                  <a:lnTo>
                    <a:pt x="549950" y="580454"/>
                  </a:lnTo>
                  <a:lnTo>
                    <a:pt x="549950" y="580454"/>
                  </a:lnTo>
                  <a:lnTo>
                    <a:pt x="550140" y="580644"/>
                  </a:lnTo>
                  <a:lnTo>
                    <a:pt x="444889" y="686276"/>
                  </a:lnTo>
                  <a:lnTo>
                    <a:pt x="444603" y="686562"/>
                  </a:lnTo>
                  <a:lnTo>
                    <a:pt x="443746" y="693611"/>
                  </a:lnTo>
                  <a:cubicBezTo>
                    <a:pt x="441079" y="715042"/>
                    <a:pt x="448223" y="728282"/>
                    <a:pt x="454700" y="735616"/>
                  </a:cubicBezTo>
                  <a:cubicBezTo>
                    <a:pt x="467463" y="750094"/>
                    <a:pt x="485846" y="752189"/>
                    <a:pt x="495752" y="752189"/>
                  </a:cubicBezTo>
                  <a:cubicBezTo>
                    <a:pt x="499467" y="752189"/>
                    <a:pt x="501753" y="751904"/>
                    <a:pt x="500896" y="751999"/>
                  </a:cubicBezTo>
                  <a:cubicBezTo>
                    <a:pt x="512612" y="751999"/>
                    <a:pt x="523565" y="757523"/>
                    <a:pt x="530900" y="767144"/>
                  </a:cubicBezTo>
                  <a:cubicBezTo>
                    <a:pt x="539091" y="778002"/>
                    <a:pt x="540234" y="793337"/>
                    <a:pt x="534519" y="805529"/>
                  </a:cubicBezTo>
                  <a:cubicBezTo>
                    <a:pt x="534138" y="806387"/>
                    <a:pt x="533757" y="807244"/>
                    <a:pt x="533281" y="808006"/>
                  </a:cubicBezTo>
                  <a:cubicBezTo>
                    <a:pt x="532709" y="809054"/>
                    <a:pt x="532043" y="810006"/>
                    <a:pt x="531376" y="810959"/>
                  </a:cubicBezTo>
                  <a:cubicBezTo>
                    <a:pt x="530614" y="812006"/>
                    <a:pt x="529757" y="813054"/>
                    <a:pt x="528804" y="814007"/>
                  </a:cubicBezTo>
                  <a:cubicBezTo>
                    <a:pt x="527756" y="815150"/>
                    <a:pt x="526709" y="816293"/>
                    <a:pt x="525566" y="817245"/>
                  </a:cubicBezTo>
                  <a:cubicBezTo>
                    <a:pt x="524423" y="818293"/>
                    <a:pt x="523184" y="819150"/>
                    <a:pt x="521946" y="820103"/>
                  </a:cubicBezTo>
                  <a:cubicBezTo>
                    <a:pt x="520898" y="820865"/>
                    <a:pt x="519851" y="821531"/>
                    <a:pt x="518708" y="822103"/>
                  </a:cubicBezTo>
                  <a:cubicBezTo>
                    <a:pt x="516803" y="823151"/>
                    <a:pt x="514707" y="824008"/>
                    <a:pt x="512516" y="824770"/>
                  </a:cubicBezTo>
                  <a:cubicBezTo>
                    <a:pt x="511850" y="824960"/>
                    <a:pt x="511183" y="825341"/>
                    <a:pt x="510421" y="825532"/>
                  </a:cubicBezTo>
                  <a:cubicBezTo>
                    <a:pt x="501086" y="827913"/>
                    <a:pt x="490609" y="826865"/>
                    <a:pt x="482513" y="822008"/>
                  </a:cubicBezTo>
                  <a:cubicBezTo>
                    <a:pt x="470416" y="814864"/>
                    <a:pt x="463367" y="802577"/>
                    <a:pt x="463463" y="789051"/>
                  </a:cubicBezTo>
                  <a:cubicBezTo>
                    <a:pt x="463558" y="788003"/>
                    <a:pt x="463653" y="786384"/>
                    <a:pt x="463653" y="784288"/>
                  </a:cubicBezTo>
                  <a:cubicBezTo>
                    <a:pt x="463653" y="752856"/>
                    <a:pt x="443746" y="731711"/>
                    <a:pt x="414123" y="731711"/>
                  </a:cubicBezTo>
                  <a:cubicBezTo>
                    <a:pt x="411266" y="731711"/>
                    <a:pt x="408313" y="731901"/>
                    <a:pt x="405074" y="732282"/>
                  </a:cubicBezTo>
                  <a:lnTo>
                    <a:pt x="398026" y="733139"/>
                  </a:lnTo>
                  <a:lnTo>
                    <a:pt x="291822" y="839343"/>
                  </a:lnTo>
                  <a:lnTo>
                    <a:pt x="197429" y="744950"/>
                  </a:lnTo>
                  <a:cubicBezTo>
                    <a:pt x="197715" y="743331"/>
                    <a:pt x="198096" y="742379"/>
                    <a:pt x="198572" y="741902"/>
                  </a:cubicBezTo>
                  <a:close/>
                  <a:moveTo>
                    <a:pt x="743498" y="963263"/>
                  </a:moveTo>
                  <a:cubicBezTo>
                    <a:pt x="742259" y="963073"/>
                    <a:pt x="740926" y="962787"/>
                    <a:pt x="740259" y="962120"/>
                  </a:cubicBezTo>
                  <a:cubicBezTo>
                    <a:pt x="738926" y="960787"/>
                    <a:pt x="737687" y="956786"/>
                    <a:pt x="737687" y="952690"/>
                  </a:cubicBezTo>
                  <a:lnTo>
                    <a:pt x="737878" y="948785"/>
                  </a:lnTo>
                  <a:cubicBezTo>
                    <a:pt x="738259" y="923163"/>
                    <a:pt x="726734" y="899636"/>
                    <a:pt x="706350" y="884206"/>
                  </a:cubicBezTo>
                  <a:cubicBezTo>
                    <a:pt x="679204" y="863632"/>
                    <a:pt x="637389" y="864013"/>
                    <a:pt x="610529" y="884968"/>
                  </a:cubicBezTo>
                  <a:cubicBezTo>
                    <a:pt x="592622" y="898970"/>
                    <a:pt x="581573" y="919925"/>
                    <a:pt x="580144" y="942499"/>
                  </a:cubicBezTo>
                  <a:cubicBezTo>
                    <a:pt x="578810" y="965073"/>
                    <a:pt x="587192" y="987171"/>
                    <a:pt x="603099" y="1003078"/>
                  </a:cubicBezTo>
                  <a:cubicBezTo>
                    <a:pt x="617958" y="1017937"/>
                    <a:pt x="637770" y="1026128"/>
                    <a:pt x="658916" y="1026128"/>
                  </a:cubicBezTo>
                  <a:lnTo>
                    <a:pt x="661964" y="1026033"/>
                  </a:lnTo>
                  <a:cubicBezTo>
                    <a:pt x="662154" y="1026033"/>
                    <a:pt x="663297" y="1025938"/>
                    <a:pt x="664155" y="1025938"/>
                  </a:cubicBezTo>
                  <a:cubicBezTo>
                    <a:pt x="669107" y="1026033"/>
                    <a:pt x="672822" y="1027367"/>
                    <a:pt x="673870" y="1028605"/>
                  </a:cubicBezTo>
                  <a:cubicBezTo>
                    <a:pt x="674251" y="1029081"/>
                    <a:pt x="674727" y="1030129"/>
                    <a:pt x="674918" y="1031748"/>
                  </a:cubicBezTo>
                  <a:lnTo>
                    <a:pt x="592145" y="1114520"/>
                  </a:lnTo>
                  <a:cubicBezTo>
                    <a:pt x="585954" y="1120712"/>
                    <a:pt x="575096" y="1120712"/>
                    <a:pt x="568809" y="1114520"/>
                  </a:cubicBezTo>
                  <a:lnTo>
                    <a:pt x="474702" y="1020413"/>
                  </a:lnTo>
                  <a:lnTo>
                    <a:pt x="467654" y="1019556"/>
                  </a:lnTo>
                  <a:cubicBezTo>
                    <a:pt x="464415" y="1019175"/>
                    <a:pt x="461462" y="1018985"/>
                    <a:pt x="458605" y="1018985"/>
                  </a:cubicBezTo>
                  <a:cubicBezTo>
                    <a:pt x="429268" y="1018985"/>
                    <a:pt x="409646" y="1039273"/>
                    <a:pt x="408503" y="1070610"/>
                  </a:cubicBezTo>
                  <a:lnTo>
                    <a:pt x="408408" y="1071372"/>
                  </a:lnTo>
                  <a:lnTo>
                    <a:pt x="408599" y="1074230"/>
                  </a:lnTo>
                  <a:cubicBezTo>
                    <a:pt x="409361" y="1085088"/>
                    <a:pt x="405455" y="1095661"/>
                    <a:pt x="397740" y="1103376"/>
                  </a:cubicBezTo>
                  <a:cubicBezTo>
                    <a:pt x="390692" y="1110425"/>
                    <a:pt x="381262" y="1114330"/>
                    <a:pt x="371261" y="1114330"/>
                  </a:cubicBezTo>
                  <a:cubicBezTo>
                    <a:pt x="358116" y="1114330"/>
                    <a:pt x="346400" y="1107758"/>
                    <a:pt x="339066" y="1096232"/>
                  </a:cubicBezTo>
                  <a:cubicBezTo>
                    <a:pt x="331922" y="1084993"/>
                    <a:pt x="331637" y="1069753"/>
                    <a:pt x="338495" y="1058323"/>
                  </a:cubicBezTo>
                  <a:cubicBezTo>
                    <a:pt x="345543" y="1046417"/>
                    <a:pt x="357735" y="1039368"/>
                    <a:pt x="371070" y="1039368"/>
                  </a:cubicBezTo>
                  <a:lnTo>
                    <a:pt x="372118" y="1039368"/>
                  </a:lnTo>
                  <a:cubicBezTo>
                    <a:pt x="373166" y="1039463"/>
                    <a:pt x="374404" y="1039654"/>
                    <a:pt x="376023" y="1039559"/>
                  </a:cubicBezTo>
                  <a:cubicBezTo>
                    <a:pt x="386120" y="1039463"/>
                    <a:pt x="404979" y="1037082"/>
                    <a:pt x="417838" y="1022318"/>
                  </a:cubicBezTo>
                  <a:cubicBezTo>
                    <a:pt x="424315" y="1014889"/>
                    <a:pt x="431363" y="1001649"/>
                    <a:pt x="428696" y="980408"/>
                  </a:cubicBezTo>
                  <a:lnTo>
                    <a:pt x="427839" y="973360"/>
                  </a:lnTo>
                  <a:lnTo>
                    <a:pt x="322112" y="867632"/>
                  </a:lnTo>
                  <a:lnTo>
                    <a:pt x="354116" y="835628"/>
                  </a:lnTo>
                  <a:lnTo>
                    <a:pt x="416314" y="773430"/>
                  </a:lnTo>
                  <a:cubicBezTo>
                    <a:pt x="419552" y="773716"/>
                    <a:pt x="421838" y="775335"/>
                    <a:pt x="422029" y="783812"/>
                  </a:cubicBezTo>
                  <a:cubicBezTo>
                    <a:pt x="422029" y="784860"/>
                    <a:pt x="422029" y="785622"/>
                    <a:pt x="422029" y="785622"/>
                  </a:cubicBezTo>
                  <a:lnTo>
                    <a:pt x="421838" y="787718"/>
                  </a:lnTo>
                  <a:cubicBezTo>
                    <a:pt x="421362" y="809435"/>
                    <a:pt x="429554" y="829818"/>
                    <a:pt x="444889" y="845249"/>
                  </a:cubicBezTo>
                  <a:cubicBezTo>
                    <a:pt x="454700" y="855059"/>
                    <a:pt x="466892" y="861727"/>
                    <a:pt x="479941" y="865251"/>
                  </a:cubicBezTo>
                  <a:cubicBezTo>
                    <a:pt x="480322" y="865346"/>
                    <a:pt x="480703" y="865442"/>
                    <a:pt x="480989" y="865537"/>
                  </a:cubicBezTo>
                  <a:cubicBezTo>
                    <a:pt x="484037" y="866299"/>
                    <a:pt x="487180" y="866870"/>
                    <a:pt x="490418" y="867347"/>
                  </a:cubicBezTo>
                  <a:cubicBezTo>
                    <a:pt x="491180" y="867442"/>
                    <a:pt x="491847" y="867442"/>
                    <a:pt x="492609" y="867537"/>
                  </a:cubicBezTo>
                  <a:cubicBezTo>
                    <a:pt x="495276" y="867823"/>
                    <a:pt x="497943" y="868299"/>
                    <a:pt x="500705" y="868299"/>
                  </a:cubicBezTo>
                  <a:cubicBezTo>
                    <a:pt x="511469" y="868299"/>
                    <a:pt x="521946" y="866013"/>
                    <a:pt x="531566" y="861917"/>
                  </a:cubicBezTo>
                  <a:cubicBezTo>
                    <a:pt x="532043" y="861727"/>
                    <a:pt x="532614" y="861536"/>
                    <a:pt x="533090" y="861251"/>
                  </a:cubicBezTo>
                  <a:cubicBezTo>
                    <a:pt x="535757" y="860012"/>
                    <a:pt x="538329" y="858679"/>
                    <a:pt x="540901" y="857250"/>
                  </a:cubicBezTo>
                  <a:cubicBezTo>
                    <a:pt x="541187" y="857060"/>
                    <a:pt x="541568" y="856964"/>
                    <a:pt x="541853" y="856774"/>
                  </a:cubicBezTo>
                  <a:cubicBezTo>
                    <a:pt x="541949" y="856679"/>
                    <a:pt x="542044" y="856679"/>
                    <a:pt x="542139" y="856583"/>
                  </a:cubicBezTo>
                  <a:cubicBezTo>
                    <a:pt x="544425" y="855155"/>
                    <a:pt x="546616" y="853631"/>
                    <a:pt x="548807" y="851916"/>
                  </a:cubicBezTo>
                  <a:cubicBezTo>
                    <a:pt x="548997" y="851726"/>
                    <a:pt x="549283" y="851630"/>
                    <a:pt x="549473" y="851440"/>
                  </a:cubicBezTo>
                  <a:cubicBezTo>
                    <a:pt x="551283" y="850011"/>
                    <a:pt x="552998" y="848392"/>
                    <a:pt x="554712" y="846868"/>
                  </a:cubicBezTo>
                  <a:cubicBezTo>
                    <a:pt x="555284" y="846296"/>
                    <a:pt x="555855" y="845820"/>
                    <a:pt x="556427" y="845344"/>
                  </a:cubicBezTo>
                  <a:cubicBezTo>
                    <a:pt x="557570" y="844201"/>
                    <a:pt x="558713" y="842963"/>
                    <a:pt x="559760" y="841724"/>
                  </a:cubicBezTo>
                  <a:cubicBezTo>
                    <a:pt x="560713" y="840677"/>
                    <a:pt x="561761" y="839629"/>
                    <a:pt x="562618" y="838486"/>
                  </a:cubicBezTo>
                  <a:cubicBezTo>
                    <a:pt x="562713" y="838295"/>
                    <a:pt x="562904" y="838200"/>
                    <a:pt x="563094" y="838010"/>
                  </a:cubicBezTo>
                  <a:cubicBezTo>
                    <a:pt x="563380" y="837629"/>
                    <a:pt x="563570" y="837248"/>
                    <a:pt x="563761" y="836962"/>
                  </a:cubicBezTo>
                  <a:cubicBezTo>
                    <a:pt x="566047" y="834009"/>
                    <a:pt x="568047" y="830961"/>
                    <a:pt x="569857" y="827723"/>
                  </a:cubicBezTo>
                  <a:cubicBezTo>
                    <a:pt x="570047" y="827437"/>
                    <a:pt x="570238" y="827056"/>
                    <a:pt x="570428" y="826770"/>
                  </a:cubicBezTo>
                  <a:cubicBezTo>
                    <a:pt x="575096" y="818102"/>
                    <a:pt x="578239" y="808577"/>
                    <a:pt x="579477" y="798576"/>
                  </a:cubicBezTo>
                  <a:cubicBezTo>
                    <a:pt x="582335" y="774478"/>
                    <a:pt x="574048" y="750761"/>
                    <a:pt x="556903" y="733615"/>
                  </a:cubicBezTo>
                  <a:cubicBezTo>
                    <a:pt x="555379" y="732092"/>
                    <a:pt x="553569" y="730949"/>
                    <a:pt x="551950" y="729615"/>
                  </a:cubicBezTo>
                  <a:cubicBezTo>
                    <a:pt x="551378" y="729139"/>
                    <a:pt x="550807" y="728663"/>
                    <a:pt x="550235" y="728186"/>
                  </a:cubicBezTo>
                  <a:cubicBezTo>
                    <a:pt x="546616" y="725234"/>
                    <a:pt x="542711" y="722662"/>
                    <a:pt x="538615" y="720471"/>
                  </a:cubicBezTo>
                  <a:cubicBezTo>
                    <a:pt x="537377" y="719804"/>
                    <a:pt x="536234" y="719138"/>
                    <a:pt x="534995" y="718566"/>
                  </a:cubicBezTo>
                  <a:cubicBezTo>
                    <a:pt x="532805" y="717518"/>
                    <a:pt x="530614" y="716566"/>
                    <a:pt x="528328" y="715709"/>
                  </a:cubicBezTo>
                  <a:cubicBezTo>
                    <a:pt x="525089" y="714565"/>
                    <a:pt x="521851" y="713613"/>
                    <a:pt x="518517" y="712851"/>
                  </a:cubicBezTo>
                  <a:cubicBezTo>
                    <a:pt x="516517" y="712375"/>
                    <a:pt x="514517" y="712089"/>
                    <a:pt x="512421" y="711803"/>
                  </a:cubicBezTo>
                  <a:cubicBezTo>
                    <a:pt x="510135" y="711422"/>
                    <a:pt x="507754" y="711232"/>
                    <a:pt x="505373" y="711137"/>
                  </a:cubicBezTo>
                  <a:cubicBezTo>
                    <a:pt x="503468" y="711041"/>
                    <a:pt x="501658" y="710660"/>
                    <a:pt x="499753" y="710660"/>
                  </a:cubicBezTo>
                  <a:cubicBezTo>
                    <a:pt x="499753" y="710660"/>
                    <a:pt x="499753" y="710660"/>
                    <a:pt x="499753" y="710660"/>
                  </a:cubicBezTo>
                  <a:lnTo>
                    <a:pt x="496419" y="710851"/>
                  </a:lnTo>
                  <a:cubicBezTo>
                    <a:pt x="491371" y="710851"/>
                    <a:pt x="487466" y="709517"/>
                    <a:pt x="486323" y="708279"/>
                  </a:cubicBezTo>
                  <a:cubicBezTo>
                    <a:pt x="485942" y="707803"/>
                    <a:pt x="485465" y="706755"/>
                    <a:pt x="485275" y="705231"/>
                  </a:cubicBezTo>
                  <a:lnTo>
                    <a:pt x="538805" y="651701"/>
                  </a:lnTo>
                  <a:lnTo>
                    <a:pt x="579668" y="610838"/>
                  </a:lnTo>
                  <a:lnTo>
                    <a:pt x="685395" y="716566"/>
                  </a:lnTo>
                  <a:lnTo>
                    <a:pt x="692444" y="717423"/>
                  </a:lnTo>
                  <a:cubicBezTo>
                    <a:pt x="695682" y="717804"/>
                    <a:pt x="698730" y="717995"/>
                    <a:pt x="701492" y="717995"/>
                  </a:cubicBezTo>
                  <a:cubicBezTo>
                    <a:pt x="731115" y="717995"/>
                    <a:pt x="751022" y="696849"/>
                    <a:pt x="751022" y="665417"/>
                  </a:cubicBezTo>
                  <a:cubicBezTo>
                    <a:pt x="751022" y="663321"/>
                    <a:pt x="750927" y="661607"/>
                    <a:pt x="750832" y="660559"/>
                  </a:cubicBezTo>
                  <a:cubicBezTo>
                    <a:pt x="750737" y="648748"/>
                    <a:pt x="756261" y="637699"/>
                    <a:pt x="765977" y="630365"/>
                  </a:cubicBezTo>
                  <a:cubicBezTo>
                    <a:pt x="778550" y="620744"/>
                    <a:pt x="798743" y="621030"/>
                    <a:pt x="811220" y="630841"/>
                  </a:cubicBezTo>
                  <a:cubicBezTo>
                    <a:pt x="815507" y="634270"/>
                    <a:pt x="818936" y="638365"/>
                    <a:pt x="821412" y="642938"/>
                  </a:cubicBezTo>
                  <a:cubicBezTo>
                    <a:pt x="823603" y="647319"/>
                    <a:pt x="824936" y="652082"/>
                    <a:pt x="825222" y="657130"/>
                  </a:cubicBezTo>
                  <a:cubicBezTo>
                    <a:pt x="825889" y="667893"/>
                    <a:pt x="821888" y="678371"/>
                    <a:pt x="814364" y="685895"/>
                  </a:cubicBezTo>
                  <a:cubicBezTo>
                    <a:pt x="807410" y="692849"/>
                    <a:pt x="798076" y="696754"/>
                    <a:pt x="787408" y="696849"/>
                  </a:cubicBezTo>
                  <a:cubicBezTo>
                    <a:pt x="786360" y="696754"/>
                    <a:pt x="784455" y="696659"/>
                    <a:pt x="781788" y="696659"/>
                  </a:cubicBezTo>
                  <a:cubicBezTo>
                    <a:pt x="765024" y="697040"/>
                    <a:pt x="750737" y="703040"/>
                    <a:pt x="741593" y="713613"/>
                  </a:cubicBezTo>
                  <a:cubicBezTo>
                    <a:pt x="735306" y="720947"/>
                    <a:pt x="728258" y="734092"/>
                    <a:pt x="730925" y="755237"/>
                  </a:cubicBezTo>
                  <a:lnTo>
                    <a:pt x="731591" y="762000"/>
                  </a:lnTo>
                  <a:lnTo>
                    <a:pt x="731972" y="762381"/>
                  </a:lnTo>
                  <a:lnTo>
                    <a:pt x="732068" y="763143"/>
                  </a:lnTo>
                  <a:lnTo>
                    <a:pt x="837795" y="868871"/>
                  </a:lnTo>
                  <a:lnTo>
                    <a:pt x="743498" y="963263"/>
                  </a:lnTo>
                  <a:close/>
                  <a:moveTo>
                    <a:pt x="1107448" y="808101"/>
                  </a:moveTo>
                  <a:cubicBezTo>
                    <a:pt x="1100114" y="819626"/>
                    <a:pt x="1088398" y="826199"/>
                    <a:pt x="1075253" y="826199"/>
                  </a:cubicBezTo>
                  <a:cubicBezTo>
                    <a:pt x="1065252" y="826199"/>
                    <a:pt x="1055822" y="822293"/>
                    <a:pt x="1048774" y="815245"/>
                  </a:cubicBezTo>
                  <a:cubicBezTo>
                    <a:pt x="1041059" y="807530"/>
                    <a:pt x="1037153" y="796957"/>
                    <a:pt x="1037915" y="785051"/>
                  </a:cubicBezTo>
                  <a:lnTo>
                    <a:pt x="1038011" y="783717"/>
                  </a:lnTo>
                  <a:lnTo>
                    <a:pt x="1038011" y="782384"/>
                  </a:lnTo>
                  <a:cubicBezTo>
                    <a:pt x="1036868" y="750951"/>
                    <a:pt x="1017246" y="730758"/>
                    <a:pt x="987909" y="730758"/>
                  </a:cubicBezTo>
                  <a:cubicBezTo>
                    <a:pt x="985052" y="730758"/>
                    <a:pt x="982099" y="730949"/>
                    <a:pt x="978860" y="731330"/>
                  </a:cubicBezTo>
                  <a:lnTo>
                    <a:pt x="971812" y="732187"/>
                  </a:lnTo>
                  <a:lnTo>
                    <a:pt x="866084" y="837914"/>
                  </a:lnTo>
                  <a:lnTo>
                    <a:pt x="772263" y="744093"/>
                  </a:lnTo>
                  <a:cubicBezTo>
                    <a:pt x="772454" y="742855"/>
                    <a:pt x="772835" y="741902"/>
                    <a:pt x="773120" y="741521"/>
                  </a:cubicBezTo>
                  <a:cubicBezTo>
                    <a:pt x="774168" y="740283"/>
                    <a:pt x="777883" y="738950"/>
                    <a:pt x="782455" y="738854"/>
                  </a:cubicBezTo>
                  <a:cubicBezTo>
                    <a:pt x="783503" y="738854"/>
                    <a:pt x="784265" y="738854"/>
                    <a:pt x="784265" y="738854"/>
                  </a:cubicBezTo>
                  <a:lnTo>
                    <a:pt x="788170" y="739045"/>
                  </a:lnTo>
                  <a:cubicBezTo>
                    <a:pt x="809125" y="739045"/>
                    <a:pt x="828937" y="730853"/>
                    <a:pt x="843796" y="715994"/>
                  </a:cubicBezTo>
                  <a:cubicBezTo>
                    <a:pt x="859703" y="700088"/>
                    <a:pt x="868085" y="677990"/>
                    <a:pt x="866751" y="655415"/>
                  </a:cubicBezTo>
                  <a:cubicBezTo>
                    <a:pt x="866180" y="646652"/>
                    <a:pt x="864180" y="638080"/>
                    <a:pt x="860846" y="630079"/>
                  </a:cubicBezTo>
                  <a:cubicBezTo>
                    <a:pt x="855702" y="617030"/>
                    <a:pt x="847130" y="605504"/>
                    <a:pt x="835890" y="596646"/>
                  </a:cubicBezTo>
                  <a:cubicBezTo>
                    <a:pt x="809030" y="575691"/>
                    <a:pt x="767215" y="575310"/>
                    <a:pt x="740069" y="595884"/>
                  </a:cubicBezTo>
                  <a:cubicBezTo>
                    <a:pt x="719685" y="611315"/>
                    <a:pt x="708160" y="634841"/>
                    <a:pt x="708541" y="660463"/>
                  </a:cubicBezTo>
                  <a:lnTo>
                    <a:pt x="708732" y="663321"/>
                  </a:lnTo>
                  <a:cubicBezTo>
                    <a:pt x="708732" y="668465"/>
                    <a:pt x="707493" y="672465"/>
                    <a:pt x="706160" y="673799"/>
                  </a:cubicBezTo>
                  <a:cubicBezTo>
                    <a:pt x="705493" y="674465"/>
                    <a:pt x="704159" y="674751"/>
                    <a:pt x="702921" y="674942"/>
                  </a:cubicBezTo>
                  <a:lnTo>
                    <a:pt x="608814" y="580835"/>
                  </a:lnTo>
                  <a:lnTo>
                    <a:pt x="608814" y="580835"/>
                  </a:lnTo>
                  <a:lnTo>
                    <a:pt x="608624" y="580644"/>
                  </a:lnTo>
                  <a:lnTo>
                    <a:pt x="714351" y="474917"/>
                  </a:lnTo>
                  <a:lnTo>
                    <a:pt x="714351" y="474917"/>
                  </a:lnTo>
                  <a:lnTo>
                    <a:pt x="714637" y="474631"/>
                  </a:lnTo>
                  <a:lnTo>
                    <a:pt x="715494" y="467582"/>
                  </a:lnTo>
                  <a:cubicBezTo>
                    <a:pt x="718161" y="446151"/>
                    <a:pt x="711017" y="433007"/>
                    <a:pt x="704540" y="425577"/>
                  </a:cubicBezTo>
                  <a:cubicBezTo>
                    <a:pt x="691777" y="411099"/>
                    <a:pt x="673394" y="409004"/>
                    <a:pt x="663488" y="409004"/>
                  </a:cubicBezTo>
                  <a:cubicBezTo>
                    <a:pt x="660440" y="409004"/>
                    <a:pt x="658344" y="409194"/>
                    <a:pt x="658344" y="409194"/>
                  </a:cubicBezTo>
                  <a:cubicBezTo>
                    <a:pt x="658344" y="409194"/>
                    <a:pt x="658439" y="409194"/>
                    <a:pt x="658630" y="409194"/>
                  </a:cubicBezTo>
                  <a:cubicBezTo>
                    <a:pt x="645009" y="409194"/>
                    <a:pt x="633103" y="402241"/>
                    <a:pt x="625864" y="390144"/>
                  </a:cubicBezTo>
                  <a:cubicBezTo>
                    <a:pt x="624245" y="387477"/>
                    <a:pt x="623102" y="384524"/>
                    <a:pt x="622340" y="381572"/>
                  </a:cubicBezTo>
                  <a:cubicBezTo>
                    <a:pt x="622244" y="381286"/>
                    <a:pt x="622149" y="381000"/>
                    <a:pt x="622149" y="380810"/>
                  </a:cubicBezTo>
                  <a:cubicBezTo>
                    <a:pt x="621482" y="377952"/>
                    <a:pt x="621101" y="374999"/>
                    <a:pt x="621101" y="372047"/>
                  </a:cubicBezTo>
                  <a:cubicBezTo>
                    <a:pt x="621101" y="371761"/>
                    <a:pt x="621101" y="371570"/>
                    <a:pt x="621101" y="371285"/>
                  </a:cubicBezTo>
                  <a:cubicBezTo>
                    <a:pt x="621197" y="365093"/>
                    <a:pt x="622911" y="358902"/>
                    <a:pt x="626055" y="353473"/>
                  </a:cubicBezTo>
                  <a:cubicBezTo>
                    <a:pt x="626435" y="352806"/>
                    <a:pt x="627007" y="352139"/>
                    <a:pt x="627388" y="351473"/>
                  </a:cubicBezTo>
                  <a:cubicBezTo>
                    <a:pt x="628626" y="349568"/>
                    <a:pt x="630055" y="347853"/>
                    <a:pt x="631484" y="346329"/>
                  </a:cubicBezTo>
                  <a:cubicBezTo>
                    <a:pt x="632246" y="345472"/>
                    <a:pt x="633103" y="344710"/>
                    <a:pt x="634055" y="343853"/>
                  </a:cubicBezTo>
                  <a:cubicBezTo>
                    <a:pt x="635484" y="342614"/>
                    <a:pt x="636913" y="341471"/>
                    <a:pt x="638437" y="340519"/>
                  </a:cubicBezTo>
                  <a:cubicBezTo>
                    <a:pt x="651010" y="332708"/>
                    <a:pt x="669107" y="332994"/>
                    <a:pt x="680823" y="341948"/>
                  </a:cubicBezTo>
                  <a:cubicBezTo>
                    <a:pt x="690539" y="349282"/>
                    <a:pt x="696063" y="360331"/>
                    <a:pt x="695968" y="372142"/>
                  </a:cubicBezTo>
                  <a:cubicBezTo>
                    <a:pt x="695873" y="373190"/>
                    <a:pt x="695777" y="374809"/>
                    <a:pt x="695777" y="377000"/>
                  </a:cubicBezTo>
                  <a:cubicBezTo>
                    <a:pt x="695777" y="384715"/>
                    <a:pt x="697016" y="396050"/>
                    <a:pt x="703112" y="406622"/>
                  </a:cubicBezTo>
                  <a:cubicBezTo>
                    <a:pt x="708255" y="415481"/>
                    <a:pt x="715875" y="421576"/>
                    <a:pt x="725019" y="425387"/>
                  </a:cubicBezTo>
                  <a:cubicBezTo>
                    <a:pt x="725876" y="425768"/>
                    <a:pt x="726734" y="426053"/>
                    <a:pt x="727686" y="426434"/>
                  </a:cubicBezTo>
                  <a:cubicBezTo>
                    <a:pt x="730639" y="427482"/>
                    <a:pt x="733687" y="428149"/>
                    <a:pt x="736925" y="428625"/>
                  </a:cubicBezTo>
                  <a:cubicBezTo>
                    <a:pt x="738068" y="428816"/>
                    <a:pt x="739211" y="428911"/>
                    <a:pt x="740450" y="429006"/>
                  </a:cubicBezTo>
                  <a:cubicBezTo>
                    <a:pt x="742069" y="429101"/>
                    <a:pt x="743593" y="429578"/>
                    <a:pt x="745307" y="429578"/>
                  </a:cubicBezTo>
                  <a:cubicBezTo>
                    <a:pt x="748165" y="429578"/>
                    <a:pt x="751118" y="429387"/>
                    <a:pt x="754356" y="429006"/>
                  </a:cubicBezTo>
                  <a:lnTo>
                    <a:pt x="761405" y="428149"/>
                  </a:lnTo>
                  <a:lnTo>
                    <a:pt x="761690" y="427863"/>
                  </a:lnTo>
                  <a:lnTo>
                    <a:pt x="867132" y="322421"/>
                  </a:lnTo>
                  <a:lnTo>
                    <a:pt x="961525" y="416814"/>
                  </a:lnTo>
                  <a:cubicBezTo>
                    <a:pt x="961334" y="418433"/>
                    <a:pt x="960953" y="419386"/>
                    <a:pt x="960477" y="419957"/>
                  </a:cubicBezTo>
                  <a:cubicBezTo>
                    <a:pt x="959334" y="421196"/>
                    <a:pt x="955429" y="422529"/>
                    <a:pt x="950381" y="422529"/>
                  </a:cubicBezTo>
                  <a:lnTo>
                    <a:pt x="945999" y="422339"/>
                  </a:lnTo>
                  <a:cubicBezTo>
                    <a:pt x="924758" y="422339"/>
                    <a:pt x="904756" y="430530"/>
                    <a:pt x="889897" y="445484"/>
                  </a:cubicBezTo>
                  <a:cubicBezTo>
                    <a:pt x="872752" y="462629"/>
                    <a:pt x="864465" y="486347"/>
                    <a:pt x="867323" y="510445"/>
                  </a:cubicBezTo>
                  <a:cubicBezTo>
                    <a:pt x="870180" y="534638"/>
                    <a:pt x="883801" y="555879"/>
                    <a:pt x="904946" y="568928"/>
                  </a:cubicBezTo>
                  <a:cubicBezTo>
                    <a:pt x="928759" y="583692"/>
                    <a:pt x="961144" y="583978"/>
                    <a:pt x="985242" y="569690"/>
                  </a:cubicBezTo>
                  <a:cubicBezTo>
                    <a:pt x="1010483" y="554736"/>
                    <a:pt x="1025247" y="528542"/>
                    <a:pt x="1024580" y="499682"/>
                  </a:cubicBezTo>
                  <a:lnTo>
                    <a:pt x="1024485" y="498062"/>
                  </a:lnTo>
                  <a:cubicBezTo>
                    <a:pt x="1024485" y="497776"/>
                    <a:pt x="1024390" y="497205"/>
                    <a:pt x="1024390" y="496348"/>
                  </a:cubicBezTo>
                  <a:cubicBezTo>
                    <a:pt x="1024390" y="487394"/>
                    <a:pt x="1026866" y="485680"/>
                    <a:pt x="1030010" y="485299"/>
                  </a:cubicBezTo>
                  <a:lnTo>
                    <a:pt x="1112782" y="568071"/>
                  </a:lnTo>
                  <a:cubicBezTo>
                    <a:pt x="1115925" y="571214"/>
                    <a:pt x="1117640" y="575310"/>
                    <a:pt x="1117640" y="579692"/>
                  </a:cubicBezTo>
                  <a:cubicBezTo>
                    <a:pt x="1117640" y="584073"/>
                    <a:pt x="1115925" y="588264"/>
                    <a:pt x="1112782" y="591312"/>
                  </a:cubicBezTo>
                  <a:lnTo>
                    <a:pt x="1018675" y="685419"/>
                  </a:lnTo>
                  <a:lnTo>
                    <a:pt x="1017818" y="692468"/>
                  </a:lnTo>
                  <a:cubicBezTo>
                    <a:pt x="1015151" y="713708"/>
                    <a:pt x="1022199" y="726948"/>
                    <a:pt x="1028676" y="734378"/>
                  </a:cubicBezTo>
                  <a:cubicBezTo>
                    <a:pt x="1041535" y="749141"/>
                    <a:pt x="1060395" y="751523"/>
                    <a:pt x="1070777" y="751618"/>
                  </a:cubicBezTo>
                  <a:cubicBezTo>
                    <a:pt x="1072301" y="751618"/>
                    <a:pt x="1073634" y="751523"/>
                    <a:pt x="1073539" y="751523"/>
                  </a:cubicBezTo>
                  <a:lnTo>
                    <a:pt x="1075539" y="751427"/>
                  </a:lnTo>
                  <a:cubicBezTo>
                    <a:pt x="1088874" y="751427"/>
                    <a:pt x="1101066" y="758571"/>
                    <a:pt x="1108115" y="770477"/>
                  </a:cubicBezTo>
                  <a:cubicBezTo>
                    <a:pt x="1114878" y="781622"/>
                    <a:pt x="1114592" y="796862"/>
                    <a:pt x="1107448" y="808101"/>
                  </a:cubicBezTo>
                  <a:close/>
                </a:path>
              </a:pathLst>
            </a:custGeom>
            <a:solidFill>
              <a:schemeClr val="tx1"/>
            </a:solidFill>
            <a:ln w="9525" cap="flat">
              <a:noFill/>
              <a:prstDash val="solid"/>
              <a:miter/>
            </a:ln>
          </p:spPr>
          <p:txBody>
            <a:bodyPr rtlCol="0" anchor="ctr"/>
            <a:lstStyle/>
            <a:p>
              <a:endParaRPr lang="fr-FR" sz="900" dirty="0"/>
            </a:p>
          </p:txBody>
        </p:sp>
        <p:grpSp>
          <p:nvGrpSpPr>
            <p:cNvPr id="29" name="Graphique 61">
              <a:extLst>
                <a:ext uri="{FF2B5EF4-FFF2-40B4-BE49-F238E27FC236}">
                  <a16:creationId xmlns:a16="http://schemas.microsoft.com/office/drawing/2014/main" id="{1051E9DD-1632-4415-66BB-1E8BAE25F733}"/>
                </a:ext>
              </a:extLst>
            </p:cNvPr>
            <p:cNvGrpSpPr/>
            <p:nvPr/>
          </p:nvGrpSpPr>
          <p:grpSpPr>
            <a:xfrm>
              <a:off x="13839259" y="3062795"/>
              <a:ext cx="941954" cy="942001"/>
              <a:chOff x="11962606" y="6629376"/>
              <a:chExt cx="457200" cy="457223"/>
            </a:xfrm>
            <a:solidFill>
              <a:srgbClr val="201602"/>
            </a:solidFill>
          </p:grpSpPr>
          <p:sp>
            <p:nvSpPr>
              <p:cNvPr id="32" name="Forme libre : forme 31">
                <a:extLst>
                  <a:ext uri="{FF2B5EF4-FFF2-40B4-BE49-F238E27FC236}">
                    <a16:creationId xmlns:a16="http://schemas.microsoft.com/office/drawing/2014/main" id="{DF61A3C7-5D05-406F-05E5-ABF1CDB3F3D0}"/>
                  </a:ext>
                </a:extLst>
              </p:cNvPr>
              <p:cNvSpPr/>
              <p:nvPr/>
            </p:nvSpPr>
            <p:spPr>
              <a:xfrm>
                <a:off x="11962606" y="6673323"/>
                <a:ext cx="457200" cy="413276"/>
              </a:xfrm>
              <a:custGeom>
                <a:avLst/>
                <a:gdLst>
                  <a:gd name="connsiteX0" fmla="*/ 257175 w 457200"/>
                  <a:gd name="connsiteY0" fmla="*/ 413277 h 413276"/>
                  <a:gd name="connsiteX1" fmla="*/ 200025 w 457200"/>
                  <a:gd name="connsiteY1" fmla="*/ 413277 h 413276"/>
                  <a:gd name="connsiteX2" fmla="*/ 190595 w 457200"/>
                  <a:gd name="connsiteY2" fmla="*/ 404990 h 413276"/>
                  <a:gd name="connsiteX3" fmla="*/ 184118 w 457200"/>
                  <a:gd name="connsiteY3" fmla="*/ 355079 h 413276"/>
                  <a:gd name="connsiteX4" fmla="*/ 139637 w 457200"/>
                  <a:gd name="connsiteY4" fmla="*/ 336600 h 413276"/>
                  <a:gd name="connsiteX5" fmla="*/ 99727 w 457200"/>
                  <a:gd name="connsiteY5" fmla="*/ 367271 h 413276"/>
                  <a:gd name="connsiteX6" fmla="*/ 87154 w 457200"/>
                  <a:gd name="connsiteY6" fmla="*/ 366414 h 413276"/>
                  <a:gd name="connsiteX7" fmla="*/ 46768 w 457200"/>
                  <a:gd name="connsiteY7" fmla="*/ 326028 h 413276"/>
                  <a:gd name="connsiteX8" fmla="*/ 45911 w 457200"/>
                  <a:gd name="connsiteY8" fmla="*/ 313455 h 413276"/>
                  <a:gd name="connsiteX9" fmla="*/ 76581 w 457200"/>
                  <a:gd name="connsiteY9" fmla="*/ 273545 h 413276"/>
                  <a:gd name="connsiteX10" fmla="*/ 58103 w 457200"/>
                  <a:gd name="connsiteY10" fmla="*/ 229063 h 413276"/>
                  <a:gd name="connsiteX11" fmla="*/ 8192 w 457200"/>
                  <a:gd name="connsiteY11" fmla="*/ 222586 h 413276"/>
                  <a:gd name="connsiteX12" fmla="*/ 0 w 457200"/>
                  <a:gd name="connsiteY12" fmla="*/ 213252 h 413276"/>
                  <a:gd name="connsiteX13" fmla="*/ 0 w 457200"/>
                  <a:gd name="connsiteY13" fmla="*/ 156102 h 413276"/>
                  <a:gd name="connsiteX14" fmla="*/ 8287 w 457200"/>
                  <a:gd name="connsiteY14" fmla="*/ 146672 h 413276"/>
                  <a:gd name="connsiteX15" fmla="*/ 58198 w 457200"/>
                  <a:gd name="connsiteY15" fmla="*/ 140195 h 413276"/>
                  <a:gd name="connsiteX16" fmla="*/ 76676 w 457200"/>
                  <a:gd name="connsiteY16" fmla="*/ 95713 h 413276"/>
                  <a:gd name="connsiteX17" fmla="*/ 46006 w 457200"/>
                  <a:gd name="connsiteY17" fmla="*/ 55803 h 413276"/>
                  <a:gd name="connsiteX18" fmla="*/ 46863 w 457200"/>
                  <a:gd name="connsiteY18" fmla="*/ 43230 h 413276"/>
                  <a:gd name="connsiteX19" fmla="*/ 87249 w 457200"/>
                  <a:gd name="connsiteY19" fmla="*/ 2844 h 413276"/>
                  <a:gd name="connsiteX20" fmla="*/ 99822 w 457200"/>
                  <a:gd name="connsiteY20" fmla="*/ 1987 h 413276"/>
                  <a:gd name="connsiteX21" fmla="*/ 129350 w 457200"/>
                  <a:gd name="connsiteY21" fmla="*/ 24657 h 413276"/>
                  <a:gd name="connsiteX22" fmla="*/ 117729 w 457200"/>
                  <a:gd name="connsiteY22" fmla="*/ 39801 h 413276"/>
                  <a:gd name="connsiteX23" fmla="*/ 94678 w 457200"/>
                  <a:gd name="connsiteY23" fmla="*/ 22180 h 413276"/>
                  <a:gd name="connsiteX24" fmla="*/ 66104 w 457200"/>
                  <a:gd name="connsiteY24" fmla="*/ 50755 h 413276"/>
                  <a:gd name="connsiteX25" fmla="*/ 95726 w 457200"/>
                  <a:gd name="connsiteY25" fmla="*/ 89236 h 413276"/>
                  <a:gd name="connsiteX26" fmla="*/ 96203 w 457200"/>
                  <a:gd name="connsiteY26" fmla="*/ 100190 h 413276"/>
                  <a:gd name="connsiteX27" fmla="*/ 75152 w 457200"/>
                  <a:gd name="connsiteY27" fmla="*/ 150768 h 413276"/>
                  <a:gd name="connsiteX28" fmla="*/ 67056 w 457200"/>
                  <a:gd name="connsiteY28" fmla="*/ 158197 h 413276"/>
                  <a:gd name="connsiteX29" fmla="*/ 19050 w 457200"/>
                  <a:gd name="connsiteY29" fmla="*/ 164484 h 413276"/>
                  <a:gd name="connsiteX30" fmla="*/ 19050 w 457200"/>
                  <a:gd name="connsiteY30" fmla="*/ 204870 h 413276"/>
                  <a:gd name="connsiteX31" fmla="*/ 67151 w 457200"/>
                  <a:gd name="connsiteY31" fmla="*/ 211156 h 413276"/>
                  <a:gd name="connsiteX32" fmla="*/ 75248 w 457200"/>
                  <a:gd name="connsiteY32" fmla="*/ 218586 h 413276"/>
                  <a:gd name="connsiteX33" fmla="*/ 96298 w 457200"/>
                  <a:gd name="connsiteY33" fmla="*/ 269163 h 413276"/>
                  <a:gd name="connsiteX34" fmla="*/ 95822 w 457200"/>
                  <a:gd name="connsiteY34" fmla="*/ 280117 h 413276"/>
                  <a:gd name="connsiteX35" fmla="*/ 66199 w 457200"/>
                  <a:gd name="connsiteY35" fmla="*/ 318598 h 413276"/>
                  <a:gd name="connsiteX36" fmla="*/ 94774 w 457200"/>
                  <a:gd name="connsiteY36" fmla="*/ 347173 h 413276"/>
                  <a:gd name="connsiteX37" fmla="*/ 133255 w 457200"/>
                  <a:gd name="connsiteY37" fmla="*/ 317550 h 413276"/>
                  <a:gd name="connsiteX38" fmla="*/ 144209 w 457200"/>
                  <a:gd name="connsiteY38" fmla="*/ 317074 h 413276"/>
                  <a:gd name="connsiteX39" fmla="*/ 194786 w 457200"/>
                  <a:gd name="connsiteY39" fmla="*/ 338124 h 413276"/>
                  <a:gd name="connsiteX40" fmla="*/ 202216 w 457200"/>
                  <a:gd name="connsiteY40" fmla="*/ 346221 h 413276"/>
                  <a:gd name="connsiteX41" fmla="*/ 208407 w 457200"/>
                  <a:gd name="connsiteY41" fmla="*/ 394227 h 413276"/>
                  <a:gd name="connsiteX42" fmla="*/ 248793 w 457200"/>
                  <a:gd name="connsiteY42" fmla="*/ 394227 h 413276"/>
                  <a:gd name="connsiteX43" fmla="*/ 255080 w 457200"/>
                  <a:gd name="connsiteY43" fmla="*/ 346125 h 413276"/>
                  <a:gd name="connsiteX44" fmla="*/ 262509 w 457200"/>
                  <a:gd name="connsiteY44" fmla="*/ 338029 h 413276"/>
                  <a:gd name="connsiteX45" fmla="*/ 313087 w 457200"/>
                  <a:gd name="connsiteY45" fmla="*/ 316979 h 413276"/>
                  <a:gd name="connsiteX46" fmla="*/ 324041 w 457200"/>
                  <a:gd name="connsiteY46" fmla="*/ 317455 h 413276"/>
                  <a:gd name="connsiteX47" fmla="*/ 362522 w 457200"/>
                  <a:gd name="connsiteY47" fmla="*/ 347078 h 413276"/>
                  <a:gd name="connsiteX48" fmla="*/ 391097 w 457200"/>
                  <a:gd name="connsiteY48" fmla="*/ 318503 h 413276"/>
                  <a:gd name="connsiteX49" fmla="*/ 361474 w 457200"/>
                  <a:gd name="connsiteY49" fmla="*/ 280022 h 413276"/>
                  <a:gd name="connsiteX50" fmla="*/ 360998 w 457200"/>
                  <a:gd name="connsiteY50" fmla="*/ 269068 h 413276"/>
                  <a:gd name="connsiteX51" fmla="*/ 382048 w 457200"/>
                  <a:gd name="connsiteY51" fmla="*/ 218490 h 413276"/>
                  <a:gd name="connsiteX52" fmla="*/ 390144 w 457200"/>
                  <a:gd name="connsiteY52" fmla="*/ 211061 h 413276"/>
                  <a:gd name="connsiteX53" fmla="*/ 438150 w 457200"/>
                  <a:gd name="connsiteY53" fmla="*/ 204870 h 413276"/>
                  <a:gd name="connsiteX54" fmla="*/ 438150 w 457200"/>
                  <a:gd name="connsiteY54" fmla="*/ 164484 h 413276"/>
                  <a:gd name="connsiteX55" fmla="*/ 390049 w 457200"/>
                  <a:gd name="connsiteY55" fmla="*/ 158197 h 413276"/>
                  <a:gd name="connsiteX56" fmla="*/ 381953 w 457200"/>
                  <a:gd name="connsiteY56" fmla="*/ 150768 h 413276"/>
                  <a:gd name="connsiteX57" fmla="*/ 360902 w 457200"/>
                  <a:gd name="connsiteY57" fmla="*/ 100190 h 413276"/>
                  <a:gd name="connsiteX58" fmla="*/ 361379 w 457200"/>
                  <a:gd name="connsiteY58" fmla="*/ 89236 h 413276"/>
                  <a:gd name="connsiteX59" fmla="*/ 391001 w 457200"/>
                  <a:gd name="connsiteY59" fmla="*/ 50755 h 413276"/>
                  <a:gd name="connsiteX60" fmla="*/ 362426 w 457200"/>
                  <a:gd name="connsiteY60" fmla="*/ 22180 h 413276"/>
                  <a:gd name="connsiteX61" fmla="*/ 339471 w 457200"/>
                  <a:gd name="connsiteY61" fmla="*/ 39801 h 413276"/>
                  <a:gd name="connsiteX62" fmla="*/ 327850 w 457200"/>
                  <a:gd name="connsiteY62" fmla="*/ 24657 h 413276"/>
                  <a:gd name="connsiteX63" fmla="*/ 357378 w 457200"/>
                  <a:gd name="connsiteY63" fmla="*/ 1987 h 413276"/>
                  <a:gd name="connsiteX64" fmla="*/ 369951 w 457200"/>
                  <a:gd name="connsiteY64" fmla="*/ 2844 h 413276"/>
                  <a:gd name="connsiteX65" fmla="*/ 410337 w 457200"/>
                  <a:gd name="connsiteY65" fmla="*/ 43230 h 413276"/>
                  <a:gd name="connsiteX66" fmla="*/ 411194 w 457200"/>
                  <a:gd name="connsiteY66" fmla="*/ 55803 h 413276"/>
                  <a:gd name="connsiteX67" fmla="*/ 380524 w 457200"/>
                  <a:gd name="connsiteY67" fmla="*/ 95713 h 413276"/>
                  <a:gd name="connsiteX68" fmla="*/ 399002 w 457200"/>
                  <a:gd name="connsiteY68" fmla="*/ 140195 h 413276"/>
                  <a:gd name="connsiteX69" fmla="*/ 448913 w 457200"/>
                  <a:gd name="connsiteY69" fmla="*/ 146672 h 413276"/>
                  <a:gd name="connsiteX70" fmla="*/ 457200 w 457200"/>
                  <a:gd name="connsiteY70" fmla="*/ 156102 h 413276"/>
                  <a:gd name="connsiteX71" fmla="*/ 457200 w 457200"/>
                  <a:gd name="connsiteY71" fmla="*/ 213252 h 413276"/>
                  <a:gd name="connsiteX72" fmla="*/ 448913 w 457200"/>
                  <a:gd name="connsiteY72" fmla="*/ 222681 h 413276"/>
                  <a:gd name="connsiteX73" fmla="*/ 399002 w 457200"/>
                  <a:gd name="connsiteY73" fmla="*/ 229158 h 413276"/>
                  <a:gd name="connsiteX74" fmla="*/ 380524 w 457200"/>
                  <a:gd name="connsiteY74" fmla="*/ 273640 h 413276"/>
                  <a:gd name="connsiteX75" fmla="*/ 411194 w 457200"/>
                  <a:gd name="connsiteY75" fmla="*/ 313550 h 413276"/>
                  <a:gd name="connsiteX76" fmla="*/ 410337 w 457200"/>
                  <a:gd name="connsiteY76" fmla="*/ 326123 h 413276"/>
                  <a:gd name="connsiteX77" fmla="*/ 369951 w 457200"/>
                  <a:gd name="connsiteY77" fmla="*/ 366509 h 413276"/>
                  <a:gd name="connsiteX78" fmla="*/ 357378 w 457200"/>
                  <a:gd name="connsiteY78" fmla="*/ 367366 h 413276"/>
                  <a:gd name="connsiteX79" fmla="*/ 317468 w 457200"/>
                  <a:gd name="connsiteY79" fmla="*/ 336696 h 413276"/>
                  <a:gd name="connsiteX80" fmla="*/ 272987 w 457200"/>
                  <a:gd name="connsiteY80" fmla="*/ 355174 h 413276"/>
                  <a:gd name="connsiteX81" fmla="*/ 266510 w 457200"/>
                  <a:gd name="connsiteY81" fmla="*/ 405085 h 413276"/>
                  <a:gd name="connsiteX82" fmla="*/ 257175 w 457200"/>
                  <a:gd name="connsiteY82" fmla="*/ 413277 h 41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457200" h="413276">
                    <a:moveTo>
                      <a:pt x="257175" y="413277"/>
                    </a:moveTo>
                    <a:lnTo>
                      <a:pt x="200025" y="413277"/>
                    </a:lnTo>
                    <a:cubicBezTo>
                      <a:pt x="195263" y="413277"/>
                      <a:pt x="191167" y="409752"/>
                      <a:pt x="190595" y="404990"/>
                    </a:cubicBezTo>
                    <a:lnTo>
                      <a:pt x="184118" y="355079"/>
                    </a:lnTo>
                    <a:cubicBezTo>
                      <a:pt x="168593" y="350983"/>
                      <a:pt x="153638" y="344792"/>
                      <a:pt x="139637" y="336600"/>
                    </a:cubicBezTo>
                    <a:lnTo>
                      <a:pt x="99727" y="367271"/>
                    </a:lnTo>
                    <a:cubicBezTo>
                      <a:pt x="95917" y="370128"/>
                      <a:pt x="90583" y="369843"/>
                      <a:pt x="87154" y="366414"/>
                    </a:cubicBezTo>
                    <a:lnTo>
                      <a:pt x="46768" y="326028"/>
                    </a:lnTo>
                    <a:cubicBezTo>
                      <a:pt x="43339" y="322599"/>
                      <a:pt x="43053" y="317265"/>
                      <a:pt x="45911" y="313455"/>
                    </a:cubicBezTo>
                    <a:lnTo>
                      <a:pt x="76581" y="273545"/>
                    </a:lnTo>
                    <a:cubicBezTo>
                      <a:pt x="68390" y="259543"/>
                      <a:pt x="62198" y="244684"/>
                      <a:pt x="58103" y="229063"/>
                    </a:cubicBezTo>
                    <a:lnTo>
                      <a:pt x="8192" y="222586"/>
                    </a:lnTo>
                    <a:cubicBezTo>
                      <a:pt x="3524" y="222110"/>
                      <a:pt x="0" y="218014"/>
                      <a:pt x="0" y="213252"/>
                    </a:cubicBezTo>
                    <a:lnTo>
                      <a:pt x="0" y="156102"/>
                    </a:lnTo>
                    <a:cubicBezTo>
                      <a:pt x="0" y="151339"/>
                      <a:pt x="3524" y="147243"/>
                      <a:pt x="8287" y="146672"/>
                    </a:cubicBezTo>
                    <a:lnTo>
                      <a:pt x="58198" y="140195"/>
                    </a:lnTo>
                    <a:cubicBezTo>
                      <a:pt x="62294" y="124669"/>
                      <a:pt x="68485" y="109715"/>
                      <a:pt x="76676" y="95713"/>
                    </a:cubicBezTo>
                    <a:lnTo>
                      <a:pt x="46006" y="55803"/>
                    </a:lnTo>
                    <a:cubicBezTo>
                      <a:pt x="43053" y="51993"/>
                      <a:pt x="43434" y="46659"/>
                      <a:pt x="46863" y="43230"/>
                    </a:cubicBezTo>
                    <a:lnTo>
                      <a:pt x="87249" y="2844"/>
                    </a:lnTo>
                    <a:cubicBezTo>
                      <a:pt x="90678" y="-585"/>
                      <a:pt x="96012" y="-870"/>
                      <a:pt x="99822" y="1987"/>
                    </a:cubicBezTo>
                    <a:lnTo>
                      <a:pt x="129350" y="24657"/>
                    </a:lnTo>
                    <a:lnTo>
                      <a:pt x="117729" y="39801"/>
                    </a:lnTo>
                    <a:lnTo>
                      <a:pt x="94678" y="22180"/>
                    </a:lnTo>
                    <a:lnTo>
                      <a:pt x="66104" y="50755"/>
                    </a:lnTo>
                    <a:lnTo>
                      <a:pt x="95726" y="89236"/>
                    </a:lnTo>
                    <a:cubicBezTo>
                      <a:pt x="98203" y="92379"/>
                      <a:pt x="98393" y="96761"/>
                      <a:pt x="96203" y="100190"/>
                    </a:cubicBezTo>
                    <a:cubicBezTo>
                      <a:pt x="86201" y="115811"/>
                      <a:pt x="79153" y="132861"/>
                      <a:pt x="75152" y="150768"/>
                    </a:cubicBezTo>
                    <a:cubicBezTo>
                      <a:pt x="74295" y="154673"/>
                      <a:pt x="71057" y="157626"/>
                      <a:pt x="67056" y="158197"/>
                    </a:cubicBezTo>
                    <a:lnTo>
                      <a:pt x="19050" y="164484"/>
                    </a:lnTo>
                    <a:lnTo>
                      <a:pt x="19050" y="204870"/>
                    </a:lnTo>
                    <a:lnTo>
                      <a:pt x="67151" y="211156"/>
                    </a:lnTo>
                    <a:cubicBezTo>
                      <a:pt x="71152" y="211632"/>
                      <a:pt x="74390" y="214680"/>
                      <a:pt x="75248" y="218586"/>
                    </a:cubicBezTo>
                    <a:cubicBezTo>
                      <a:pt x="79153" y="236493"/>
                      <a:pt x="86297" y="253542"/>
                      <a:pt x="96298" y="269163"/>
                    </a:cubicBezTo>
                    <a:cubicBezTo>
                      <a:pt x="98489" y="272497"/>
                      <a:pt x="98298" y="276879"/>
                      <a:pt x="95822" y="280117"/>
                    </a:cubicBezTo>
                    <a:lnTo>
                      <a:pt x="66199" y="318598"/>
                    </a:lnTo>
                    <a:lnTo>
                      <a:pt x="94774" y="347173"/>
                    </a:lnTo>
                    <a:lnTo>
                      <a:pt x="133255" y="317550"/>
                    </a:lnTo>
                    <a:cubicBezTo>
                      <a:pt x="136398" y="315074"/>
                      <a:pt x="140780" y="314883"/>
                      <a:pt x="144209" y="317074"/>
                    </a:cubicBezTo>
                    <a:cubicBezTo>
                      <a:pt x="159830" y="327075"/>
                      <a:pt x="176879" y="334124"/>
                      <a:pt x="194786" y="338124"/>
                    </a:cubicBezTo>
                    <a:cubicBezTo>
                      <a:pt x="198692" y="338982"/>
                      <a:pt x="201644" y="342220"/>
                      <a:pt x="202216" y="346221"/>
                    </a:cubicBezTo>
                    <a:lnTo>
                      <a:pt x="208407" y="394227"/>
                    </a:lnTo>
                    <a:lnTo>
                      <a:pt x="248793" y="394227"/>
                    </a:lnTo>
                    <a:lnTo>
                      <a:pt x="255080" y="346125"/>
                    </a:lnTo>
                    <a:cubicBezTo>
                      <a:pt x="255556" y="342125"/>
                      <a:pt x="258509" y="338886"/>
                      <a:pt x="262509" y="338029"/>
                    </a:cubicBezTo>
                    <a:cubicBezTo>
                      <a:pt x="280416" y="334029"/>
                      <a:pt x="297466" y="326980"/>
                      <a:pt x="313087" y="316979"/>
                    </a:cubicBezTo>
                    <a:cubicBezTo>
                      <a:pt x="316516" y="314788"/>
                      <a:pt x="320897" y="314979"/>
                      <a:pt x="324041" y="317455"/>
                    </a:cubicBezTo>
                    <a:lnTo>
                      <a:pt x="362522" y="347078"/>
                    </a:lnTo>
                    <a:lnTo>
                      <a:pt x="391097" y="318503"/>
                    </a:lnTo>
                    <a:lnTo>
                      <a:pt x="361474" y="280022"/>
                    </a:lnTo>
                    <a:cubicBezTo>
                      <a:pt x="358997" y="276879"/>
                      <a:pt x="358807" y="272497"/>
                      <a:pt x="360998" y="269068"/>
                    </a:cubicBezTo>
                    <a:cubicBezTo>
                      <a:pt x="370999" y="253447"/>
                      <a:pt x="378047" y="236397"/>
                      <a:pt x="382048" y="218490"/>
                    </a:cubicBezTo>
                    <a:cubicBezTo>
                      <a:pt x="382905" y="214585"/>
                      <a:pt x="386144" y="211632"/>
                      <a:pt x="390144" y="211061"/>
                    </a:cubicBezTo>
                    <a:lnTo>
                      <a:pt x="438150" y="204870"/>
                    </a:lnTo>
                    <a:lnTo>
                      <a:pt x="438150" y="164484"/>
                    </a:lnTo>
                    <a:lnTo>
                      <a:pt x="390049" y="158197"/>
                    </a:lnTo>
                    <a:cubicBezTo>
                      <a:pt x="386048" y="157721"/>
                      <a:pt x="382810" y="154673"/>
                      <a:pt x="381953" y="150768"/>
                    </a:cubicBezTo>
                    <a:cubicBezTo>
                      <a:pt x="378047" y="132861"/>
                      <a:pt x="370904" y="115811"/>
                      <a:pt x="360902" y="100190"/>
                    </a:cubicBezTo>
                    <a:cubicBezTo>
                      <a:pt x="358712" y="96856"/>
                      <a:pt x="358902" y="92475"/>
                      <a:pt x="361379" y="89236"/>
                    </a:cubicBezTo>
                    <a:lnTo>
                      <a:pt x="391001" y="50755"/>
                    </a:lnTo>
                    <a:lnTo>
                      <a:pt x="362426" y="22180"/>
                    </a:lnTo>
                    <a:lnTo>
                      <a:pt x="339471" y="39801"/>
                    </a:lnTo>
                    <a:lnTo>
                      <a:pt x="327850" y="24657"/>
                    </a:lnTo>
                    <a:lnTo>
                      <a:pt x="357378" y="1987"/>
                    </a:lnTo>
                    <a:cubicBezTo>
                      <a:pt x="361188" y="-966"/>
                      <a:pt x="366522" y="-585"/>
                      <a:pt x="369951" y="2844"/>
                    </a:cubicBezTo>
                    <a:lnTo>
                      <a:pt x="410337" y="43230"/>
                    </a:lnTo>
                    <a:cubicBezTo>
                      <a:pt x="413766" y="46659"/>
                      <a:pt x="414052" y="51993"/>
                      <a:pt x="411194" y="55803"/>
                    </a:cubicBezTo>
                    <a:lnTo>
                      <a:pt x="380524" y="95713"/>
                    </a:lnTo>
                    <a:cubicBezTo>
                      <a:pt x="388715" y="109715"/>
                      <a:pt x="394907" y="124574"/>
                      <a:pt x="399002" y="140195"/>
                    </a:cubicBezTo>
                    <a:lnTo>
                      <a:pt x="448913" y="146672"/>
                    </a:lnTo>
                    <a:cubicBezTo>
                      <a:pt x="453676" y="147243"/>
                      <a:pt x="457200" y="151339"/>
                      <a:pt x="457200" y="156102"/>
                    </a:cubicBezTo>
                    <a:lnTo>
                      <a:pt x="457200" y="213252"/>
                    </a:lnTo>
                    <a:cubicBezTo>
                      <a:pt x="457200" y="218014"/>
                      <a:pt x="453676" y="222110"/>
                      <a:pt x="448913" y="222681"/>
                    </a:cubicBezTo>
                    <a:lnTo>
                      <a:pt x="399002" y="229158"/>
                    </a:lnTo>
                    <a:cubicBezTo>
                      <a:pt x="394907" y="244684"/>
                      <a:pt x="388715" y="259638"/>
                      <a:pt x="380524" y="273640"/>
                    </a:cubicBezTo>
                    <a:lnTo>
                      <a:pt x="411194" y="313550"/>
                    </a:lnTo>
                    <a:cubicBezTo>
                      <a:pt x="414147" y="317360"/>
                      <a:pt x="413766" y="322694"/>
                      <a:pt x="410337" y="326123"/>
                    </a:cubicBezTo>
                    <a:lnTo>
                      <a:pt x="369951" y="366509"/>
                    </a:lnTo>
                    <a:cubicBezTo>
                      <a:pt x="366522" y="369938"/>
                      <a:pt x="361188" y="370224"/>
                      <a:pt x="357378" y="367366"/>
                    </a:cubicBezTo>
                    <a:lnTo>
                      <a:pt x="317468" y="336696"/>
                    </a:lnTo>
                    <a:cubicBezTo>
                      <a:pt x="303467" y="344887"/>
                      <a:pt x="288608" y="351078"/>
                      <a:pt x="272987" y="355174"/>
                    </a:cubicBezTo>
                    <a:lnTo>
                      <a:pt x="266510" y="405085"/>
                    </a:lnTo>
                    <a:cubicBezTo>
                      <a:pt x="266033" y="409752"/>
                      <a:pt x="261938" y="413277"/>
                      <a:pt x="257175" y="413277"/>
                    </a:cubicBezTo>
                    <a:close/>
                  </a:path>
                </a:pathLst>
              </a:custGeom>
              <a:solidFill>
                <a:srgbClr val="201602"/>
              </a:solidFill>
              <a:ln w="19050" cap="flat">
                <a:solidFill>
                  <a:schemeClr val="tx1"/>
                </a:solidFill>
                <a:prstDash val="solid"/>
                <a:miter/>
              </a:ln>
            </p:spPr>
            <p:txBody>
              <a:bodyPr rtlCol="0" anchor="ctr"/>
              <a:lstStyle/>
              <a:p>
                <a:endParaRPr lang="fr-FR" sz="900" dirty="0"/>
              </a:p>
            </p:txBody>
          </p:sp>
          <p:sp>
            <p:nvSpPr>
              <p:cNvPr id="33" name="Forme libre : forme 32">
                <a:extLst>
                  <a:ext uri="{FF2B5EF4-FFF2-40B4-BE49-F238E27FC236}">
                    <a16:creationId xmlns:a16="http://schemas.microsoft.com/office/drawing/2014/main" id="{6ABABE1B-A236-3086-0BE5-AAA5B5C8AC2F}"/>
                  </a:ext>
                </a:extLst>
              </p:cNvPr>
              <p:cNvSpPr/>
              <p:nvPr/>
            </p:nvSpPr>
            <p:spPr>
              <a:xfrm>
                <a:off x="12067381" y="6629376"/>
                <a:ext cx="247650" cy="352448"/>
              </a:xfrm>
              <a:custGeom>
                <a:avLst/>
                <a:gdLst>
                  <a:gd name="connsiteX0" fmla="*/ 123825 w 247650"/>
                  <a:gd name="connsiteY0" fmla="*/ 352449 h 352448"/>
                  <a:gd name="connsiteX1" fmla="*/ 0 w 247650"/>
                  <a:gd name="connsiteY1" fmla="*/ 228624 h 352448"/>
                  <a:gd name="connsiteX2" fmla="*/ 117348 w 247650"/>
                  <a:gd name="connsiteY2" fmla="*/ 2500 h 352448"/>
                  <a:gd name="connsiteX3" fmla="*/ 130207 w 247650"/>
                  <a:gd name="connsiteY3" fmla="*/ 2500 h 352448"/>
                  <a:gd name="connsiteX4" fmla="*/ 247650 w 247650"/>
                  <a:gd name="connsiteY4" fmla="*/ 228624 h 352448"/>
                  <a:gd name="connsiteX5" fmla="*/ 123825 w 247650"/>
                  <a:gd name="connsiteY5" fmla="*/ 352449 h 352448"/>
                  <a:gd name="connsiteX6" fmla="*/ 123825 w 247650"/>
                  <a:gd name="connsiteY6" fmla="*/ 22884 h 352448"/>
                  <a:gd name="connsiteX7" fmla="*/ 19050 w 247650"/>
                  <a:gd name="connsiteY7" fmla="*/ 228624 h 352448"/>
                  <a:gd name="connsiteX8" fmla="*/ 123825 w 247650"/>
                  <a:gd name="connsiteY8" fmla="*/ 333399 h 352448"/>
                  <a:gd name="connsiteX9" fmla="*/ 228600 w 247650"/>
                  <a:gd name="connsiteY9" fmla="*/ 228624 h 352448"/>
                  <a:gd name="connsiteX10" fmla="*/ 123825 w 247650"/>
                  <a:gd name="connsiteY10" fmla="*/ 22884 h 352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7650" h="352448">
                    <a:moveTo>
                      <a:pt x="123825" y="352449"/>
                    </a:moveTo>
                    <a:cubicBezTo>
                      <a:pt x="55531" y="352449"/>
                      <a:pt x="0" y="296918"/>
                      <a:pt x="0" y="228624"/>
                    </a:cubicBezTo>
                    <a:cubicBezTo>
                      <a:pt x="0" y="111657"/>
                      <a:pt x="112586" y="6977"/>
                      <a:pt x="117348" y="2500"/>
                    </a:cubicBezTo>
                    <a:cubicBezTo>
                      <a:pt x="120968" y="-833"/>
                      <a:pt x="126587" y="-833"/>
                      <a:pt x="130207" y="2500"/>
                    </a:cubicBezTo>
                    <a:cubicBezTo>
                      <a:pt x="135065" y="6977"/>
                      <a:pt x="247650" y="111657"/>
                      <a:pt x="247650" y="228624"/>
                    </a:cubicBezTo>
                    <a:cubicBezTo>
                      <a:pt x="247650" y="296918"/>
                      <a:pt x="192119" y="352449"/>
                      <a:pt x="123825" y="352449"/>
                    </a:cubicBezTo>
                    <a:close/>
                    <a:moveTo>
                      <a:pt x="123825" y="22884"/>
                    </a:moveTo>
                    <a:cubicBezTo>
                      <a:pt x="100108" y="46792"/>
                      <a:pt x="19050" y="135565"/>
                      <a:pt x="19050" y="228624"/>
                    </a:cubicBezTo>
                    <a:cubicBezTo>
                      <a:pt x="19050" y="286441"/>
                      <a:pt x="66008" y="333399"/>
                      <a:pt x="123825" y="333399"/>
                    </a:cubicBezTo>
                    <a:cubicBezTo>
                      <a:pt x="181642" y="333399"/>
                      <a:pt x="228600" y="286441"/>
                      <a:pt x="228600" y="228624"/>
                    </a:cubicBezTo>
                    <a:cubicBezTo>
                      <a:pt x="228600" y="135374"/>
                      <a:pt x="147542" y="46792"/>
                      <a:pt x="123825" y="22884"/>
                    </a:cubicBezTo>
                    <a:close/>
                  </a:path>
                </a:pathLst>
              </a:custGeom>
              <a:solidFill>
                <a:srgbClr val="201602"/>
              </a:solidFill>
              <a:ln w="19050" cap="flat">
                <a:solidFill>
                  <a:schemeClr val="tx1"/>
                </a:solidFill>
                <a:prstDash val="solid"/>
                <a:miter/>
              </a:ln>
            </p:spPr>
            <p:txBody>
              <a:bodyPr rtlCol="0" anchor="ctr"/>
              <a:lstStyle/>
              <a:p>
                <a:endParaRPr lang="fr-FR" sz="900"/>
              </a:p>
            </p:txBody>
          </p:sp>
          <p:sp>
            <p:nvSpPr>
              <p:cNvPr id="34" name="Forme libre : forme 33">
                <a:extLst>
                  <a:ext uri="{FF2B5EF4-FFF2-40B4-BE49-F238E27FC236}">
                    <a16:creationId xmlns:a16="http://schemas.microsoft.com/office/drawing/2014/main" id="{6AC5C156-20E4-68E0-BF56-69F82AF4549A}"/>
                  </a:ext>
                </a:extLst>
              </p:cNvPr>
              <p:cNvSpPr/>
              <p:nvPr/>
            </p:nvSpPr>
            <p:spPr>
              <a:xfrm>
                <a:off x="12191206" y="6858000"/>
                <a:ext cx="76200" cy="76200"/>
              </a:xfrm>
              <a:custGeom>
                <a:avLst/>
                <a:gdLst>
                  <a:gd name="connsiteX0" fmla="*/ 0 w 76200"/>
                  <a:gd name="connsiteY0" fmla="*/ 76200 h 76200"/>
                  <a:gd name="connsiteX1" fmla="*/ 0 w 76200"/>
                  <a:gd name="connsiteY1" fmla="*/ 57150 h 76200"/>
                  <a:gd name="connsiteX2" fmla="*/ 57150 w 76200"/>
                  <a:gd name="connsiteY2" fmla="*/ 0 h 76200"/>
                  <a:gd name="connsiteX3" fmla="*/ 76200 w 76200"/>
                  <a:gd name="connsiteY3" fmla="*/ 0 h 76200"/>
                  <a:gd name="connsiteX4" fmla="*/ 0 w 76200"/>
                  <a:gd name="connsiteY4" fmla="*/ 76200 h 76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00" h="76200">
                    <a:moveTo>
                      <a:pt x="0" y="76200"/>
                    </a:moveTo>
                    <a:lnTo>
                      <a:pt x="0" y="57150"/>
                    </a:lnTo>
                    <a:cubicBezTo>
                      <a:pt x="31528" y="57150"/>
                      <a:pt x="57150" y="31528"/>
                      <a:pt x="57150" y="0"/>
                    </a:cubicBezTo>
                    <a:lnTo>
                      <a:pt x="76200" y="0"/>
                    </a:lnTo>
                    <a:cubicBezTo>
                      <a:pt x="76200" y="42005"/>
                      <a:pt x="42005" y="76200"/>
                      <a:pt x="0" y="76200"/>
                    </a:cubicBezTo>
                    <a:close/>
                  </a:path>
                </a:pathLst>
              </a:custGeom>
              <a:solidFill>
                <a:srgbClr val="201602"/>
              </a:solidFill>
              <a:ln w="19050" cap="flat">
                <a:solidFill>
                  <a:schemeClr val="tx1"/>
                </a:solidFill>
                <a:prstDash val="solid"/>
                <a:miter/>
              </a:ln>
            </p:spPr>
            <p:txBody>
              <a:bodyPr rtlCol="0" anchor="ctr"/>
              <a:lstStyle/>
              <a:p>
                <a:endParaRPr lang="fr-FR" sz="900"/>
              </a:p>
            </p:txBody>
          </p:sp>
        </p:grpSp>
        <p:grpSp>
          <p:nvGrpSpPr>
            <p:cNvPr id="37" name="Groupe 36">
              <a:extLst>
                <a:ext uri="{FF2B5EF4-FFF2-40B4-BE49-F238E27FC236}">
                  <a16:creationId xmlns:a16="http://schemas.microsoft.com/office/drawing/2014/main" id="{CEB6EA44-5EE2-1EE9-CA96-B39210941C53}"/>
                </a:ext>
              </a:extLst>
            </p:cNvPr>
            <p:cNvGrpSpPr/>
            <p:nvPr/>
          </p:nvGrpSpPr>
          <p:grpSpPr>
            <a:xfrm>
              <a:off x="2625235" y="2864321"/>
              <a:ext cx="1254060" cy="1175681"/>
              <a:chOff x="11962606" y="6643687"/>
              <a:chExt cx="457199" cy="428624"/>
            </a:xfrm>
          </p:grpSpPr>
          <p:sp>
            <p:nvSpPr>
              <p:cNvPr id="38" name="Forme libre : forme 37">
                <a:extLst>
                  <a:ext uri="{FF2B5EF4-FFF2-40B4-BE49-F238E27FC236}">
                    <a16:creationId xmlns:a16="http://schemas.microsoft.com/office/drawing/2014/main" id="{26ACFE05-0B34-2C43-89E4-3C86DBCE74E1}"/>
                  </a:ext>
                </a:extLst>
              </p:cNvPr>
              <p:cNvSpPr/>
              <p:nvPr/>
            </p:nvSpPr>
            <p:spPr>
              <a:xfrm>
                <a:off x="11962606" y="6891337"/>
                <a:ext cx="95250" cy="152400"/>
              </a:xfrm>
              <a:custGeom>
                <a:avLst/>
                <a:gdLst>
                  <a:gd name="connsiteX0" fmla="*/ 85725 w 95250"/>
                  <a:gd name="connsiteY0" fmla="*/ 152400 h 152400"/>
                  <a:gd name="connsiteX1" fmla="*/ 9525 w 95250"/>
                  <a:gd name="connsiteY1" fmla="*/ 152400 h 152400"/>
                  <a:gd name="connsiteX2" fmla="*/ 0 w 95250"/>
                  <a:gd name="connsiteY2" fmla="*/ 142875 h 152400"/>
                  <a:gd name="connsiteX3" fmla="*/ 0 w 95250"/>
                  <a:gd name="connsiteY3" fmla="*/ 9525 h 152400"/>
                  <a:gd name="connsiteX4" fmla="*/ 9525 w 95250"/>
                  <a:gd name="connsiteY4" fmla="*/ 0 h 152400"/>
                  <a:gd name="connsiteX5" fmla="*/ 85725 w 95250"/>
                  <a:gd name="connsiteY5" fmla="*/ 0 h 152400"/>
                  <a:gd name="connsiteX6" fmla="*/ 95250 w 95250"/>
                  <a:gd name="connsiteY6" fmla="*/ 9525 h 152400"/>
                  <a:gd name="connsiteX7" fmla="*/ 95250 w 95250"/>
                  <a:gd name="connsiteY7" fmla="*/ 142875 h 152400"/>
                  <a:gd name="connsiteX8" fmla="*/ 85725 w 95250"/>
                  <a:gd name="connsiteY8" fmla="*/ 152400 h 152400"/>
                  <a:gd name="connsiteX9" fmla="*/ 19050 w 95250"/>
                  <a:gd name="connsiteY9" fmla="*/ 133350 h 152400"/>
                  <a:gd name="connsiteX10" fmla="*/ 76200 w 95250"/>
                  <a:gd name="connsiteY10" fmla="*/ 133350 h 152400"/>
                  <a:gd name="connsiteX11" fmla="*/ 76200 w 95250"/>
                  <a:gd name="connsiteY11" fmla="*/ 19050 h 152400"/>
                  <a:gd name="connsiteX12" fmla="*/ 19050 w 95250"/>
                  <a:gd name="connsiteY12" fmla="*/ 19050 h 152400"/>
                  <a:gd name="connsiteX13" fmla="*/ 19050 w 95250"/>
                  <a:gd name="connsiteY13" fmla="*/ 13335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5250" h="152400">
                    <a:moveTo>
                      <a:pt x="85725" y="152400"/>
                    </a:moveTo>
                    <a:lnTo>
                      <a:pt x="9525" y="152400"/>
                    </a:lnTo>
                    <a:cubicBezTo>
                      <a:pt x="4286" y="152400"/>
                      <a:pt x="0" y="148114"/>
                      <a:pt x="0" y="142875"/>
                    </a:cubicBezTo>
                    <a:lnTo>
                      <a:pt x="0" y="9525"/>
                    </a:lnTo>
                    <a:cubicBezTo>
                      <a:pt x="0" y="4286"/>
                      <a:pt x="4286" y="0"/>
                      <a:pt x="9525" y="0"/>
                    </a:cubicBezTo>
                    <a:lnTo>
                      <a:pt x="85725" y="0"/>
                    </a:lnTo>
                    <a:cubicBezTo>
                      <a:pt x="90964" y="0"/>
                      <a:pt x="95250" y="4286"/>
                      <a:pt x="95250" y="9525"/>
                    </a:cubicBezTo>
                    <a:lnTo>
                      <a:pt x="95250" y="142875"/>
                    </a:lnTo>
                    <a:cubicBezTo>
                      <a:pt x="95250" y="148114"/>
                      <a:pt x="90964" y="152400"/>
                      <a:pt x="85725" y="152400"/>
                    </a:cubicBezTo>
                    <a:close/>
                    <a:moveTo>
                      <a:pt x="19050" y="133350"/>
                    </a:moveTo>
                    <a:lnTo>
                      <a:pt x="76200" y="133350"/>
                    </a:lnTo>
                    <a:lnTo>
                      <a:pt x="76200" y="19050"/>
                    </a:lnTo>
                    <a:lnTo>
                      <a:pt x="19050" y="19050"/>
                    </a:lnTo>
                    <a:lnTo>
                      <a:pt x="19050" y="133350"/>
                    </a:lnTo>
                    <a:close/>
                  </a:path>
                </a:pathLst>
              </a:custGeom>
              <a:solidFill>
                <a:srgbClr val="201602"/>
              </a:solidFill>
              <a:ln w="9525" cap="flat">
                <a:noFill/>
                <a:prstDash val="solid"/>
                <a:miter/>
              </a:ln>
            </p:spPr>
            <p:txBody>
              <a:bodyPr rtlCol="0" anchor="ctr"/>
              <a:lstStyle/>
              <a:p>
                <a:endParaRPr lang="fr-FR" sz="900"/>
              </a:p>
            </p:txBody>
          </p:sp>
          <p:sp>
            <p:nvSpPr>
              <p:cNvPr id="41" name="Forme libre : forme 40">
                <a:extLst>
                  <a:ext uri="{FF2B5EF4-FFF2-40B4-BE49-F238E27FC236}">
                    <a16:creationId xmlns:a16="http://schemas.microsoft.com/office/drawing/2014/main" id="{6E5EBEF3-042B-9A9D-5A9B-04305AC19B08}"/>
                  </a:ext>
                </a:extLst>
              </p:cNvPr>
              <p:cNvSpPr/>
              <p:nvPr/>
            </p:nvSpPr>
            <p:spPr>
              <a:xfrm>
                <a:off x="12046235" y="6919961"/>
                <a:ext cx="373570" cy="152350"/>
              </a:xfrm>
              <a:custGeom>
                <a:avLst/>
                <a:gdLst>
                  <a:gd name="connsiteX0" fmla="*/ 173546 w 373570"/>
                  <a:gd name="connsiteY0" fmla="*/ 152350 h 152350"/>
                  <a:gd name="connsiteX1" fmla="*/ 171450 w 373570"/>
                  <a:gd name="connsiteY1" fmla="*/ 152160 h 152350"/>
                  <a:gd name="connsiteX2" fmla="*/ 0 w 373570"/>
                  <a:gd name="connsiteY2" fmla="*/ 114060 h 152350"/>
                  <a:gd name="connsiteX3" fmla="*/ 4096 w 373570"/>
                  <a:gd name="connsiteY3" fmla="*/ 95486 h 152350"/>
                  <a:gd name="connsiteX4" fmla="*/ 172212 w 373570"/>
                  <a:gd name="connsiteY4" fmla="*/ 132824 h 152350"/>
                  <a:gd name="connsiteX5" fmla="*/ 354521 w 373570"/>
                  <a:gd name="connsiteY5" fmla="*/ 41670 h 152350"/>
                  <a:gd name="connsiteX6" fmla="*/ 354521 w 373570"/>
                  <a:gd name="connsiteY6" fmla="*/ 22048 h 152350"/>
                  <a:gd name="connsiteX7" fmla="*/ 233267 w 373570"/>
                  <a:gd name="connsiteY7" fmla="*/ 56719 h 152350"/>
                  <a:gd name="connsiteX8" fmla="*/ 228029 w 373570"/>
                  <a:gd name="connsiteY8" fmla="*/ 38431 h 152350"/>
                  <a:gd name="connsiteX9" fmla="*/ 361379 w 373570"/>
                  <a:gd name="connsiteY9" fmla="*/ 331 h 152350"/>
                  <a:gd name="connsiteX10" fmla="*/ 369761 w 373570"/>
                  <a:gd name="connsiteY10" fmla="*/ 1855 h 152350"/>
                  <a:gd name="connsiteX11" fmla="*/ 373571 w 373570"/>
                  <a:gd name="connsiteY11" fmla="*/ 9475 h 152350"/>
                  <a:gd name="connsiteX12" fmla="*/ 373571 w 373570"/>
                  <a:gd name="connsiteY12" fmla="*/ 47575 h 152350"/>
                  <a:gd name="connsiteX13" fmla="*/ 368332 w 373570"/>
                  <a:gd name="connsiteY13" fmla="*/ 56052 h 152350"/>
                  <a:gd name="connsiteX14" fmla="*/ 177832 w 373570"/>
                  <a:gd name="connsiteY14" fmla="*/ 151302 h 152350"/>
                  <a:gd name="connsiteX15" fmla="*/ 173546 w 373570"/>
                  <a:gd name="connsiteY15" fmla="*/ 152350 h 152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73570" h="152350">
                    <a:moveTo>
                      <a:pt x="173546" y="152350"/>
                    </a:moveTo>
                    <a:cubicBezTo>
                      <a:pt x="172879" y="152350"/>
                      <a:pt x="172117" y="152255"/>
                      <a:pt x="171450" y="152160"/>
                    </a:cubicBezTo>
                    <a:lnTo>
                      <a:pt x="0" y="114060"/>
                    </a:lnTo>
                    <a:lnTo>
                      <a:pt x="4096" y="95486"/>
                    </a:lnTo>
                    <a:lnTo>
                      <a:pt x="172212" y="132824"/>
                    </a:lnTo>
                    <a:lnTo>
                      <a:pt x="354521" y="41670"/>
                    </a:lnTo>
                    <a:lnTo>
                      <a:pt x="354521" y="22048"/>
                    </a:lnTo>
                    <a:lnTo>
                      <a:pt x="233267" y="56719"/>
                    </a:lnTo>
                    <a:lnTo>
                      <a:pt x="228029" y="38431"/>
                    </a:lnTo>
                    <a:lnTo>
                      <a:pt x="361379" y="331"/>
                    </a:lnTo>
                    <a:cubicBezTo>
                      <a:pt x="364236" y="-431"/>
                      <a:pt x="367379" y="141"/>
                      <a:pt x="369761" y="1855"/>
                    </a:cubicBezTo>
                    <a:cubicBezTo>
                      <a:pt x="372142" y="3665"/>
                      <a:pt x="373571" y="6522"/>
                      <a:pt x="373571" y="9475"/>
                    </a:cubicBezTo>
                    <a:lnTo>
                      <a:pt x="373571" y="47575"/>
                    </a:lnTo>
                    <a:cubicBezTo>
                      <a:pt x="373571" y="51195"/>
                      <a:pt x="371570" y="54433"/>
                      <a:pt x="368332" y="56052"/>
                    </a:cubicBezTo>
                    <a:lnTo>
                      <a:pt x="177832" y="151302"/>
                    </a:lnTo>
                    <a:cubicBezTo>
                      <a:pt x="176498" y="151969"/>
                      <a:pt x="174974" y="152350"/>
                      <a:pt x="173546" y="152350"/>
                    </a:cubicBezTo>
                    <a:close/>
                  </a:path>
                </a:pathLst>
              </a:custGeom>
              <a:solidFill>
                <a:srgbClr val="201602"/>
              </a:solidFill>
              <a:ln w="9525" cap="flat">
                <a:noFill/>
                <a:prstDash val="solid"/>
                <a:miter/>
              </a:ln>
            </p:spPr>
            <p:txBody>
              <a:bodyPr rtlCol="0" anchor="ctr"/>
              <a:lstStyle/>
              <a:p>
                <a:endParaRPr lang="fr-FR" sz="900"/>
              </a:p>
            </p:txBody>
          </p:sp>
          <p:sp>
            <p:nvSpPr>
              <p:cNvPr id="42" name="Forme libre : forme 41">
                <a:extLst>
                  <a:ext uri="{FF2B5EF4-FFF2-40B4-BE49-F238E27FC236}">
                    <a16:creationId xmlns:a16="http://schemas.microsoft.com/office/drawing/2014/main" id="{84CD6CBB-C466-5249-2DC5-7F266420FCB1}"/>
                  </a:ext>
                </a:extLst>
              </p:cNvPr>
              <p:cNvSpPr/>
              <p:nvPr/>
            </p:nvSpPr>
            <p:spPr>
              <a:xfrm>
                <a:off x="12047378" y="6891305"/>
                <a:ext cx="239077" cy="123856"/>
              </a:xfrm>
              <a:custGeom>
                <a:avLst/>
                <a:gdLst>
                  <a:gd name="connsiteX0" fmla="*/ 143828 w 239077"/>
                  <a:gd name="connsiteY0" fmla="*/ 123856 h 123856"/>
                  <a:gd name="connsiteX1" fmla="*/ 140113 w 239077"/>
                  <a:gd name="connsiteY1" fmla="*/ 123094 h 123856"/>
                  <a:gd name="connsiteX2" fmla="*/ 73438 w 239077"/>
                  <a:gd name="connsiteY2" fmla="*/ 94519 h 123856"/>
                  <a:gd name="connsiteX3" fmla="*/ 80963 w 239077"/>
                  <a:gd name="connsiteY3" fmla="*/ 76994 h 123856"/>
                  <a:gd name="connsiteX4" fmla="*/ 144780 w 239077"/>
                  <a:gd name="connsiteY4" fmla="*/ 104330 h 123856"/>
                  <a:gd name="connsiteX5" fmla="*/ 220028 w 239077"/>
                  <a:gd name="connsiteY5" fmla="*/ 87662 h 123856"/>
                  <a:gd name="connsiteX6" fmla="*/ 220028 w 239077"/>
                  <a:gd name="connsiteY6" fmla="*/ 66706 h 123856"/>
                  <a:gd name="connsiteX7" fmla="*/ 153353 w 239077"/>
                  <a:gd name="connsiteY7" fmla="*/ 66706 h 123856"/>
                  <a:gd name="connsiteX8" fmla="*/ 147257 w 239077"/>
                  <a:gd name="connsiteY8" fmla="*/ 64516 h 123856"/>
                  <a:gd name="connsiteX9" fmla="*/ 93155 w 239077"/>
                  <a:gd name="connsiteY9" fmla="*/ 19463 h 123856"/>
                  <a:gd name="connsiteX10" fmla="*/ 1905 w 239077"/>
                  <a:gd name="connsiteY10" fmla="*/ 28606 h 123856"/>
                  <a:gd name="connsiteX11" fmla="*/ 0 w 239077"/>
                  <a:gd name="connsiteY11" fmla="*/ 9556 h 123856"/>
                  <a:gd name="connsiteX12" fmla="*/ 95250 w 239077"/>
                  <a:gd name="connsiteY12" fmla="*/ 31 h 123856"/>
                  <a:gd name="connsiteX13" fmla="*/ 102299 w 239077"/>
                  <a:gd name="connsiteY13" fmla="*/ 2222 h 123856"/>
                  <a:gd name="connsiteX14" fmla="*/ 156782 w 239077"/>
                  <a:gd name="connsiteY14" fmla="*/ 47656 h 123856"/>
                  <a:gd name="connsiteX15" fmla="*/ 229553 w 239077"/>
                  <a:gd name="connsiteY15" fmla="*/ 47656 h 123856"/>
                  <a:gd name="connsiteX16" fmla="*/ 239078 w 239077"/>
                  <a:gd name="connsiteY16" fmla="*/ 57181 h 123856"/>
                  <a:gd name="connsiteX17" fmla="*/ 239078 w 239077"/>
                  <a:gd name="connsiteY17" fmla="*/ 95281 h 123856"/>
                  <a:gd name="connsiteX18" fmla="*/ 231648 w 239077"/>
                  <a:gd name="connsiteY18" fmla="*/ 104616 h 123856"/>
                  <a:gd name="connsiteX19" fmla="*/ 145923 w 239077"/>
                  <a:gd name="connsiteY19" fmla="*/ 123666 h 123856"/>
                  <a:gd name="connsiteX20" fmla="*/ 143828 w 239077"/>
                  <a:gd name="connsiteY20" fmla="*/ 123856 h 123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39077" h="123856">
                    <a:moveTo>
                      <a:pt x="143828" y="123856"/>
                    </a:moveTo>
                    <a:cubicBezTo>
                      <a:pt x="142589" y="123856"/>
                      <a:pt x="141256" y="123571"/>
                      <a:pt x="140113" y="123094"/>
                    </a:cubicBezTo>
                    <a:lnTo>
                      <a:pt x="73438" y="94519"/>
                    </a:lnTo>
                    <a:lnTo>
                      <a:pt x="80963" y="76994"/>
                    </a:lnTo>
                    <a:lnTo>
                      <a:pt x="144780" y="104330"/>
                    </a:lnTo>
                    <a:lnTo>
                      <a:pt x="220028" y="87662"/>
                    </a:lnTo>
                    <a:lnTo>
                      <a:pt x="220028" y="66706"/>
                    </a:lnTo>
                    <a:lnTo>
                      <a:pt x="153353" y="66706"/>
                    </a:lnTo>
                    <a:cubicBezTo>
                      <a:pt x="151162" y="66706"/>
                      <a:pt x="148971" y="65944"/>
                      <a:pt x="147257" y="64516"/>
                    </a:cubicBezTo>
                    <a:lnTo>
                      <a:pt x="93155" y="19463"/>
                    </a:lnTo>
                    <a:lnTo>
                      <a:pt x="1905" y="28606"/>
                    </a:lnTo>
                    <a:lnTo>
                      <a:pt x="0" y="9556"/>
                    </a:lnTo>
                    <a:lnTo>
                      <a:pt x="95250" y="31"/>
                    </a:lnTo>
                    <a:cubicBezTo>
                      <a:pt x="97822" y="-159"/>
                      <a:pt x="100298" y="508"/>
                      <a:pt x="102299" y="2222"/>
                    </a:cubicBezTo>
                    <a:lnTo>
                      <a:pt x="156782" y="47656"/>
                    </a:lnTo>
                    <a:lnTo>
                      <a:pt x="229553" y="47656"/>
                    </a:lnTo>
                    <a:cubicBezTo>
                      <a:pt x="234791" y="47656"/>
                      <a:pt x="239078" y="51943"/>
                      <a:pt x="239078" y="57181"/>
                    </a:cubicBezTo>
                    <a:lnTo>
                      <a:pt x="239078" y="95281"/>
                    </a:lnTo>
                    <a:cubicBezTo>
                      <a:pt x="239078" y="99758"/>
                      <a:pt x="235934" y="103568"/>
                      <a:pt x="231648" y="104616"/>
                    </a:cubicBezTo>
                    <a:lnTo>
                      <a:pt x="145923" y="123666"/>
                    </a:lnTo>
                    <a:cubicBezTo>
                      <a:pt x="145256" y="123761"/>
                      <a:pt x="144494" y="123856"/>
                      <a:pt x="143828" y="123856"/>
                    </a:cubicBezTo>
                    <a:close/>
                  </a:path>
                </a:pathLst>
              </a:custGeom>
              <a:solidFill>
                <a:srgbClr val="201602"/>
              </a:solidFill>
              <a:ln w="9525" cap="flat">
                <a:noFill/>
                <a:prstDash val="solid"/>
                <a:miter/>
              </a:ln>
            </p:spPr>
            <p:txBody>
              <a:bodyPr rtlCol="0" anchor="ctr"/>
              <a:lstStyle/>
              <a:p>
                <a:endParaRPr lang="fr-FR" sz="900"/>
              </a:p>
            </p:txBody>
          </p:sp>
          <p:sp>
            <p:nvSpPr>
              <p:cNvPr id="43" name="Forme libre : forme 42">
                <a:extLst>
                  <a:ext uri="{FF2B5EF4-FFF2-40B4-BE49-F238E27FC236}">
                    <a16:creationId xmlns:a16="http://schemas.microsoft.com/office/drawing/2014/main" id="{80A81299-5498-C51B-15CD-9BE62A9055E6}"/>
                  </a:ext>
                </a:extLst>
              </p:cNvPr>
              <p:cNvSpPr/>
              <p:nvPr/>
            </p:nvSpPr>
            <p:spPr>
              <a:xfrm>
                <a:off x="12000706" y="6986587"/>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solidFill>
                <a:srgbClr val="201602"/>
              </a:solidFill>
              <a:ln w="9525" cap="flat">
                <a:noFill/>
                <a:prstDash val="solid"/>
                <a:miter/>
              </a:ln>
            </p:spPr>
            <p:txBody>
              <a:bodyPr rtlCol="0" anchor="ctr"/>
              <a:lstStyle/>
              <a:p>
                <a:endParaRPr lang="fr-FR" sz="900"/>
              </a:p>
            </p:txBody>
          </p:sp>
          <p:grpSp>
            <p:nvGrpSpPr>
              <p:cNvPr id="44" name="Graphique 70">
                <a:extLst>
                  <a:ext uri="{FF2B5EF4-FFF2-40B4-BE49-F238E27FC236}">
                    <a16:creationId xmlns:a16="http://schemas.microsoft.com/office/drawing/2014/main" id="{C5C081F9-0FE1-B7E4-7250-F73741CE0BD9}"/>
                  </a:ext>
                </a:extLst>
              </p:cNvPr>
              <p:cNvGrpSpPr/>
              <p:nvPr/>
            </p:nvGrpSpPr>
            <p:grpSpPr>
              <a:xfrm>
                <a:off x="12143581" y="6643687"/>
                <a:ext cx="247650" cy="247650"/>
                <a:chOff x="12143581" y="6643687"/>
                <a:chExt cx="247650" cy="247650"/>
              </a:xfrm>
              <a:solidFill>
                <a:srgbClr val="201602"/>
              </a:solidFill>
            </p:grpSpPr>
            <p:sp>
              <p:nvSpPr>
                <p:cNvPr id="45" name="Forme libre : forme 44">
                  <a:extLst>
                    <a:ext uri="{FF2B5EF4-FFF2-40B4-BE49-F238E27FC236}">
                      <a16:creationId xmlns:a16="http://schemas.microsoft.com/office/drawing/2014/main" id="{1EF1F4C2-BCDB-01B3-A163-004417D2D8AA}"/>
                    </a:ext>
                  </a:extLst>
                </p:cNvPr>
                <p:cNvSpPr/>
                <p:nvPr/>
              </p:nvSpPr>
              <p:spPr>
                <a:xfrm>
                  <a:off x="12219781" y="6719887"/>
                  <a:ext cx="95250" cy="95250"/>
                </a:xfrm>
                <a:custGeom>
                  <a:avLst/>
                  <a:gdLst>
                    <a:gd name="connsiteX0" fmla="*/ 47625 w 95250"/>
                    <a:gd name="connsiteY0" fmla="*/ 95250 h 95250"/>
                    <a:gd name="connsiteX1" fmla="*/ 0 w 95250"/>
                    <a:gd name="connsiteY1" fmla="*/ 47625 h 95250"/>
                    <a:gd name="connsiteX2" fmla="*/ 47625 w 95250"/>
                    <a:gd name="connsiteY2" fmla="*/ 0 h 95250"/>
                    <a:gd name="connsiteX3" fmla="*/ 95250 w 95250"/>
                    <a:gd name="connsiteY3" fmla="*/ 47625 h 95250"/>
                    <a:gd name="connsiteX4" fmla="*/ 47625 w 95250"/>
                    <a:gd name="connsiteY4" fmla="*/ 95250 h 95250"/>
                    <a:gd name="connsiteX5" fmla="*/ 47625 w 95250"/>
                    <a:gd name="connsiteY5" fmla="*/ 19050 h 95250"/>
                    <a:gd name="connsiteX6" fmla="*/ 19050 w 95250"/>
                    <a:gd name="connsiteY6" fmla="*/ 47625 h 95250"/>
                    <a:gd name="connsiteX7" fmla="*/ 47625 w 95250"/>
                    <a:gd name="connsiteY7" fmla="*/ 76200 h 95250"/>
                    <a:gd name="connsiteX8" fmla="*/ 76200 w 95250"/>
                    <a:gd name="connsiteY8" fmla="*/ 47625 h 95250"/>
                    <a:gd name="connsiteX9" fmla="*/ 47625 w 95250"/>
                    <a:gd name="connsiteY9" fmla="*/ 19050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250" h="95250">
                      <a:moveTo>
                        <a:pt x="47625" y="95250"/>
                      </a:moveTo>
                      <a:cubicBezTo>
                        <a:pt x="21336" y="95250"/>
                        <a:pt x="0" y="73914"/>
                        <a:pt x="0" y="47625"/>
                      </a:cubicBezTo>
                      <a:cubicBezTo>
                        <a:pt x="0" y="21336"/>
                        <a:pt x="21336" y="0"/>
                        <a:pt x="47625" y="0"/>
                      </a:cubicBezTo>
                      <a:cubicBezTo>
                        <a:pt x="73914" y="0"/>
                        <a:pt x="95250" y="21336"/>
                        <a:pt x="95250" y="47625"/>
                      </a:cubicBezTo>
                      <a:cubicBezTo>
                        <a:pt x="95250" y="73914"/>
                        <a:pt x="73914" y="95250"/>
                        <a:pt x="47625" y="95250"/>
                      </a:cubicBezTo>
                      <a:close/>
                      <a:moveTo>
                        <a:pt x="47625" y="19050"/>
                      </a:moveTo>
                      <a:cubicBezTo>
                        <a:pt x="31909" y="19050"/>
                        <a:pt x="19050" y="31909"/>
                        <a:pt x="19050" y="47625"/>
                      </a:cubicBezTo>
                      <a:cubicBezTo>
                        <a:pt x="19050" y="63341"/>
                        <a:pt x="31909" y="76200"/>
                        <a:pt x="47625" y="76200"/>
                      </a:cubicBezTo>
                      <a:cubicBezTo>
                        <a:pt x="63341" y="76200"/>
                        <a:pt x="76200" y="63341"/>
                        <a:pt x="76200" y="47625"/>
                      </a:cubicBezTo>
                      <a:cubicBezTo>
                        <a:pt x="76200" y="31909"/>
                        <a:pt x="63341" y="19050"/>
                        <a:pt x="47625" y="19050"/>
                      </a:cubicBezTo>
                      <a:close/>
                    </a:path>
                  </a:pathLst>
                </a:custGeom>
                <a:solidFill>
                  <a:srgbClr val="201602"/>
                </a:solidFill>
                <a:ln w="9525" cap="flat">
                  <a:noFill/>
                  <a:prstDash val="solid"/>
                  <a:miter/>
                </a:ln>
              </p:spPr>
              <p:txBody>
                <a:bodyPr rtlCol="0" anchor="ctr"/>
                <a:lstStyle/>
                <a:p>
                  <a:endParaRPr lang="fr-FR" sz="900"/>
                </a:p>
              </p:txBody>
            </p:sp>
            <p:sp>
              <p:nvSpPr>
                <p:cNvPr id="46" name="Forme libre : forme 45">
                  <a:extLst>
                    <a:ext uri="{FF2B5EF4-FFF2-40B4-BE49-F238E27FC236}">
                      <a16:creationId xmlns:a16="http://schemas.microsoft.com/office/drawing/2014/main" id="{8B40C119-52E0-B156-C7E8-9C7E0796367C}"/>
                    </a:ext>
                  </a:extLst>
                </p:cNvPr>
                <p:cNvSpPr/>
                <p:nvPr/>
              </p:nvSpPr>
              <p:spPr>
                <a:xfrm>
                  <a:off x="12143581" y="6643687"/>
                  <a:ext cx="247650" cy="247650"/>
                </a:xfrm>
                <a:custGeom>
                  <a:avLst/>
                  <a:gdLst>
                    <a:gd name="connsiteX0" fmla="*/ 142875 w 247650"/>
                    <a:gd name="connsiteY0" fmla="*/ 247650 h 247650"/>
                    <a:gd name="connsiteX1" fmla="*/ 104775 w 247650"/>
                    <a:gd name="connsiteY1" fmla="*/ 247650 h 247650"/>
                    <a:gd name="connsiteX2" fmla="*/ 95536 w 247650"/>
                    <a:gd name="connsiteY2" fmla="*/ 240411 h 247650"/>
                    <a:gd name="connsiteX3" fmla="*/ 88011 w 247650"/>
                    <a:gd name="connsiteY3" fmla="*/ 210312 h 247650"/>
                    <a:gd name="connsiteX4" fmla="*/ 61341 w 247650"/>
                    <a:gd name="connsiteY4" fmla="*/ 226314 h 247650"/>
                    <a:gd name="connsiteX5" fmla="*/ 49720 w 247650"/>
                    <a:gd name="connsiteY5" fmla="*/ 224885 h 247650"/>
                    <a:gd name="connsiteX6" fmla="*/ 22765 w 247650"/>
                    <a:gd name="connsiteY6" fmla="*/ 197930 h 247650"/>
                    <a:gd name="connsiteX7" fmla="*/ 21336 w 247650"/>
                    <a:gd name="connsiteY7" fmla="*/ 186309 h 247650"/>
                    <a:gd name="connsiteX8" fmla="*/ 37338 w 247650"/>
                    <a:gd name="connsiteY8" fmla="*/ 159639 h 247650"/>
                    <a:gd name="connsiteX9" fmla="*/ 7239 w 247650"/>
                    <a:gd name="connsiteY9" fmla="*/ 152114 h 247650"/>
                    <a:gd name="connsiteX10" fmla="*/ 0 w 247650"/>
                    <a:gd name="connsiteY10" fmla="*/ 142875 h 247650"/>
                    <a:gd name="connsiteX11" fmla="*/ 0 w 247650"/>
                    <a:gd name="connsiteY11" fmla="*/ 104775 h 247650"/>
                    <a:gd name="connsiteX12" fmla="*/ 7239 w 247650"/>
                    <a:gd name="connsiteY12" fmla="*/ 95536 h 247650"/>
                    <a:gd name="connsiteX13" fmla="*/ 37338 w 247650"/>
                    <a:gd name="connsiteY13" fmla="*/ 88011 h 247650"/>
                    <a:gd name="connsiteX14" fmla="*/ 21336 w 247650"/>
                    <a:gd name="connsiteY14" fmla="*/ 61341 h 247650"/>
                    <a:gd name="connsiteX15" fmla="*/ 22765 w 247650"/>
                    <a:gd name="connsiteY15" fmla="*/ 49720 h 247650"/>
                    <a:gd name="connsiteX16" fmla="*/ 49720 w 247650"/>
                    <a:gd name="connsiteY16" fmla="*/ 22765 h 247650"/>
                    <a:gd name="connsiteX17" fmla="*/ 61341 w 247650"/>
                    <a:gd name="connsiteY17" fmla="*/ 21336 h 247650"/>
                    <a:gd name="connsiteX18" fmla="*/ 88011 w 247650"/>
                    <a:gd name="connsiteY18" fmla="*/ 37338 h 247650"/>
                    <a:gd name="connsiteX19" fmla="*/ 95536 w 247650"/>
                    <a:gd name="connsiteY19" fmla="*/ 7239 h 247650"/>
                    <a:gd name="connsiteX20" fmla="*/ 104775 w 247650"/>
                    <a:gd name="connsiteY20" fmla="*/ 0 h 247650"/>
                    <a:gd name="connsiteX21" fmla="*/ 142875 w 247650"/>
                    <a:gd name="connsiteY21" fmla="*/ 0 h 247650"/>
                    <a:gd name="connsiteX22" fmla="*/ 152114 w 247650"/>
                    <a:gd name="connsiteY22" fmla="*/ 7239 h 247650"/>
                    <a:gd name="connsiteX23" fmla="*/ 159639 w 247650"/>
                    <a:gd name="connsiteY23" fmla="*/ 37338 h 247650"/>
                    <a:gd name="connsiteX24" fmla="*/ 186309 w 247650"/>
                    <a:gd name="connsiteY24" fmla="*/ 21336 h 247650"/>
                    <a:gd name="connsiteX25" fmla="*/ 197929 w 247650"/>
                    <a:gd name="connsiteY25" fmla="*/ 22765 h 247650"/>
                    <a:gd name="connsiteX26" fmla="*/ 224885 w 247650"/>
                    <a:gd name="connsiteY26" fmla="*/ 49720 h 247650"/>
                    <a:gd name="connsiteX27" fmla="*/ 226314 w 247650"/>
                    <a:gd name="connsiteY27" fmla="*/ 61341 h 247650"/>
                    <a:gd name="connsiteX28" fmla="*/ 210312 w 247650"/>
                    <a:gd name="connsiteY28" fmla="*/ 88011 h 247650"/>
                    <a:gd name="connsiteX29" fmla="*/ 240411 w 247650"/>
                    <a:gd name="connsiteY29" fmla="*/ 95536 h 247650"/>
                    <a:gd name="connsiteX30" fmla="*/ 247650 w 247650"/>
                    <a:gd name="connsiteY30" fmla="*/ 104775 h 247650"/>
                    <a:gd name="connsiteX31" fmla="*/ 247650 w 247650"/>
                    <a:gd name="connsiteY31" fmla="*/ 142875 h 247650"/>
                    <a:gd name="connsiteX32" fmla="*/ 240411 w 247650"/>
                    <a:gd name="connsiteY32" fmla="*/ 152114 h 247650"/>
                    <a:gd name="connsiteX33" fmla="*/ 210312 w 247650"/>
                    <a:gd name="connsiteY33" fmla="*/ 159639 h 247650"/>
                    <a:gd name="connsiteX34" fmla="*/ 226314 w 247650"/>
                    <a:gd name="connsiteY34" fmla="*/ 186309 h 247650"/>
                    <a:gd name="connsiteX35" fmla="*/ 224885 w 247650"/>
                    <a:gd name="connsiteY35" fmla="*/ 197930 h 247650"/>
                    <a:gd name="connsiteX36" fmla="*/ 197929 w 247650"/>
                    <a:gd name="connsiteY36" fmla="*/ 224885 h 247650"/>
                    <a:gd name="connsiteX37" fmla="*/ 186309 w 247650"/>
                    <a:gd name="connsiteY37" fmla="*/ 226314 h 247650"/>
                    <a:gd name="connsiteX38" fmla="*/ 159639 w 247650"/>
                    <a:gd name="connsiteY38" fmla="*/ 210312 h 247650"/>
                    <a:gd name="connsiteX39" fmla="*/ 152114 w 247650"/>
                    <a:gd name="connsiteY39" fmla="*/ 240411 h 247650"/>
                    <a:gd name="connsiteX40" fmla="*/ 142875 w 247650"/>
                    <a:gd name="connsiteY40" fmla="*/ 247650 h 247650"/>
                    <a:gd name="connsiteX41" fmla="*/ 112205 w 247650"/>
                    <a:gd name="connsiteY41" fmla="*/ 228600 h 247650"/>
                    <a:gd name="connsiteX42" fmla="*/ 135446 w 247650"/>
                    <a:gd name="connsiteY42" fmla="*/ 228600 h 247650"/>
                    <a:gd name="connsiteX43" fmla="*/ 144304 w 247650"/>
                    <a:gd name="connsiteY43" fmla="*/ 193262 h 247650"/>
                    <a:gd name="connsiteX44" fmla="*/ 149924 w 247650"/>
                    <a:gd name="connsiteY44" fmla="*/ 186785 h 247650"/>
                    <a:gd name="connsiteX45" fmla="*/ 158496 w 247650"/>
                    <a:gd name="connsiteY45" fmla="*/ 187452 h 247650"/>
                    <a:gd name="connsiteX46" fmla="*/ 189738 w 247650"/>
                    <a:gd name="connsiteY46" fmla="*/ 206216 h 247650"/>
                    <a:gd name="connsiteX47" fmla="*/ 206121 w 247650"/>
                    <a:gd name="connsiteY47" fmla="*/ 189833 h 247650"/>
                    <a:gd name="connsiteX48" fmla="*/ 187357 w 247650"/>
                    <a:gd name="connsiteY48" fmla="*/ 158591 h 247650"/>
                    <a:gd name="connsiteX49" fmla="*/ 186690 w 247650"/>
                    <a:gd name="connsiteY49" fmla="*/ 150019 h 247650"/>
                    <a:gd name="connsiteX50" fmla="*/ 193167 w 247650"/>
                    <a:gd name="connsiteY50" fmla="*/ 144399 h 247650"/>
                    <a:gd name="connsiteX51" fmla="*/ 228600 w 247650"/>
                    <a:gd name="connsiteY51" fmla="*/ 135446 h 247650"/>
                    <a:gd name="connsiteX52" fmla="*/ 228600 w 247650"/>
                    <a:gd name="connsiteY52" fmla="*/ 112205 h 247650"/>
                    <a:gd name="connsiteX53" fmla="*/ 193262 w 247650"/>
                    <a:gd name="connsiteY53" fmla="*/ 103346 h 247650"/>
                    <a:gd name="connsiteX54" fmla="*/ 186785 w 247650"/>
                    <a:gd name="connsiteY54" fmla="*/ 97727 h 247650"/>
                    <a:gd name="connsiteX55" fmla="*/ 187452 w 247650"/>
                    <a:gd name="connsiteY55" fmla="*/ 89154 h 247650"/>
                    <a:gd name="connsiteX56" fmla="*/ 206216 w 247650"/>
                    <a:gd name="connsiteY56" fmla="*/ 57912 h 247650"/>
                    <a:gd name="connsiteX57" fmla="*/ 189833 w 247650"/>
                    <a:gd name="connsiteY57" fmla="*/ 41529 h 247650"/>
                    <a:gd name="connsiteX58" fmla="*/ 158591 w 247650"/>
                    <a:gd name="connsiteY58" fmla="*/ 60293 h 247650"/>
                    <a:gd name="connsiteX59" fmla="*/ 150019 w 247650"/>
                    <a:gd name="connsiteY59" fmla="*/ 60960 h 247650"/>
                    <a:gd name="connsiteX60" fmla="*/ 144399 w 247650"/>
                    <a:gd name="connsiteY60" fmla="*/ 54483 h 247650"/>
                    <a:gd name="connsiteX61" fmla="*/ 135446 w 247650"/>
                    <a:gd name="connsiteY61" fmla="*/ 19050 h 247650"/>
                    <a:gd name="connsiteX62" fmla="*/ 112205 w 247650"/>
                    <a:gd name="connsiteY62" fmla="*/ 19050 h 247650"/>
                    <a:gd name="connsiteX63" fmla="*/ 103346 w 247650"/>
                    <a:gd name="connsiteY63" fmla="*/ 54388 h 247650"/>
                    <a:gd name="connsiteX64" fmla="*/ 97727 w 247650"/>
                    <a:gd name="connsiteY64" fmla="*/ 60865 h 247650"/>
                    <a:gd name="connsiteX65" fmla="*/ 89154 w 247650"/>
                    <a:gd name="connsiteY65" fmla="*/ 60198 h 247650"/>
                    <a:gd name="connsiteX66" fmla="*/ 57912 w 247650"/>
                    <a:gd name="connsiteY66" fmla="*/ 41434 h 247650"/>
                    <a:gd name="connsiteX67" fmla="*/ 41529 w 247650"/>
                    <a:gd name="connsiteY67" fmla="*/ 57817 h 247650"/>
                    <a:gd name="connsiteX68" fmla="*/ 60293 w 247650"/>
                    <a:gd name="connsiteY68" fmla="*/ 89059 h 247650"/>
                    <a:gd name="connsiteX69" fmla="*/ 60960 w 247650"/>
                    <a:gd name="connsiteY69" fmla="*/ 97631 h 247650"/>
                    <a:gd name="connsiteX70" fmla="*/ 54483 w 247650"/>
                    <a:gd name="connsiteY70" fmla="*/ 103251 h 247650"/>
                    <a:gd name="connsiteX71" fmla="*/ 19050 w 247650"/>
                    <a:gd name="connsiteY71" fmla="*/ 112205 h 247650"/>
                    <a:gd name="connsiteX72" fmla="*/ 19050 w 247650"/>
                    <a:gd name="connsiteY72" fmla="*/ 135446 h 247650"/>
                    <a:gd name="connsiteX73" fmla="*/ 54388 w 247650"/>
                    <a:gd name="connsiteY73" fmla="*/ 144304 h 247650"/>
                    <a:gd name="connsiteX74" fmla="*/ 60865 w 247650"/>
                    <a:gd name="connsiteY74" fmla="*/ 149924 h 247650"/>
                    <a:gd name="connsiteX75" fmla="*/ 60198 w 247650"/>
                    <a:gd name="connsiteY75" fmla="*/ 158496 h 247650"/>
                    <a:gd name="connsiteX76" fmla="*/ 41434 w 247650"/>
                    <a:gd name="connsiteY76" fmla="*/ 189738 h 247650"/>
                    <a:gd name="connsiteX77" fmla="*/ 57817 w 247650"/>
                    <a:gd name="connsiteY77" fmla="*/ 206121 h 247650"/>
                    <a:gd name="connsiteX78" fmla="*/ 89059 w 247650"/>
                    <a:gd name="connsiteY78" fmla="*/ 187357 h 247650"/>
                    <a:gd name="connsiteX79" fmla="*/ 97631 w 247650"/>
                    <a:gd name="connsiteY79" fmla="*/ 186690 h 247650"/>
                    <a:gd name="connsiteX80" fmla="*/ 103251 w 247650"/>
                    <a:gd name="connsiteY80" fmla="*/ 193167 h 247650"/>
                    <a:gd name="connsiteX81" fmla="*/ 112205 w 247650"/>
                    <a:gd name="connsiteY81" fmla="*/ 228600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247650" h="247650">
                      <a:moveTo>
                        <a:pt x="142875" y="247650"/>
                      </a:moveTo>
                      <a:lnTo>
                        <a:pt x="104775" y="247650"/>
                      </a:lnTo>
                      <a:cubicBezTo>
                        <a:pt x="100394" y="247650"/>
                        <a:pt x="96583" y="244697"/>
                        <a:pt x="95536" y="240411"/>
                      </a:cubicBezTo>
                      <a:lnTo>
                        <a:pt x="88011" y="210312"/>
                      </a:lnTo>
                      <a:lnTo>
                        <a:pt x="61341" y="226314"/>
                      </a:lnTo>
                      <a:cubicBezTo>
                        <a:pt x="57626" y="228600"/>
                        <a:pt x="52769" y="227933"/>
                        <a:pt x="49720" y="224885"/>
                      </a:cubicBezTo>
                      <a:lnTo>
                        <a:pt x="22765" y="197930"/>
                      </a:lnTo>
                      <a:cubicBezTo>
                        <a:pt x="19717" y="194881"/>
                        <a:pt x="19050" y="190024"/>
                        <a:pt x="21336" y="186309"/>
                      </a:cubicBezTo>
                      <a:lnTo>
                        <a:pt x="37338" y="159639"/>
                      </a:lnTo>
                      <a:lnTo>
                        <a:pt x="7239" y="152114"/>
                      </a:lnTo>
                      <a:cubicBezTo>
                        <a:pt x="2953" y="151067"/>
                        <a:pt x="0" y="147257"/>
                        <a:pt x="0" y="142875"/>
                      </a:cubicBezTo>
                      <a:lnTo>
                        <a:pt x="0" y="104775"/>
                      </a:lnTo>
                      <a:cubicBezTo>
                        <a:pt x="0" y="100394"/>
                        <a:pt x="2953" y="96584"/>
                        <a:pt x="7239" y="95536"/>
                      </a:cubicBezTo>
                      <a:lnTo>
                        <a:pt x="37338" y="88011"/>
                      </a:lnTo>
                      <a:lnTo>
                        <a:pt x="21336" y="61341"/>
                      </a:lnTo>
                      <a:cubicBezTo>
                        <a:pt x="19050" y="57626"/>
                        <a:pt x="19717" y="52769"/>
                        <a:pt x="22765" y="49720"/>
                      </a:cubicBezTo>
                      <a:lnTo>
                        <a:pt x="49720" y="22765"/>
                      </a:lnTo>
                      <a:cubicBezTo>
                        <a:pt x="52769" y="19717"/>
                        <a:pt x="57626" y="19050"/>
                        <a:pt x="61341" y="21336"/>
                      </a:cubicBezTo>
                      <a:lnTo>
                        <a:pt x="88011" y="37338"/>
                      </a:lnTo>
                      <a:lnTo>
                        <a:pt x="95536" y="7239"/>
                      </a:lnTo>
                      <a:cubicBezTo>
                        <a:pt x="96583" y="2953"/>
                        <a:pt x="100394" y="0"/>
                        <a:pt x="104775" y="0"/>
                      </a:cubicBezTo>
                      <a:lnTo>
                        <a:pt x="142875" y="0"/>
                      </a:lnTo>
                      <a:cubicBezTo>
                        <a:pt x="147256" y="0"/>
                        <a:pt x="151067" y="2953"/>
                        <a:pt x="152114" y="7239"/>
                      </a:cubicBezTo>
                      <a:lnTo>
                        <a:pt x="159639" y="37338"/>
                      </a:lnTo>
                      <a:lnTo>
                        <a:pt x="186309" y="21336"/>
                      </a:lnTo>
                      <a:cubicBezTo>
                        <a:pt x="190024" y="19050"/>
                        <a:pt x="194881" y="19717"/>
                        <a:pt x="197929" y="22765"/>
                      </a:cubicBezTo>
                      <a:lnTo>
                        <a:pt x="224885" y="49720"/>
                      </a:lnTo>
                      <a:cubicBezTo>
                        <a:pt x="227933" y="52769"/>
                        <a:pt x="228600" y="57626"/>
                        <a:pt x="226314" y="61341"/>
                      </a:cubicBezTo>
                      <a:lnTo>
                        <a:pt x="210312" y="88011"/>
                      </a:lnTo>
                      <a:lnTo>
                        <a:pt x="240411" y="95536"/>
                      </a:lnTo>
                      <a:cubicBezTo>
                        <a:pt x="244697" y="96584"/>
                        <a:pt x="247650" y="100394"/>
                        <a:pt x="247650" y="104775"/>
                      </a:cubicBezTo>
                      <a:lnTo>
                        <a:pt x="247650" y="142875"/>
                      </a:lnTo>
                      <a:cubicBezTo>
                        <a:pt x="247650" y="147257"/>
                        <a:pt x="244697" y="151067"/>
                        <a:pt x="240411" y="152114"/>
                      </a:cubicBezTo>
                      <a:lnTo>
                        <a:pt x="210312" y="159639"/>
                      </a:lnTo>
                      <a:lnTo>
                        <a:pt x="226314" y="186309"/>
                      </a:lnTo>
                      <a:cubicBezTo>
                        <a:pt x="228600" y="190024"/>
                        <a:pt x="227933" y="194881"/>
                        <a:pt x="224885" y="197930"/>
                      </a:cubicBezTo>
                      <a:lnTo>
                        <a:pt x="197929" y="224885"/>
                      </a:lnTo>
                      <a:cubicBezTo>
                        <a:pt x="194881" y="227933"/>
                        <a:pt x="190024" y="228600"/>
                        <a:pt x="186309" y="226314"/>
                      </a:cubicBezTo>
                      <a:lnTo>
                        <a:pt x="159639" y="210312"/>
                      </a:lnTo>
                      <a:lnTo>
                        <a:pt x="152114" y="240411"/>
                      </a:lnTo>
                      <a:cubicBezTo>
                        <a:pt x="151067" y="244697"/>
                        <a:pt x="147256" y="247650"/>
                        <a:pt x="142875" y="247650"/>
                      </a:cubicBezTo>
                      <a:close/>
                      <a:moveTo>
                        <a:pt x="112205" y="228600"/>
                      </a:moveTo>
                      <a:lnTo>
                        <a:pt x="135446" y="228600"/>
                      </a:lnTo>
                      <a:lnTo>
                        <a:pt x="144304" y="193262"/>
                      </a:lnTo>
                      <a:cubicBezTo>
                        <a:pt x="145066" y="190310"/>
                        <a:pt x="147066" y="187928"/>
                        <a:pt x="149924" y="186785"/>
                      </a:cubicBezTo>
                      <a:cubicBezTo>
                        <a:pt x="152686" y="185642"/>
                        <a:pt x="155924" y="185833"/>
                        <a:pt x="158496" y="187452"/>
                      </a:cubicBezTo>
                      <a:lnTo>
                        <a:pt x="189738" y="206216"/>
                      </a:lnTo>
                      <a:lnTo>
                        <a:pt x="206121" y="189833"/>
                      </a:lnTo>
                      <a:lnTo>
                        <a:pt x="187357" y="158591"/>
                      </a:lnTo>
                      <a:cubicBezTo>
                        <a:pt x="185833" y="156019"/>
                        <a:pt x="185547" y="152876"/>
                        <a:pt x="186690" y="150019"/>
                      </a:cubicBezTo>
                      <a:cubicBezTo>
                        <a:pt x="187833" y="147257"/>
                        <a:pt x="190214" y="145161"/>
                        <a:pt x="193167" y="144399"/>
                      </a:cubicBezTo>
                      <a:lnTo>
                        <a:pt x="228600" y="135446"/>
                      </a:lnTo>
                      <a:lnTo>
                        <a:pt x="228600" y="112205"/>
                      </a:lnTo>
                      <a:lnTo>
                        <a:pt x="193262" y="103346"/>
                      </a:lnTo>
                      <a:cubicBezTo>
                        <a:pt x="190310" y="102584"/>
                        <a:pt x="187928" y="100584"/>
                        <a:pt x="186785" y="97727"/>
                      </a:cubicBezTo>
                      <a:cubicBezTo>
                        <a:pt x="185642" y="94964"/>
                        <a:pt x="185833" y="91726"/>
                        <a:pt x="187452" y="89154"/>
                      </a:cubicBezTo>
                      <a:lnTo>
                        <a:pt x="206216" y="57912"/>
                      </a:lnTo>
                      <a:lnTo>
                        <a:pt x="189833" y="41529"/>
                      </a:lnTo>
                      <a:lnTo>
                        <a:pt x="158591" y="60293"/>
                      </a:lnTo>
                      <a:cubicBezTo>
                        <a:pt x="156020" y="61817"/>
                        <a:pt x="152876" y="62103"/>
                        <a:pt x="150019" y="60960"/>
                      </a:cubicBezTo>
                      <a:cubicBezTo>
                        <a:pt x="147256" y="59817"/>
                        <a:pt x="145161" y="57436"/>
                        <a:pt x="144399" y="54483"/>
                      </a:cubicBezTo>
                      <a:lnTo>
                        <a:pt x="135446" y="19050"/>
                      </a:lnTo>
                      <a:lnTo>
                        <a:pt x="112205" y="19050"/>
                      </a:lnTo>
                      <a:lnTo>
                        <a:pt x="103346" y="54388"/>
                      </a:lnTo>
                      <a:cubicBezTo>
                        <a:pt x="102584" y="57341"/>
                        <a:pt x="100584" y="59722"/>
                        <a:pt x="97727" y="60865"/>
                      </a:cubicBezTo>
                      <a:cubicBezTo>
                        <a:pt x="94964" y="62008"/>
                        <a:pt x="91726" y="61817"/>
                        <a:pt x="89154" y="60198"/>
                      </a:cubicBezTo>
                      <a:lnTo>
                        <a:pt x="57912" y="41434"/>
                      </a:lnTo>
                      <a:lnTo>
                        <a:pt x="41529" y="57817"/>
                      </a:lnTo>
                      <a:lnTo>
                        <a:pt x="60293" y="89059"/>
                      </a:lnTo>
                      <a:cubicBezTo>
                        <a:pt x="61817" y="91631"/>
                        <a:pt x="62103" y="94774"/>
                        <a:pt x="60960" y="97631"/>
                      </a:cubicBezTo>
                      <a:cubicBezTo>
                        <a:pt x="59817" y="100394"/>
                        <a:pt x="57436" y="102489"/>
                        <a:pt x="54483" y="103251"/>
                      </a:cubicBezTo>
                      <a:lnTo>
                        <a:pt x="19050" y="112205"/>
                      </a:lnTo>
                      <a:lnTo>
                        <a:pt x="19050" y="135446"/>
                      </a:lnTo>
                      <a:lnTo>
                        <a:pt x="54388" y="144304"/>
                      </a:lnTo>
                      <a:cubicBezTo>
                        <a:pt x="57341" y="145066"/>
                        <a:pt x="59722" y="147066"/>
                        <a:pt x="60865" y="149924"/>
                      </a:cubicBezTo>
                      <a:cubicBezTo>
                        <a:pt x="62008" y="152686"/>
                        <a:pt x="61817" y="155924"/>
                        <a:pt x="60198" y="158496"/>
                      </a:cubicBezTo>
                      <a:lnTo>
                        <a:pt x="41434" y="189738"/>
                      </a:lnTo>
                      <a:lnTo>
                        <a:pt x="57817" y="206121"/>
                      </a:lnTo>
                      <a:lnTo>
                        <a:pt x="89059" y="187357"/>
                      </a:lnTo>
                      <a:cubicBezTo>
                        <a:pt x="91631" y="185833"/>
                        <a:pt x="94869" y="185547"/>
                        <a:pt x="97631" y="186690"/>
                      </a:cubicBezTo>
                      <a:cubicBezTo>
                        <a:pt x="100394" y="187833"/>
                        <a:pt x="102489" y="190214"/>
                        <a:pt x="103251" y="193167"/>
                      </a:cubicBezTo>
                      <a:lnTo>
                        <a:pt x="112205" y="228600"/>
                      </a:lnTo>
                      <a:close/>
                    </a:path>
                  </a:pathLst>
                </a:custGeom>
                <a:solidFill>
                  <a:srgbClr val="201602"/>
                </a:solidFill>
                <a:ln w="9525" cap="flat">
                  <a:noFill/>
                  <a:prstDash val="solid"/>
                  <a:miter/>
                </a:ln>
              </p:spPr>
              <p:txBody>
                <a:bodyPr rtlCol="0" anchor="ctr"/>
                <a:lstStyle/>
                <a:p>
                  <a:endParaRPr lang="fr-FR" sz="900"/>
                </a:p>
              </p:txBody>
            </p:sp>
          </p:grpSp>
        </p:grpSp>
      </p:grpSp>
      <p:grpSp>
        <p:nvGrpSpPr>
          <p:cNvPr id="61" name="Graphique 55">
            <a:extLst>
              <a:ext uri="{FF2B5EF4-FFF2-40B4-BE49-F238E27FC236}">
                <a16:creationId xmlns:a16="http://schemas.microsoft.com/office/drawing/2014/main" id="{BC6819C0-6ACA-9EB9-EEBA-77CDEE07B658}"/>
              </a:ext>
            </a:extLst>
          </p:cNvPr>
          <p:cNvGrpSpPr/>
          <p:nvPr/>
        </p:nvGrpSpPr>
        <p:grpSpPr>
          <a:xfrm>
            <a:off x="3601566" y="3019836"/>
            <a:ext cx="1660863" cy="1210719"/>
            <a:chOff x="11256228" y="6164826"/>
            <a:chExt cx="1218929" cy="888563"/>
          </a:xfrm>
          <a:solidFill>
            <a:srgbClr val="E4002B"/>
          </a:solidFill>
        </p:grpSpPr>
        <p:sp>
          <p:nvSpPr>
            <p:cNvPr id="62" name="Forme libre : forme 61">
              <a:extLst>
                <a:ext uri="{FF2B5EF4-FFF2-40B4-BE49-F238E27FC236}">
                  <a16:creationId xmlns:a16="http://schemas.microsoft.com/office/drawing/2014/main" id="{FFBE8488-3252-B5A4-F72B-680A4F8BD5CB}"/>
                </a:ext>
              </a:extLst>
            </p:cNvPr>
            <p:cNvSpPr/>
            <p:nvPr/>
          </p:nvSpPr>
          <p:spPr>
            <a:xfrm>
              <a:off x="11600585" y="6164826"/>
              <a:ext cx="526264" cy="888563"/>
            </a:xfrm>
            <a:custGeom>
              <a:avLst/>
              <a:gdLst>
                <a:gd name="connsiteX0" fmla="*/ 502649 w 526264"/>
                <a:gd name="connsiteY0" fmla="*/ 888564 h 888563"/>
                <a:gd name="connsiteX1" fmla="*/ 27356 w 526264"/>
                <a:gd name="connsiteY1" fmla="*/ 888564 h 888563"/>
                <a:gd name="connsiteX2" fmla="*/ 0 w 526264"/>
                <a:gd name="connsiteY2" fmla="*/ 861416 h 888563"/>
                <a:gd name="connsiteX3" fmla="*/ 0 w 526264"/>
                <a:gd name="connsiteY3" fmla="*/ 287139 h 888563"/>
                <a:gd name="connsiteX4" fmla="*/ 12739 w 526264"/>
                <a:gd name="connsiteY4" fmla="*/ 264168 h 888563"/>
                <a:gd name="connsiteX5" fmla="*/ 488031 w 526264"/>
                <a:gd name="connsiteY5" fmla="*/ 3132 h 888563"/>
                <a:gd name="connsiteX6" fmla="*/ 513299 w 526264"/>
                <a:gd name="connsiteY6" fmla="*/ 3132 h 888563"/>
                <a:gd name="connsiteX7" fmla="*/ 526038 w 526264"/>
                <a:gd name="connsiteY7" fmla="*/ 26104 h 888563"/>
                <a:gd name="connsiteX8" fmla="*/ 526038 w 526264"/>
                <a:gd name="connsiteY8" fmla="*/ 861416 h 888563"/>
                <a:gd name="connsiteX9" fmla="*/ 502649 w 526264"/>
                <a:gd name="connsiteY9" fmla="*/ 888564 h 888563"/>
                <a:gd name="connsiteX10" fmla="*/ 52834 w 526264"/>
                <a:gd name="connsiteY10" fmla="*/ 836357 h 888563"/>
                <a:gd name="connsiteX11" fmla="*/ 475293 w 526264"/>
                <a:gd name="connsiteY11" fmla="*/ 836357 h 888563"/>
                <a:gd name="connsiteX12" fmla="*/ 475293 w 526264"/>
                <a:gd name="connsiteY12" fmla="*/ 69957 h 888563"/>
                <a:gd name="connsiteX13" fmla="*/ 52834 w 526264"/>
                <a:gd name="connsiteY13" fmla="*/ 301757 h 888563"/>
                <a:gd name="connsiteX14" fmla="*/ 52834 w 526264"/>
                <a:gd name="connsiteY14" fmla="*/ 836357 h 888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26264" h="888563">
                  <a:moveTo>
                    <a:pt x="502649" y="888564"/>
                  </a:moveTo>
                  <a:lnTo>
                    <a:pt x="27356" y="888564"/>
                  </a:lnTo>
                  <a:cubicBezTo>
                    <a:pt x="12530" y="888564"/>
                    <a:pt x="0" y="876034"/>
                    <a:pt x="0" y="861416"/>
                  </a:cubicBezTo>
                  <a:lnTo>
                    <a:pt x="0" y="287139"/>
                  </a:lnTo>
                  <a:cubicBezTo>
                    <a:pt x="0" y="276697"/>
                    <a:pt x="4177" y="268344"/>
                    <a:pt x="12739" y="264168"/>
                  </a:cubicBezTo>
                  <a:lnTo>
                    <a:pt x="488031" y="3132"/>
                  </a:lnTo>
                  <a:cubicBezTo>
                    <a:pt x="496384" y="-1044"/>
                    <a:pt x="507035" y="-1044"/>
                    <a:pt x="513299" y="3132"/>
                  </a:cubicBezTo>
                  <a:cubicBezTo>
                    <a:pt x="521653" y="7309"/>
                    <a:pt x="526038" y="15662"/>
                    <a:pt x="526038" y="26104"/>
                  </a:cubicBezTo>
                  <a:lnTo>
                    <a:pt x="526038" y="861416"/>
                  </a:lnTo>
                  <a:cubicBezTo>
                    <a:pt x="528126" y="876034"/>
                    <a:pt x="515388" y="888564"/>
                    <a:pt x="502649" y="888564"/>
                  </a:cubicBezTo>
                  <a:close/>
                  <a:moveTo>
                    <a:pt x="52834" y="836357"/>
                  </a:moveTo>
                  <a:lnTo>
                    <a:pt x="475293" y="836357"/>
                  </a:lnTo>
                  <a:lnTo>
                    <a:pt x="475293" y="69957"/>
                  </a:lnTo>
                  <a:lnTo>
                    <a:pt x="52834" y="301757"/>
                  </a:lnTo>
                  <a:lnTo>
                    <a:pt x="52834" y="836357"/>
                  </a:lnTo>
                  <a:close/>
                </a:path>
              </a:pathLst>
            </a:custGeom>
            <a:grpFill/>
            <a:ln w="20856" cap="flat">
              <a:noFill/>
              <a:prstDash val="solid"/>
              <a:miter/>
            </a:ln>
          </p:spPr>
          <p:txBody>
            <a:bodyPr rtlCol="0" anchor="ctr"/>
            <a:lstStyle/>
            <a:p>
              <a:endParaRPr lang="fr-FR" sz="900"/>
            </a:p>
          </p:txBody>
        </p:sp>
        <p:sp>
          <p:nvSpPr>
            <p:cNvPr id="63" name="Forme libre : forme 62">
              <a:extLst>
                <a:ext uri="{FF2B5EF4-FFF2-40B4-BE49-F238E27FC236}">
                  <a16:creationId xmlns:a16="http://schemas.microsoft.com/office/drawing/2014/main" id="{8A5A28EF-2274-A3F5-80E3-C14A1F20B315}"/>
                </a:ext>
              </a:extLst>
            </p:cNvPr>
            <p:cNvSpPr/>
            <p:nvPr/>
          </p:nvSpPr>
          <p:spPr>
            <a:xfrm>
              <a:off x="12075878" y="6660792"/>
              <a:ext cx="344151" cy="392596"/>
            </a:xfrm>
            <a:custGeom>
              <a:avLst/>
              <a:gdLst>
                <a:gd name="connsiteX0" fmla="*/ 316792 w 344151"/>
                <a:gd name="connsiteY0" fmla="*/ 392597 h 392596"/>
                <a:gd name="connsiteX1" fmla="*/ 27357 w 344151"/>
                <a:gd name="connsiteY1" fmla="*/ 392597 h 392596"/>
                <a:gd name="connsiteX2" fmla="*/ 0 w 344151"/>
                <a:gd name="connsiteY2" fmla="*/ 365449 h 392596"/>
                <a:gd name="connsiteX3" fmla="*/ 0 w 344151"/>
                <a:gd name="connsiteY3" fmla="*/ 27148 h 392596"/>
                <a:gd name="connsiteX4" fmla="*/ 27357 w 344151"/>
                <a:gd name="connsiteY4" fmla="*/ 0 h 392596"/>
                <a:gd name="connsiteX5" fmla="*/ 316792 w 344151"/>
                <a:gd name="connsiteY5" fmla="*/ 0 h 392596"/>
                <a:gd name="connsiteX6" fmla="*/ 344149 w 344151"/>
                <a:gd name="connsiteY6" fmla="*/ 27148 h 392596"/>
                <a:gd name="connsiteX7" fmla="*/ 344149 w 344151"/>
                <a:gd name="connsiteY7" fmla="*/ 367538 h 392596"/>
                <a:gd name="connsiteX8" fmla="*/ 316792 w 344151"/>
                <a:gd name="connsiteY8" fmla="*/ 392597 h 392596"/>
                <a:gd name="connsiteX9" fmla="*/ 52833 w 344151"/>
                <a:gd name="connsiteY9" fmla="*/ 340390 h 392596"/>
                <a:gd name="connsiteX10" fmla="*/ 291524 w 344151"/>
                <a:gd name="connsiteY10" fmla="*/ 340390 h 392596"/>
                <a:gd name="connsiteX11" fmla="*/ 291524 w 344151"/>
                <a:gd name="connsiteY11" fmla="*/ 52207 h 392596"/>
                <a:gd name="connsiteX12" fmla="*/ 52833 w 344151"/>
                <a:gd name="connsiteY12" fmla="*/ 52207 h 392596"/>
                <a:gd name="connsiteX13" fmla="*/ 52833 w 344151"/>
                <a:gd name="connsiteY13" fmla="*/ 340390 h 392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44151" h="392596">
                  <a:moveTo>
                    <a:pt x="316792" y="392597"/>
                  </a:moveTo>
                  <a:lnTo>
                    <a:pt x="27357" y="392597"/>
                  </a:lnTo>
                  <a:cubicBezTo>
                    <a:pt x="12530" y="392597"/>
                    <a:pt x="0" y="380067"/>
                    <a:pt x="0" y="365449"/>
                  </a:cubicBezTo>
                  <a:lnTo>
                    <a:pt x="0" y="27148"/>
                  </a:lnTo>
                  <a:cubicBezTo>
                    <a:pt x="0" y="12530"/>
                    <a:pt x="12739" y="0"/>
                    <a:pt x="27357" y="0"/>
                  </a:cubicBezTo>
                  <a:lnTo>
                    <a:pt x="316792" y="0"/>
                  </a:lnTo>
                  <a:cubicBezTo>
                    <a:pt x="331619" y="0"/>
                    <a:pt x="344149" y="12530"/>
                    <a:pt x="344149" y="27148"/>
                  </a:cubicBezTo>
                  <a:lnTo>
                    <a:pt x="344149" y="367538"/>
                  </a:lnTo>
                  <a:cubicBezTo>
                    <a:pt x="344358" y="380067"/>
                    <a:pt x="331619" y="392597"/>
                    <a:pt x="316792" y="392597"/>
                  </a:cubicBezTo>
                  <a:close/>
                  <a:moveTo>
                    <a:pt x="52833" y="340390"/>
                  </a:moveTo>
                  <a:lnTo>
                    <a:pt x="291524" y="340390"/>
                  </a:lnTo>
                  <a:lnTo>
                    <a:pt x="291524" y="52207"/>
                  </a:lnTo>
                  <a:lnTo>
                    <a:pt x="52833" y="52207"/>
                  </a:lnTo>
                  <a:lnTo>
                    <a:pt x="52833" y="340390"/>
                  </a:lnTo>
                  <a:close/>
                </a:path>
              </a:pathLst>
            </a:custGeom>
            <a:grpFill/>
            <a:ln w="20856" cap="flat">
              <a:noFill/>
              <a:prstDash val="solid"/>
              <a:miter/>
            </a:ln>
          </p:spPr>
          <p:txBody>
            <a:bodyPr rtlCol="0" anchor="ctr"/>
            <a:lstStyle/>
            <a:p>
              <a:endParaRPr lang="fr-FR" sz="900"/>
            </a:p>
          </p:txBody>
        </p:sp>
        <p:sp>
          <p:nvSpPr>
            <p:cNvPr id="64" name="Forme libre : forme 63">
              <a:extLst>
                <a:ext uri="{FF2B5EF4-FFF2-40B4-BE49-F238E27FC236}">
                  <a16:creationId xmlns:a16="http://schemas.microsoft.com/office/drawing/2014/main" id="{B176F861-C35A-36CA-7011-913B84A8067A}"/>
                </a:ext>
              </a:extLst>
            </p:cNvPr>
            <p:cNvSpPr/>
            <p:nvPr/>
          </p:nvSpPr>
          <p:spPr>
            <a:xfrm>
              <a:off x="11309061" y="6608585"/>
              <a:ext cx="346237" cy="444803"/>
            </a:xfrm>
            <a:custGeom>
              <a:avLst/>
              <a:gdLst>
                <a:gd name="connsiteX0" fmla="*/ 318881 w 346237"/>
                <a:gd name="connsiteY0" fmla="*/ 444804 h 444803"/>
                <a:gd name="connsiteX1" fmla="*/ 27356 w 346237"/>
                <a:gd name="connsiteY1" fmla="*/ 444804 h 444803"/>
                <a:gd name="connsiteX2" fmla="*/ 0 w 346237"/>
                <a:gd name="connsiteY2" fmla="*/ 417656 h 444803"/>
                <a:gd name="connsiteX3" fmla="*/ 0 w 346237"/>
                <a:gd name="connsiteY3" fmla="*/ 27148 h 444803"/>
                <a:gd name="connsiteX4" fmla="*/ 27356 w 346237"/>
                <a:gd name="connsiteY4" fmla="*/ 0 h 444803"/>
                <a:gd name="connsiteX5" fmla="*/ 318881 w 346237"/>
                <a:gd name="connsiteY5" fmla="*/ 0 h 444803"/>
                <a:gd name="connsiteX6" fmla="*/ 346237 w 346237"/>
                <a:gd name="connsiteY6" fmla="*/ 27148 h 444803"/>
                <a:gd name="connsiteX7" fmla="*/ 346237 w 346237"/>
                <a:gd name="connsiteY7" fmla="*/ 419745 h 444803"/>
                <a:gd name="connsiteX8" fmla="*/ 318881 w 346237"/>
                <a:gd name="connsiteY8" fmla="*/ 444804 h 444803"/>
                <a:gd name="connsiteX9" fmla="*/ 54922 w 346237"/>
                <a:gd name="connsiteY9" fmla="*/ 392597 h 444803"/>
                <a:gd name="connsiteX10" fmla="*/ 293612 w 346237"/>
                <a:gd name="connsiteY10" fmla="*/ 392597 h 444803"/>
                <a:gd name="connsiteX11" fmla="*/ 293612 w 346237"/>
                <a:gd name="connsiteY11" fmla="*/ 52207 h 444803"/>
                <a:gd name="connsiteX12" fmla="*/ 54922 w 346237"/>
                <a:gd name="connsiteY12" fmla="*/ 52207 h 444803"/>
                <a:gd name="connsiteX13" fmla="*/ 54922 w 346237"/>
                <a:gd name="connsiteY13" fmla="*/ 392597 h 444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46237" h="444803">
                  <a:moveTo>
                    <a:pt x="318881" y="444804"/>
                  </a:moveTo>
                  <a:lnTo>
                    <a:pt x="27356" y="444804"/>
                  </a:lnTo>
                  <a:cubicBezTo>
                    <a:pt x="12530" y="444804"/>
                    <a:pt x="0" y="432274"/>
                    <a:pt x="0" y="417656"/>
                  </a:cubicBezTo>
                  <a:lnTo>
                    <a:pt x="0" y="27148"/>
                  </a:lnTo>
                  <a:cubicBezTo>
                    <a:pt x="0" y="12530"/>
                    <a:pt x="12739" y="0"/>
                    <a:pt x="27356" y="0"/>
                  </a:cubicBezTo>
                  <a:lnTo>
                    <a:pt x="318881" y="0"/>
                  </a:lnTo>
                  <a:cubicBezTo>
                    <a:pt x="333707" y="0"/>
                    <a:pt x="346237" y="12530"/>
                    <a:pt x="346237" y="27148"/>
                  </a:cubicBezTo>
                  <a:lnTo>
                    <a:pt x="346237" y="419745"/>
                  </a:lnTo>
                  <a:cubicBezTo>
                    <a:pt x="344358" y="432274"/>
                    <a:pt x="331619" y="444804"/>
                    <a:pt x="318881" y="444804"/>
                  </a:cubicBezTo>
                  <a:close/>
                  <a:moveTo>
                    <a:pt x="54922" y="392597"/>
                  </a:moveTo>
                  <a:lnTo>
                    <a:pt x="293612" y="392597"/>
                  </a:lnTo>
                  <a:lnTo>
                    <a:pt x="293612" y="52207"/>
                  </a:lnTo>
                  <a:lnTo>
                    <a:pt x="54922" y="52207"/>
                  </a:lnTo>
                  <a:lnTo>
                    <a:pt x="54922" y="392597"/>
                  </a:lnTo>
                  <a:close/>
                </a:path>
              </a:pathLst>
            </a:custGeom>
            <a:grpFill/>
            <a:ln w="20856" cap="flat">
              <a:noFill/>
              <a:prstDash val="solid"/>
              <a:miter/>
            </a:ln>
          </p:spPr>
          <p:txBody>
            <a:bodyPr rtlCol="0" anchor="ctr"/>
            <a:lstStyle/>
            <a:p>
              <a:endParaRPr lang="fr-FR" sz="900"/>
            </a:p>
          </p:txBody>
        </p:sp>
        <p:sp>
          <p:nvSpPr>
            <p:cNvPr id="65" name="Forme libre : forme 64">
              <a:extLst>
                <a:ext uri="{FF2B5EF4-FFF2-40B4-BE49-F238E27FC236}">
                  <a16:creationId xmlns:a16="http://schemas.microsoft.com/office/drawing/2014/main" id="{45DAD4EF-C10D-1A00-A092-1F01DEC719DA}"/>
                </a:ext>
              </a:extLst>
            </p:cNvPr>
            <p:cNvSpPr/>
            <p:nvPr/>
          </p:nvSpPr>
          <p:spPr>
            <a:xfrm>
              <a:off x="11256228" y="6529231"/>
              <a:ext cx="399070" cy="131561"/>
            </a:xfrm>
            <a:custGeom>
              <a:avLst/>
              <a:gdLst>
                <a:gd name="connsiteX0" fmla="*/ 371714 w 399070"/>
                <a:gd name="connsiteY0" fmla="*/ 131562 h 131561"/>
                <a:gd name="connsiteX1" fmla="*/ 27565 w 399070"/>
                <a:gd name="connsiteY1" fmla="*/ 131562 h 131561"/>
                <a:gd name="connsiteX2" fmla="*/ 0 w 399070"/>
                <a:gd name="connsiteY2" fmla="*/ 104414 h 131561"/>
                <a:gd name="connsiteX3" fmla="*/ 0 w 399070"/>
                <a:gd name="connsiteY3" fmla="*/ 27148 h 131561"/>
                <a:gd name="connsiteX4" fmla="*/ 27565 w 399070"/>
                <a:gd name="connsiteY4" fmla="*/ 0 h 131561"/>
                <a:gd name="connsiteX5" fmla="*/ 371714 w 399070"/>
                <a:gd name="connsiteY5" fmla="*/ 0 h 131561"/>
                <a:gd name="connsiteX6" fmla="*/ 399071 w 399070"/>
                <a:gd name="connsiteY6" fmla="*/ 27148 h 131561"/>
                <a:gd name="connsiteX7" fmla="*/ 399071 w 399070"/>
                <a:gd name="connsiteY7" fmla="*/ 106502 h 131561"/>
                <a:gd name="connsiteX8" fmla="*/ 371714 w 399070"/>
                <a:gd name="connsiteY8" fmla="*/ 131562 h 131561"/>
                <a:gd name="connsiteX9" fmla="*/ 54922 w 399070"/>
                <a:gd name="connsiteY9" fmla="*/ 79355 h 131561"/>
                <a:gd name="connsiteX10" fmla="*/ 346446 w 399070"/>
                <a:gd name="connsiteY10" fmla="*/ 79355 h 131561"/>
                <a:gd name="connsiteX11" fmla="*/ 346446 w 399070"/>
                <a:gd name="connsiteY11" fmla="*/ 52207 h 131561"/>
                <a:gd name="connsiteX12" fmla="*/ 54922 w 399070"/>
                <a:gd name="connsiteY12" fmla="*/ 52207 h 131561"/>
                <a:gd name="connsiteX13" fmla="*/ 54922 w 399070"/>
                <a:gd name="connsiteY13" fmla="*/ 79355 h 131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99070" h="131561">
                  <a:moveTo>
                    <a:pt x="371714" y="131562"/>
                  </a:moveTo>
                  <a:lnTo>
                    <a:pt x="27565" y="131562"/>
                  </a:lnTo>
                  <a:cubicBezTo>
                    <a:pt x="12739" y="131562"/>
                    <a:pt x="0" y="119032"/>
                    <a:pt x="0" y="104414"/>
                  </a:cubicBezTo>
                  <a:lnTo>
                    <a:pt x="0" y="27148"/>
                  </a:lnTo>
                  <a:cubicBezTo>
                    <a:pt x="0" y="12530"/>
                    <a:pt x="12739" y="0"/>
                    <a:pt x="27565" y="0"/>
                  </a:cubicBezTo>
                  <a:lnTo>
                    <a:pt x="371714" y="0"/>
                  </a:lnTo>
                  <a:cubicBezTo>
                    <a:pt x="386541" y="0"/>
                    <a:pt x="399071" y="12530"/>
                    <a:pt x="399071" y="27148"/>
                  </a:cubicBezTo>
                  <a:lnTo>
                    <a:pt x="399071" y="106502"/>
                  </a:lnTo>
                  <a:cubicBezTo>
                    <a:pt x="397191" y="119032"/>
                    <a:pt x="384453" y="131562"/>
                    <a:pt x="371714" y="131562"/>
                  </a:cubicBezTo>
                  <a:close/>
                  <a:moveTo>
                    <a:pt x="54922" y="79355"/>
                  </a:moveTo>
                  <a:lnTo>
                    <a:pt x="346446" y="79355"/>
                  </a:lnTo>
                  <a:lnTo>
                    <a:pt x="346446" y="52207"/>
                  </a:lnTo>
                  <a:lnTo>
                    <a:pt x="54922" y="52207"/>
                  </a:lnTo>
                  <a:lnTo>
                    <a:pt x="54922" y="79355"/>
                  </a:lnTo>
                  <a:close/>
                </a:path>
              </a:pathLst>
            </a:custGeom>
            <a:grpFill/>
            <a:ln w="20856" cap="flat">
              <a:noFill/>
              <a:prstDash val="solid"/>
              <a:miter/>
            </a:ln>
          </p:spPr>
          <p:txBody>
            <a:bodyPr rtlCol="0" anchor="ctr"/>
            <a:lstStyle/>
            <a:p>
              <a:endParaRPr lang="fr-FR" sz="900"/>
            </a:p>
          </p:txBody>
        </p:sp>
        <p:sp>
          <p:nvSpPr>
            <p:cNvPr id="66" name="Forme libre : forme 65">
              <a:extLst>
                <a:ext uri="{FF2B5EF4-FFF2-40B4-BE49-F238E27FC236}">
                  <a16:creationId xmlns:a16="http://schemas.microsoft.com/office/drawing/2014/main" id="{BF9029C2-C05F-B580-35A3-50BB326A0EA0}"/>
                </a:ext>
              </a:extLst>
            </p:cNvPr>
            <p:cNvSpPr/>
            <p:nvPr/>
          </p:nvSpPr>
          <p:spPr>
            <a:xfrm>
              <a:off x="12075878" y="6579349"/>
              <a:ext cx="399279" cy="133650"/>
            </a:xfrm>
            <a:custGeom>
              <a:avLst/>
              <a:gdLst>
                <a:gd name="connsiteX0" fmla="*/ 369626 w 399279"/>
                <a:gd name="connsiteY0" fmla="*/ 133650 h 133650"/>
                <a:gd name="connsiteX1" fmla="*/ 27357 w 399279"/>
                <a:gd name="connsiteY1" fmla="*/ 133650 h 133650"/>
                <a:gd name="connsiteX2" fmla="*/ 0 w 399279"/>
                <a:gd name="connsiteY2" fmla="*/ 106502 h 133650"/>
                <a:gd name="connsiteX3" fmla="*/ 0 w 399279"/>
                <a:gd name="connsiteY3" fmla="*/ 27148 h 133650"/>
                <a:gd name="connsiteX4" fmla="*/ 27357 w 399279"/>
                <a:gd name="connsiteY4" fmla="*/ 0 h 133650"/>
                <a:gd name="connsiteX5" fmla="*/ 371714 w 399279"/>
                <a:gd name="connsiteY5" fmla="*/ 0 h 133650"/>
                <a:gd name="connsiteX6" fmla="*/ 399279 w 399279"/>
                <a:gd name="connsiteY6" fmla="*/ 27148 h 133650"/>
                <a:gd name="connsiteX7" fmla="*/ 399279 w 399279"/>
                <a:gd name="connsiteY7" fmla="*/ 106502 h 133650"/>
                <a:gd name="connsiteX8" fmla="*/ 369626 w 399279"/>
                <a:gd name="connsiteY8" fmla="*/ 133650 h 133650"/>
                <a:gd name="connsiteX9" fmla="*/ 52833 w 399279"/>
                <a:gd name="connsiteY9" fmla="*/ 81443 h 133650"/>
                <a:gd name="connsiteX10" fmla="*/ 344358 w 399279"/>
                <a:gd name="connsiteY10" fmla="*/ 81443 h 133650"/>
                <a:gd name="connsiteX11" fmla="*/ 344358 w 399279"/>
                <a:gd name="connsiteY11" fmla="*/ 54295 h 133650"/>
                <a:gd name="connsiteX12" fmla="*/ 52833 w 399279"/>
                <a:gd name="connsiteY12" fmla="*/ 54295 h 133650"/>
                <a:gd name="connsiteX13" fmla="*/ 52833 w 399279"/>
                <a:gd name="connsiteY13" fmla="*/ 81443 h 133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99279" h="133650">
                  <a:moveTo>
                    <a:pt x="369626" y="133650"/>
                  </a:moveTo>
                  <a:lnTo>
                    <a:pt x="27357" y="133650"/>
                  </a:lnTo>
                  <a:cubicBezTo>
                    <a:pt x="12530" y="133650"/>
                    <a:pt x="0" y="121120"/>
                    <a:pt x="0" y="106502"/>
                  </a:cubicBezTo>
                  <a:lnTo>
                    <a:pt x="0" y="27148"/>
                  </a:lnTo>
                  <a:cubicBezTo>
                    <a:pt x="0" y="12530"/>
                    <a:pt x="12739" y="0"/>
                    <a:pt x="27357" y="0"/>
                  </a:cubicBezTo>
                  <a:lnTo>
                    <a:pt x="371714" y="0"/>
                  </a:lnTo>
                  <a:cubicBezTo>
                    <a:pt x="386541" y="0"/>
                    <a:pt x="399279" y="12530"/>
                    <a:pt x="399279" y="27148"/>
                  </a:cubicBezTo>
                  <a:lnTo>
                    <a:pt x="399279" y="106502"/>
                  </a:lnTo>
                  <a:cubicBezTo>
                    <a:pt x="397191" y="121120"/>
                    <a:pt x="384453" y="133650"/>
                    <a:pt x="369626" y="133650"/>
                  </a:cubicBezTo>
                  <a:close/>
                  <a:moveTo>
                    <a:pt x="52833" y="81443"/>
                  </a:moveTo>
                  <a:lnTo>
                    <a:pt x="344358" y="81443"/>
                  </a:lnTo>
                  <a:lnTo>
                    <a:pt x="344358" y="54295"/>
                  </a:lnTo>
                  <a:lnTo>
                    <a:pt x="52833" y="54295"/>
                  </a:lnTo>
                  <a:lnTo>
                    <a:pt x="52833" y="81443"/>
                  </a:lnTo>
                  <a:close/>
                </a:path>
              </a:pathLst>
            </a:custGeom>
            <a:grpFill/>
            <a:ln w="20856" cap="flat">
              <a:noFill/>
              <a:prstDash val="solid"/>
              <a:miter/>
            </a:ln>
          </p:spPr>
          <p:txBody>
            <a:bodyPr rtlCol="0" anchor="ctr"/>
            <a:lstStyle/>
            <a:p>
              <a:endParaRPr lang="fr-FR" sz="900"/>
            </a:p>
          </p:txBody>
        </p:sp>
        <p:sp>
          <p:nvSpPr>
            <p:cNvPr id="67" name="Forme libre : forme 66">
              <a:extLst>
                <a:ext uri="{FF2B5EF4-FFF2-40B4-BE49-F238E27FC236}">
                  <a16:creationId xmlns:a16="http://schemas.microsoft.com/office/drawing/2014/main" id="{F6C5FB71-90E6-F972-16F7-E9E41DFF5BD3}"/>
                </a:ext>
              </a:extLst>
            </p:cNvPr>
            <p:cNvSpPr/>
            <p:nvPr/>
          </p:nvSpPr>
          <p:spPr>
            <a:xfrm>
              <a:off x="12259647" y="6451142"/>
              <a:ext cx="158725" cy="184591"/>
            </a:xfrm>
            <a:custGeom>
              <a:avLst/>
              <a:gdLst>
                <a:gd name="connsiteX0" fmla="*/ 133023 w 158725"/>
                <a:gd name="connsiteY0" fmla="*/ 184591 h 184591"/>
                <a:gd name="connsiteX1" fmla="*/ 27357 w 158725"/>
                <a:gd name="connsiteY1" fmla="*/ 184591 h 184591"/>
                <a:gd name="connsiteX2" fmla="*/ 0 w 158725"/>
                <a:gd name="connsiteY2" fmla="*/ 157444 h 184591"/>
                <a:gd name="connsiteX3" fmla="*/ 0 w 158725"/>
                <a:gd name="connsiteY3" fmla="*/ 78089 h 184591"/>
                <a:gd name="connsiteX4" fmla="*/ 14827 w 158725"/>
                <a:gd name="connsiteY4" fmla="*/ 55118 h 184591"/>
                <a:gd name="connsiteX5" fmla="*/ 120494 w 158725"/>
                <a:gd name="connsiteY5" fmla="*/ 2911 h 184591"/>
                <a:gd name="connsiteX6" fmla="*/ 145762 w 158725"/>
                <a:gd name="connsiteY6" fmla="*/ 4999 h 184591"/>
                <a:gd name="connsiteX7" fmla="*/ 158501 w 158725"/>
                <a:gd name="connsiteY7" fmla="*/ 27970 h 184591"/>
                <a:gd name="connsiteX8" fmla="*/ 158501 w 158725"/>
                <a:gd name="connsiteY8" fmla="*/ 159532 h 184591"/>
                <a:gd name="connsiteX9" fmla="*/ 133023 w 158725"/>
                <a:gd name="connsiteY9" fmla="*/ 184591 h 184591"/>
                <a:gd name="connsiteX10" fmla="*/ 54922 w 158725"/>
                <a:gd name="connsiteY10" fmla="*/ 132384 h 184591"/>
                <a:gd name="connsiteX11" fmla="*/ 107755 w 158725"/>
                <a:gd name="connsiteY11" fmla="*/ 132384 h 184591"/>
                <a:gd name="connsiteX12" fmla="*/ 107755 w 158725"/>
                <a:gd name="connsiteY12" fmla="*/ 69736 h 184591"/>
                <a:gd name="connsiteX13" fmla="*/ 54922 w 158725"/>
                <a:gd name="connsiteY13" fmla="*/ 96883 h 184591"/>
                <a:gd name="connsiteX14" fmla="*/ 54922 w 158725"/>
                <a:gd name="connsiteY14" fmla="*/ 132384 h 184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8725" h="184591">
                  <a:moveTo>
                    <a:pt x="133023" y="184591"/>
                  </a:moveTo>
                  <a:lnTo>
                    <a:pt x="27357" y="184591"/>
                  </a:lnTo>
                  <a:cubicBezTo>
                    <a:pt x="12530" y="184591"/>
                    <a:pt x="0" y="172062"/>
                    <a:pt x="0" y="157444"/>
                  </a:cubicBezTo>
                  <a:lnTo>
                    <a:pt x="0" y="78089"/>
                  </a:lnTo>
                  <a:cubicBezTo>
                    <a:pt x="0" y="67648"/>
                    <a:pt x="6265" y="59294"/>
                    <a:pt x="14827" y="55118"/>
                  </a:cubicBezTo>
                  <a:lnTo>
                    <a:pt x="120494" y="2911"/>
                  </a:lnTo>
                  <a:cubicBezTo>
                    <a:pt x="128847" y="-1266"/>
                    <a:pt x="137409" y="-1266"/>
                    <a:pt x="145762" y="4999"/>
                  </a:cubicBezTo>
                  <a:cubicBezTo>
                    <a:pt x="154115" y="11264"/>
                    <a:pt x="158501" y="17529"/>
                    <a:pt x="158501" y="27970"/>
                  </a:cubicBezTo>
                  <a:lnTo>
                    <a:pt x="158501" y="159532"/>
                  </a:lnTo>
                  <a:cubicBezTo>
                    <a:pt x="160589" y="172062"/>
                    <a:pt x="147850" y="184591"/>
                    <a:pt x="133023" y="184591"/>
                  </a:cubicBezTo>
                  <a:close/>
                  <a:moveTo>
                    <a:pt x="54922" y="132384"/>
                  </a:moveTo>
                  <a:lnTo>
                    <a:pt x="107755" y="132384"/>
                  </a:lnTo>
                  <a:lnTo>
                    <a:pt x="107755" y="69736"/>
                  </a:lnTo>
                  <a:lnTo>
                    <a:pt x="54922" y="96883"/>
                  </a:lnTo>
                  <a:lnTo>
                    <a:pt x="54922" y="132384"/>
                  </a:lnTo>
                  <a:close/>
                </a:path>
              </a:pathLst>
            </a:custGeom>
            <a:grpFill/>
            <a:ln w="20856" cap="flat">
              <a:noFill/>
              <a:prstDash val="solid"/>
              <a:miter/>
            </a:ln>
          </p:spPr>
          <p:txBody>
            <a:bodyPr rtlCol="0" anchor="ctr"/>
            <a:lstStyle/>
            <a:p>
              <a:endParaRPr lang="fr-FR" sz="900"/>
            </a:p>
          </p:txBody>
        </p:sp>
        <p:sp>
          <p:nvSpPr>
            <p:cNvPr id="68" name="Forme libre : forme 67">
              <a:extLst>
                <a:ext uri="{FF2B5EF4-FFF2-40B4-BE49-F238E27FC236}">
                  <a16:creationId xmlns:a16="http://schemas.microsoft.com/office/drawing/2014/main" id="{4A94C217-8363-47F0-E406-6F7B28AFDDF1}"/>
                </a:ext>
              </a:extLst>
            </p:cNvPr>
            <p:cNvSpPr/>
            <p:nvPr/>
          </p:nvSpPr>
          <p:spPr>
            <a:xfrm>
              <a:off x="11389251" y="6398385"/>
              <a:ext cx="158500" cy="185140"/>
            </a:xfrm>
            <a:custGeom>
              <a:avLst/>
              <a:gdLst>
                <a:gd name="connsiteX0" fmla="*/ 133232 w 158500"/>
                <a:gd name="connsiteY0" fmla="*/ 185140 h 185140"/>
                <a:gd name="connsiteX1" fmla="*/ 27565 w 158500"/>
                <a:gd name="connsiteY1" fmla="*/ 185140 h 185140"/>
                <a:gd name="connsiteX2" fmla="*/ 0 w 158500"/>
                <a:gd name="connsiteY2" fmla="*/ 157993 h 185140"/>
                <a:gd name="connsiteX3" fmla="*/ 0 w 158500"/>
                <a:gd name="connsiteY3" fmla="*/ 26431 h 185140"/>
                <a:gd name="connsiteX4" fmla="*/ 12739 w 158500"/>
                <a:gd name="connsiteY4" fmla="*/ 3460 h 185140"/>
                <a:gd name="connsiteX5" fmla="*/ 38007 w 158500"/>
                <a:gd name="connsiteY5" fmla="*/ 1372 h 185140"/>
                <a:gd name="connsiteX6" fmla="*/ 143674 w 158500"/>
                <a:gd name="connsiteY6" fmla="*/ 53579 h 185140"/>
                <a:gd name="connsiteX7" fmla="*/ 158501 w 158500"/>
                <a:gd name="connsiteY7" fmla="*/ 76550 h 185140"/>
                <a:gd name="connsiteX8" fmla="*/ 158501 w 158500"/>
                <a:gd name="connsiteY8" fmla="*/ 157993 h 185140"/>
                <a:gd name="connsiteX9" fmla="*/ 133232 w 158500"/>
                <a:gd name="connsiteY9" fmla="*/ 185140 h 185140"/>
                <a:gd name="connsiteX10" fmla="*/ 52834 w 158500"/>
                <a:gd name="connsiteY10" fmla="*/ 132933 h 185140"/>
                <a:gd name="connsiteX11" fmla="*/ 105667 w 158500"/>
                <a:gd name="connsiteY11" fmla="*/ 132933 h 185140"/>
                <a:gd name="connsiteX12" fmla="*/ 105667 w 158500"/>
                <a:gd name="connsiteY12" fmla="*/ 95344 h 185140"/>
                <a:gd name="connsiteX13" fmla="*/ 52834 w 158500"/>
                <a:gd name="connsiteY13" fmla="*/ 70285 h 185140"/>
                <a:gd name="connsiteX14" fmla="*/ 52834 w 158500"/>
                <a:gd name="connsiteY14" fmla="*/ 132933 h 185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8500" h="185140">
                  <a:moveTo>
                    <a:pt x="133232" y="185140"/>
                  </a:moveTo>
                  <a:lnTo>
                    <a:pt x="27565" y="185140"/>
                  </a:lnTo>
                  <a:cubicBezTo>
                    <a:pt x="12739" y="185140"/>
                    <a:pt x="0" y="172611"/>
                    <a:pt x="0" y="157993"/>
                  </a:cubicBezTo>
                  <a:lnTo>
                    <a:pt x="0" y="26431"/>
                  </a:lnTo>
                  <a:cubicBezTo>
                    <a:pt x="0" y="18078"/>
                    <a:pt x="4177" y="9725"/>
                    <a:pt x="12739" y="3460"/>
                  </a:cubicBezTo>
                  <a:cubicBezTo>
                    <a:pt x="21092" y="-717"/>
                    <a:pt x="29654" y="-717"/>
                    <a:pt x="38007" y="1372"/>
                  </a:cubicBezTo>
                  <a:lnTo>
                    <a:pt x="143674" y="53579"/>
                  </a:lnTo>
                  <a:cubicBezTo>
                    <a:pt x="152027" y="57755"/>
                    <a:pt x="158501" y="66108"/>
                    <a:pt x="158501" y="76550"/>
                  </a:cubicBezTo>
                  <a:lnTo>
                    <a:pt x="158501" y="157993"/>
                  </a:lnTo>
                  <a:cubicBezTo>
                    <a:pt x="158501" y="172611"/>
                    <a:pt x="145762" y="185140"/>
                    <a:pt x="133232" y="185140"/>
                  </a:cubicBezTo>
                  <a:close/>
                  <a:moveTo>
                    <a:pt x="52834" y="132933"/>
                  </a:moveTo>
                  <a:lnTo>
                    <a:pt x="105667" y="132933"/>
                  </a:lnTo>
                  <a:lnTo>
                    <a:pt x="105667" y="95344"/>
                  </a:lnTo>
                  <a:lnTo>
                    <a:pt x="52834" y="70285"/>
                  </a:lnTo>
                  <a:lnTo>
                    <a:pt x="52834" y="132933"/>
                  </a:lnTo>
                  <a:close/>
                </a:path>
              </a:pathLst>
            </a:custGeom>
            <a:grpFill/>
            <a:ln w="20856" cap="flat">
              <a:noFill/>
              <a:prstDash val="solid"/>
              <a:miter/>
            </a:ln>
          </p:spPr>
          <p:txBody>
            <a:bodyPr rtlCol="0" anchor="ctr"/>
            <a:lstStyle/>
            <a:p>
              <a:endParaRPr lang="fr-FR" sz="900"/>
            </a:p>
          </p:txBody>
        </p:sp>
        <p:sp>
          <p:nvSpPr>
            <p:cNvPr id="70" name="Forme libre : forme 69">
              <a:extLst>
                <a:ext uri="{FF2B5EF4-FFF2-40B4-BE49-F238E27FC236}">
                  <a16:creationId xmlns:a16="http://schemas.microsoft.com/office/drawing/2014/main" id="{20D28B94-941D-B9BB-8C06-F2FE02D27E5E}"/>
                </a:ext>
              </a:extLst>
            </p:cNvPr>
            <p:cNvSpPr/>
            <p:nvPr/>
          </p:nvSpPr>
          <p:spPr>
            <a:xfrm>
              <a:off x="11733609" y="6531319"/>
              <a:ext cx="52833" cy="52207"/>
            </a:xfrm>
            <a:custGeom>
              <a:avLst/>
              <a:gdLst>
                <a:gd name="connsiteX0" fmla="*/ 0 w 52833"/>
                <a:gd name="connsiteY0" fmla="*/ 0 h 52207"/>
                <a:gd name="connsiteX1" fmla="*/ 52834 w 52833"/>
                <a:gd name="connsiteY1" fmla="*/ 0 h 52207"/>
                <a:gd name="connsiteX2" fmla="*/ 52834 w 52833"/>
                <a:gd name="connsiteY2" fmla="*/ 52207 h 52207"/>
                <a:gd name="connsiteX3" fmla="*/ 0 w 52833"/>
                <a:gd name="connsiteY3" fmla="*/ 52207 h 52207"/>
              </a:gdLst>
              <a:ahLst/>
              <a:cxnLst>
                <a:cxn ang="0">
                  <a:pos x="connsiteX0" y="connsiteY0"/>
                </a:cxn>
                <a:cxn ang="0">
                  <a:pos x="connsiteX1" y="connsiteY1"/>
                </a:cxn>
                <a:cxn ang="0">
                  <a:pos x="connsiteX2" y="connsiteY2"/>
                </a:cxn>
                <a:cxn ang="0">
                  <a:pos x="connsiteX3" y="connsiteY3"/>
                </a:cxn>
              </a:cxnLst>
              <a:rect l="l" t="t" r="r" b="b"/>
              <a:pathLst>
                <a:path w="52833" h="52207">
                  <a:moveTo>
                    <a:pt x="0" y="0"/>
                  </a:moveTo>
                  <a:lnTo>
                    <a:pt x="52834" y="0"/>
                  </a:lnTo>
                  <a:lnTo>
                    <a:pt x="52834" y="52207"/>
                  </a:lnTo>
                  <a:lnTo>
                    <a:pt x="0" y="52207"/>
                  </a:lnTo>
                  <a:close/>
                </a:path>
              </a:pathLst>
            </a:custGeom>
            <a:grpFill/>
            <a:ln w="20856" cap="flat">
              <a:noFill/>
              <a:prstDash val="solid"/>
              <a:miter/>
            </a:ln>
          </p:spPr>
          <p:txBody>
            <a:bodyPr rtlCol="0" anchor="ctr"/>
            <a:lstStyle/>
            <a:p>
              <a:endParaRPr lang="fr-FR" sz="900"/>
            </a:p>
          </p:txBody>
        </p:sp>
        <p:sp>
          <p:nvSpPr>
            <p:cNvPr id="71" name="Forme libre : forme 70">
              <a:extLst>
                <a:ext uri="{FF2B5EF4-FFF2-40B4-BE49-F238E27FC236}">
                  <a16:creationId xmlns:a16="http://schemas.microsoft.com/office/drawing/2014/main" id="{5066FD31-0827-98D4-A673-236DD0C95658}"/>
                </a:ext>
              </a:extLst>
            </p:cNvPr>
            <p:cNvSpPr/>
            <p:nvPr/>
          </p:nvSpPr>
          <p:spPr>
            <a:xfrm>
              <a:off x="11839276" y="6531319"/>
              <a:ext cx="52833" cy="52207"/>
            </a:xfrm>
            <a:custGeom>
              <a:avLst/>
              <a:gdLst>
                <a:gd name="connsiteX0" fmla="*/ 0 w 52833"/>
                <a:gd name="connsiteY0" fmla="*/ 0 h 52207"/>
                <a:gd name="connsiteX1" fmla="*/ 52834 w 52833"/>
                <a:gd name="connsiteY1" fmla="*/ 0 h 52207"/>
                <a:gd name="connsiteX2" fmla="*/ 52834 w 52833"/>
                <a:gd name="connsiteY2" fmla="*/ 52207 h 52207"/>
                <a:gd name="connsiteX3" fmla="*/ 0 w 52833"/>
                <a:gd name="connsiteY3" fmla="*/ 52207 h 52207"/>
              </a:gdLst>
              <a:ahLst/>
              <a:cxnLst>
                <a:cxn ang="0">
                  <a:pos x="connsiteX0" y="connsiteY0"/>
                </a:cxn>
                <a:cxn ang="0">
                  <a:pos x="connsiteX1" y="connsiteY1"/>
                </a:cxn>
                <a:cxn ang="0">
                  <a:pos x="connsiteX2" y="connsiteY2"/>
                </a:cxn>
                <a:cxn ang="0">
                  <a:pos x="connsiteX3" y="connsiteY3"/>
                </a:cxn>
              </a:cxnLst>
              <a:rect l="l" t="t" r="r" b="b"/>
              <a:pathLst>
                <a:path w="52833" h="52207">
                  <a:moveTo>
                    <a:pt x="0" y="0"/>
                  </a:moveTo>
                  <a:lnTo>
                    <a:pt x="52834" y="0"/>
                  </a:lnTo>
                  <a:lnTo>
                    <a:pt x="52834" y="52207"/>
                  </a:lnTo>
                  <a:lnTo>
                    <a:pt x="0" y="52207"/>
                  </a:lnTo>
                  <a:close/>
                </a:path>
              </a:pathLst>
            </a:custGeom>
            <a:grpFill/>
            <a:ln w="20856" cap="flat">
              <a:noFill/>
              <a:prstDash val="solid"/>
              <a:miter/>
            </a:ln>
          </p:spPr>
          <p:txBody>
            <a:bodyPr rtlCol="0" anchor="ctr"/>
            <a:lstStyle/>
            <a:p>
              <a:endParaRPr lang="fr-FR" sz="900"/>
            </a:p>
          </p:txBody>
        </p:sp>
        <p:sp>
          <p:nvSpPr>
            <p:cNvPr id="72" name="Forme libre : forme 71">
              <a:extLst>
                <a:ext uri="{FF2B5EF4-FFF2-40B4-BE49-F238E27FC236}">
                  <a16:creationId xmlns:a16="http://schemas.microsoft.com/office/drawing/2014/main" id="{84B3965B-2234-5D54-979F-15F55E61E52D}"/>
                </a:ext>
              </a:extLst>
            </p:cNvPr>
            <p:cNvSpPr/>
            <p:nvPr/>
          </p:nvSpPr>
          <p:spPr>
            <a:xfrm>
              <a:off x="11944943" y="6531319"/>
              <a:ext cx="52833" cy="52207"/>
            </a:xfrm>
            <a:custGeom>
              <a:avLst/>
              <a:gdLst>
                <a:gd name="connsiteX0" fmla="*/ 0 w 52833"/>
                <a:gd name="connsiteY0" fmla="*/ 0 h 52207"/>
                <a:gd name="connsiteX1" fmla="*/ 52833 w 52833"/>
                <a:gd name="connsiteY1" fmla="*/ 0 h 52207"/>
                <a:gd name="connsiteX2" fmla="*/ 52833 w 52833"/>
                <a:gd name="connsiteY2" fmla="*/ 52207 h 52207"/>
                <a:gd name="connsiteX3" fmla="*/ 0 w 52833"/>
                <a:gd name="connsiteY3" fmla="*/ 52207 h 52207"/>
              </a:gdLst>
              <a:ahLst/>
              <a:cxnLst>
                <a:cxn ang="0">
                  <a:pos x="connsiteX0" y="connsiteY0"/>
                </a:cxn>
                <a:cxn ang="0">
                  <a:pos x="connsiteX1" y="connsiteY1"/>
                </a:cxn>
                <a:cxn ang="0">
                  <a:pos x="connsiteX2" y="connsiteY2"/>
                </a:cxn>
                <a:cxn ang="0">
                  <a:pos x="connsiteX3" y="connsiteY3"/>
                </a:cxn>
              </a:cxnLst>
              <a:rect l="l" t="t" r="r" b="b"/>
              <a:pathLst>
                <a:path w="52833" h="52207">
                  <a:moveTo>
                    <a:pt x="0" y="0"/>
                  </a:moveTo>
                  <a:lnTo>
                    <a:pt x="52833" y="0"/>
                  </a:lnTo>
                  <a:lnTo>
                    <a:pt x="52833" y="52207"/>
                  </a:lnTo>
                  <a:lnTo>
                    <a:pt x="0" y="52207"/>
                  </a:lnTo>
                  <a:close/>
                </a:path>
              </a:pathLst>
            </a:custGeom>
            <a:grpFill/>
            <a:ln w="20856" cap="flat">
              <a:noFill/>
              <a:prstDash val="solid"/>
              <a:miter/>
            </a:ln>
          </p:spPr>
          <p:txBody>
            <a:bodyPr rtlCol="0" anchor="ctr"/>
            <a:lstStyle/>
            <a:p>
              <a:endParaRPr lang="fr-FR" sz="900"/>
            </a:p>
          </p:txBody>
        </p:sp>
        <p:sp>
          <p:nvSpPr>
            <p:cNvPr id="73" name="Forme libre : forme 72">
              <a:extLst>
                <a:ext uri="{FF2B5EF4-FFF2-40B4-BE49-F238E27FC236}">
                  <a16:creationId xmlns:a16="http://schemas.microsoft.com/office/drawing/2014/main" id="{CBE53471-AD7F-B9C6-C76F-5D1CD107D403}"/>
                </a:ext>
              </a:extLst>
            </p:cNvPr>
            <p:cNvSpPr/>
            <p:nvPr/>
          </p:nvSpPr>
          <p:spPr>
            <a:xfrm>
              <a:off x="11733609" y="6635733"/>
              <a:ext cx="52833" cy="52207"/>
            </a:xfrm>
            <a:custGeom>
              <a:avLst/>
              <a:gdLst>
                <a:gd name="connsiteX0" fmla="*/ 0 w 52833"/>
                <a:gd name="connsiteY0" fmla="*/ 0 h 52207"/>
                <a:gd name="connsiteX1" fmla="*/ 52834 w 52833"/>
                <a:gd name="connsiteY1" fmla="*/ 0 h 52207"/>
                <a:gd name="connsiteX2" fmla="*/ 52834 w 52833"/>
                <a:gd name="connsiteY2" fmla="*/ 52207 h 52207"/>
                <a:gd name="connsiteX3" fmla="*/ 0 w 52833"/>
                <a:gd name="connsiteY3" fmla="*/ 52207 h 52207"/>
              </a:gdLst>
              <a:ahLst/>
              <a:cxnLst>
                <a:cxn ang="0">
                  <a:pos x="connsiteX0" y="connsiteY0"/>
                </a:cxn>
                <a:cxn ang="0">
                  <a:pos x="connsiteX1" y="connsiteY1"/>
                </a:cxn>
                <a:cxn ang="0">
                  <a:pos x="connsiteX2" y="connsiteY2"/>
                </a:cxn>
                <a:cxn ang="0">
                  <a:pos x="connsiteX3" y="connsiteY3"/>
                </a:cxn>
              </a:cxnLst>
              <a:rect l="l" t="t" r="r" b="b"/>
              <a:pathLst>
                <a:path w="52833" h="52207">
                  <a:moveTo>
                    <a:pt x="0" y="0"/>
                  </a:moveTo>
                  <a:lnTo>
                    <a:pt x="52834" y="0"/>
                  </a:lnTo>
                  <a:lnTo>
                    <a:pt x="52834" y="52207"/>
                  </a:lnTo>
                  <a:lnTo>
                    <a:pt x="0" y="52207"/>
                  </a:lnTo>
                  <a:close/>
                </a:path>
              </a:pathLst>
            </a:custGeom>
            <a:grpFill/>
            <a:ln w="20856" cap="flat">
              <a:noFill/>
              <a:prstDash val="solid"/>
              <a:miter/>
            </a:ln>
          </p:spPr>
          <p:txBody>
            <a:bodyPr rtlCol="0" anchor="ctr"/>
            <a:lstStyle/>
            <a:p>
              <a:endParaRPr lang="fr-FR" sz="900"/>
            </a:p>
          </p:txBody>
        </p:sp>
        <p:sp>
          <p:nvSpPr>
            <p:cNvPr id="74" name="Forme libre : forme 73">
              <a:extLst>
                <a:ext uri="{FF2B5EF4-FFF2-40B4-BE49-F238E27FC236}">
                  <a16:creationId xmlns:a16="http://schemas.microsoft.com/office/drawing/2014/main" id="{FFE338BF-633D-C810-64EC-205423DF5A18}"/>
                </a:ext>
              </a:extLst>
            </p:cNvPr>
            <p:cNvSpPr/>
            <p:nvPr/>
          </p:nvSpPr>
          <p:spPr>
            <a:xfrm>
              <a:off x="11839276" y="6635733"/>
              <a:ext cx="52833" cy="52207"/>
            </a:xfrm>
            <a:custGeom>
              <a:avLst/>
              <a:gdLst>
                <a:gd name="connsiteX0" fmla="*/ 0 w 52833"/>
                <a:gd name="connsiteY0" fmla="*/ 0 h 52207"/>
                <a:gd name="connsiteX1" fmla="*/ 52834 w 52833"/>
                <a:gd name="connsiteY1" fmla="*/ 0 h 52207"/>
                <a:gd name="connsiteX2" fmla="*/ 52834 w 52833"/>
                <a:gd name="connsiteY2" fmla="*/ 52207 h 52207"/>
                <a:gd name="connsiteX3" fmla="*/ 0 w 52833"/>
                <a:gd name="connsiteY3" fmla="*/ 52207 h 52207"/>
              </a:gdLst>
              <a:ahLst/>
              <a:cxnLst>
                <a:cxn ang="0">
                  <a:pos x="connsiteX0" y="connsiteY0"/>
                </a:cxn>
                <a:cxn ang="0">
                  <a:pos x="connsiteX1" y="connsiteY1"/>
                </a:cxn>
                <a:cxn ang="0">
                  <a:pos x="connsiteX2" y="connsiteY2"/>
                </a:cxn>
                <a:cxn ang="0">
                  <a:pos x="connsiteX3" y="connsiteY3"/>
                </a:cxn>
              </a:cxnLst>
              <a:rect l="l" t="t" r="r" b="b"/>
              <a:pathLst>
                <a:path w="52833" h="52207">
                  <a:moveTo>
                    <a:pt x="0" y="0"/>
                  </a:moveTo>
                  <a:lnTo>
                    <a:pt x="52834" y="0"/>
                  </a:lnTo>
                  <a:lnTo>
                    <a:pt x="52834" y="52207"/>
                  </a:lnTo>
                  <a:lnTo>
                    <a:pt x="0" y="52207"/>
                  </a:lnTo>
                  <a:close/>
                </a:path>
              </a:pathLst>
            </a:custGeom>
            <a:grpFill/>
            <a:ln w="20856" cap="flat">
              <a:noFill/>
              <a:prstDash val="solid"/>
              <a:miter/>
            </a:ln>
          </p:spPr>
          <p:txBody>
            <a:bodyPr rtlCol="0" anchor="ctr"/>
            <a:lstStyle/>
            <a:p>
              <a:endParaRPr lang="fr-FR" sz="900"/>
            </a:p>
          </p:txBody>
        </p:sp>
        <p:sp>
          <p:nvSpPr>
            <p:cNvPr id="75" name="Forme libre : forme 74">
              <a:extLst>
                <a:ext uri="{FF2B5EF4-FFF2-40B4-BE49-F238E27FC236}">
                  <a16:creationId xmlns:a16="http://schemas.microsoft.com/office/drawing/2014/main" id="{CF40624E-B2E6-09CA-584D-5880B8BB8409}"/>
                </a:ext>
              </a:extLst>
            </p:cNvPr>
            <p:cNvSpPr/>
            <p:nvPr/>
          </p:nvSpPr>
          <p:spPr>
            <a:xfrm>
              <a:off x="11944943" y="6635733"/>
              <a:ext cx="52833" cy="52207"/>
            </a:xfrm>
            <a:custGeom>
              <a:avLst/>
              <a:gdLst>
                <a:gd name="connsiteX0" fmla="*/ 0 w 52833"/>
                <a:gd name="connsiteY0" fmla="*/ 0 h 52207"/>
                <a:gd name="connsiteX1" fmla="*/ 52833 w 52833"/>
                <a:gd name="connsiteY1" fmla="*/ 0 h 52207"/>
                <a:gd name="connsiteX2" fmla="*/ 52833 w 52833"/>
                <a:gd name="connsiteY2" fmla="*/ 52207 h 52207"/>
                <a:gd name="connsiteX3" fmla="*/ 0 w 52833"/>
                <a:gd name="connsiteY3" fmla="*/ 52207 h 52207"/>
              </a:gdLst>
              <a:ahLst/>
              <a:cxnLst>
                <a:cxn ang="0">
                  <a:pos x="connsiteX0" y="connsiteY0"/>
                </a:cxn>
                <a:cxn ang="0">
                  <a:pos x="connsiteX1" y="connsiteY1"/>
                </a:cxn>
                <a:cxn ang="0">
                  <a:pos x="connsiteX2" y="connsiteY2"/>
                </a:cxn>
                <a:cxn ang="0">
                  <a:pos x="connsiteX3" y="connsiteY3"/>
                </a:cxn>
              </a:cxnLst>
              <a:rect l="l" t="t" r="r" b="b"/>
              <a:pathLst>
                <a:path w="52833" h="52207">
                  <a:moveTo>
                    <a:pt x="0" y="0"/>
                  </a:moveTo>
                  <a:lnTo>
                    <a:pt x="52833" y="0"/>
                  </a:lnTo>
                  <a:lnTo>
                    <a:pt x="52833" y="52207"/>
                  </a:lnTo>
                  <a:lnTo>
                    <a:pt x="0" y="52207"/>
                  </a:lnTo>
                  <a:close/>
                </a:path>
              </a:pathLst>
            </a:custGeom>
            <a:grpFill/>
            <a:ln w="20856" cap="flat">
              <a:noFill/>
              <a:prstDash val="solid"/>
              <a:miter/>
            </a:ln>
          </p:spPr>
          <p:txBody>
            <a:bodyPr rtlCol="0" anchor="ctr"/>
            <a:lstStyle/>
            <a:p>
              <a:endParaRPr lang="fr-FR" sz="900"/>
            </a:p>
          </p:txBody>
        </p:sp>
        <p:sp>
          <p:nvSpPr>
            <p:cNvPr id="76" name="Forme libre : forme 75">
              <a:extLst>
                <a:ext uri="{FF2B5EF4-FFF2-40B4-BE49-F238E27FC236}">
                  <a16:creationId xmlns:a16="http://schemas.microsoft.com/office/drawing/2014/main" id="{8C165B40-6D12-749A-8021-223B8957DA81}"/>
                </a:ext>
              </a:extLst>
            </p:cNvPr>
            <p:cNvSpPr/>
            <p:nvPr/>
          </p:nvSpPr>
          <p:spPr>
            <a:xfrm>
              <a:off x="11733609" y="6740147"/>
              <a:ext cx="52833" cy="52207"/>
            </a:xfrm>
            <a:custGeom>
              <a:avLst/>
              <a:gdLst>
                <a:gd name="connsiteX0" fmla="*/ 0 w 52833"/>
                <a:gd name="connsiteY0" fmla="*/ 0 h 52207"/>
                <a:gd name="connsiteX1" fmla="*/ 52834 w 52833"/>
                <a:gd name="connsiteY1" fmla="*/ 0 h 52207"/>
                <a:gd name="connsiteX2" fmla="*/ 52834 w 52833"/>
                <a:gd name="connsiteY2" fmla="*/ 52207 h 52207"/>
                <a:gd name="connsiteX3" fmla="*/ 0 w 52833"/>
                <a:gd name="connsiteY3" fmla="*/ 52207 h 52207"/>
              </a:gdLst>
              <a:ahLst/>
              <a:cxnLst>
                <a:cxn ang="0">
                  <a:pos x="connsiteX0" y="connsiteY0"/>
                </a:cxn>
                <a:cxn ang="0">
                  <a:pos x="connsiteX1" y="connsiteY1"/>
                </a:cxn>
                <a:cxn ang="0">
                  <a:pos x="connsiteX2" y="connsiteY2"/>
                </a:cxn>
                <a:cxn ang="0">
                  <a:pos x="connsiteX3" y="connsiteY3"/>
                </a:cxn>
              </a:cxnLst>
              <a:rect l="l" t="t" r="r" b="b"/>
              <a:pathLst>
                <a:path w="52833" h="52207">
                  <a:moveTo>
                    <a:pt x="0" y="0"/>
                  </a:moveTo>
                  <a:lnTo>
                    <a:pt x="52834" y="0"/>
                  </a:lnTo>
                  <a:lnTo>
                    <a:pt x="52834" y="52207"/>
                  </a:lnTo>
                  <a:lnTo>
                    <a:pt x="0" y="52207"/>
                  </a:lnTo>
                  <a:close/>
                </a:path>
              </a:pathLst>
            </a:custGeom>
            <a:grpFill/>
            <a:ln w="20856" cap="flat">
              <a:noFill/>
              <a:prstDash val="solid"/>
              <a:miter/>
            </a:ln>
          </p:spPr>
          <p:txBody>
            <a:bodyPr rtlCol="0" anchor="ctr"/>
            <a:lstStyle/>
            <a:p>
              <a:endParaRPr lang="fr-FR" sz="900"/>
            </a:p>
          </p:txBody>
        </p:sp>
        <p:sp>
          <p:nvSpPr>
            <p:cNvPr id="77" name="Forme libre : forme 76">
              <a:extLst>
                <a:ext uri="{FF2B5EF4-FFF2-40B4-BE49-F238E27FC236}">
                  <a16:creationId xmlns:a16="http://schemas.microsoft.com/office/drawing/2014/main" id="{2E46D99A-1AAE-DEBB-8140-4A1234CB6DA4}"/>
                </a:ext>
              </a:extLst>
            </p:cNvPr>
            <p:cNvSpPr/>
            <p:nvPr/>
          </p:nvSpPr>
          <p:spPr>
            <a:xfrm>
              <a:off x="11839276" y="6740147"/>
              <a:ext cx="52833" cy="52207"/>
            </a:xfrm>
            <a:custGeom>
              <a:avLst/>
              <a:gdLst>
                <a:gd name="connsiteX0" fmla="*/ 0 w 52833"/>
                <a:gd name="connsiteY0" fmla="*/ 0 h 52207"/>
                <a:gd name="connsiteX1" fmla="*/ 52834 w 52833"/>
                <a:gd name="connsiteY1" fmla="*/ 0 h 52207"/>
                <a:gd name="connsiteX2" fmla="*/ 52834 w 52833"/>
                <a:gd name="connsiteY2" fmla="*/ 52207 h 52207"/>
                <a:gd name="connsiteX3" fmla="*/ 0 w 52833"/>
                <a:gd name="connsiteY3" fmla="*/ 52207 h 52207"/>
              </a:gdLst>
              <a:ahLst/>
              <a:cxnLst>
                <a:cxn ang="0">
                  <a:pos x="connsiteX0" y="connsiteY0"/>
                </a:cxn>
                <a:cxn ang="0">
                  <a:pos x="connsiteX1" y="connsiteY1"/>
                </a:cxn>
                <a:cxn ang="0">
                  <a:pos x="connsiteX2" y="connsiteY2"/>
                </a:cxn>
                <a:cxn ang="0">
                  <a:pos x="connsiteX3" y="connsiteY3"/>
                </a:cxn>
              </a:cxnLst>
              <a:rect l="l" t="t" r="r" b="b"/>
              <a:pathLst>
                <a:path w="52833" h="52207">
                  <a:moveTo>
                    <a:pt x="0" y="0"/>
                  </a:moveTo>
                  <a:lnTo>
                    <a:pt x="52834" y="0"/>
                  </a:lnTo>
                  <a:lnTo>
                    <a:pt x="52834" y="52207"/>
                  </a:lnTo>
                  <a:lnTo>
                    <a:pt x="0" y="52207"/>
                  </a:lnTo>
                  <a:close/>
                </a:path>
              </a:pathLst>
            </a:custGeom>
            <a:grpFill/>
            <a:ln w="20856" cap="flat">
              <a:noFill/>
              <a:prstDash val="solid"/>
              <a:miter/>
            </a:ln>
          </p:spPr>
          <p:txBody>
            <a:bodyPr rtlCol="0" anchor="ctr"/>
            <a:lstStyle/>
            <a:p>
              <a:endParaRPr lang="fr-FR" sz="900"/>
            </a:p>
          </p:txBody>
        </p:sp>
        <p:sp>
          <p:nvSpPr>
            <p:cNvPr id="78" name="Forme libre : forme 77">
              <a:extLst>
                <a:ext uri="{FF2B5EF4-FFF2-40B4-BE49-F238E27FC236}">
                  <a16:creationId xmlns:a16="http://schemas.microsoft.com/office/drawing/2014/main" id="{3435D568-F85F-1C20-B4DF-688B64DFF776}"/>
                </a:ext>
              </a:extLst>
            </p:cNvPr>
            <p:cNvSpPr/>
            <p:nvPr/>
          </p:nvSpPr>
          <p:spPr>
            <a:xfrm>
              <a:off x="11944943" y="6740147"/>
              <a:ext cx="52833" cy="52207"/>
            </a:xfrm>
            <a:custGeom>
              <a:avLst/>
              <a:gdLst>
                <a:gd name="connsiteX0" fmla="*/ 0 w 52833"/>
                <a:gd name="connsiteY0" fmla="*/ 0 h 52207"/>
                <a:gd name="connsiteX1" fmla="*/ 52833 w 52833"/>
                <a:gd name="connsiteY1" fmla="*/ 0 h 52207"/>
                <a:gd name="connsiteX2" fmla="*/ 52833 w 52833"/>
                <a:gd name="connsiteY2" fmla="*/ 52207 h 52207"/>
                <a:gd name="connsiteX3" fmla="*/ 0 w 52833"/>
                <a:gd name="connsiteY3" fmla="*/ 52207 h 52207"/>
              </a:gdLst>
              <a:ahLst/>
              <a:cxnLst>
                <a:cxn ang="0">
                  <a:pos x="connsiteX0" y="connsiteY0"/>
                </a:cxn>
                <a:cxn ang="0">
                  <a:pos x="connsiteX1" y="connsiteY1"/>
                </a:cxn>
                <a:cxn ang="0">
                  <a:pos x="connsiteX2" y="connsiteY2"/>
                </a:cxn>
                <a:cxn ang="0">
                  <a:pos x="connsiteX3" y="connsiteY3"/>
                </a:cxn>
              </a:cxnLst>
              <a:rect l="l" t="t" r="r" b="b"/>
              <a:pathLst>
                <a:path w="52833" h="52207">
                  <a:moveTo>
                    <a:pt x="0" y="0"/>
                  </a:moveTo>
                  <a:lnTo>
                    <a:pt x="52833" y="0"/>
                  </a:lnTo>
                  <a:lnTo>
                    <a:pt x="52833" y="52207"/>
                  </a:lnTo>
                  <a:lnTo>
                    <a:pt x="0" y="52207"/>
                  </a:lnTo>
                  <a:close/>
                </a:path>
              </a:pathLst>
            </a:custGeom>
            <a:grpFill/>
            <a:ln w="20856" cap="flat">
              <a:noFill/>
              <a:prstDash val="solid"/>
              <a:miter/>
            </a:ln>
          </p:spPr>
          <p:txBody>
            <a:bodyPr rtlCol="0" anchor="ctr"/>
            <a:lstStyle/>
            <a:p>
              <a:endParaRPr lang="fr-FR" sz="900"/>
            </a:p>
          </p:txBody>
        </p:sp>
        <p:sp>
          <p:nvSpPr>
            <p:cNvPr id="79" name="Forme libre : forme 78">
              <a:extLst>
                <a:ext uri="{FF2B5EF4-FFF2-40B4-BE49-F238E27FC236}">
                  <a16:creationId xmlns:a16="http://schemas.microsoft.com/office/drawing/2014/main" id="{36AE24E3-36B8-C217-BB35-118D2F12DEA3}"/>
                </a:ext>
              </a:extLst>
            </p:cNvPr>
            <p:cNvSpPr/>
            <p:nvPr/>
          </p:nvSpPr>
          <p:spPr>
            <a:xfrm>
              <a:off x="11733609" y="6844561"/>
              <a:ext cx="52833" cy="52207"/>
            </a:xfrm>
            <a:custGeom>
              <a:avLst/>
              <a:gdLst>
                <a:gd name="connsiteX0" fmla="*/ 0 w 52833"/>
                <a:gd name="connsiteY0" fmla="*/ 0 h 52207"/>
                <a:gd name="connsiteX1" fmla="*/ 52834 w 52833"/>
                <a:gd name="connsiteY1" fmla="*/ 0 h 52207"/>
                <a:gd name="connsiteX2" fmla="*/ 52834 w 52833"/>
                <a:gd name="connsiteY2" fmla="*/ 52207 h 52207"/>
                <a:gd name="connsiteX3" fmla="*/ 0 w 52833"/>
                <a:gd name="connsiteY3" fmla="*/ 52207 h 52207"/>
              </a:gdLst>
              <a:ahLst/>
              <a:cxnLst>
                <a:cxn ang="0">
                  <a:pos x="connsiteX0" y="connsiteY0"/>
                </a:cxn>
                <a:cxn ang="0">
                  <a:pos x="connsiteX1" y="connsiteY1"/>
                </a:cxn>
                <a:cxn ang="0">
                  <a:pos x="connsiteX2" y="connsiteY2"/>
                </a:cxn>
                <a:cxn ang="0">
                  <a:pos x="connsiteX3" y="connsiteY3"/>
                </a:cxn>
              </a:cxnLst>
              <a:rect l="l" t="t" r="r" b="b"/>
              <a:pathLst>
                <a:path w="52833" h="52207">
                  <a:moveTo>
                    <a:pt x="0" y="0"/>
                  </a:moveTo>
                  <a:lnTo>
                    <a:pt x="52834" y="0"/>
                  </a:lnTo>
                  <a:lnTo>
                    <a:pt x="52834" y="52207"/>
                  </a:lnTo>
                  <a:lnTo>
                    <a:pt x="0" y="52207"/>
                  </a:lnTo>
                  <a:close/>
                </a:path>
              </a:pathLst>
            </a:custGeom>
            <a:grpFill/>
            <a:ln w="20856" cap="flat">
              <a:noFill/>
              <a:prstDash val="solid"/>
              <a:miter/>
            </a:ln>
          </p:spPr>
          <p:txBody>
            <a:bodyPr rtlCol="0" anchor="ctr"/>
            <a:lstStyle/>
            <a:p>
              <a:endParaRPr lang="fr-FR" sz="900"/>
            </a:p>
          </p:txBody>
        </p:sp>
        <p:sp>
          <p:nvSpPr>
            <p:cNvPr id="80" name="Forme libre : forme 79">
              <a:extLst>
                <a:ext uri="{FF2B5EF4-FFF2-40B4-BE49-F238E27FC236}">
                  <a16:creationId xmlns:a16="http://schemas.microsoft.com/office/drawing/2014/main" id="{262AA99C-FBB8-A66A-9D97-4AD14D7E825B}"/>
                </a:ext>
              </a:extLst>
            </p:cNvPr>
            <p:cNvSpPr/>
            <p:nvPr/>
          </p:nvSpPr>
          <p:spPr>
            <a:xfrm>
              <a:off x="11839276" y="6844561"/>
              <a:ext cx="52833" cy="52207"/>
            </a:xfrm>
            <a:custGeom>
              <a:avLst/>
              <a:gdLst>
                <a:gd name="connsiteX0" fmla="*/ 0 w 52833"/>
                <a:gd name="connsiteY0" fmla="*/ 0 h 52207"/>
                <a:gd name="connsiteX1" fmla="*/ 52834 w 52833"/>
                <a:gd name="connsiteY1" fmla="*/ 0 h 52207"/>
                <a:gd name="connsiteX2" fmla="*/ 52834 w 52833"/>
                <a:gd name="connsiteY2" fmla="*/ 52207 h 52207"/>
                <a:gd name="connsiteX3" fmla="*/ 0 w 52833"/>
                <a:gd name="connsiteY3" fmla="*/ 52207 h 52207"/>
              </a:gdLst>
              <a:ahLst/>
              <a:cxnLst>
                <a:cxn ang="0">
                  <a:pos x="connsiteX0" y="connsiteY0"/>
                </a:cxn>
                <a:cxn ang="0">
                  <a:pos x="connsiteX1" y="connsiteY1"/>
                </a:cxn>
                <a:cxn ang="0">
                  <a:pos x="connsiteX2" y="connsiteY2"/>
                </a:cxn>
                <a:cxn ang="0">
                  <a:pos x="connsiteX3" y="connsiteY3"/>
                </a:cxn>
              </a:cxnLst>
              <a:rect l="l" t="t" r="r" b="b"/>
              <a:pathLst>
                <a:path w="52833" h="52207">
                  <a:moveTo>
                    <a:pt x="0" y="0"/>
                  </a:moveTo>
                  <a:lnTo>
                    <a:pt x="52834" y="0"/>
                  </a:lnTo>
                  <a:lnTo>
                    <a:pt x="52834" y="52207"/>
                  </a:lnTo>
                  <a:lnTo>
                    <a:pt x="0" y="52207"/>
                  </a:lnTo>
                  <a:close/>
                </a:path>
              </a:pathLst>
            </a:custGeom>
            <a:grpFill/>
            <a:ln w="20856" cap="flat">
              <a:noFill/>
              <a:prstDash val="solid"/>
              <a:miter/>
            </a:ln>
          </p:spPr>
          <p:txBody>
            <a:bodyPr rtlCol="0" anchor="ctr"/>
            <a:lstStyle/>
            <a:p>
              <a:endParaRPr lang="fr-FR" sz="900"/>
            </a:p>
          </p:txBody>
        </p:sp>
        <p:sp>
          <p:nvSpPr>
            <p:cNvPr id="81" name="Forme libre : forme 80">
              <a:extLst>
                <a:ext uri="{FF2B5EF4-FFF2-40B4-BE49-F238E27FC236}">
                  <a16:creationId xmlns:a16="http://schemas.microsoft.com/office/drawing/2014/main" id="{9C5B4906-E571-0D05-8783-2A52665129D9}"/>
                </a:ext>
              </a:extLst>
            </p:cNvPr>
            <p:cNvSpPr/>
            <p:nvPr/>
          </p:nvSpPr>
          <p:spPr>
            <a:xfrm>
              <a:off x="11944943" y="6844561"/>
              <a:ext cx="52833" cy="52207"/>
            </a:xfrm>
            <a:custGeom>
              <a:avLst/>
              <a:gdLst>
                <a:gd name="connsiteX0" fmla="*/ 0 w 52833"/>
                <a:gd name="connsiteY0" fmla="*/ 0 h 52207"/>
                <a:gd name="connsiteX1" fmla="*/ 52833 w 52833"/>
                <a:gd name="connsiteY1" fmla="*/ 0 h 52207"/>
                <a:gd name="connsiteX2" fmla="*/ 52833 w 52833"/>
                <a:gd name="connsiteY2" fmla="*/ 52207 h 52207"/>
                <a:gd name="connsiteX3" fmla="*/ 0 w 52833"/>
                <a:gd name="connsiteY3" fmla="*/ 52207 h 52207"/>
              </a:gdLst>
              <a:ahLst/>
              <a:cxnLst>
                <a:cxn ang="0">
                  <a:pos x="connsiteX0" y="connsiteY0"/>
                </a:cxn>
                <a:cxn ang="0">
                  <a:pos x="connsiteX1" y="connsiteY1"/>
                </a:cxn>
                <a:cxn ang="0">
                  <a:pos x="connsiteX2" y="connsiteY2"/>
                </a:cxn>
                <a:cxn ang="0">
                  <a:pos x="connsiteX3" y="connsiteY3"/>
                </a:cxn>
              </a:cxnLst>
              <a:rect l="l" t="t" r="r" b="b"/>
              <a:pathLst>
                <a:path w="52833" h="52207">
                  <a:moveTo>
                    <a:pt x="0" y="0"/>
                  </a:moveTo>
                  <a:lnTo>
                    <a:pt x="52833" y="0"/>
                  </a:lnTo>
                  <a:lnTo>
                    <a:pt x="52833" y="52207"/>
                  </a:lnTo>
                  <a:lnTo>
                    <a:pt x="0" y="52207"/>
                  </a:lnTo>
                  <a:close/>
                </a:path>
              </a:pathLst>
            </a:custGeom>
            <a:grpFill/>
            <a:ln w="20856" cap="flat">
              <a:noFill/>
              <a:prstDash val="solid"/>
              <a:miter/>
            </a:ln>
          </p:spPr>
          <p:txBody>
            <a:bodyPr rtlCol="0" anchor="ctr"/>
            <a:lstStyle/>
            <a:p>
              <a:endParaRPr lang="fr-FR" sz="900"/>
            </a:p>
          </p:txBody>
        </p:sp>
        <p:sp>
          <p:nvSpPr>
            <p:cNvPr id="82" name="Forme libre : forme 81">
              <a:extLst>
                <a:ext uri="{FF2B5EF4-FFF2-40B4-BE49-F238E27FC236}">
                  <a16:creationId xmlns:a16="http://schemas.microsoft.com/office/drawing/2014/main" id="{56FE42A8-ED2D-924D-5B2C-6A8677680514}"/>
                </a:ext>
              </a:extLst>
            </p:cNvPr>
            <p:cNvSpPr/>
            <p:nvPr/>
          </p:nvSpPr>
          <p:spPr>
            <a:xfrm>
              <a:off x="11414519" y="6738059"/>
              <a:ext cx="54924" cy="315330"/>
            </a:xfrm>
            <a:custGeom>
              <a:avLst/>
              <a:gdLst>
                <a:gd name="connsiteX0" fmla="*/ 27565 w 54924"/>
                <a:gd name="connsiteY0" fmla="*/ 315330 h 315330"/>
                <a:gd name="connsiteX1" fmla="*/ 0 w 54924"/>
                <a:gd name="connsiteY1" fmla="*/ 288183 h 315330"/>
                <a:gd name="connsiteX2" fmla="*/ 0 w 54924"/>
                <a:gd name="connsiteY2" fmla="*/ 27148 h 315330"/>
                <a:gd name="connsiteX3" fmla="*/ 27565 w 54924"/>
                <a:gd name="connsiteY3" fmla="*/ 0 h 315330"/>
                <a:gd name="connsiteX4" fmla="*/ 54922 w 54924"/>
                <a:gd name="connsiteY4" fmla="*/ 27148 h 315330"/>
                <a:gd name="connsiteX5" fmla="*/ 54922 w 54924"/>
                <a:gd name="connsiteY5" fmla="*/ 288183 h 315330"/>
                <a:gd name="connsiteX6" fmla="*/ 27565 w 54924"/>
                <a:gd name="connsiteY6" fmla="*/ 315330 h 315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924" h="315330">
                  <a:moveTo>
                    <a:pt x="27565" y="315330"/>
                  </a:moveTo>
                  <a:cubicBezTo>
                    <a:pt x="12739" y="315330"/>
                    <a:pt x="0" y="302801"/>
                    <a:pt x="0" y="288183"/>
                  </a:cubicBezTo>
                  <a:lnTo>
                    <a:pt x="0" y="27148"/>
                  </a:lnTo>
                  <a:cubicBezTo>
                    <a:pt x="0" y="12530"/>
                    <a:pt x="12739" y="0"/>
                    <a:pt x="27565" y="0"/>
                  </a:cubicBezTo>
                  <a:cubicBezTo>
                    <a:pt x="42392" y="0"/>
                    <a:pt x="54922" y="12530"/>
                    <a:pt x="54922" y="27148"/>
                  </a:cubicBezTo>
                  <a:lnTo>
                    <a:pt x="54922" y="288183"/>
                  </a:lnTo>
                  <a:cubicBezTo>
                    <a:pt x="55131" y="302801"/>
                    <a:pt x="42392" y="315330"/>
                    <a:pt x="27565" y="315330"/>
                  </a:cubicBezTo>
                  <a:close/>
                </a:path>
              </a:pathLst>
            </a:custGeom>
            <a:grpFill/>
            <a:ln w="20856" cap="flat">
              <a:noFill/>
              <a:prstDash val="solid"/>
              <a:miter/>
            </a:ln>
          </p:spPr>
          <p:txBody>
            <a:bodyPr rtlCol="0" anchor="ctr"/>
            <a:lstStyle/>
            <a:p>
              <a:endParaRPr lang="fr-FR" sz="900"/>
            </a:p>
          </p:txBody>
        </p:sp>
        <p:sp>
          <p:nvSpPr>
            <p:cNvPr id="83" name="Forme libre : forme 82">
              <a:extLst>
                <a:ext uri="{FF2B5EF4-FFF2-40B4-BE49-F238E27FC236}">
                  <a16:creationId xmlns:a16="http://schemas.microsoft.com/office/drawing/2014/main" id="{042F4A25-06B8-54AB-D5E9-BD0AD4C94CFC}"/>
                </a:ext>
              </a:extLst>
            </p:cNvPr>
            <p:cNvSpPr/>
            <p:nvPr/>
          </p:nvSpPr>
          <p:spPr>
            <a:xfrm>
              <a:off x="12259855" y="6842473"/>
              <a:ext cx="54712" cy="210916"/>
            </a:xfrm>
            <a:custGeom>
              <a:avLst/>
              <a:gdLst>
                <a:gd name="connsiteX0" fmla="*/ 27356 w 54712"/>
                <a:gd name="connsiteY0" fmla="*/ 210916 h 210916"/>
                <a:gd name="connsiteX1" fmla="*/ 0 w 54712"/>
                <a:gd name="connsiteY1" fmla="*/ 183769 h 210916"/>
                <a:gd name="connsiteX2" fmla="*/ 0 w 54712"/>
                <a:gd name="connsiteY2" fmla="*/ 27148 h 210916"/>
                <a:gd name="connsiteX3" fmla="*/ 27356 w 54712"/>
                <a:gd name="connsiteY3" fmla="*/ 0 h 210916"/>
                <a:gd name="connsiteX4" fmla="*/ 54713 w 54712"/>
                <a:gd name="connsiteY4" fmla="*/ 27148 h 210916"/>
                <a:gd name="connsiteX5" fmla="*/ 54713 w 54712"/>
                <a:gd name="connsiteY5" fmla="*/ 183769 h 210916"/>
                <a:gd name="connsiteX6" fmla="*/ 27356 w 54712"/>
                <a:gd name="connsiteY6" fmla="*/ 210916 h 210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712" h="210916">
                  <a:moveTo>
                    <a:pt x="27356" y="210916"/>
                  </a:moveTo>
                  <a:cubicBezTo>
                    <a:pt x="12530" y="210916"/>
                    <a:pt x="0" y="198387"/>
                    <a:pt x="0" y="183769"/>
                  </a:cubicBezTo>
                  <a:lnTo>
                    <a:pt x="0" y="27148"/>
                  </a:lnTo>
                  <a:cubicBezTo>
                    <a:pt x="0" y="12530"/>
                    <a:pt x="12738" y="0"/>
                    <a:pt x="27356" y="0"/>
                  </a:cubicBezTo>
                  <a:cubicBezTo>
                    <a:pt x="41974" y="0"/>
                    <a:pt x="54713" y="12530"/>
                    <a:pt x="54713" y="27148"/>
                  </a:cubicBezTo>
                  <a:lnTo>
                    <a:pt x="54713" y="183769"/>
                  </a:lnTo>
                  <a:cubicBezTo>
                    <a:pt x="54713" y="198387"/>
                    <a:pt x="41974" y="210916"/>
                    <a:pt x="27356" y="210916"/>
                  </a:cubicBezTo>
                  <a:close/>
                </a:path>
              </a:pathLst>
            </a:custGeom>
            <a:grpFill/>
            <a:ln w="20856" cap="flat">
              <a:noFill/>
              <a:prstDash val="solid"/>
              <a:miter/>
            </a:ln>
          </p:spPr>
          <p:txBody>
            <a:bodyPr rtlCol="0" anchor="ctr"/>
            <a:lstStyle/>
            <a:p>
              <a:endParaRPr lang="fr-FR" sz="900"/>
            </a:p>
          </p:txBody>
        </p:sp>
      </p:grpSp>
    </p:spTree>
    <p:extLst>
      <p:ext uri="{BB962C8B-B14F-4D97-AF65-F5344CB8AC3E}">
        <p14:creationId xmlns:p14="http://schemas.microsoft.com/office/powerpoint/2010/main" val="292905119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D99D748C-3DB8-D417-1EFD-3E6A58FD3D57}"/>
              </a:ext>
            </a:extLst>
          </p:cNvPr>
          <p:cNvSpPr/>
          <p:nvPr/>
        </p:nvSpPr>
        <p:spPr>
          <a:xfrm>
            <a:off x="-227905" y="2299759"/>
            <a:ext cx="12429046" cy="3763907"/>
          </a:xfrm>
          <a:prstGeom prst="rect">
            <a:avLst/>
          </a:prstGeom>
          <a:gradFill flip="none" rotWithShape="1">
            <a:gsLst>
              <a:gs pos="0">
                <a:schemeClr val="tx1">
                  <a:alpha val="45000"/>
                </a:schemeClr>
              </a:gs>
              <a:gs pos="100000">
                <a:schemeClr val="tx1">
                  <a:alpha val="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00" dirty="0"/>
          </a:p>
        </p:txBody>
      </p:sp>
      <p:pic>
        <p:nvPicPr>
          <p:cNvPr id="15" name="Image 14" descr="Une image contenant ciel, extérieur, rivière, rive&#10;&#10;Description générée automatiquement">
            <a:extLst>
              <a:ext uri="{FF2B5EF4-FFF2-40B4-BE49-F238E27FC236}">
                <a16:creationId xmlns:a16="http://schemas.microsoft.com/office/drawing/2014/main" id="{3F971D0D-18FA-4E58-8F70-52A83644D9F3}"/>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89360" y="-10764"/>
            <a:ext cx="12395268" cy="6074430"/>
          </a:xfrm>
          <a:prstGeom prst="rect">
            <a:avLst/>
          </a:prstGeom>
        </p:spPr>
      </p:pic>
      <p:sp>
        <p:nvSpPr>
          <p:cNvPr id="13" name="object 2">
            <a:extLst>
              <a:ext uri="{FF2B5EF4-FFF2-40B4-BE49-F238E27FC236}">
                <a16:creationId xmlns:a16="http://schemas.microsoft.com/office/drawing/2014/main" id="{A211DB27-E702-4A3A-4759-BD08E71C18B6}"/>
              </a:ext>
            </a:extLst>
          </p:cNvPr>
          <p:cNvSpPr txBox="1">
            <a:spLocks/>
          </p:cNvSpPr>
          <p:nvPr/>
        </p:nvSpPr>
        <p:spPr>
          <a:xfrm>
            <a:off x="2502569" y="4740799"/>
            <a:ext cx="10015261" cy="779489"/>
          </a:xfrm>
          <a:prstGeom prst="rect">
            <a:avLst/>
          </a:prstGeom>
        </p:spPr>
        <p:txBody>
          <a:bodyPr vert="horz" wrap="square" lIns="0" tIns="40430" rIns="0" bIns="0" rtlCol="0" anchor="ctr">
            <a:spAutoFit/>
          </a:bodyPr>
          <a:lstStyle>
            <a:lvl1pPr algn="l" defTabSz="457200" rtl="0" eaLnBrk="0" fontAlgn="base" hangingPunct="0">
              <a:spcBef>
                <a:spcPct val="0"/>
              </a:spcBef>
              <a:spcAft>
                <a:spcPct val="0"/>
              </a:spcAft>
              <a:defRPr sz="1100" kern="1200">
                <a:solidFill>
                  <a:schemeClr val="tx1"/>
                </a:solidFill>
                <a:latin typeface="Univers LT Std 57 Cn" panose="020B0506020202050204" pitchFamily="34" charset="0"/>
                <a:ea typeface="+mj-ea"/>
                <a:cs typeface="+mj-cs"/>
              </a:defRPr>
            </a:lvl1pPr>
            <a:lvl2pPr algn="l" defTabSz="457200" rtl="0" eaLnBrk="0" fontAlgn="base" hangingPunct="0">
              <a:spcBef>
                <a:spcPct val="0"/>
              </a:spcBef>
              <a:spcAft>
                <a:spcPct val="0"/>
              </a:spcAft>
              <a:defRPr sz="1100">
                <a:solidFill>
                  <a:schemeClr val="tx1"/>
                </a:solidFill>
                <a:latin typeface="Univers LT Std 57 Cn" panose="020B0506020202050204" pitchFamily="34" charset="0"/>
                <a:cs typeface="Arial" panose="020B0604020202020204" pitchFamily="34" charset="0"/>
              </a:defRPr>
            </a:lvl2pPr>
            <a:lvl3pPr algn="l" defTabSz="457200" rtl="0" eaLnBrk="0" fontAlgn="base" hangingPunct="0">
              <a:spcBef>
                <a:spcPct val="0"/>
              </a:spcBef>
              <a:spcAft>
                <a:spcPct val="0"/>
              </a:spcAft>
              <a:defRPr sz="1100">
                <a:solidFill>
                  <a:schemeClr val="tx1"/>
                </a:solidFill>
                <a:latin typeface="Univers LT Std 57 Cn" panose="020B0506020202050204" pitchFamily="34" charset="0"/>
                <a:cs typeface="Arial" panose="020B0604020202020204" pitchFamily="34" charset="0"/>
              </a:defRPr>
            </a:lvl3pPr>
            <a:lvl4pPr algn="l" defTabSz="457200" rtl="0" eaLnBrk="0" fontAlgn="base" hangingPunct="0">
              <a:spcBef>
                <a:spcPct val="0"/>
              </a:spcBef>
              <a:spcAft>
                <a:spcPct val="0"/>
              </a:spcAft>
              <a:defRPr sz="1100">
                <a:solidFill>
                  <a:schemeClr val="tx1"/>
                </a:solidFill>
                <a:latin typeface="Univers LT Std 57 Cn" panose="020B0506020202050204" pitchFamily="34" charset="0"/>
                <a:cs typeface="Arial" panose="020B0604020202020204" pitchFamily="34" charset="0"/>
              </a:defRPr>
            </a:lvl4pPr>
            <a:lvl5pPr algn="l" defTabSz="457200" rtl="0" eaLnBrk="0" fontAlgn="base" hangingPunct="0">
              <a:spcBef>
                <a:spcPct val="0"/>
              </a:spcBef>
              <a:spcAft>
                <a:spcPct val="0"/>
              </a:spcAft>
              <a:defRPr sz="1100">
                <a:solidFill>
                  <a:schemeClr val="tx1"/>
                </a:solidFill>
                <a:latin typeface="Univers LT Std 57 Cn" panose="020B0506020202050204" pitchFamily="34" charset="0"/>
                <a:cs typeface="Arial" panose="020B0604020202020204" pitchFamily="34" charset="0"/>
              </a:defRPr>
            </a:lvl5pPr>
            <a:lvl6pPr marL="457200" algn="l" defTabSz="457200" rtl="0" fontAlgn="base">
              <a:spcBef>
                <a:spcPct val="0"/>
              </a:spcBef>
              <a:spcAft>
                <a:spcPct val="0"/>
              </a:spcAft>
              <a:defRPr sz="1200">
                <a:solidFill>
                  <a:schemeClr val="tx1"/>
                </a:solidFill>
                <a:latin typeface="Arial" panose="020B0604020202020204" pitchFamily="34" charset="0"/>
                <a:cs typeface="Arial" panose="020B0604020202020204" pitchFamily="34" charset="0"/>
              </a:defRPr>
            </a:lvl6pPr>
            <a:lvl7pPr marL="914400" algn="l" defTabSz="457200" rtl="0" fontAlgn="base">
              <a:spcBef>
                <a:spcPct val="0"/>
              </a:spcBef>
              <a:spcAft>
                <a:spcPct val="0"/>
              </a:spcAft>
              <a:defRPr sz="1200">
                <a:solidFill>
                  <a:schemeClr val="tx1"/>
                </a:solidFill>
                <a:latin typeface="Arial" panose="020B0604020202020204" pitchFamily="34" charset="0"/>
                <a:cs typeface="Arial" panose="020B0604020202020204" pitchFamily="34" charset="0"/>
              </a:defRPr>
            </a:lvl7pPr>
            <a:lvl8pPr marL="1371600" algn="l" defTabSz="457200" rtl="0" fontAlgn="base">
              <a:spcBef>
                <a:spcPct val="0"/>
              </a:spcBef>
              <a:spcAft>
                <a:spcPct val="0"/>
              </a:spcAft>
              <a:defRPr sz="1200">
                <a:solidFill>
                  <a:schemeClr val="tx1"/>
                </a:solidFill>
                <a:latin typeface="Arial" panose="020B0604020202020204" pitchFamily="34" charset="0"/>
                <a:cs typeface="Arial" panose="020B0604020202020204" pitchFamily="34" charset="0"/>
              </a:defRPr>
            </a:lvl8pPr>
            <a:lvl9pPr marL="1828800" algn="l" defTabSz="457200" rtl="0" fontAlgn="base">
              <a:spcBef>
                <a:spcPct val="0"/>
              </a:spcBef>
              <a:spcAft>
                <a:spcPct val="0"/>
              </a:spcAft>
              <a:defRPr sz="1200">
                <a:solidFill>
                  <a:schemeClr val="tx1"/>
                </a:solidFill>
                <a:latin typeface="Arial" panose="020B0604020202020204" pitchFamily="34" charset="0"/>
                <a:cs typeface="Arial" panose="020B0604020202020204" pitchFamily="34" charset="0"/>
              </a:defRPr>
            </a:lvl9pPr>
          </a:lstStyle>
          <a:p>
            <a:pPr marL="7701" marR="3082">
              <a:spcBef>
                <a:spcPts val="318"/>
              </a:spcBef>
            </a:pPr>
            <a:r>
              <a:rPr lang="fr-FR" sz="2400" spc="-6" dirty="0">
                <a:solidFill>
                  <a:schemeClr val="bg1"/>
                </a:solidFill>
                <a:latin typeface="Arial Black"/>
                <a:cs typeface="Arial Black"/>
              </a:rPr>
              <a:t>LYON, MÉTROPOLE EUROPÉENNE, </a:t>
            </a:r>
            <a:br>
              <a:rPr lang="fr-FR" sz="2400" spc="-6" dirty="0">
                <a:solidFill>
                  <a:schemeClr val="bg1"/>
                </a:solidFill>
                <a:latin typeface="Arial Black"/>
                <a:cs typeface="Arial Black"/>
              </a:rPr>
            </a:br>
            <a:r>
              <a:rPr lang="fr-FR" sz="2400" spc="-6" dirty="0">
                <a:solidFill>
                  <a:schemeClr val="bg1"/>
                </a:solidFill>
                <a:latin typeface="Arial Black"/>
                <a:cs typeface="Arial Black"/>
              </a:rPr>
              <a:t>ACTRICE D’UN DÉVELOPPEMENT ECONOMIQUE VERTUEUX</a:t>
            </a:r>
          </a:p>
        </p:txBody>
      </p:sp>
      <p:grpSp>
        <p:nvGrpSpPr>
          <p:cNvPr id="11" name="Groupe 10">
            <a:extLst>
              <a:ext uri="{FF2B5EF4-FFF2-40B4-BE49-F238E27FC236}">
                <a16:creationId xmlns:a16="http://schemas.microsoft.com/office/drawing/2014/main" id="{0F383EC9-EF06-39F6-2963-19BF4497E9FB}"/>
              </a:ext>
            </a:extLst>
          </p:cNvPr>
          <p:cNvGrpSpPr/>
          <p:nvPr/>
        </p:nvGrpSpPr>
        <p:grpSpPr>
          <a:xfrm>
            <a:off x="0" y="5869752"/>
            <a:ext cx="2582927" cy="904990"/>
            <a:chOff x="6189044" y="11173899"/>
            <a:chExt cx="5165853" cy="1809980"/>
          </a:xfrm>
        </p:grpSpPr>
        <p:sp>
          <p:nvSpPr>
            <p:cNvPr id="9" name="Rectangle 8">
              <a:extLst>
                <a:ext uri="{FF2B5EF4-FFF2-40B4-BE49-F238E27FC236}">
                  <a16:creationId xmlns:a16="http://schemas.microsoft.com/office/drawing/2014/main" id="{EA9E93AE-24BA-AB1C-A7DA-9A1EABC1B679}"/>
                </a:ext>
              </a:extLst>
            </p:cNvPr>
            <p:cNvSpPr/>
            <p:nvPr/>
          </p:nvSpPr>
          <p:spPr>
            <a:xfrm>
              <a:off x="6275672" y="11251933"/>
              <a:ext cx="3291840" cy="66955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00"/>
            </a:p>
          </p:txBody>
        </p:sp>
        <p:sp>
          <p:nvSpPr>
            <p:cNvPr id="10" name="Rectangle 9">
              <a:extLst>
                <a:ext uri="{FF2B5EF4-FFF2-40B4-BE49-F238E27FC236}">
                  <a16:creationId xmlns:a16="http://schemas.microsoft.com/office/drawing/2014/main" id="{E3CFEACD-7F62-BB60-ABBE-C835D2E8FFBA}"/>
                </a:ext>
              </a:extLst>
            </p:cNvPr>
            <p:cNvSpPr/>
            <p:nvPr/>
          </p:nvSpPr>
          <p:spPr>
            <a:xfrm>
              <a:off x="9805156" y="12159152"/>
              <a:ext cx="1389025" cy="66955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00"/>
            </a:p>
          </p:txBody>
        </p:sp>
        <p:pic>
          <p:nvPicPr>
            <p:cNvPr id="8" name="Graphique 7">
              <a:extLst>
                <a:ext uri="{FF2B5EF4-FFF2-40B4-BE49-F238E27FC236}">
                  <a16:creationId xmlns:a16="http://schemas.microsoft.com/office/drawing/2014/main" id="{95A9565D-9AFB-2044-0093-F6D43C6B329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189044" y="11173899"/>
              <a:ext cx="5165853" cy="1809980"/>
            </a:xfrm>
            <a:prstGeom prst="rect">
              <a:avLst/>
            </a:prstGeom>
          </p:spPr>
        </p:pic>
      </p:grpSp>
      <p:sp>
        <p:nvSpPr>
          <p:cNvPr id="3" name="ZoneTexte 2">
            <a:extLst>
              <a:ext uri="{FF2B5EF4-FFF2-40B4-BE49-F238E27FC236}">
                <a16:creationId xmlns:a16="http://schemas.microsoft.com/office/drawing/2014/main" id="{E79CA044-27EA-DFD1-21F5-35E27DF200D7}"/>
              </a:ext>
            </a:extLst>
          </p:cNvPr>
          <p:cNvSpPr txBox="1"/>
          <p:nvPr/>
        </p:nvSpPr>
        <p:spPr>
          <a:xfrm rot="5400000">
            <a:off x="-881614" y="5515933"/>
            <a:ext cx="1606487" cy="200055"/>
          </a:xfrm>
          <a:prstGeom prst="rect">
            <a:avLst/>
          </a:prstGeom>
          <a:noFill/>
        </p:spPr>
        <p:txBody>
          <a:bodyPr wrap="square">
            <a:spAutoFit/>
          </a:bodyPr>
          <a:lstStyle/>
          <a:p>
            <a:r>
              <a:rPr lang="fr-FR" sz="700" i="1" dirty="0">
                <a:solidFill>
                  <a:schemeClr val="bg1">
                    <a:lumMod val="65000"/>
                  </a:schemeClr>
                </a:solidFill>
                <a:latin typeface="Arial" panose="020B0604020202020204" pitchFamily="34" charset="0"/>
                <a:cs typeface="Arial" panose="020B0604020202020204" pitchFamily="34" charset="0"/>
              </a:rPr>
              <a:t>Crédits photo : </a:t>
            </a:r>
            <a:r>
              <a:rPr lang="fr-FR" sz="700" i="1" dirty="0" err="1">
                <a:solidFill>
                  <a:schemeClr val="bg1">
                    <a:lumMod val="65000"/>
                  </a:schemeClr>
                </a:solidFill>
                <a:latin typeface="Arial" panose="020B0604020202020204" pitchFamily="34" charset="0"/>
                <a:cs typeface="Arial" panose="020B0604020202020204" pitchFamily="34" charset="0"/>
              </a:rPr>
              <a:t>Myr</a:t>
            </a:r>
            <a:r>
              <a:rPr lang="fr-FR" sz="700" i="1" dirty="0">
                <a:solidFill>
                  <a:schemeClr val="bg1">
                    <a:lumMod val="65000"/>
                  </a:schemeClr>
                </a:solidFill>
                <a:latin typeface="Arial" panose="020B0604020202020204" pitchFamily="34" charset="0"/>
                <a:cs typeface="Arial" panose="020B0604020202020204" pitchFamily="34" charset="0"/>
              </a:rPr>
              <a:t> </a:t>
            </a:r>
            <a:r>
              <a:rPr lang="fr-FR" sz="700" i="1" dirty="0" err="1">
                <a:solidFill>
                  <a:schemeClr val="bg1">
                    <a:lumMod val="65000"/>
                  </a:schemeClr>
                </a:solidFill>
                <a:latin typeface="Arial" panose="020B0604020202020204" pitchFamily="34" charset="0"/>
                <a:cs typeface="Arial" panose="020B0604020202020204" pitchFamily="34" charset="0"/>
              </a:rPr>
              <a:t>Muratet</a:t>
            </a:r>
            <a:endParaRPr lang="fr-FR" sz="700" i="1" dirty="0">
              <a:solidFill>
                <a:schemeClr val="bg1">
                  <a:lumMod val="65000"/>
                </a:schemeClr>
              </a:solidFill>
              <a:latin typeface="Arial" panose="020B0604020202020204" pitchFamily="34" charset="0"/>
              <a:cs typeface="Arial" panose="020B0604020202020204" pitchFamily="34" charset="0"/>
            </a:endParaRPr>
          </a:p>
        </p:txBody>
      </p:sp>
      <p:sp>
        <p:nvSpPr>
          <p:cNvPr id="16" name="object 3">
            <a:extLst>
              <a:ext uri="{FF2B5EF4-FFF2-40B4-BE49-F238E27FC236}">
                <a16:creationId xmlns:a16="http://schemas.microsoft.com/office/drawing/2014/main" id="{9D4F05DD-E116-40C9-AAB5-9F1D217F7B7A}"/>
              </a:ext>
            </a:extLst>
          </p:cNvPr>
          <p:cNvSpPr txBox="1"/>
          <p:nvPr/>
        </p:nvSpPr>
        <p:spPr>
          <a:xfrm>
            <a:off x="1770916" y="5846198"/>
            <a:ext cx="9943670" cy="195163"/>
          </a:xfrm>
          <a:prstGeom prst="rect">
            <a:avLst/>
          </a:prstGeom>
        </p:spPr>
        <p:txBody>
          <a:bodyPr vert="horz" wrap="square" lIns="0" tIns="10396" rIns="0" bIns="0" rtlCol="0">
            <a:spAutoFit/>
          </a:bodyPr>
          <a:lstStyle/>
          <a:p>
            <a:pPr marL="293443" indent="-285742">
              <a:spcBef>
                <a:spcPts val="82"/>
              </a:spcBef>
              <a:buFont typeface="Arial" panose="020B0604020202020204" pitchFamily="34" charset="0"/>
              <a:buChar char="•"/>
            </a:pPr>
            <a:r>
              <a:rPr lang="fr-FR" sz="1200" spc="12" dirty="0">
                <a:solidFill>
                  <a:srgbClr val="FFFFFF"/>
                </a:solidFill>
                <a:latin typeface="Arial"/>
                <a:cs typeface="Arial"/>
              </a:rPr>
              <a:t>Émeline BAUME, Vice-présidente à l’Économie, l’Emploi, le Commerce, le Numérique et la Commande publique de la Métropole de Lyon</a:t>
            </a:r>
          </a:p>
        </p:txBody>
      </p:sp>
    </p:spTree>
    <p:extLst>
      <p:ext uri="{BB962C8B-B14F-4D97-AF65-F5344CB8AC3E}">
        <p14:creationId xmlns:p14="http://schemas.microsoft.com/office/powerpoint/2010/main" val="3776390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388A91-2CC9-9743-E443-7E12616182ED}"/>
            </a:ext>
          </a:extLst>
        </p:cNvPr>
        <p:cNvGrpSpPr/>
        <p:nvPr/>
      </p:nvGrpSpPr>
      <p:grpSpPr>
        <a:xfrm>
          <a:off x="0" y="0"/>
          <a:ext cx="0" cy="0"/>
          <a:chOff x="0" y="0"/>
          <a:chExt cx="0" cy="0"/>
        </a:xfrm>
      </p:grpSpPr>
      <p:sp>
        <p:nvSpPr>
          <p:cNvPr id="45" name="Rectangle 44">
            <a:extLst>
              <a:ext uri="{FF2B5EF4-FFF2-40B4-BE49-F238E27FC236}">
                <a16:creationId xmlns:a16="http://schemas.microsoft.com/office/drawing/2014/main" id="{7558C9CD-FCAD-E20A-11D9-1426FACF5750}"/>
              </a:ext>
            </a:extLst>
          </p:cNvPr>
          <p:cNvSpPr/>
          <p:nvPr/>
        </p:nvSpPr>
        <p:spPr>
          <a:xfrm>
            <a:off x="397" y="0"/>
            <a:ext cx="105878" cy="6858000"/>
          </a:xfrm>
          <a:prstGeom prst="rect">
            <a:avLst/>
          </a:prstGeom>
          <a:solidFill>
            <a:srgbClr val="E400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00" dirty="0"/>
          </a:p>
        </p:txBody>
      </p:sp>
      <p:sp>
        <p:nvSpPr>
          <p:cNvPr id="74" name="Rectangle 73">
            <a:extLst>
              <a:ext uri="{FF2B5EF4-FFF2-40B4-BE49-F238E27FC236}">
                <a16:creationId xmlns:a16="http://schemas.microsoft.com/office/drawing/2014/main" id="{2E9C9C56-E4D0-1BA5-7A1F-989C604088BA}"/>
              </a:ext>
            </a:extLst>
          </p:cNvPr>
          <p:cNvSpPr/>
          <p:nvPr/>
        </p:nvSpPr>
        <p:spPr>
          <a:xfrm>
            <a:off x="1413630" y="1801482"/>
            <a:ext cx="3439545" cy="574234"/>
          </a:xfrm>
          <a:prstGeom prst="rect">
            <a:avLst/>
          </a:prstGeom>
          <a:no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wrap="square" lIns="54000" tIns="27000" rIns="54000" bIns="54000" rtlCol="0" anchor="ctr">
            <a:spAutoFit/>
          </a:bodyPr>
          <a:lstStyle/>
          <a:p>
            <a:pPr defTabSz="171450">
              <a:spcBef>
                <a:spcPts val="600"/>
              </a:spcBef>
              <a:buClr>
                <a:srgbClr val="F60000"/>
              </a:buClr>
              <a:defRPr/>
            </a:pPr>
            <a:r>
              <a:rPr lang="fr-FR" sz="1600" b="1" spc="12" dirty="0">
                <a:solidFill>
                  <a:schemeClr val="tx1"/>
                </a:solidFill>
                <a:latin typeface="Arial"/>
              </a:rPr>
              <a:t>UNE INDUSTRIE</a:t>
            </a:r>
            <a:br>
              <a:rPr lang="fr-FR" sz="1600" b="1" spc="12" dirty="0">
                <a:solidFill>
                  <a:schemeClr val="tx1"/>
                </a:solidFill>
                <a:latin typeface="Arial"/>
              </a:rPr>
            </a:br>
            <a:r>
              <a:rPr lang="fr-FR" sz="1600" b="1" spc="12" dirty="0">
                <a:solidFill>
                  <a:srgbClr val="E4002B"/>
                </a:solidFill>
                <a:latin typeface="Arial"/>
              </a:rPr>
              <a:t>DÉCARBONEE </a:t>
            </a:r>
          </a:p>
        </p:txBody>
      </p:sp>
      <p:sp>
        <p:nvSpPr>
          <p:cNvPr id="75" name="Rectangle 74">
            <a:extLst>
              <a:ext uri="{FF2B5EF4-FFF2-40B4-BE49-F238E27FC236}">
                <a16:creationId xmlns:a16="http://schemas.microsoft.com/office/drawing/2014/main" id="{7B8F8282-5921-9DDA-4DA8-42AC6C12E2C6}"/>
              </a:ext>
            </a:extLst>
          </p:cNvPr>
          <p:cNvSpPr/>
          <p:nvPr/>
        </p:nvSpPr>
        <p:spPr>
          <a:xfrm>
            <a:off x="981145" y="1701429"/>
            <a:ext cx="696985" cy="820455"/>
          </a:xfrm>
          <a:prstGeom prst="rect">
            <a:avLst/>
          </a:prstGeom>
          <a:no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wrap="square" lIns="54000" tIns="27000" rIns="54000" bIns="54000" rtlCol="0" anchor="ctr">
            <a:spAutoFit/>
          </a:bodyPr>
          <a:lstStyle/>
          <a:p>
            <a:pPr defTabSz="171450">
              <a:spcBef>
                <a:spcPts val="600"/>
              </a:spcBef>
              <a:buClr>
                <a:srgbClr val="F60000"/>
              </a:buClr>
              <a:defRPr/>
            </a:pPr>
            <a:r>
              <a:rPr lang="fr-FR" sz="4800" spc="12" dirty="0">
                <a:solidFill>
                  <a:srgbClr val="E4002B"/>
                </a:solidFill>
                <a:latin typeface="Arial Black" panose="020B0A04020102020204" pitchFamily="34" charset="0"/>
              </a:rPr>
              <a:t>1</a:t>
            </a:r>
            <a:endParaRPr lang="fr-FR" sz="2200" spc="12" dirty="0">
              <a:solidFill>
                <a:srgbClr val="E4002B"/>
              </a:solidFill>
              <a:latin typeface="Arial Black" panose="020B0A04020102020204" pitchFamily="34" charset="0"/>
            </a:endParaRPr>
          </a:p>
        </p:txBody>
      </p:sp>
      <p:sp>
        <p:nvSpPr>
          <p:cNvPr id="30" name="Rectangle 29">
            <a:extLst>
              <a:ext uri="{FF2B5EF4-FFF2-40B4-BE49-F238E27FC236}">
                <a16:creationId xmlns:a16="http://schemas.microsoft.com/office/drawing/2014/main" id="{91D3FDA1-6CE6-4CDC-9370-9C73D612B590}"/>
              </a:ext>
            </a:extLst>
          </p:cNvPr>
          <p:cNvSpPr/>
          <p:nvPr/>
        </p:nvSpPr>
        <p:spPr>
          <a:xfrm>
            <a:off x="1510567" y="3709166"/>
            <a:ext cx="3439545" cy="574234"/>
          </a:xfrm>
          <a:prstGeom prst="rect">
            <a:avLst/>
          </a:prstGeom>
          <a:no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wrap="square" lIns="54000" tIns="27000" rIns="54000" bIns="54000" rtlCol="0" anchor="ctr">
            <a:spAutoFit/>
          </a:bodyPr>
          <a:lstStyle/>
          <a:p>
            <a:pPr defTabSz="171450">
              <a:spcBef>
                <a:spcPts val="600"/>
              </a:spcBef>
              <a:buClr>
                <a:srgbClr val="F60000"/>
              </a:buClr>
              <a:defRPr/>
            </a:pPr>
            <a:r>
              <a:rPr lang="fr-FR" sz="1600" b="1" spc="12" dirty="0">
                <a:solidFill>
                  <a:schemeClr val="tx1"/>
                </a:solidFill>
                <a:latin typeface="Arial"/>
              </a:rPr>
              <a:t>UNE INDUSTRIE</a:t>
            </a:r>
            <a:br>
              <a:rPr lang="fr-FR" sz="1600" b="1" spc="12" dirty="0">
                <a:solidFill>
                  <a:schemeClr val="tx1"/>
                </a:solidFill>
                <a:latin typeface="Arial"/>
              </a:rPr>
            </a:br>
            <a:r>
              <a:rPr lang="fr-FR" sz="1600" b="1" spc="12" dirty="0">
                <a:solidFill>
                  <a:srgbClr val="E4002B"/>
                </a:solidFill>
                <a:latin typeface="Arial"/>
              </a:rPr>
              <a:t>CIRCULAIRE</a:t>
            </a:r>
            <a:r>
              <a:rPr lang="fr-FR" sz="1600" b="1" spc="12" dirty="0">
                <a:solidFill>
                  <a:schemeClr val="tx1"/>
                </a:solidFill>
                <a:latin typeface="Arial"/>
              </a:rPr>
              <a:t> </a:t>
            </a:r>
            <a:endParaRPr lang="fr-FR" sz="1600" b="1" spc="12" dirty="0">
              <a:solidFill>
                <a:srgbClr val="E4002B"/>
              </a:solidFill>
              <a:latin typeface="Arial"/>
            </a:endParaRPr>
          </a:p>
        </p:txBody>
      </p:sp>
      <p:sp>
        <p:nvSpPr>
          <p:cNvPr id="31" name="Rectangle 30">
            <a:extLst>
              <a:ext uri="{FF2B5EF4-FFF2-40B4-BE49-F238E27FC236}">
                <a16:creationId xmlns:a16="http://schemas.microsoft.com/office/drawing/2014/main" id="{AE753E95-741F-4876-A3F1-9FA15DAC5189}"/>
              </a:ext>
            </a:extLst>
          </p:cNvPr>
          <p:cNvSpPr/>
          <p:nvPr/>
        </p:nvSpPr>
        <p:spPr>
          <a:xfrm>
            <a:off x="1018584" y="3578419"/>
            <a:ext cx="696985" cy="820455"/>
          </a:xfrm>
          <a:prstGeom prst="rect">
            <a:avLst/>
          </a:prstGeom>
          <a:no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wrap="square" lIns="54000" tIns="27000" rIns="54000" bIns="54000" rtlCol="0" anchor="ctr">
            <a:spAutoFit/>
          </a:bodyPr>
          <a:lstStyle/>
          <a:p>
            <a:pPr defTabSz="171450">
              <a:spcBef>
                <a:spcPts val="600"/>
              </a:spcBef>
              <a:buClr>
                <a:srgbClr val="F60000"/>
              </a:buClr>
              <a:defRPr/>
            </a:pPr>
            <a:r>
              <a:rPr lang="fr-FR" sz="4800" spc="12" dirty="0">
                <a:solidFill>
                  <a:schemeClr val="tx1"/>
                </a:solidFill>
                <a:latin typeface="Arial Black" panose="020B0A04020102020204" pitchFamily="34" charset="0"/>
              </a:rPr>
              <a:t>2</a:t>
            </a:r>
          </a:p>
        </p:txBody>
      </p:sp>
      <p:grpSp>
        <p:nvGrpSpPr>
          <p:cNvPr id="39" name="Groupe 38">
            <a:extLst>
              <a:ext uri="{FF2B5EF4-FFF2-40B4-BE49-F238E27FC236}">
                <a16:creationId xmlns:a16="http://schemas.microsoft.com/office/drawing/2014/main" id="{28C555D9-6D4B-4AE8-9880-7052C39EF94E}"/>
              </a:ext>
            </a:extLst>
          </p:cNvPr>
          <p:cNvGrpSpPr/>
          <p:nvPr/>
        </p:nvGrpSpPr>
        <p:grpSpPr>
          <a:xfrm>
            <a:off x="6199203" y="43314"/>
            <a:ext cx="5694960" cy="6822772"/>
            <a:chOff x="809927" y="995880"/>
            <a:chExt cx="3932193" cy="5241958"/>
          </a:xfrm>
        </p:grpSpPr>
        <p:pic>
          <p:nvPicPr>
            <p:cNvPr id="40" name="Image 39">
              <a:extLst>
                <a:ext uri="{FF2B5EF4-FFF2-40B4-BE49-F238E27FC236}">
                  <a16:creationId xmlns:a16="http://schemas.microsoft.com/office/drawing/2014/main" id="{605A6A77-4BB3-4F1C-B981-E1A969329F53}"/>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809927" y="995880"/>
              <a:ext cx="3932193" cy="5241958"/>
            </a:xfrm>
            <a:prstGeom prst="rect">
              <a:avLst/>
            </a:prstGeom>
            <a:ln>
              <a:noFill/>
            </a:ln>
          </p:spPr>
        </p:pic>
        <p:pic>
          <p:nvPicPr>
            <p:cNvPr id="41" name="Image 40">
              <a:extLst>
                <a:ext uri="{FF2B5EF4-FFF2-40B4-BE49-F238E27FC236}">
                  <a16:creationId xmlns:a16="http://schemas.microsoft.com/office/drawing/2014/main" id="{D455C735-896E-4AE0-9B29-F0540C8ED576}"/>
                </a:ext>
              </a:extLst>
            </p:cNvPr>
            <p:cNvPicPr>
              <a:picLocks noChangeAspect="1"/>
            </p:cNvPicPr>
            <p:nvPr/>
          </p:nvPicPr>
          <p:blipFill>
            <a:blip r:embed="rId4"/>
            <a:stretch>
              <a:fillRect/>
            </a:stretch>
          </p:blipFill>
          <p:spPr>
            <a:xfrm>
              <a:off x="1011276" y="2782077"/>
              <a:ext cx="1017170" cy="304623"/>
            </a:xfrm>
            <a:prstGeom prst="rect">
              <a:avLst/>
            </a:prstGeom>
          </p:spPr>
        </p:pic>
        <p:pic>
          <p:nvPicPr>
            <p:cNvPr id="42" name="Image 41">
              <a:extLst>
                <a:ext uri="{FF2B5EF4-FFF2-40B4-BE49-F238E27FC236}">
                  <a16:creationId xmlns:a16="http://schemas.microsoft.com/office/drawing/2014/main" id="{5C5500CC-4DC2-48AD-A143-6C95B06035BD}"/>
                </a:ext>
              </a:extLst>
            </p:cNvPr>
            <p:cNvPicPr>
              <a:picLocks noChangeAspect="1"/>
            </p:cNvPicPr>
            <p:nvPr/>
          </p:nvPicPr>
          <p:blipFill>
            <a:blip r:embed="rId5"/>
            <a:stretch>
              <a:fillRect/>
            </a:stretch>
          </p:blipFill>
          <p:spPr>
            <a:xfrm>
              <a:off x="3057082" y="3646023"/>
              <a:ext cx="1177653" cy="281126"/>
            </a:xfrm>
            <a:prstGeom prst="rect">
              <a:avLst/>
            </a:prstGeom>
          </p:spPr>
        </p:pic>
        <p:pic>
          <p:nvPicPr>
            <p:cNvPr id="43" name="Image 42">
              <a:extLst>
                <a:ext uri="{FF2B5EF4-FFF2-40B4-BE49-F238E27FC236}">
                  <a16:creationId xmlns:a16="http://schemas.microsoft.com/office/drawing/2014/main" id="{EF352E36-6BE7-4139-831D-DB6FAA9122AD}"/>
                </a:ext>
              </a:extLst>
            </p:cNvPr>
            <p:cNvPicPr>
              <a:picLocks noChangeAspect="1"/>
            </p:cNvPicPr>
            <p:nvPr/>
          </p:nvPicPr>
          <p:blipFill>
            <a:blip r:embed="rId6"/>
            <a:stretch>
              <a:fillRect/>
            </a:stretch>
          </p:blipFill>
          <p:spPr>
            <a:xfrm>
              <a:off x="2810103" y="3254542"/>
              <a:ext cx="1177654" cy="391481"/>
            </a:xfrm>
            <a:prstGeom prst="rect">
              <a:avLst/>
            </a:prstGeom>
          </p:spPr>
        </p:pic>
        <p:pic>
          <p:nvPicPr>
            <p:cNvPr id="44" name="Image 43">
              <a:extLst>
                <a:ext uri="{FF2B5EF4-FFF2-40B4-BE49-F238E27FC236}">
                  <a16:creationId xmlns:a16="http://schemas.microsoft.com/office/drawing/2014/main" id="{47CA1A04-A309-4D80-B30F-7232F419A275}"/>
                </a:ext>
              </a:extLst>
            </p:cNvPr>
            <p:cNvPicPr>
              <a:picLocks noChangeAspect="1"/>
            </p:cNvPicPr>
            <p:nvPr/>
          </p:nvPicPr>
          <p:blipFill>
            <a:blip r:embed="rId6"/>
            <a:stretch>
              <a:fillRect/>
            </a:stretch>
          </p:blipFill>
          <p:spPr>
            <a:xfrm>
              <a:off x="2745652" y="1905703"/>
              <a:ext cx="1177654" cy="391481"/>
            </a:xfrm>
            <a:prstGeom prst="rect">
              <a:avLst/>
            </a:prstGeom>
          </p:spPr>
        </p:pic>
        <p:pic>
          <p:nvPicPr>
            <p:cNvPr id="46" name="Image 45" descr="Une image contenant logo, Police, Graphique, graphisme&#10;&#10;Description générée automatiquement">
              <a:extLst>
                <a:ext uri="{FF2B5EF4-FFF2-40B4-BE49-F238E27FC236}">
                  <a16:creationId xmlns:a16="http://schemas.microsoft.com/office/drawing/2014/main" id="{52051C1E-F065-4180-8AAA-60AE2F0838AA}"/>
                </a:ext>
              </a:extLst>
            </p:cNvPr>
            <p:cNvPicPr>
              <a:picLocks noChangeAspect="1"/>
            </p:cNvPicPr>
            <p:nvPr/>
          </p:nvPicPr>
          <p:blipFill>
            <a:blip r:embed="rId7" cstate="hq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3763853" y="1029500"/>
              <a:ext cx="941764" cy="595077"/>
            </a:xfrm>
            <a:prstGeom prst="rect">
              <a:avLst/>
            </a:prstGeom>
          </p:spPr>
        </p:pic>
      </p:grpSp>
      <p:sp>
        <p:nvSpPr>
          <p:cNvPr id="47" name="object 13">
            <a:extLst>
              <a:ext uri="{FF2B5EF4-FFF2-40B4-BE49-F238E27FC236}">
                <a16:creationId xmlns:a16="http://schemas.microsoft.com/office/drawing/2014/main" id="{68BF1F36-AA2D-4718-9DCE-8D67388AC9E8}"/>
              </a:ext>
            </a:extLst>
          </p:cNvPr>
          <p:cNvSpPr txBox="1"/>
          <p:nvPr/>
        </p:nvSpPr>
        <p:spPr>
          <a:xfrm>
            <a:off x="1413630" y="2456002"/>
            <a:ext cx="3884258" cy="1265988"/>
          </a:xfrm>
          <a:prstGeom prst="rect">
            <a:avLst/>
          </a:prstGeom>
        </p:spPr>
        <p:txBody>
          <a:bodyPr vert="horz" wrap="square" lIns="0" tIns="0" rIns="0" bIns="0" rtlCol="0">
            <a:spAutoFit/>
          </a:bodyPr>
          <a:lstStyle/>
          <a:p>
            <a:pPr marL="289601" indent="-285750">
              <a:lnSpc>
                <a:spcPct val="90000"/>
              </a:lnSpc>
              <a:spcAft>
                <a:spcPts val="364"/>
              </a:spcAft>
              <a:buFont typeface="Arial" panose="020B0604020202020204" pitchFamily="34" charset="0"/>
              <a:buChar char="•"/>
            </a:pPr>
            <a:r>
              <a:rPr lang="fr-FR" sz="1400" b="1" kern="0" dirty="0">
                <a:solidFill>
                  <a:srgbClr val="000000"/>
                </a:solidFill>
                <a:latin typeface="Arial"/>
                <a:cs typeface="Arial"/>
              </a:rPr>
              <a:t>Projet DECLYC (</a:t>
            </a:r>
            <a:r>
              <a:rPr lang="fr-FR" sz="1400" b="1" spc="6" dirty="0">
                <a:latin typeface="Arial" panose="020B0604020202020204" pitchFamily="34" charset="0"/>
                <a:cs typeface="Arial" panose="020B0604020202020204" pitchFamily="34" charset="0"/>
              </a:rPr>
              <a:t>Décarboner Lyon Vallée de la Chimie) </a:t>
            </a:r>
            <a:r>
              <a:rPr lang="fr-FR" sz="1400" b="1" kern="0" dirty="0">
                <a:solidFill>
                  <a:srgbClr val="000000"/>
                </a:solidFill>
                <a:latin typeface="Arial"/>
                <a:cs typeface="Arial"/>
              </a:rPr>
              <a:t>: </a:t>
            </a:r>
            <a:r>
              <a:rPr lang="fr-FR" sz="1400" kern="0" dirty="0">
                <a:solidFill>
                  <a:srgbClr val="000000"/>
                </a:solidFill>
                <a:latin typeface="Arial"/>
                <a:cs typeface="Arial"/>
              </a:rPr>
              <a:t>1,9 % M€ (50 % État / 50 % industriels)</a:t>
            </a:r>
          </a:p>
          <a:p>
            <a:pPr marL="289601" indent="-285750">
              <a:lnSpc>
                <a:spcPct val="90000"/>
              </a:lnSpc>
              <a:spcAft>
                <a:spcPts val="364"/>
              </a:spcAft>
              <a:buFont typeface="Arial" panose="020B0604020202020204" pitchFamily="34" charset="0"/>
              <a:buChar char="•"/>
            </a:pPr>
            <a:r>
              <a:rPr lang="fr-FR" sz="1400" kern="0" dirty="0">
                <a:solidFill>
                  <a:srgbClr val="000000"/>
                </a:solidFill>
                <a:latin typeface="Arial"/>
                <a:cs typeface="Arial"/>
              </a:rPr>
              <a:t>Nombreux </a:t>
            </a:r>
            <a:r>
              <a:rPr lang="fr-FR" sz="1400" b="1" kern="0" dirty="0">
                <a:solidFill>
                  <a:srgbClr val="000000"/>
                </a:solidFill>
                <a:latin typeface="Arial"/>
                <a:cs typeface="Arial"/>
              </a:rPr>
              <a:t>appels à projets </a:t>
            </a:r>
            <a:r>
              <a:rPr lang="fr-FR" sz="1400" kern="0" dirty="0">
                <a:solidFill>
                  <a:srgbClr val="000000"/>
                </a:solidFill>
                <a:latin typeface="Arial"/>
                <a:cs typeface="Arial"/>
              </a:rPr>
              <a:t>permettant d’accélérer la transition des industriels </a:t>
            </a:r>
          </a:p>
          <a:p>
            <a:pPr marL="289601" indent="-285750">
              <a:lnSpc>
                <a:spcPct val="90000"/>
              </a:lnSpc>
              <a:spcAft>
                <a:spcPts val="364"/>
              </a:spcAft>
              <a:buFont typeface="Arial" panose="020B0604020202020204" pitchFamily="34" charset="0"/>
              <a:buChar char="•"/>
            </a:pPr>
            <a:endParaRPr lang="fr-FR" sz="1400" b="1" kern="0" dirty="0">
              <a:solidFill>
                <a:srgbClr val="000000"/>
              </a:solidFill>
              <a:latin typeface="Arial"/>
              <a:cs typeface="Arial"/>
            </a:endParaRPr>
          </a:p>
        </p:txBody>
      </p:sp>
      <p:sp>
        <p:nvSpPr>
          <p:cNvPr id="8" name="Rectangle 7">
            <a:extLst>
              <a:ext uri="{FF2B5EF4-FFF2-40B4-BE49-F238E27FC236}">
                <a16:creationId xmlns:a16="http://schemas.microsoft.com/office/drawing/2014/main" id="{D3E1C69F-D997-429D-8ADC-8CDA844EE7A0}"/>
              </a:ext>
            </a:extLst>
          </p:cNvPr>
          <p:cNvSpPr/>
          <p:nvPr/>
        </p:nvSpPr>
        <p:spPr>
          <a:xfrm>
            <a:off x="1510567" y="4385399"/>
            <a:ext cx="5077417" cy="1544012"/>
          </a:xfrm>
          <a:prstGeom prst="rect">
            <a:avLst/>
          </a:prstGeom>
        </p:spPr>
        <p:txBody>
          <a:bodyPr wrap="square">
            <a:spAutoFit/>
          </a:bodyPr>
          <a:lstStyle/>
          <a:p>
            <a:r>
              <a:rPr lang="fr-FR" sz="1400" b="1" dirty="0">
                <a:latin typeface="Arial" panose="020B0604020202020204" pitchFamily="34" charset="0"/>
                <a:cs typeface="Arial" panose="020B0604020202020204" pitchFamily="34" charset="0"/>
              </a:rPr>
              <a:t>La Métropole de Lyon, territoire pionnier de la circularisation de l'industrie</a:t>
            </a:r>
          </a:p>
          <a:p>
            <a:pPr marL="289601" lvl="1" indent="-285750">
              <a:lnSpc>
                <a:spcPct val="90000"/>
              </a:lnSpc>
              <a:spcAft>
                <a:spcPts val="364"/>
              </a:spcAft>
              <a:buFont typeface="Arial" panose="020B0604020202020204" pitchFamily="34" charset="0"/>
              <a:buChar char="•"/>
            </a:pPr>
            <a:r>
              <a:rPr lang="fr-FR" altLang="fr-FR" sz="1400" kern="0" dirty="0">
                <a:solidFill>
                  <a:srgbClr val="000000"/>
                </a:solidFill>
                <a:latin typeface="Arial"/>
                <a:cs typeface="Arial"/>
              </a:rPr>
              <a:t>Le soutien au développement des entreprises industrielles circulaires</a:t>
            </a:r>
          </a:p>
          <a:p>
            <a:pPr marL="289601" lvl="1" indent="-285750">
              <a:lnSpc>
                <a:spcPct val="90000"/>
              </a:lnSpc>
              <a:spcAft>
                <a:spcPts val="364"/>
              </a:spcAft>
              <a:buFont typeface="Arial" panose="020B0604020202020204" pitchFamily="34" charset="0"/>
              <a:buChar char="•"/>
            </a:pPr>
            <a:r>
              <a:rPr lang="fr-FR" altLang="fr-FR" sz="1400" kern="0" dirty="0">
                <a:solidFill>
                  <a:srgbClr val="000000"/>
                </a:solidFill>
                <a:latin typeface="Arial"/>
                <a:cs typeface="Arial"/>
              </a:rPr>
              <a:t>L’accompagnement des industriels du territoire dans un changement de modèle : c</a:t>
            </a:r>
            <a:r>
              <a:rPr lang="fr-FR" sz="1400" kern="0" dirty="0">
                <a:solidFill>
                  <a:srgbClr val="000000"/>
                </a:solidFill>
                <a:latin typeface="Arial"/>
                <a:cs typeface="Arial"/>
              </a:rPr>
              <a:t>hoix des matières premières, écoconception, nouveaux cycles de vie</a:t>
            </a:r>
            <a:endParaRPr lang="fr-FR" sz="900" dirty="0">
              <a:solidFill>
                <a:srgbClr val="FFFF00"/>
              </a:solidFill>
            </a:endParaRPr>
          </a:p>
        </p:txBody>
      </p:sp>
      <p:grpSp>
        <p:nvGrpSpPr>
          <p:cNvPr id="2" name="Groupe 1">
            <a:extLst>
              <a:ext uri="{FF2B5EF4-FFF2-40B4-BE49-F238E27FC236}">
                <a16:creationId xmlns:a16="http://schemas.microsoft.com/office/drawing/2014/main" id="{4D221107-57B5-49F9-2258-749A617D3CC7}"/>
              </a:ext>
            </a:extLst>
          </p:cNvPr>
          <p:cNvGrpSpPr/>
          <p:nvPr/>
        </p:nvGrpSpPr>
        <p:grpSpPr>
          <a:xfrm rot="16200000">
            <a:off x="11251291" y="5917861"/>
            <a:ext cx="1392084" cy="487750"/>
            <a:chOff x="6189044" y="11173899"/>
            <a:chExt cx="5165853" cy="1809980"/>
          </a:xfrm>
        </p:grpSpPr>
        <p:sp>
          <p:nvSpPr>
            <p:cNvPr id="3" name="Rectangle 2">
              <a:extLst>
                <a:ext uri="{FF2B5EF4-FFF2-40B4-BE49-F238E27FC236}">
                  <a16:creationId xmlns:a16="http://schemas.microsoft.com/office/drawing/2014/main" id="{7CEFD1F2-A593-6CDD-FAA1-B0E7162C59CE}"/>
                </a:ext>
              </a:extLst>
            </p:cNvPr>
            <p:cNvSpPr/>
            <p:nvPr/>
          </p:nvSpPr>
          <p:spPr>
            <a:xfrm>
              <a:off x="6275672" y="11251933"/>
              <a:ext cx="3291840" cy="66955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00"/>
            </a:p>
          </p:txBody>
        </p:sp>
        <p:sp>
          <p:nvSpPr>
            <p:cNvPr id="5" name="Rectangle 4">
              <a:extLst>
                <a:ext uri="{FF2B5EF4-FFF2-40B4-BE49-F238E27FC236}">
                  <a16:creationId xmlns:a16="http://schemas.microsoft.com/office/drawing/2014/main" id="{41C6AA68-E726-82D5-853E-6B0EDDCE9982}"/>
                </a:ext>
              </a:extLst>
            </p:cNvPr>
            <p:cNvSpPr/>
            <p:nvPr/>
          </p:nvSpPr>
          <p:spPr>
            <a:xfrm>
              <a:off x="9805156" y="12159152"/>
              <a:ext cx="1389025" cy="66955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00"/>
            </a:p>
          </p:txBody>
        </p:sp>
        <p:pic>
          <p:nvPicPr>
            <p:cNvPr id="6" name="Graphique 5">
              <a:extLst>
                <a:ext uri="{FF2B5EF4-FFF2-40B4-BE49-F238E27FC236}">
                  <a16:creationId xmlns:a16="http://schemas.microsoft.com/office/drawing/2014/main" id="{3429B488-A8FD-46F2-FA14-3E2BF9B1A992}"/>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6189044" y="11173899"/>
              <a:ext cx="5165853" cy="1809980"/>
            </a:xfrm>
            <a:prstGeom prst="rect">
              <a:avLst/>
            </a:prstGeom>
          </p:spPr>
        </p:pic>
      </p:grpSp>
      <p:sp>
        <p:nvSpPr>
          <p:cNvPr id="7" name="object 8">
            <a:extLst>
              <a:ext uri="{FF2B5EF4-FFF2-40B4-BE49-F238E27FC236}">
                <a16:creationId xmlns:a16="http://schemas.microsoft.com/office/drawing/2014/main" id="{A6C9147B-0BB5-0E52-8AAC-50BCFC35AF89}"/>
              </a:ext>
            </a:extLst>
          </p:cNvPr>
          <p:cNvSpPr txBox="1">
            <a:spLocks/>
          </p:cNvSpPr>
          <p:nvPr/>
        </p:nvSpPr>
        <p:spPr>
          <a:xfrm>
            <a:off x="515074" y="506027"/>
            <a:ext cx="9974798" cy="1019356"/>
          </a:xfrm>
          <a:prstGeom prst="rect">
            <a:avLst/>
          </a:prstGeom>
        </p:spPr>
        <p:txBody>
          <a:bodyPr vert="horz" wrap="square" lIns="0" tIns="3658" rIns="0" bIns="0" rtlCol="0" anchor="ctr">
            <a:spAutoFit/>
          </a:bodyPr>
          <a:lstStyle>
            <a:lvl1pPr algn="l" defTabSz="1828709" rtl="0" eaLnBrk="1" latinLnBrk="0" hangingPunct="1">
              <a:lnSpc>
                <a:spcPct val="90000"/>
              </a:lnSpc>
              <a:spcBef>
                <a:spcPct val="0"/>
              </a:spcBef>
              <a:buNone/>
              <a:defRPr sz="8800" kern="1200">
                <a:solidFill>
                  <a:schemeClr val="tx1"/>
                </a:solidFill>
                <a:latin typeface="+mj-lt"/>
                <a:ea typeface="+mj-ea"/>
                <a:cs typeface="+mj-cs"/>
              </a:defRPr>
            </a:lvl1pPr>
          </a:lstStyle>
          <a:p>
            <a:pPr marL="3851">
              <a:lnSpc>
                <a:spcPct val="100000"/>
              </a:lnSpc>
              <a:spcBef>
                <a:spcPts val="29"/>
              </a:spcBef>
              <a:tabLst>
                <a:tab pos="1528050" algn="l"/>
              </a:tabLst>
            </a:pPr>
            <a:r>
              <a:rPr lang="fr-FR" sz="2200" spc="-2" dirty="0">
                <a:solidFill>
                  <a:srgbClr val="E4002B"/>
                </a:solidFill>
                <a:latin typeface="Arial Black" panose="020B0A04020102020204" pitchFamily="34" charset="0"/>
              </a:rPr>
              <a:t>DES ACTIONS CONCRÈTES </a:t>
            </a:r>
          </a:p>
          <a:p>
            <a:pPr marL="3851">
              <a:lnSpc>
                <a:spcPct val="100000"/>
              </a:lnSpc>
              <a:spcBef>
                <a:spcPts val="29"/>
              </a:spcBef>
              <a:tabLst>
                <a:tab pos="1528050" algn="l"/>
              </a:tabLst>
            </a:pPr>
            <a:r>
              <a:rPr lang="fr-FR" sz="2200" spc="-2" dirty="0">
                <a:latin typeface="Arial Black" panose="020B0A04020102020204" pitchFamily="34" charset="0"/>
              </a:rPr>
              <a:t>      POUR UNE INDUSTRIE DÉCARBONÉE, </a:t>
            </a:r>
          </a:p>
          <a:p>
            <a:pPr marL="3851">
              <a:lnSpc>
                <a:spcPct val="100000"/>
              </a:lnSpc>
              <a:spcBef>
                <a:spcPts val="29"/>
              </a:spcBef>
              <a:tabLst>
                <a:tab pos="1528050" algn="l"/>
              </a:tabLst>
            </a:pPr>
            <a:r>
              <a:rPr lang="fr-FR" sz="2200" spc="-2" dirty="0">
                <a:latin typeface="Arial Black" panose="020B0A04020102020204" pitchFamily="34" charset="0"/>
              </a:rPr>
              <a:t>      CIRCULAIRE, INCLUSIVE ET À IMPACT</a:t>
            </a:r>
          </a:p>
        </p:txBody>
      </p:sp>
      <p:sp>
        <p:nvSpPr>
          <p:cNvPr id="21" name="object 13">
            <a:extLst>
              <a:ext uri="{FF2B5EF4-FFF2-40B4-BE49-F238E27FC236}">
                <a16:creationId xmlns:a16="http://schemas.microsoft.com/office/drawing/2014/main" id="{A9DC1BEC-C930-4E19-ADC8-817B2A502D79}"/>
              </a:ext>
            </a:extLst>
          </p:cNvPr>
          <p:cNvSpPr txBox="1"/>
          <p:nvPr/>
        </p:nvSpPr>
        <p:spPr>
          <a:xfrm>
            <a:off x="9078043" y="348429"/>
            <a:ext cx="1266559" cy="609398"/>
          </a:xfrm>
          <a:prstGeom prst="rect">
            <a:avLst/>
          </a:prstGeom>
          <a:ln>
            <a:solidFill>
              <a:schemeClr val="tx1"/>
            </a:solidFill>
          </a:ln>
        </p:spPr>
        <p:txBody>
          <a:bodyPr vert="horz" wrap="square" lIns="0" tIns="0" rIns="0" bIns="0" rtlCol="0">
            <a:spAutoFit/>
          </a:bodyPr>
          <a:lstStyle/>
          <a:p>
            <a:pPr marL="3851" algn="ctr">
              <a:lnSpc>
                <a:spcPct val="90000"/>
              </a:lnSpc>
              <a:spcAft>
                <a:spcPts val="364"/>
              </a:spcAft>
            </a:pPr>
            <a:r>
              <a:rPr lang="fr-FR" sz="2200" b="1" kern="0" dirty="0">
                <a:solidFill>
                  <a:srgbClr val="000000"/>
                </a:solidFill>
                <a:latin typeface="Arial"/>
                <a:cs typeface="Arial"/>
              </a:rPr>
              <a:t>Projet DECLYC</a:t>
            </a:r>
          </a:p>
        </p:txBody>
      </p:sp>
    </p:spTree>
    <p:extLst>
      <p:ext uri="{BB962C8B-B14F-4D97-AF65-F5344CB8AC3E}">
        <p14:creationId xmlns:p14="http://schemas.microsoft.com/office/powerpoint/2010/main" val="385981036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388A91-2CC9-9743-E443-7E12616182ED}"/>
            </a:ext>
          </a:extLst>
        </p:cNvPr>
        <p:cNvGrpSpPr/>
        <p:nvPr/>
      </p:nvGrpSpPr>
      <p:grpSpPr>
        <a:xfrm>
          <a:off x="0" y="0"/>
          <a:ext cx="0" cy="0"/>
          <a:chOff x="0" y="0"/>
          <a:chExt cx="0" cy="0"/>
        </a:xfrm>
      </p:grpSpPr>
      <p:sp>
        <p:nvSpPr>
          <p:cNvPr id="45" name="Rectangle 44">
            <a:extLst>
              <a:ext uri="{FF2B5EF4-FFF2-40B4-BE49-F238E27FC236}">
                <a16:creationId xmlns:a16="http://schemas.microsoft.com/office/drawing/2014/main" id="{7558C9CD-FCAD-E20A-11D9-1426FACF5750}"/>
              </a:ext>
            </a:extLst>
          </p:cNvPr>
          <p:cNvSpPr/>
          <p:nvPr/>
        </p:nvSpPr>
        <p:spPr>
          <a:xfrm>
            <a:off x="397" y="0"/>
            <a:ext cx="105878" cy="6858000"/>
          </a:xfrm>
          <a:prstGeom prst="rect">
            <a:avLst/>
          </a:prstGeom>
          <a:solidFill>
            <a:srgbClr val="E400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00" dirty="0"/>
          </a:p>
        </p:txBody>
      </p:sp>
      <p:sp>
        <p:nvSpPr>
          <p:cNvPr id="77" name="ZoneTexte 76">
            <a:extLst>
              <a:ext uri="{FF2B5EF4-FFF2-40B4-BE49-F238E27FC236}">
                <a16:creationId xmlns:a16="http://schemas.microsoft.com/office/drawing/2014/main" id="{97E5D965-9BF1-39C0-CCC0-BCDCA503476C}"/>
              </a:ext>
            </a:extLst>
          </p:cNvPr>
          <p:cNvSpPr txBox="1"/>
          <p:nvPr/>
        </p:nvSpPr>
        <p:spPr>
          <a:xfrm>
            <a:off x="4658391" y="4865990"/>
            <a:ext cx="3717101" cy="846386"/>
          </a:xfrm>
          <a:prstGeom prst="rect">
            <a:avLst/>
          </a:prstGeom>
          <a:noFill/>
        </p:spPr>
        <p:txBody>
          <a:bodyPr wrap="square" rtlCol="0">
            <a:spAutoFit/>
          </a:bodyPr>
          <a:lstStyle/>
          <a:p>
            <a:pPr marL="142875" indent="-142875">
              <a:buFont typeface="Arial" panose="020B0604020202020204" pitchFamily="34" charset="0"/>
              <a:buChar char="•"/>
            </a:pPr>
            <a:r>
              <a:rPr lang="fr-FR" sz="1400" b="1" kern="0" dirty="0">
                <a:solidFill>
                  <a:srgbClr val="000000"/>
                </a:solidFill>
                <a:latin typeface="Arial"/>
                <a:cs typeface="Arial"/>
              </a:rPr>
              <a:t>Un fonds d’investissement public-privé doté de 70 M€</a:t>
            </a:r>
          </a:p>
          <a:p>
            <a:pPr marL="142875" indent="-142875">
              <a:buFont typeface="Arial" panose="020B0604020202020204" pitchFamily="34" charset="0"/>
              <a:buChar char="•"/>
            </a:pPr>
            <a:r>
              <a:rPr lang="fr-FR" sz="1400" kern="0" dirty="0">
                <a:solidFill>
                  <a:srgbClr val="000000"/>
                </a:solidFill>
                <a:latin typeface="Arial"/>
                <a:cs typeface="Arial"/>
              </a:rPr>
              <a:t>Déjà 9 projets à impact financés</a:t>
            </a:r>
            <a:br>
              <a:rPr lang="fr-FR" sz="1400" kern="0" dirty="0">
                <a:solidFill>
                  <a:srgbClr val="000000"/>
                </a:solidFill>
                <a:latin typeface="Arial"/>
                <a:cs typeface="Arial"/>
              </a:rPr>
            </a:br>
            <a:endParaRPr lang="fr-FR" sz="700" i="1" dirty="0"/>
          </a:p>
        </p:txBody>
      </p:sp>
      <p:sp>
        <p:nvSpPr>
          <p:cNvPr id="30" name="Rectangle 29">
            <a:extLst>
              <a:ext uri="{FF2B5EF4-FFF2-40B4-BE49-F238E27FC236}">
                <a16:creationId xmlns:a16="http://schemas.microsoft.com/office/drawing/2014/main" id="{91D3FDA1-6CE6-4CDC-9370-9C73D612B590}"/>
              </a:ext>
            </a:extLst>
          </p:cNvPr>
          <p:cNvSpPr/>
          <p:nvPr/>
        </p:nvSpPr>
        <p:spPr>
          <a:xfrm>
            <a:off x="1518994" y="1825163"/>
            <a:ext cx="4058191" cy="574234"/>
          </a:xfrm>
          <a:prstGeom prst="rect">
            <a:avLst/>
          </a:prstGeom>
          <a:no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wrap="square" lIns="54000" tIns="27000" rIns="54000" bIns="54000" rtlCol="0" anchor="ctr">
            <a:spAutoFit/>
          </a:bodyPr>
          <a:lstStyle/>
          <a:p>
            <a:pPr defTabSz="171450">
              <a:spcBef>
                <a:spcPts val="600"/>
              </a:spcBef>
              <a:buClr>
                <a:srgbClr val="F60000"/>
              </a:buClr>
              <a:defRPr/>
            </a:pPr>
            <a:r>
              <a:rPr lang="fr-FR" sz="1600" b="1" spc="12" dirty="0">
                <a:solidFill>
                  <a:schemeClr val="tx1"/>
                </a:solidFill>
                <a:latin typeface="Arial"/>
              </a:rPr>
              <a:t>UNE INDUSTRIE INCLUSIVE</a:t>
            </a:r>
            <a:br>
              <a:rPr lang="fr-FR" sz="1600" b="1" spc="12" dirty="0">
                <a:solidFill>
                  <a:schemeClr val="tx1"/>
                </a:solidFill>
                <a:latin typeface="Arial"/>
              </a:rPr>
            </a:br>
            <a:r>
              <a:rPr lang="fr-FR" sz="1600" b="1" spc="12" dirty="0">
                <a:solidFill>
                  <a:srgbClr val="E4002B"/>
                </a:solidFill>
                <a:latin typeface="Arial"/>
              </a:rPr>
              <a:t>ET RECONNECTÉE À SON TERRITOIRE </a:t>
            </a:r>
          </a:p>
        </p:txBody>
      </p:sp>
      <p:sp>
        <p:nvSpPr>
          <p:cNvPr id="31" name="Rectangle 30">
            <a:extLst>
              <a:ext uri="{FF2B5EF4-FFF2-40B4-BE49-F238E27FC236}">
                <a16:creationId xmlns:a16="http://schemas.microsoft.com/office/drawing/2014/main" id="{AE753E95-741F-4876-A3F1-9FA15DAC5189}"/>
              </a:ext>
            </a:extLst>
          </p:cNvPr>
          <p:cNvSpPr/>
          <p:nvPr/>
        </p:nvSpPr>
        <p:spPr>
          <a:xfrm>
            <a:off x="1032690" y="1700155"/>
            <a:ext cx="696985" cy="820455"/>
          </a:xfrm>
          <a:prstGeom prst="rect">
            <a:avLst/>
          </a:prstGeom>
          <a:no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wrap="square" lIns="54000" tIns="27000" rIns="54000" bIns="54000" rtlCol="0" anchor="ctr">
            <a:spAutoFit/>
          </a:bodyPr>
          <a:lstStyle/>
          <a:p>
            <a:pPr defTabSz="171450">
              <a:spcBef>
                <a:spcPts val="600"/>
              </a:spcBef>
              <a:buClr>
                <a:srgbClr val="F60000"/>
              </a:buClr>
              <a:defRPr/>
            </a:pPr>
            <a:r>
              <a:rPr lang="fr-FR" sz="4800" spc="12" dirty="0">
                <a:solidFill>
                  <a:srgbClr val="E4002B"/>
                </a:solidFill>
                <a:latin typeface="Arial Black" panose="020B0A04020102020204" pitchFamily="34" charset="0"/>
              </a:rPr>
              <a:t>3</a:t>
            </a:r>
          </a:p>
        </p:txBody>
      </p:sp>
      <p:sp>
        <p:nvSpPr>
          <p:cNvPr id="32" name="Rectangle 31">
            <a:extLst>
              <a:ext uri="{FF2B5EF4-FFF2-40B4-BE49-F238E27FC236}">
                <a16:creationId xmlns:a16="http://schemas.microsoft.com/office/drawing/2014/main" id="{6B216BB3-4B5F-4798-BCFE-85FAB8B048E6}"/>
              </a:ext>
            </a:extLst>
          </p:cNvPr>
          <p:cNvSpPr/>
          <p:nvPr/>
        </p:nvSpPr>
        <p:spPr>
          <a:xfrm>
            <a:off x="1518994" y="3822300"/>
            <a:ext cx="3439545" cy="574234"/>
          </a:xfrm>
          <a:prstGeom prst="rect">
            <a:avLst/>
          </a:prstGeom>
          <a:no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wrap="square" lIns="54000" tIns="27000" rIns="54000" bIns="54000" rtlCol="0" anchor="ctr">
            <a:spAutoFit/>
          </a:bodyPr>
          <a:lstStyle/>
          <a:p>
            <a:pPr defTabSz="171450">
              <a:spcBef>
                <a:spcPts val="600"/>
              </a:spcBef>
              <a:buClr>
                <a:srgbClr val="F60000"/>
              </a:buClr>
              <a:defRPr/>
            </a:pPr>
            <a:r>
              <a:rPr lang="fr-FR" sz="1600" b="1" spc="12" dirty="0">
                <a:solidFill>
                  <a:schemeClr val="tx1"/>
                </a:solidFill>
                <a:latin typeface="Arial"/>
              </a:rPr>
              <a:t>UNE INDUSTRIE</a:t>
            </a:r>
            <a:br>
              <a:rPr lang="fr-FR" sz="1600" b="1" spc="12" dirty="0">
                <a:solidFill>
                  <a:srgbClr val="E4002B"/>
                </a:solidFill>
                <a:latin typeface="Arial"/>
              </a:rPr>
            </a:br>
            <a:r>
              <a:rPr lang="fr-FR" sz="1600" b="1" spc="12" dirty="0">
                <a:solidFill>
                  <a:srgbClr val="E4002B"/>
                </a:solidFill>
                <a:latin typeface="Arial"/>
              </a:rPr>
              <a:t>À IMPACT </a:t>
            </a:r>
          </a:p>
        </p:txBody>
      </p:sp>
      <p:sp>
        <p:nvSpPr>
          <p:cNvPr id="33" name="Rectangle 32">
            <a:extLst>
              <a:ext uri="{FF2B5EF4-FFF2-40B4-BE49-F238E27FC236}">
                <a16:creationId xmlns:a16="http://schemas.microsoft.com/office/drawing/2014/main" id="{2509321B-7C62-40B1-AA78-E3B5B0A4EF2F}"/>
              </a:ext>
            </a:extLst>
          </p:cNvPr>
          <p:cNvSpPr/>
          <p:nvPr/>
        </p:nvSpPr>
        <p:spPr>
          <a:xfrm>
            <a:off x="1024679" y="3696733"/>
            <a:ext cx="696985" cy="820455"/>
          </a:xfrm>
          <a:prstGeom prst="rect">
            <a:avLst/>
          </a:prstGeom>
          <a:no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wrap="square" lIns="54000" tIns="27000" rIns="54000" bIns="54000" rtlCol="0" anchor="ctr">
            <a:spAutoFit/>
          </a:bodyPr>
          <a:lstStyle/>
          <a:p>
            <a:pPr defTabSz="171450">
              <a:spcBef>
                <a:spcPts val="600"/>
              </a:spcBef>
              <a:buClr>
                <a:srgbClr val="F60000"/>
              </a:buClr>
              <a:defRPr/>
            </a:pPr>
            <a:r>
              <a:rPr lang="fr-FR" sz="4800" spc="12" dirty="0">
                <a:solidFill>
                  <a:schemeClr val="tx1"/>
                </a:solidFill>
                <a:latin typeface="Arial Black" panose="020B0A04020102020204" pitchFamily="34" charset="0"/>
              </a:rPr>
              <a:t>4</a:t>
            </a:r>
          </a:p>
        </p:txBody>
      </p:sp>
      <p:pic>
        <p:nvPicPr>
          <p:cNvPr id="6" name="Image 5">
            <a:extLst>
              <a:ext uri="{FF2B5EF4-FFF2-40B4-BE49-F238E27FC236}">
                <a16:creationId xmlns:a16="http://schemas.microsoft.com/office/drawing/2014/main" id="{29A951B9-57CA-4CAE-A937-50DFA12447F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801578" y="4449785"/>
            <a:ext cx="2201737" cy="297235"/>
          </a:xfrm>
          <a:prstGeom prst="rect">
            <a:avLst/>
          </a:prstGeom>
          <a:solidFill>
            <a:schemeClr val="tx1"/>
          </a:solidFill>
        </p:spPr>
      </p:pic>
      <p:pic>
        <p:nvPicPr>
          <p:cNvPr id="36" name="Image 35">
            <a:extLst>
              <a:ext uri="{FF2B5EF4-FFF2-40B4-BE49-F238E27FC236}">
                <a16:creationId xmlns:a16="http://schemas.microsoft.com/office/drawing/2014/main" id="{E8C190FE-B9DF-41E6-A264-4850355F7491}"/>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417021" y="4309324"/>
            <a:ext cx="2073811" cy="567046"/>
          </a:xfrm>
          <a:prstGeom prst="rect">
            <a:avLst/>
          </a:prstGeom>
        </p:spPr>
      </p:pic>
      <p:sp>
        <p:nvSpPr>
          <p:cNvPr id="38" name="ZoneTexte 37">
            <a:extLst>
              <a:ext uri="{FF2B5EF4-FFF2-40B4-BE49-F238E27FC236}">
                <a16:creationId xmlns:a16="http://schemas.microsoft.com/office/drawing/2014/main" id="{A4243E80-31A6-4EE0-880B-B1F1D3DE49EA}"/>
              </a:ext>
            </a:extLst>
          </p:cNvPr>
          <p:cNvSpPr txBox="1"/>
          <p:nvPr/>
        </p:nvSpPr>
        <p:spPr>
          <a:xfrm>
            <a:off x="1559745" y="4892244"/>
            <a:ext cx="2904529" cy="738664"/>
          </a:xfrm>
          <a:prstGeom prst="rect">
            <a:avLst/>
          </a:prstGeom>
          <a:noFill/>
        </p:spPr>
        <p:txBody>
          <a:bodyPr wrap="square" rtlCol="0">
            <a:spAutoFit/>
          </a:bodyPr>
          <a:lstStyle/>
          <a:p>
            <a:pPr marL="142875" indent="-142875">
              <a:buFont typeface="Arial" panose="020B0604020202020204" pitchFamily="34" charset="0"/>
              <a:buChar char="•"/>
            </a:pPr>
            <a:r>
              <a:rPr lang="fr-FR" sz="1400" b="1" kern="0" dirty="0">
                <a:solidFill>
                  <a:srgbClr val="000000"/>
                </a:solidFill>
                <a:latin typeface="Arial"/>
                <a:cs typeface="Arial"/>
              </a:rPr>
              <a:t>Plus de 1 000 entreprises ayant déjà </a:t>
            </a:r>
            <a:r>
              <a:rPr lang="fr-FR" sz="1400" dirty="0">
                <a:latin typeface="Arial" panose="020B0604020202020204" pitchFamily="34" charset="0"/>
                <a:cs typeface="Arial" panose="020B0604020202020204" pitchFamily="34" charset="0"/>
              </a:rPr>
              <a:t>évalué leur impact sur la société et l’environnement </a:t>
            </a:r>
            <a:endParaRPr lang="fr-FR" sz="1400" dirty="0"/>
          </a:p>
        </p:txBody>
      </p:sp>
      <p:pic>
        <p:nvPicPr>
          <p:cNvPr id="2050" name="Picture 2" descr="https://fondation-ilyse.org/wp-content/uploads/2022/02/ilyse-logo.png">
            <a:extLst>
              <a:ext uri="{FF2B5EF4-FFF2-40B4-BE49-F238E27FC236}">
                <a16:creationId xmlns:a16="http://schemas.microsoft.com/office/drawing/2014/main" id="{B29EE51E-C1BA-47CD-B97A-D68CA6C4A9C1}"/>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5865116" y="1874742"/>
            <a:ext cx="1209948" cy="594360"/>
          </a:xfrm>
          <a:prstGeom prst="rect">
            <a:avLst/>
          </a:prstGeom>
          <a:noFill/>
          <a:extLst>
            <a:ext uri="{909E8E84-426E-40DD-AFC4-6F175D3DCCD1}">
              <a14:hiddenFill xmlns:a14="http://schemas.microsoft.com/office/drawing/2010/main">
                <a:solidFill>
                  <a:srgbClr val="FFFFFF"/>
                </a:solidFill>
              </a14:hiddenFill>
            </a:ext>
          </a:extLst>
        </p:spPr>
      </p:pic>
      <p:pic>
        <p:nvPicPr>
          <p:cNvPr id="2" name="Image 1">
            <a:extLst>
              <a:ext uri="{FF2B5EF4-FFF2-40B4-BE49-F238E27FC236}">
                <a16:creationId xmlns:a16="http://schemas.microsoft.com/office/drawing/2014/main" id="{C057AF92-BBFF-4947-88D4-471264E5853A}"/>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427014" y="1859334"/>
            <a:ext cx="791747" cy="1615484"/>
          </a:xfrm>
          <a:prstGeom prst="rect">
            <a:avLst/>
          </a:prstGeom>
        </p:spPr>
      </p:pic>
      <p:pic>
        <p:nvPicPr>
          <p:cNvPr id="2052" name="Picture 4" descr="logo mmie">
            <a:extLst>
              <a:ext uri="{FF2B5EF4-FFF2-40B4-BE49-F238E27FC236}">
                <a16:creationId xmlns:a16="http://schemas.microsoft.com/office/drawing/2014/main" id="{FA7951EF-36C4-4918-8FC5-6B42C98BF5AA}"/>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8455469" y="2200783"/>
            <a:ext cx="1829690" cy="1025769"/>
          </a:xfrm>
          <a:prstGeom prst="rect">
            <a:avLst/>
          </a:prstGeom>
          <a:noFill/>
          <a:extLst>
            <a:ext uri="{909E8E84-426E-40DD-AFC4-6F175D3DCCD1}">
              <a14:hiddenFill xmlns:a14="http://schemas.microsoft.com/office/drawing/2010/main">
                <a:solidFill>
                  <a:srgbClr val="FFFFFF"/>
                </a:solidFill>
              </a14:hiddenFill>
            </a:ext>
          </a:extLst>
        </p:spPr>
      </p:pic>
      <p:sp>
        <p:nvSpPr>
          <p:cNvPr id="29" name="ZoneTexte 28">
            <a:extLst>
              <a:ext uri="{FF2B5EF4-FFF2-40B4-BE49-F238E27FC236}">
                <a16:creationId xmlns:a16="http://schemas.microsoft.com/office/drawing/2014/main" id="{B61ACD6B-B538-4CCD-B22E-CF0C430886C9}"/>
              </a:ext>
            </a:extLst>
          </p:cNvPr>
          <p:cNvSpPr txBox="1"/>
          <p:nvPr/>
        </p:nvSpPr>
        <p:spPr>
          <a:xfrm>
            <a:off x="1515459" y="2413281"/>
            <a:ext cx="3320662" cy="1169551"/>
          </a:xfrm>
          <a:prstGeom prst="rect">
            <a:avLst/>
          </a:prstGeom>
          <a:noFill/>
        </p:spPr>
        <p:txBody>
          <a:bodyPr wrap="square" rtlCol="0">
            <a:spAutoFit/>
          </a:bodyPr>
          <a:lstStyle/>
          <a:p>
            <a:pPr marL="142875" indent="-142875" algn="just">
              <a:buFont typeface="Arial" panose="020B0604020202020204" pitchFamily="34" charset="0"/>
              <a:buChar char="•"/>
            </a:pPr>
            <a:r>
              <a:rPr lang="fr-FR" sz="1400" kern="0" dirty="0">
                <a:solidFill>
                  <a:srgbClr val="000000"/>
                </a:solidFill>
                <a:latin typeface="Arial"/>
                <a:cs typeface="Arial"/>
              </a:rPr>
              <a:t>Une action proactive vis-à-vis du grand public, des jeunes, des personnes éloignées de l’emploi pour renforcer l’attractivité des métiers industriels</a:t>
            </a:r>
            <a:endParaRPr lang="fr-FR" sz="700" i="1" dirty="0"/>
          </a:p>
        </p:txBody>
      </p:sp>
      <p:pic>
        <p:nvPicPr>
          <p:cNvPr id="34" name="Image 33">
            <a:extLst>
              <a:ext uri="{FF2B5EF4-FFF2-40B4-BE49-F238E27FC236}">
                <a16:creationId xmlns:a16="http://schemas.microsoft.com/office/drawing/2014/main" id="{9E5B36F7-F08D-46E9-91BB-06AE245BBA91}"/>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5912182" y="2713667"/>
            <a:ext cx="1018761" cy="738501"/>
          </a:xfrm>
          <a:prstGeom prst="rect">
            <a:avLst/>
          </a:prstGeom>
          <a:ln w="28575">
            <a:solidFill>
              <a:schemeClr val="bg1"/>
            </a:solidFill>
          </a:ln>
        </p:spPr>
      </p:pic>
      <p:grpSp>
        <p:nvGrpSpPr>
          <p:cNvPr id="3" name="Groupe 2">
            <a:extLst>
              <a:ext uri="{FF2B5EF4-FFF2-40B4-BE49-F238E27FC236}">
                <a16:creationId xmlns:a16="http://schemas.microsoft.com/office/drawing/2014/main" id="{F61BCEE4-476B-D3B0-B0F9-02C463D6ACBA}"/>
              </a:ext>
            </a:extLst>
          </p:cNvPr>
          <p:cNvGrpSpPr/>
          <p:nvPr/>
        </p:nvGrpSpPr>
        <p:grpSpPr>
          <a:xfrm rot="16200000">
            <a:off x="11251291" y="5917861"/>
            <a:ext cx="1392084" cy="487750"/>
            <a:chOff x="6189044" y="11173899"/>
            <a:chExt cx="5165853" cy="1809980"/>
          </a:xfrm>
        </p:grpSpPr>
        <p:sp>
          <p:nvSpPr>
            <p:cNvPr id="5" name="Rectangle 4">
              <a:extLst>
                <a:ext uri="{FF2B5EF4-FFF2-40B4-BE49-F238E27FC236}">
                  <a16:creationId xmlns:a16="http://schemas.microsoft.com/office/drawing/2014/main" id="{642CA107-E0F8-548C-0301-98CFCC729201}"/>
                </a:ext>
              </a:extLst>
            </p:cNvPr>
            <p:cNvSpPr/>
            <p:nvPr/>
          </p:nvSpPr>
          <p:spPr>
            <a:xfrm>
              <a:off x="6275672" y="11251933"/>
              <a:ext cx="3291840" cy="66955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00"/>
            </a:p>
          </p:txBody>
        </p:sp>
        <p:sp>
          <p:nvSpPr>
            <p:cNvPr id="7" name="Rectangle 6">
              <a:extLst>
                <a:ext uri="{FF2B5EF4-FFF2-40B4-BE49-F238E27FC236}">
                  <a16:creationId xmlns:a16="http://schemas.microsoft.com/office/drawing/2014/main" id="{0D783D48-AAA3-96B1-4918-3728C3F8578D}"/>
                </a:ext>
              </a:extLst>
            </p:cNvPr>
            <p:cNvSpPr/>
            <p:nvPr/>
          </p:nvSpPr>
          <p:spPr>
            <a:xfrm>
              <a:off x="9805156" y="12159152"/>
              <a:ext cx="1389025" cy="66955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00"/>
            </a:p>
          </p:txBody>
        </p:sp>
        <p:pic>
          <p:nvPicPr>
            <p:cNvPr id="8" name="Graphique 7">
              <a:extLst>
                <a:ext uri="{FF2B5EF4-FFF2-40B4-BE49-F238E27FC236}">
                  <a16:creationId xmlns:a16="http://schemas.microsoft.com/office/drawing/2014/main" id="{A1BAB3C9-664C-1427-5657-2ABE83EBB0A5}"/>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189044" y="11173899"/>
              <a:ext cx="5165853" cy="1809980"/>
            </a:xfrm>
            <a:prstGeom prst="rect">
              <a:avLst/>
            </a:prstGeom>
          </p:spPr>
        </p:pic>
      </p:grpSp>
      <p:sp>
        <p:nvSpPr>
          <p:cNvPr id="9" name="object 8">
            <a:extLst>
              <a:ext uri="{FF2B5EF4-FFF2-40B4-BE49-F238E27FC236}">
                <a16:creationId xmlns:a16="http://schemas.microsoft.com/office/drawing/2014/main" id="{E465B30C-DD09-A436-1E2D-AD46A4CE6DC0}"/>
              </a:ext>
            </a:extLst>
          </p:cNvPr>
          <p:cNvSpPr txBox="1">
            <a:spLocks/>
          </p:cNvSpPr>
          <p:nvPr/>
        </p:nvSpPr>
        <p:spPr>
          <a:xfrm>
            <a:off x="515074" y="506027"/>
            <a:ext cx="9974798" cy="1019356"/>
          </a:xfrm>
          <a:prstGeom prst="rect">
            <a:avLst/>
          </a:prstGeom>
        </p:spPr>
        <p:txBody>
          <a:bodyPr vert="horz" wrap="square" lIns="0" tIns="3658" rIns="0" bIns="0" rtlCol="0" anchor="ctr">
            <a:spAutoFit/>
          </a:bodyPr>
          <a:lstStyle>
            <a:lvl1pPr algn="l" defTabSz="1828709" rtl="0" eaLnBrk="1" latinLnBrk="0" hangingPunct="1">
              <a:lnSpc>
                <a:spcPct val="90000"/>
              </a:lnSpc>
              <a:spcBef>
                <a:spcPct val="0"/>
              </a:spcBef>
              <a:buNone/>
              <a:defRPr sz="8800" kern="1200">
                <a:solidFill>
                  <a:schemeClr val="tx1"/>
                </a:solidFill>
                <a:latin typeface="+mj-lt"/>
                <a:ea typeface="+mj-ea"/>
                <a:cs typeface="+mj-cs"/>
              </a:defRPr>
            </a:lvl1pPr>
          </a:lstStyle>
          <a:p>
            <a:pPr marL="3851">
              <a:lnSpc>
                <a:spcPct val="100000"/>
              </a:lnSpc>
              <a:spcBef>
                <a:spcPts val="29"/>
              </a:spcBef>
              <a:tabLst>
                <a:tab pos="1528050" algn="l"/>
              </a:tabLst>
            </a:pPr>
            <a:r>
              <a:rPr lang="fr-FR" sz="2200" spc="-2" dirty="0">
                <a:solidFill>
                  <a:srgbClr val="E4002B"/>
                </a:solidFill>
                <a:latin typeface="Arial Black" panose="020B0A04020102020204" pitchFamily="34" charset="0"/>
              </a:rPr>
              <a:t>DES ACTIONS CONCRÈTES </a:t>
            </a:r>
          </a:p>
          <a:p>
            <a:pPr marL="3851">
              <a:lnSpc>
                <a:spcPct val="100000"/>
              </a:lnSpc>
              <a:spcBef>
                <a:spcPts val="29"/>
              </a:spcBef>
              <a:tabLst>
                <a:tab pos="1528050" algn="l"/>
              </a:tabLst>
            </a:pPr>
            <a:r>
              <a:rPr lang="fr-FR" sz="2200" spc="-2" dirty="0">
                <a:latin typeface="Arial Black" panose="020B0A04020102020204" pitchFamily="34" charset="0"/>
              </a:rPr>
              <a:t>      POUR UNE INDUSTRIE DÉCARBONÉE, </a:t>
            </a:r>
          </a:p>
          <a:p>
            <a:pPr marL="3851">
              <a:lnSpc>
                <a:spcPct val="100000"/>
              </a:lnSpc>
              <a:spcBef>
                <a:spcPts val="29"/>
              </a:spcBef>
              <a:tabLst>
                <a:tab pos="1528050" algn="l"/>
              </a:tabLst>
            </a:pPr>
            <a:r>
              <a:rPr lang="fr-FR" sz="2200" spc="-2" dirty="0">
                <a:latin typeface="Arial Black" panose="020B0A04020102020204" pitchFamily="34" charset="0"/>
              </a:rPr>
              <a:t>      CIRCULAIRE, INCLUSIVE ET À IMPACT</a:t>
            </a:r>
          </a:p>
        </p:txBody>
      </p:sp>
    </p:spTree>
    <p:extLst>
      <p:ext uri="{BB962C8B-B14F-4D97-AF65-F5344CB8AC3E}">
        <p14:creationId xmlns:p14="http://schemas.microsoft.com/office/powerpoint/2010/main" val="271487422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9395C8-5B44-56AD-DE08-37849FF8DDAB}"/>
            </a:ext>
          </a:extLst>
        </p:cNvPr>
        <p:cNvGrpSpPr/>
        <p:nvPr/>
      </p:nvGrpSpPr>
      <p:grpSpPr>
        <a:xfrm>
          <a:off x="0" y="0"/>
          <a:ext cx="0" cy="0"/>
          <a:chOff x="0" y="0"/>
          <a:chExt cx="0" cy="0"/>
        </a:xfrm>
      </p:grpSpPr>
      <p:pic>
        <p:nvPicPr>
          <p:cNvPr id="2" name="Image 1">
            <a:extLst>
              <a:ext uri="{FF2B5EF4-FFF2-40B4-BE49-F238E27FC236}">
                <a16:creationId xmlns:a16="http://schemas.microsoft.com/office/drawing/2014/main" id="{667BA3FD-077F-F46C-3161-87B52AE4A174}"/>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b="-157"/>
          <a:stretch/>
        </p:blipFill>
        <p:spPr>
          <a:xfrm>
            <a:off x="397" y="-65045"/>
            <a:ext cx="12191207" cy="5216197"/>
          </a:xfrm>
          <a:prstGeom prst="rect">
            <a:avLst/>
          </a:prstGeom>
        </p:spPr>
      </p:pic>
      <p:sp>
        <p:nvSpPr>
          <p:cNvPr id="16" name="Rectangle 15">
            <a:extLst>
              <a:ext uri="{FF2B5EF4-FFF2-40B4-BE49-F238E27FC236}">
                <a16:creationId xmlns:a16="http://schemas.microsoft.com/office/drawing/2014/main" id="{0A6A5CA6-8DD2-A567-28D8-A678881A7A7A}"/>
              </a:ext>
            </a:extLst>
          </p:cNvPr>
          <p:cNvSpPr/>
          <p:nvPr/>
        </p:nvSpPr>
        <p:spPr>
          <a:xfrm>
            <a:off x="397" y="1867605"/>
            <a:ext cx="12191207" cy="3571711"/>
          </a:xfrm>
          <a:prstGeom prst="rect">
            <a:avLst/>
          </a:prstGeom>
          <a:gradFill flip="none" rotWithShape="1">
            <a:gsLst>
              <a:gs pos="0">
                <a:schemeClr val="tx1"/>
              </a:gs>
              <a:gs pos="100000">
                <a:schemeClr val="tx1">
                  <a:alpha val="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00" dirty="0">
              <a:solidFill>
                <a:schemeClr val="bg1"/>
              </a:solidFill>
            </a:endParaRPr>
          </a:p>
        </p:txBody>
      </p:sp>
      <p:grpSp>
        <p:nvGrpSpPr>
          <p:cNvPr id="11" name="Groupe 10">
            <a:extLst>
              <a:ext uri="{FF2B5EF4-FFF2-40B4-BE49-F238E27FC236}">
                <a16:creationId xmlns:a16="http://schemas.microsoft.com/office/drawing/2014/main" id="{7A02A8AA-6FD6-8F6D-0A29-2FA38B40F6E9}"/>
              </a:ext>
            </a:extLst>
          </p:cNvPr>
          <p:cNvGrpSpPr/>
          <p:nvPr/>
        </p:nvGrpSpPr>
        <p:grpSpPr>
          <a:xfrm>
            <a:off x="106275" y="5925868"/>
            <a:ext cx="2582927" cy="904990"/>
            <a:chOff x="6189044" y="11173899"/>
            <a:chExt cx="5165853" cy="1809980"/>
          </a:xfrm>
        </p:grpSpPr>
        <p:sp>
          <p:nvSpPr>
            <p:cNvPr id="9" name="Rectangle 8">
              <a:extLst>
                <a:ext uri="{FF2B5EF4-FFF2-40B4-BE49-F238E27FC236}">
                  <a16:creationId xmlns:a16="http://schemas.microsoft.com/office/drawing/2014/main" id="{D6B5D15E-6A3A-4F30-5C54-6A76974E8BBF}"/>
                </a:ext>
              </a:extLst>
            </p:cNvPr>
            <p:cNvSpPr/>
            <p:nvPr/>
          </p:nvSpPr>
          <p:spPr>
            <a:xfrm>
              <a:off x="6275672" y="11251933"/>
              <a:ext cx="3291840" cy="66955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00"/>
            </a:p>
          </p:txBody>
        </p:sp>
        <p:sp>
          <p:nvSpPr>
            <p:cNvPr id="10" name="Rectangle 9">
              <a:extLst>
                <a:ext uri="{FF2B5EF4-FFF2-40B4-BE49-F238E27FC236}">
                  <a16:creationId xmlns:a16="http://schemas.microsoft.com/office/drawing/2014/main" id="{0F8AC400-784C-06A1-883D-549817A26CAB}"/>
                </a:ext>
              </a:extLst>
            </p:cNvPr>
            <p:cNvSpPr/>
            <p:nvPr/>
          </p:nvSpPr>
          <p:spPr>
            <a:xfrm>
              <a:off x="9805156" y="12159152"/>
              <a:ext cx="1389025" cy="66955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00"/>
            </a:p>
          </p:txBody>
        </p:sp>
        <p:pic>
          <p:nvPicPr>
            <p:cNvPr id="8" name="Graphique 7">
              <a:extLst>
                <a:ext uri="{FF2B5EF4-FFF2-40B4-BE49-F238E27FC236}">
                  <a16:creationId xmlns:a16="http://schemas.microsoft.com/office/drawing/2014/main" id="{696AA5DC-8393-EDF6-ECC0-161744BACDF6}"/>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6189044" y="11173899"/>
              <a:ext cx="5165853" cy="1809980"/>
            </a:xfrm>
            <a:prstGeom prst="rect">
              <a:avLst/>
            </a:prstGeom>
          </p:spPr>
        </p:pic>
      </p:grpSp>
      <p:sp>
        <p:nvSpPr>
          <p:cNvPr id="13" name="object 2">
            <a:extLst>
              <a:ext uri="{FF2B5EF4-FFF2-40B4-BE49-F238E27FC236}">
                <a16:creationId xmlns:a16="http://schemas.microsoft.com/office/drawing/2014/main" id="{32DBFEE1-AF02-3BF8-E60F-F408728E225A}"/>
              </a:ext>
            </a:extLst>
          </p:cNvPr>
          <p:cNvSpPr txBox="1">
            <a:spLocks/>
          </p:cNvSpPr>
          <p:nvPr/>
        </p:nvSpPr>
        <p:spPr>
          <a:xfrm>
            <a:off x="1855550" y="3094816"/>
            <a:ext cx="9191665" cy="795134"/>
          </a:xfrm>
          <a:prstGeom prst="rect">
            <a:avLst/>
          </a:prstGeom>
        </p:spPr>
        <p:txBody>
          <a:bodyPr vert="horz" wrap="square" lIns="0" tIns="40430" rIns="0" bIns="0" rtlCol="0" anchor="ctr">
            <a:spAutoFit/>
          </a:bodyPr>
          <a:lstStyle>
            <a:lvl1pPr algn="l" defTabSz="457200" rtl="0" eaLnBrk="0" fontAlgn="base" hangingPunct="0">
              <a:spcBef>
                <a:spcPct val="0"/>
              </a:spcBef>
              <a:spcAft>
                <a:spcPct val="0"/>
              </a:spcAft>
              <a:defRPr sz="1100" kern="1200">
                <a:solidFill>
                  <a:schemeClr val="tx1"/>
                </a:solidFill>
                <a:latin typeface="Univers LT Std 57 Cn" panose="020B0506020202050204" pitchFamily="34" charset="0"/>
                <a:ea typeface="+mj-ea"/>
                <a:cs typeface="+mj-cs"/>
              </a:defRPr>
            </a:lvl1pPr>
            <a:lvl2pPr algn="l" defTabSz="457200" rtl="0" eaLnBrk="0" fontAlgn="base" hangingPunct="0">
              <a:spcBef>
                <a:spcPct val="0"/>
              </a:spcBef>
              <a:spcAft>
                <a:spcPct val="0"/>
              </a:spcAft>
              <a:defRPr sz="1100">
                <a:solidFill>
                  <a:schemeClr val="tx1"/>
                </a:solidFill>
                <a:latin typeface="Univers LT Std 57 Cn" panose="020B0506020202050204" pitchFamily="34" charset="0"/>
                <a:cs typeface="Arial" panose="020B0604020202020204" pitchFamily="34" charset="0"/>
              </a:defRPr>
            </a:lvl2pPr>
            <a:lvl3pPr algn="l" defTabSz="457200" rtl="0" eaLnBrk="0" fontAlgn="base" hangingPunct="0">
              <a:spcBef>
                <a:spcPct val="0"/>
              </a:spcBef>
              <a:spcAft>
                <a:spcPct val="0"/>
              </a:spcAft>
              <a:defRPr sz="1100">
                <a:solidFill>
                  <a:schemeClr val="tx1"/>
                </a:solidFill>
                <a:latin typeface="Univers LT Std 57 Cn" panose="020B0506020202050204" pitchFamily="34" charset="0"/>
                <a:cs typeface="Arial" panose="020B0604020202020204" pitchFamily="34" charset="0"/>
              </a:defRPr>
            </a:lvl3pPr>
            <a:lvl4pPr algn="l" defTabSz="457200" rtl="0" eaLnBrk="0" fontAlgn="base" hangingPunct="0">
              <a:spcBef>
                <a:spcPct val="0"/>
              </a:spcBef>
              <a:spcAft>
                <a:spcPct val="0"/>
              </a:spcAft>
              <a:defRPr sz="1100">
                <a:solidFill>
                  <a:schemeClr val="tx1"/>
                </a:solidFill>
                <a:latin typeface="Univers LT Std 57 Cn" panose="020B0506020202050204" pitchFamily="34" charset="0"/>
                <a:cs typeface="Arial" panose="020B0604020202020204" pitchFamily="34" charset="0"/>
              </a:defRPr>
            </a:lvl4pPr>
            <a:lvl5pPr algn="l" defTabSz="457200" rtl="0" eaLnBrk="0" fontAlgn="base" hangingPunct="0">
              <a:spcBef>
                <a:spcPct val="0"/>
              </a:spcBef>
              <a:spcAft>
                <a:spcPct val="0"/>
              </a:spcAft>
              <a:defRPr sz="1100">
                <a:solidFill>
                  <a:schemeClr val="tx1"/>
                </a:solidFill>
                <a:latin typeface="Univers LT Std 57 Cn" panose="020B0506020202050204" pitchFamily="34" charset="0"/>
                <a:cs typeface="Arial" panose="020B0604020202020204" pitchFamily="34" charset="0"/>
              </a:defRPr>
            </a:lvl5pPr>
            <a:lvl6pPr marL="457200" algn="l" defTabSz="457200" rtl="0" fontAlgn="base">
              <a:spcBef>
                <a:spcPct val="0"/>
              </a:spcBef>
              <a:spcAft>
                <a:spcPct val="0"/>
              </a:spcAft>
              <a:defRPr sz="1200">
                <a:solidFill>
                  <a:schemeClr val="tx1"/>
                </a:solidFill>
                <a:latin typeface="Arial" panose="020B0604020202020204" pitchFamily="34" charset="0"/>
                <a:cs typeface="Arial" panose="020B0604020202020204" pitchFamily="34" charset="0"/>
              </a:defRPr>
            </a:lvl6pPr>
            <a:lvl7pPr marL="914400" algn="l" defTabSz="457200" rtl="0" fontAlgn="base">
              <a:spcBef>
                <a:spcPct val="0"/>
              </a:spcBef>
              <a:spcAft>
                <a:spcPct val="0"/>
              </a:spcAft>
              <a:defRPr sz="1200">
                <a:solidFill>
                  <a:schemeClr val="tx1"/>
                </a:solidFill>
                <a:latin typeface="Arial" panose="020B0604020202020204" pitchFamily="34" charset="0"/>
                <a:cs typeface="Arial" panose="020B0604020202020204" pitchFamily="34" charset="0"/>
              </a:defRPr>
            </a:lvl7pPr>
            <a:lvl8pPr marL="1371600" algn="l" defTabSz="457200" rtl="0" fontAlgn="base">
              <a:spcBef>
                <a:spcPct val="0"/>
              </a:spcBef>
              <a:spcAft>
                <a:spcPct val="0"/>
              </a:spcAft>
              <a:defRPr sz="1200">
                <a:solidFill>
                  <a:schemeClr val="tx1"/>
                </a:solidFill>
                <a:latin typeface="Arial" panose="020B0604020202020204" pitchFamily="34" charset="0"/>
                <a:cs typeface="Arial" panose="020B0604020202020204" pitchFamily="34" charset="0"/>
              </a:defRPr>
            </a:lvl8pPr>
            <a:lvl9pPr marL="1828800" algn="l" defTabSz="457200" rtl="0" fontAlgn="base">
              <a:spcBef>
                <a:spcPct val="0"/>
              </a:spcBef>
              <a:spcAft>
                <a:spcPct val="0"/>
              </a:spcAft>
              <a:defRPr sz="1200">
                <a:solidFill>
                  <a:schemeClr val="tx1"/>
                </a:solidFill>
                <a:latin typeface="Arial" panose="020B0604020202020204" pitchFamily="34" charset="0"/>
                <a:cs typeface="Arial" panose="020B0604020202020204" pitchFamily="34" charset="0"/>
              </a:defRPr>
            </a:lvl9pPr>
          </a:lstStyle>
          <a:p>
            <a:pPr marL="7701" marR="3082">
              <a:lnSpc>
                <a:spcPts val="3000"/>
              </a:lnSpc>
              <a:spcBef>
                <a:spcPts val="318"/>
              </a:spcBef>
            </a:pPr>
            <a:r>
              <a:rPr lang="fr-FR" sz="2400" spc="-2" dirty="0">
                <a:solidFill>
                  <a:schemeClr val="bg1"/>
                </a:solidFill>
                <a:latin typeface="Arial Black" panose="020B0A04020102020204" pitchFamily="34" charset="0"/>
              </a:rPr>
              <a:t>UNE STRATEGIE ET DES OUTILS EN FAVEUR D’UNE INDUSTRIE AU CŒUR DU PROJET METROPOLITAIN</a:t>
            </a:r>
            <a:endParaRPr lang="fr-FR" sz="2400" spc="-6" dirty="0">
              <a:solidFill>
                <a:schemeClr val="bg1"/>
              </a:solidFill>
              <a:latin typeface="Arial Black"/>
              <a:cs typeface="Arial Black"/>
            </a:endParaRPr>
          </a:p>
        </p:txBody>
      </p:sp>
      <p:sp>
        <p:nvSpPr>
          <p:cNvPr id="5" name="Rectangle 4">
            <a:extLst>
              <a:ext uri="{FF2B5EF4-FFF2-40B4-BE49-F238E27FC236}">
                <a16:creationId xmlns:a16="http://schemas.microsoft.com/office/drawing/2014/main" id="{1E9CBFB8-779C-C855-4776-9DF3D991E277}"/>
              </a:ext>
            </a:extLst>
          </p:cNvPr>
          <p:cNvSpPr/>
          <p:nvPr/>
        </p:nvSpPr>
        <p:spPr>
          <a:xfrm>
            <a:off x="397" y="0"/>
            <a:ext cx="105878" cy="6858000"/>
          </a:xfrm>
          <a:prstGeom prst="rect">
            <a:avLst/>
          </a:prstGeom>
          <a:solidFill>
            <a:srgbClr val="E400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00"/>
          </a:p>
        </p:txBody>
      </p:sp>
    </p:spTree>
    <p:extLst>
      <p:ext uri="{BB962C8B-B14F-4D97-AF65-F5344CB8AC3E}">
        <p14:creationId xmlns:p14="http://schemas.microsoft.com/office/powerpoint/2010/main" val="3219566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EEB646DD-4F81-AD4A-8EC5-3E8A41D5EE13}"/>
              </a:ext>
            </a:extLst>
          </p:cNvPr>
          <p:cNvSpPr/>
          <p:nvPr/>
        </p:nvSpPr>
        <p:spPr>
          <a:xfrm>
            <a:off x="5471256" y="796757"/>
            <a:ext cx="6720348" cy="1896378"/>
          </a:xfrm>
          <a:prstGeom prst="rect">
            <a:avLst/>
          </a:prstGeom>
          <a:solidFill>
            <a:srgbClr val="E4002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546"/>
          </a:p>
        </p:txBody>
      </p:sp>
      <p:sp>
        <p:nvSpPr>
          <p:cNvPr id="21" name="Rectangle 20">
            <a:extLst>
              <a:ext uri="{FF2B5EF4-FFF2-40B4-BE49-F238E27FC236}">
                <a16:creationId xmlns:a16="http://schemas.microsoft.com/office/drawing/2014/main" id="{43AC99FD-C9E0-CDDC-8598-FB27375E3F9C}"/>
              </a:ext>
            </a:extLst>
          </p:cNvPr>
          <p:cNvSpPr/>
          <p:nvPr/>
        </p:nvSpPr>
        <p:spPr>
          <a:xfrm>
            <a:off x="397" y="0"/>
            <a:ext cx="105878" cy="6858000"/>
          </a:xfrm>
          <a:prstGeom prst="rect">
            <a:avLst/>
          </a:prstGeom>
          <a:solidFill>
            <a:srgbClr val="E400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00">
              <a:solidFill>
                <a:srgbClr val="E4002B"/>
              </a:solidFill>
            </a:endParaRPr>
          </a:p>
        </p:txBody>
      </p:sp>
      <p:sp>
        <p:nvSpPr>
          <p:cNvPr id="22" name="Rectangle 21">
            <a:extLst>
              <a:ext uri="{FF2B5EF4-FFF2-40B4-BE49-F238E27FC236}">
                <a16:creationId xmlns:a16="http://schemas.microsoft.com/office/drawing/2014/main" id="{C3797CA2-9B69-2F94-EAC2-5376DCB36F11}"/>
              </a:ext>
            </a:extLst>
          </p:cNvPr>
          <p:cNvSpPr/>
          <p:nvPr/>
        </p:nvSpPr>
        <p:spPr>
          <a:xfrm>
            <a:off x="5471256" y="4620703"/>
            <a:ext cx="6720348" cy="5733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546"/>
          </a:p>
        </p:txBody>
      </p:sp>
      <p:sp>
        <p:nvSpPr>
          <p:cNvPr id="29" name="ZoneTexte 28">
            <a:extLst>
              <a:ext uri="{FF2B5EF4-FFF2-40B4-BE49-F238E27FC236}">
                <a16:creationId xmlns:a16="http://schemas.microsoft.com/office/drawing/2014/main" id="{F5F2C65A-813A-C16E-4F7C-6DBD5F00F0B3}"/>
              </a:ext>
            </a:extLst>
          </p:cNvPr>
          <p:cNvSpPr txBox="1"/>
          <p:nvPr/>
        </p:nvSpPr>
        <p:spPr>
          <a:xfrm>
            <a:off x="5744457" y="4798637"/>
            <a:ext cx="6367315" cy="286232"/>
          </a:xfrm>
          <a:prstGeom prst="rect">
            <a:avLst/>
          </a:prstGeom>
          <a:noFill/>
        </p:spPr>
        <p:txBody>
          <a:bodyPr wrap="square">
            <a:spAutoFit/>
          </a:bodyPr>
          <a:lstStyle/>
          <a:p>
            <a:pPr marL="3851" algn="ctr">
              <a:lnSpc>
                <a:spcPct val="90000"/>
              </a:lnSpc>
            </a:pPr>
            <a:r>
              <a:rPr lang="fr-FR" sz="1400" b="1" spc="6" dirty="0">
                <a:solidFill>
                  <a:schemeClr val="bg1"/>
                </a:solidFill>
                <a:latin typeface="Arial" panose="020B0604020202020204" pitchFamily="34" charset="0"/>
                <a:cs typeface="Arial" panose="020B0604020202020204" pitchFamily="34" charset="0"/>
              </a:rPr>
              <a:t>UNE VOLONTÉ TERRITORIALE LOCALE FORTE ET AFFIRMÉE </a:t>
            </a:r>
          </a:p>
        </p:txBody>
      </p:sp>
      <p:sp>
        <p:nvSpPr>
          <p:cNvPr id="34" name="object 13">
            <a:extLst>
              <a:ext uri="{FF2B5EF4-FFF2-40B4-BE49-F238E27FC236}">
                <a16:creationId xmlns:a16="http://schemas.microsoft.com/office/drawing/2014/main" id="{8CE08143-672A-F282-5B50-0008DFC33D82}"/>
              </a:ext>
            </a:extLst>
          </p:cNvPr>
          <p:cNvSpPr txBox="1"/>
          <p:nvPr/>
        </p:nvSpPr>
        <p:spPr>
          <a:xfrm>
            <a:off x="5812329" y="5292173"/>
            <a:ext cx="2649132" cy="664797"/>
          </a:xfrm>
          <a:prstGeom prst="rect">
            <a:avLst/>
          </a:prstGeom>
        </p:spPr>
        <p:txBody>
          <a:bodyPr vert="horz" wrap="square" lIns="0" tIns="0" rIns="0" bIns="0" rtlCol="0">
            <a:spAutoFit/>
          </a:bodyPr>
          <a:lstStyle/>
          <a:p>
            <a:pPr marL="3851">
              <a:lnSpc>
                <a:spcPct val="90000"/>
              </a:lnSpc>
            </a:pPr>
            <a:r>
              <a:rPr lang="fr-FR" sz="1200" spc="6" dirty="0">
                <a:latin typeface="Arial" panose="020B0604020202020204" pitchFamily="34" charset="0"/>
                <a:cs typeface="Arial" panose="020B0604020202020204" pitchFamily="34" charset="0"/>
              </a:rPr>
              <a:t>D’enrayer le phénomène de </a:t>
            </a:r>
            <a:r>
              <a:rPr lang="fr-FR" sz="1200" b="1" spc="6" dirty="0">
                <a:latin typeface="Arial" panose="020B0604020202020204" pitchFamily="34" charset="0"/>
                <a:cs typeface="Arial" panose="020B0604020202020204" pitchFamily="34" charset="0"/>
              </a:rPr>
              <a:t>changement d’usage des fonciers industriels </a:t>
            </a:r>
            <a:r>
              <a:rPr lang="fr-FR" sz="1200" spc="6" dirty="0">
                <a:latin typeface="Arial" panose="020B0604020202020204" pitchFamily="34" charset="0"/>
                <a:cs typeface="Arial" panose="020B0604020202020204" pitchFamily="34" charset="0"/>
              </a:rPr>
              <a:t>vers d’autres fonctions (logement, équipement public, …)</a:t>
            </a:r>
            <a:endParaRPr lang="fr-FR" sz="1200" b="1" spc="6" dirty="0">
              <a:latin typeface="Arial" panose="020B0604020202020204" pitchFamily="34" charset="0"/>
              <a:cs typeface="Arial" panose="020B0604020202020204" pitchFamily="34" charset="0"/>
            </a:endParaRPr>
          </a:p>
        </p:txBody>
      </p:sp>
      <p:sp>
        <p:nvSpPr>
          <p:cNvPr id="38" name="object 13">
            <a:extLst>
              <a:ext uri="{FF2B5EF4-FFF2-40B4-BE49-F238E27FC236}">
                <a16:creationId xmlns:a16="http://schemas.microsoft.com/office/drawing/2014/main" id="{9F92ACDA-1EC6-CC54-4727-CD0B14A22E90}"/>
              </a:ext>
            </a:extLst>
          </p:cNvPr>
          <p:cNvSpPr txBox="1"/>
          <p:nvPr/>
        </p:nvSpPr>
        <p:spPr>
          <a:xfrm>
            <a:off x="9313277" y="1504045"/>
            <a:ext cx="2605484" cy="581698"/>
          </a:xfrm>
          <a:prstGeom prst="rect">
            <a:avLst/>
          </a:prstGeom>
        </p:spPr>
        <p:txBody>
          <a:bodyPr vert="horz" wrap="square" lIns="0" tIns="0" rIns="0" bIns="0" rtlCol="0">
            <a:spAutoFit/>
          </a:bodyPr>
          <a:lstStyle/>
          <a:p>
            <a:pPr marL="3851">
              <a:lnSpc>
                <a:spcPct val="90000"/>
              </a:lnSpc>
            </a:pPr>
            <a:r>
              <a:rPr lang="fr-FR" sz="1400" b="1" spc="6" dirty="0">
                <a:solidFill>
                  <a:schemeClr val="bg1"/>
                </a:solidFill>
                <a:latin typeface="Arial" panose="020B0604020202020204" pitchFamily="34" charset="0"/>
                <a:cs typeface="Arial" panose="020B0604020202020204" pitchFamily="34" charset="0"/>
              </a:rPr>
              <a:t>20 000 ha : </a:t>
            </a:r>
            <a:r>
              <a:rPr lang="fr-FR" sz="1400" spc="6" dirty="0">
                <a:solidFill>
                  <a:schemeClr val="bg1"/>
                </a:solidFill>
                <a:latin typeface="Arial" panose="020B0604020202020204" pitchFamily="34" charset="0"/>
                <a:cs typeface="Arial" panose="020B0604020202020204" pitchFamily="34" charset="0"/>
              </a:rPr>
              <a:t>les objectifs de foncier nécessaires à la  réindustrialisation en France</a:t>
            </a:r>
            <a:endParaRPr lang="fr-FR" sz="1400" b="1" spc="6" dirty="0">
              <a:solidFill>
                <a:schemeClr val="bg1"/>
              </a:solidFill>
              <a:latin typeface="Arial" panose="020B0604020202020204" pitchFamily="34" charset="0"/>
              <a:cs typeface="Arial" panose="020B0604020202020204" pitchFamily="34" charset="0"/>
            </a:endParaRPr>
          </a:p>
        </p:txBody>
      </p:sp>
      <p:sp>
        <p:nvSpPr>
          <p:cNvPr id="42" name="object 13">
            <a:extLst>
              <a:ext uri="{FF2B5EF4-FFF2-40B4-BE49-F238E27FC236}">
                <a16:creationId xmlns:a16="http://schemas.microsoft.com/office/drawing/2014/main" id="{80389459-BE4B-C73C-30F4-422E6AA782D3}"/>
              </a:ext>
            </a:extLst>
          </p:cNvPr>
          <p:cNvSpPr txBox="1"/>
          <p:nvPr/>
        </p:nvSpPr>
        <p:spPr>
          <a:xfrm>
            <a:off x="8825313" y="5279548"/>
            <a:ext cx="2383660" cy="664797"/>
          </a:xfrm>
          <a:prstGeom prst="rect">
            <a:avLst/>
          </a:prstGeom>
        </p:spPr>
        <p:txBody>
          <a:bodyPr vert="horz" wrap="square" lIns="0" tIns="0" rIns="0" bIns="0" rtlCol="0">
            <a:spAutoFit/>
          </a:bodyPr>
          <a:lstStyle/>
          <a:p>
            <a:pPr marL="3851">
              <a:lnSpc>
                <a:spcPct val="90000"/>
              </a:lnSpc>
            </a:pPr>
            <a:r>
              <a:rPr lang="fr-FR" sz="1200" b="1" spc="6" dirty="0">
                <a:latin typeface="Arial" panose="020B0604020202020204" pitchFamily="34" charset="0"/>
                <a:cs typeface="Arial" panose="020B0604020202020204" pitchFamily="34" charset="0"/>
              </a:rPr>
              <a:t>Une capacité financière à la PPI </a:t>
            </a:r>
            <a:r>
              <a:rPr lang="fr-FR" sz="1200" spc="6" dirty="0">
                <a:latin typeface="Arial" panose="020B0604020202020204" pitchFamily="34" charset="0"/>
                <a:cs typeface="Arial" panose="020B0604020202020204" pitchFamily="34" charset="0"/>
              </a:rPr>
              <a:t>conséquente pour de l’acquisition foncière : </a:t>
            </a:r>
            <a:r>
              <a:rPr lang="fr-FR" sz="1200" b="1" spc="6" dirty="0">
                <a:latin typeface="Arial" panose="020B0604020202020204" pitchFamily="34" charset="0"/>
                <a:cs typeface="Arial" panose="020B0604020202020204" pitchFamily="34" charset="0"/>
              </a:rPr>
              <a:t>48 M€ sur la période 2020-2026 </a:t>
            </a:r>
          </a:p>
        </p:txBody>
      </p:sp>
      <p:sp>
        <p:nvSpPr>
          <p:cNvPr id="5" name="object 13">
            <a:extLst>
              <a:ext uri="{FF2B5EF4-FFF2-40B4-BE49-F238E27FC236}">
                <a16:creationId xmlns:a16="http://schemas.microsoft.com/office/drawing/2014/main" id="{20D0896A-CCD5-8A06-5EAD-FD478F6FE046}"/>
              </a:ext>
            </a:extLst>
          </p:cNvPr>
          <p:cNvSpPr txBox="1"/>
          <p:nvPr/>
        </p:nvSpPr>
        <p:spPr>
          <a:xfrm>
            <a:off x="6214320" y="1504045"/>
            <a:ext cx="2599980" cy="969496"/>
          </a:xfrm>
          <a:prstGeom prst="rect">
            <a:avLst/>
          </a:prstGeom>
        </p:spPr>
        <p:txBody>
          <a:bodyPr vert="horz" wrap="square" lIns="0" tIns="0" rIns="0" bIns="0" rtlCol="0">
            <a:spAutoFit/>
          </a:bodyPr>
          <a:lstStyle/>
          <a:p>
            <a:pPr marL="3851">
              <a:lnSpc>
                <a:spcPct val="90000"/>
              </a:lnSpc>
            </a:pPr>
            <a:r>
              <a:rPr lang="fr-FR" sz="1400" b="1" spc="6" dirty="0">
                <a:solidFill>
                  <a:schemeClr val="bg1"/>
                </a:solidFill>
                <a:latin typeface="Arial" panose="020B0604020202020204" pitchFamily="34" charset="0"/>
                <a:cs typeface="Arial" panose="020B0604020202020204" pitchFamily="34" charset="0"/>
              </a:rPr>
              <a:t>Objectif de zéro artificialisation nette (ZAN) </a:t>
            </a:r>
            <a:r>
              <a:rPr lang="fr-FR" sz="1400" spc="6" dirty="0">
                <a:solidFill>
                  <a:schemeClr val="bg1"/>
                </a:solidFill>
                <a:latin typeface="Arial" panose="020B0604020202020204" pitchFamily="34" charset="0"/>
                <a:cs typeface="Arial" panose="020B0604020202020204" pitchFamily="34" charset="0"/>
              </a:rPr>
              <a:t>affirmé à l’échelle nationale et métropolitaine par la loi Climat et Résilience de 2021</a:t>
            </a:r>
            <a:endParaRPr lang="fr-FR" sz="1400" b="1" spc="6" dirty="0">
              <a:solidFill>
                <a:schemeClr val="bg1"/>
              </a:solidFill>
              <a:latin typeface="Arial" panose="020B0604020202020204" pitchFamily="34" charset="0"/>
              <a:cs typeface="Arial" panose="020B0604020202020204" pitchFamily="34" charset="0"/>
            </a:endParaRPr>
          </a:p>
        </p:txBody>
      </p:sp>
      <p:grpSp>
        <p:nvGrpSpPr>
          <p:cNvPr id="6" name="Groupe 5">
            <a:extLst>
              <a:ext uri="{FF2B5EF4-FFF2-40B4-BE49-F238E27FC236}">
                <a16:creationId xmlns:a16="http://schemas.microsoft.com/office/drawing/2014/main" id="{3A47729D-DCDF-8E49-DC4A-E16B8AD3527F}"/>
              </a:ext>
            </a:extLst>
          </p:cNvPr>
          <p:cNvGrpSpPr/>
          <p:nvPr/>
        </p:nvGrpSpPr>
        <p:grpSpPr>
          <a:xfrm rot="16200000">
            <a:off x="5484373" y="1278176"/>
            <a:ext cx="841351" cy="390363"/>
            <a:chOff x="1391501" y="2691985"/>
            <a:chExt cx="2253629" cy="842508"/>
          </a:xfrm>
          <a:solidFill>
            <a:schemeClr val="bg1"/>
          </a:solidFill>
        </p:grpSpPr>
        <p:sp>
          <p:nvSpPr>
            <p:cNvPr id="7" name="Rectangle 6">
              <a:extLst>
                <a:ext uri="{FF2B5EF4-FFF2-40B4-BE49-F238E27FC236}">
                  <a16:creationId xmlns:a16="http://schemas.microsoft.com/office/drawing/2014/main" id="{C541A125-3C38-0C96-F4C8-C711E3BE2C2C}"/>
                </a:ext>
              </a:extLst>
            </p:cNvPr>
            <p:cNvSpPr/>
            <p:nvPr/>
          </p:nvSpPr>
          <p:spPr>
            <a:xfrm rot="5400000">
              <a:off x="1894188" y="2189298"/>
              <a:ext cx="424738" cy="143011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00"/>
            </a:p>
          </p:txBody>
        </p:sp>
        <p:sp>
          <p:nvSpPr>
            <p:cNvPr id="8" name="Rectangle 7">
              <a:extLst>
                <a:ext uri="{FF2B5EF4-FFF2-40B4-BE49-F238E27FC236}">
                  <a16:creationId xmlns:a16="http://schemas.microsoft.com/office/drawing/2014/main" id="{B8D822BC-37A1-8569-1CB0-7BF4842C6F9F}"/>
                </a:ext>
              </a:extLst>
            </p:cNvPr>
            <p:cNvSpPr/>
            <p:nvPr/>
          </p:nvSpPr>
          <p:spPr>
            <a:xfrm rot="5400000">
              <a:off x="3007413" y="2896775"/>
              <a:ext cx="424738" cy="85069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00" dirty="0"/>
            </a:p>
          </p:txBody>
        </p:sp>
      </p:grpSp>
      <p:sp>
        <p:nvSpPr>
          <p:cNvPr id="16" name="object 8">
            <a:extLst>
              <a:ext uri="{FF2B5EF4-FFF2-40B4-BE49-F238E27FC236}">
                <a16:creationId xmlns:a16="http://schemas.microsoft.com/office/drawing/2014/main" id="{406458EC-BD69-5E66-FC38-73FBAF6A9FDD}"/>
              </a:ext>
            </a:extLst>
          </p:cNvPr>
          <p:cNvSpPr txBox="1">
            <a:spLocks/>
          </p:cNvSpPr>
          <p:nvPr/>
        </p:nvSpPr>
        <p:spPr>
          <a:xfrm>
            <a:off x="515074" y="499502"/>
            <a:ext cx="4556857" cy="1019356"/>
          </a:xfrm>
          <a:prstGeom prst="rect">
            <a:avLst/>
          </a:prstGeom>
        </p:spPr>
        <p:txBody>
          <a:bodyPr vert="horz" wrap="square" lIns="0" tIns="3658" rIns="0" bIns="0" rtlCol="0" anchor="ctr">
            <a:spAutoFit/>
          </a:bodyPr>
          <a:lstStyle>
            <a:lvl1pPr algn="l" defTabSz="1828709" rtl="0" eaLnBrk="1" latinLnBrk="0" hangingPunct="1">
              <a:lnSpc>
                <a:spcPct val="90000"/>
              </a:lnSpc>
              <a:spcBef>
                <a:spcPct val="0"/>
              </a:spcBef>
              <a:buNone/>
              <a:defRPr sz="8800" kern="1200">
                <a:solidFill>
                  <a:schemeClr val="tx1"/>
                </a:solidFill>
                <a:latin typeface="+mj-lt"/>
                <a:ea typeface="+mj-ea"/>
                <a:cs typeface="+mj-cs"/>
              </a:defRPr>
            </a:lvl1pPr>
          </a:lstStyle>
          <a:p>
            <a:pPr marL="3851">
              <a:lnSpc>
                <a:spcPct val="100000"/>
              </a:lnSpc>
              <a:spcBef>
                <a:spcPts val="29"/>
              </a:spcBef>
              <a:tabLst>
                <a:tab pos="1528050" algn="l"/>
              </a:tabLst>
            </a:pPr>
            <a:r>
              <a:rPr lang="fr-FR" sz="2200" spc="-2" dirty="0">
                <a:solidFill>
                  <a:srgbClr val="E4002B"/>
                </a:solidFill>
                <a:latin typeface="Arial Black" panose="020B0A04020102020204" pitchFamily="34" charset="0"/>
              </a:rPr>
              <a:t>UN CONTEXTE PROPICE</a:t>
            </a:r>
            <a:br>
              <a:rPr lang="fr-FR" sz="2200" spc="-2" dirty="0">
                <a:solidFill>
                  <a:srgbClr val="E4002B"/>
                </a:solidFill>
                <a:latin typeface="Arial Black" panose="020B0A04020102020204" pitchFamily="34" charset="0"/>
              </a:rPr>
            </a:br>
            <a:r>
              <a:rPr lang="fr-FR" sz="2200" spc="-2" dirty="0">
                <a:latin typeface="Arial Black" panose="020B0A04020102020204" pitchFamily="34" charset="0"/>
              </a:rPr>
              <a:t>      À UN CHANGEMENT DE</a:t>
            </a:r>
          </a:p>
          <a:p>
            <a:pPr marL="3851">
              <a:lnSpc>
                <a:spcPct val="100000"/>
              </a:lnSpc>
              <a:spcBef>
                <a:spcPts val="29"/>
              </a:spcBef>
              <a:tabLst>
                <a:tab pos="1528050" algn="l"/>
              </a:tabLst>
            </a:pPr>
            <a:r>
              <a:rPr lang="fr-FR" sz="2200" spc="-2" dirty="0">
                <a:latin typeface="Arial Black" panose="020B0A04020102020204" pitchFamily="34" charset="0"/>
              </a:rPr>
              <a:t>      MODÈLE INDUSTRIEL</a:t>
            </a:r>
          </a:p>
        </p:txBody>
      </p:sp>
      <p:grpSp>
        <p:nvGrpSpPr>
          <p:cNvPr id="140" name="Groupe 139">
            <a:extLst>
              <a:ext uri="{FF2B5EF4-FFF2-40B4-BE49-F238E27FC236}">
                <a16:creationId xmlns:a16="http://schemas.microsoft.com/office/drawing/2014/main" id="{4AD38306-E1D2-3272-B138-1AB9E032B43F}"/>
              </a:ext>
            </a:extLst>
          </p:cNvPr>
          <p:cNvGrpSpPr/>
          <p:nvPr/>
        </p:nvGrpSpPr>
        <p:grpSpPr>
          <a:xfrm>
            <a:off x="540613" y="2663992"/>
            <a:ext cx="4602668" cy="3737620"/>
            <a:chOff x="1001491" y="4844143"/>
            <a:chExt cx="9824755" cy="7978242"/>
          </a:xfrm>
        </p:grpSpPr>
        <p:grpSp>
          <p:nvGrpSpPr>
            <p:cNvPr id="20" name="Graphique 17">
              <a:extLst>
                <a:ext uri="{FF2B5EF4-FFF2-40B4-BE49-F238E27FC236}">
                  <a16:creationId xmlns:a16="http://schemas.microsoft.com/office/drawing/2014/main" id="{33CD514B-29C9-8EF4-84F8-52E8BF22E104}"/>
                </a:ext>
              </a:extLst>
            </p:cNvPr>
            <p:cNvGrpSpPr/>
            <p:nvPr/>
          </p:nvGrpSpPr>
          <p:grpSpPr>
            <a:xfrm>
              <a:off x="1001491" y="4844143"/>
              <a:ext cx="8906560" cy="7978242"/>
              <a:chOff x="1113429" y="4335822"/>
              <a:chExt cx="8906560" cy="7978242"/>
            </a:xfrm>
          </p:grpSpPr>
          <p:grpSp>
            <p:nvGrpSpPr>
              <p:cNvPr id="23" name="Graphique 17">
                <a:extLst>
                  <a:ext uri="{FF2B5EF4-FFF2-40B4-BE49-F238E27FC236}">
                    <a16:creationId xmlns:a16="http://schemas.microsoft.com/office/drawing/2014/main" id="{BAB8248E-D063-5383-9980-2FBFFE9625A0}"/>
                  </a:ext>
                </a:extLst>
              </p:cNvPr>
              <p:cNvGrpSpPr/>
              <p:nvPr/>
            </p:nvGrpSpPr>
            <p:grpSpPr>
              <a:xfrm>
                <a:off x="5580547" y="6742309"/>
                <a:ext cx="1608402" cy="1957662"/>
                <a:chOff x="5580547" y="6742309"/>
                <a:chExt cx="1608402" cy="1957662"/>
              </a:xfrm>
              <a:solidFill>
                <a:srgbClr val="ABDEF6"/>
              </a:solidFill>
            </p:grpSpPr>
            <p:sp>
              <p:nvSpPr>
                <p:cNvPr id="24" name="Forme libre : forme 23">
                  <a:extLst>
                    <a:ext uri="{FF2B5EF4-FFF2-40B4-BE49-F238E27FC236}">
                      <a16:creationId xmlns:a16="http://schemas.microsoft.com/office/drawing/2014/main" id="{9CD1A688-EAFD-9899-27A7-1C8B8CE80099}"/>
                    </a:ext>
                  </a:extLst>
                </p:cNvPr>
                <p:cNvSpPr/>
                <p:nvPr/>
              </p:nvSpPr>
              <p:spPr>
                <a:xfrm>
                  <a:off x="5583178" y="6744929"/>
                  <a:ext cx="1603043" cy="1951718"/>
                </a:xfrm>
                <a:custGeom>
                  <a:avLst/>
                  <a:gdLst>
                    <a:gd name="connsiteX0" fmla="*/ 1498355 w 1603043"/>
                    <a:gd name="connsiteY0" fmla="*/ 670004 h 1951718"/>
                    <a:gd name="connsiteX1" fmla="*/ 1503700 w 1603043"/>
                    <a:gd name="connsiteY1" fmla="*/ 669600 h 1951718"/>
                    <a:gd name="connsiteX2" fmla="*/ 1498355 w 1603043"/>
                    <a:gd name="connsiteY2" fmla="*/ 670004 h 1951718"/>
                    <a:gd name="connsiteX3" fmla="*/ 1489984 w 1603043"/>
                    <a:gd name="connsiteY3" fmla="*/ 1151301 h 1951718"/>
                    <a:gd name="connsiteX4" fmla="*/ 1558466 w 1603043"/>
                    <a:gd name="connsiteY4" fmla="*/ 1067185 h 1951718"/>
                    <a:gd name="connsiteX5" fmla="*/ 1595784 w 1603043"/>
                    <a:gd name="connsiteY5" fmla="*/ 948877 h 1951718"/>
                    <a:gd name="connsiteX6" fmla="*/ 1583378 w 1603043"/>
                    <a:gd name="connsiteY6" fmla="*/ 883521 h 1951718"/>
                    <a:gd name="connsiteX7" fmla="*/ 1527301 w 1603043"/>
                    <a:gd name="connsiteY7" fmla="*/ 827444 h 1951718"/>
                    <a:gd name="connsiteX8" fmla="*/ 1561593 w 1603043"/>
                    <a:gd name="connsiteY8" fmla="*/ 727795 h 1951718"/>
                    <a:gd name="connsiteX9" fmla="*/ 1533554 w 1603043"/>
                    <a:gd name="connsiteY9" fmla="*/ 684124 h 1951718"/>
                    <a:gd name="connsiteX10" fmla="*/ 1496539 w 1603043"/>
                    <a:gd name="connsiteY10" fmla="*/ 670104 h 1951718"/>
                    <a:gd name="connsiteX11" fmla="*/ 1418072 w 1603043"/>
                    <a:gd name="connsiteY11" fmla="*/ 645999 h 1951718"/>
                    <a:gd name="connsiteX12" fmla="*/ 1319432 w 1603043"/>
                    <a:gd name="connsiteY12" fmla="*/ 616044 h 1951718"/>
                    <a:gd name="connsiteX13" fmla="*/ 1244393 w 1603043"/>
                    <a:gd name="connsiteY13" fmla="*/ 541005 h 1951718"/>
                    <a:gd name="connsiteX14" fmla="*/ 1203646 w 1603043"/>
                    <a:gd name="connsiteY14" fmla="*/ 425220 h 1951718"/>
                    <a:gd name="connsiteX15" fmla="*/ 1079287 w 1603043"/>
                    <a:gd name="connsiteY15" fmla="*/ 333035 h 1951718"/>
                    <a:gd name="connsiteX16" fmla="*/ 976411 w 1603043"/>
                    <a:gd name="connsiteY16" fmla="*/ 375900 h 1951718"/>
                    <a:gd name="connsiteX17" fmla="*/ 671819 w 1603043"/>
                    <a:gd name="connsiteY17" fmla="*/ 405855 h 1951718"/>
                    <a:gd name="connsiteX18" fmla="*/ 577516 w 1603043"/>
                    <a:gd name="connsiteY18" fmla="*/ 337271 h 1951718"/>
                    <a:gd name="connsiteX19" fmla="*/ 474539 w 1603043"/>
                    <a:gd name="connsiteY19" fmla="*/ 204339 h 1951718"/>
                    <a:gd name="connsiteX20" fmla="*/ 403737 w 1603043"/>
                    <a:gd name="connsiteY20" fmla="*/ 77762 h 1951718"/>
                    <a:gd name="connsiteX21" fmla="*/ 323050 w 1603043"/>
                    <a:gd name="connsiteY21" fmla="*/ 0 h 1951718"/>
                    <a:gd name="connsiteX22" fmla="*/ 324563 w 1603043"/>
                    <a:gd name="connsiteY22" fmla="*/ 3631 h 1951718"/>
                    <a:gd name="connsiteX23" fmla="*/ 300054 w 1603043"/>
                    <a:gd name="connsiteY23" fmla="*/ 12406 h 1951718"/>
                    <a:gd name="connsiteX24" fmla="*/ 185882 w 1603043"/>
                    <a:gd name="connsiteY24" fmla="*/ 6354 h 1951718"/>
                    <a:gd name="connsiteX25" fmla="*/ 119719 w 1603043"/>
                    <a:gd name="connsiteY25" fmla="*/ 45386 h 1951718"/>
                    <a:gd name="connsiteX26" fmla="*/ 101665 w 1603043"/>
                    <a:gd name="connsiteY26" fmla="*/ 132528 h 1951718"/>
                    <a:gd name="connsiteX27" fmla="*/ 53556 w 1603043"/>
                    <a:gd name="connsiteY27" fmla="*/ 192640 h 1951718"/>
                    <a:gd name="connsiteX28" fmla="*/ 51539 w 1603043"/>
                    <a:gd name="connsiteY28" fmla="*/ 193043 h 1951718"/>
                    <a:gd name="connsiteX29" fmla="*/ 62734 w 1603043"/>
                    <a:gd name="connsiteY29" fmla="*/ 208071 h 1951718"/>
                    <a:gd name="connsiteX30" fmla="*/ 112356 w 1603043"/>
                    <a:gd name="connsiteY30" fmla="*/ 252348 h 1951718"/>
                    <a:gd name="connsiteX31" fmla="*/ 140395 w 1603043"/>
                    <a:gd name="connsiteY31" fmla="*/ 289061 h 1951718"/>
                    <a:gd name="connsiteX32" fmla="*/ 166316 w 1603043"/>
                    <a:gd name="connsiteY32" fmla="*/ 338683 h 1951718"/>
                    <a:gd name="connsiteX33" fmla="*/ 133940 w 1603043"/>
                    <a:gd name="connsiteY33" fmla="*/ 375395 h 1951718"/>
                    <a:gd name="connsiteX34" fmla="*/ 110137 w 1603043"/>
                    <a:gd name="connsiteY34" fmla="*/ 415336 h 1951718"/>
                    <a:gd name="connsiteX35" fmla="*/ 100455 w 1603043"/>
                    <a:gd name="connsiteY35" fmla="*/ 479078 h 1951718"/>
                    <a:gd name="connsiteX36" fmla="*/ 74534 w 1603043"/>
                    <a:gd name="connsiteY36" fmla="*/ 529810 h 1951718"/>
                    <a:gd name="connsiteX37" fmla="*/ 29148 w 1603043"/>
                    <a:gd name="connsiteY37" fmla="*/ 542720 h 1951718"/>
                    <a:gd name="connsiteX38" fmla="*/ 0 w 1603043"/>
                    <a:gd name="connsiteY38" fmla="*/ 582660 h 1951718"/>
                    <a:gd name="connsiteX39" fmla="*/ 39940 w 1603043"/>
                    <a:gd name="connsiteY39" fmla="*/ 625827 h 1951718"/>
                    <a:gd name="connsiteX40" fmla="*/ 50732 w 1603043"/>
                    <a:gd name="connsiteY40" fmla="*/ 671214 h 1951718"/>
                    <a:gd name="connsiteX41" fmla="*/ 59406 w 1603043"/>
                    <a:gd name="connsiteY41" fmla="*/ 723055 h 1951718"/>
                    <a:gd name="connsiteX42" fmla="*/ 24912 w 1603043"/>
                    <a:gd name="connsiteY42" fmla="*/ 743529 h 1951718"/>
                    <a:gd name="connsiteX43" fmla="*/ 45386 w 1603043"/>
                    <a:gd name="connsiteY43" fmla="*/ 816954 h 1951718"/>
                    <a:gd name="connsiteX44" fmla="*/ 36712 w 1603043"/>
                    <a:gd name="connsiteY44" fmla="*/ 870914 h 1951718"/>
                    <a:gd name="connsiteX45" fmla="*/ 22693 w 1603043"/>
                    <a:gd name="connsiteY45" fmla="*/ 931429 h 1951718"/>
                    <a:gd name="connsiteX46" fmla="*/ 78871 w 1603043"/>
                    <a:gd name="connsiteY46" fmla="*/ 985388 h 1951718"/>
                    <a:gd name="connsiteX47" fmla="*/ 98236 w 1603043"/>
                    <a:gd name="connsiteY47" fmla="*/ 1025328 h 1951718"/>
                    <a:gd name="connsiteX48" fmla="*/ 104691 w 1603043"/>
                    <a:gd name="connsiteY48" fmla="*/ 1098753 h 1951718"/>
                    <a:gd name="connsiteX49" fmla="*/ 127384 w 1603043"/>
                    <a:gd name="connsiteY49" fmla="*/ 1171069 h 1951718"/>
                    <a:gd name="connsiteX50" fmla="*/ 137167 w 1603043"/>
                    <a:gd name="connsiteY50" fmla="*/ 1253067 h 1951718"/>
                    <a:gd name="connsiteX51" fmla="*/ 133940 w 1603043"/>
                    <a:gd name="connsiteY51" fmla="*/ 1300571 h 1951718"/>
                    <a:gd name="connsiteX52" fmla="*/ 124157 w 1603043"/>
                    <a:gd name="connsiteY52" fmla="*/ 1366432 h 1951718"/>
                    <a:gd name="connsiteX53" fmla="*/ 120929 w 1603043"/>
                    <a:gd name="connsiteY53" fmla="*/ 1419383 h 1951718"/>
                    <a:gd name="connsiteX54" fmla="*/ 174889 w 1603043"/>
                    <a:gd name="connsiteY54" fmla="*/ 1461441 h 1951718"/>
                    <a:gd name="connsiteX55" fmla="*/ 206155 w 1603043"/>
                    <a:gd name="connsiteY55" fmla="*/ 1491698 h 1951718"/>
                    <a:gd name="connsiteX56" fmla="*/ 257996 w 1603043"/>
                    <a:gd name="connsiteY56" fmla="*/ 1489479 h 1951718"/>
                    <a:gd name="connsiteX57" fmla="*/ 289363 w 1603043"/>
                    <a:gd name="connsiteY57" fmla="*/ 1491698 h 1951718"/>
                    <a:gd name="connsiteX58" fmla="*/ 315284 w 1603043"/>
                    <a:gd name="connsiteY58" fmla="*/ 1484134 h 1951718"/>
                    <a:gd name="connsiteX59" fmla="*/ 380035 w 1603043"/>
                    <a:gd name="connsiteY59" fmla="*/ 1514391 h 1951718"/>
                    <a:gd name="connsiteX60" fmla="*/ 406964 w 1603043"/>
                    <a:gd name="connsiteY60" fmla="*/ 1533857 h 1951718"/>
                    <a:gd name="connsiteX61" fmla="*/ 438331 w 1603043"/>
                    <a:gd name="connsiteY61" fmla="*/ 1501482 h 1951718"/>
                    <a:gd name="connsiteX62" fmla="*/ 451241 w 1603043"/>
                    <a:gd name="connsiteY62" fmla="*/ 1452868 h 1951718"/>
                    <a:gd name="connsiteX63" fmla="*/ 494510 w 1603043"/>
                    <a:gd name="connsiteY63" fmla="*/ 1484235 h 1951718"/>
                    <a:gd name="connsiteX64" fmla="*/ 540904 w 1603043"/>
                    <a:gd name="connsiteY64" fmla="*/ 1519838 h 1951718"/>
                    <a:gd name="connsiteX65" fmla="*/ 552906 w 1603043"/>
                    <a:gd name="connsiteY65" fmla="*/ 1586404 h 1951718"/>
                    <a:gd name="connsiteX66" fmla="*/ 608883 w 1603043"/>
                    <a:gd name="connsiteY66" fmla="*/ 1661040 h 1951718"/>
                    <a:gd name="connsiteX67" fmla="*/ 692697 w 1603043"/>
                    <a:gd name="connsiteY67" fmla="*/ 1679598 h 1951718"/>
                    <a:gd name="connsiteX68" fmla="*/ 695823 w 1603043"/>
                    <a:gd name="connsiteY68" fmla="*/ 1785297 h 1951718"/>
                    <a:gd name="connsiteX69" fmla="*/ 658606 w 1603043"/>
                    <a:gd name="connsiteY69" fmla="*/ 1828767 h 1951718"/>
                    <a:gd name="connsiteX70" fmla="*/ 627542 w 1603043"/>
                    <a:gd name="connsiteY70" fmla="*/ 1862959 h 1951718"/>
                    <a:gd name="connsiteX71" fmla="*/ 692797 w 1603043"/>
                    <a:gd name="connsiteY71" fmla="*/ 1912682 h 1951718"/>
                    <a:gd name="connsiteX72" fmla="*/ 723862 w 1603043"/>
                    <a:gd name="connsiteY72" fmla="*/ 1946873 h 1951718"/>
                    <a:gd name="connsiteX73" fmla="*/ 770559 w 1603043"/>
                    <a:gd name="connsiteY73" fmla="*/ 1918834 h 1951718"/>
                    <a:gd name="connsiteX74" fmla="*/ 891792 w 1603043"/>
                    <a:gd name="connsiteY74" fmla="*/ 1934366 h 1951718"/>
                    <a:gd name="connsiteX75" fmla="*/ 938388 w 1603043"/>
                    <a:gd name="connsiteY75" fmla="*/ 1878491 h 1951718"/>
                    <a:gd name="connsiteX76" fmla="*/ 1012922 w 1603043"/>
                    <a:gd name="connsiteY76" fmla="*/ 1819388 h 1951718"/>
                    <a:gd name="connsiteX77" fmla="*/ 1152813 w 1603043"/>
                    <a:gd name="connsiteY77" fmla="*/ 1909555 h 1951718"/>
                    <a:gd name="connsiteX78" fmla="*/ 1193257 w 1603043"/>
                    <a:gd name="connsiteY78" fmla="*/ 1946873 h 1951718"/>
                    <a:gd name="connsiteX79" fmla="*/ 1196384 w 1603043"/>
                    <a:gd name="connsiteY79" fmla="*/ 1872237 h 1951718"/>
                    <a:gd name="connsiteX80" fmla="*/ 1246107 w 1603043"/>
                    <a:gd name="connsiteY80" fmla="*/ 1741726 h 1951718"/>
                    <a:gd name="connsiteX81" fmla="*/ 1242880 w 1603043"/>
                    <a:gd name="connsiteY81" fmla="*/ 1651559 h 1951718"/>
                    <a:gd name="connsiteX82" fmla="*/ 1311363 w 1603043"/>
                    <a:gd name="connsiteY82" fmla="*/ 1636027 h 1951718"/>
                    <a:gd name="connsiteX83" fmla="*/ 1364213 w 1603043"/>
                    <a:gd name="connsiteY83" fmla="*/ 1636027 h 1951718"/>
                    <a:gd name="connsiteX84" fmla="*/ 1438848 w 1603043"/>
                    <a:gd name="connsiteY84" fmla="*/ 1654585 h 1951718"/>
                    <a:gd name="connsiteX85" fmla="*/ 1500271 w 1603043"/>
                    <a:gd name="connsiteY85" fmla="*/ 1673849 h 1951718"/>
                    <a:gd name="connsiteX86" fmla="*/ 1530528 w 1603043"/>
                    <a:gd name="connsiteY86" fmla="*/ 1646113 h 1951718"/>
                    <a:gd name="connsiteX87" fmla="*/ 1543035 w 1603043"/>
                    <a:gd name="connsiteY87" fmla="*/ 1605668 h 1951718"/>
                    <a:gd name="connsiteX88" fmla="*/ 1555441 w 1603043"/>
                    <a:gd name="connsiteY88" fmla="*/ 1527805 h 1951718"/>
                    <a:gd name="connsiteX89" fmla="*/ 1536782 w 1603043"/>
                    <a:gd name="connsiteY89" fmla="*/ 1406372 h 1951718"/>
                    <a:gd name="connsiteX90" fmla="*/ 1558567 w 1603043"/>
                    <a:gd name="connsiteY90" fmla="*/ 1325382 h 1951718"/>
                    <a:gd name="connsiteX91" fmla="*/ 1527402 w 1603043"/>
                    <a:gd name="connsiteY91" fmla="*/ 1278685 h 1951718"/>
                    <a:gd name="connsiteX92" fmla="*/ 1449539 w 1603043"/>
                    <a:gd name="connsiteY92" fmla="*/ 1207075 h 1951718"/>
                    <a:gd name="connsiteX93" fmla="*/ 1489984 w 1603043"/>
                    <a:gd name="connsiteY93" fmla="*/ 1151301 h 1951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1603043" h="1951718">
                      <a:moveTo>
                        <a:pt x="1498355" y="670004"/>
                      </a:moveTo>
                      <a:cubicBezTo>
                        <a:pt x="1500977" y="669802"/>
                        <a:pt x="1503700" y="669600"/>
                        <a:pt x="1503700" y="669600"/>
                      </a:cubicBezTo>
                      <a:cubicBezTo>
                        <a:pt x="1503700" y="669600"/>
                        <a:pt x="1501582" y="669802"/>
                        <a:pt x="1498355" y="670004"/>
                      </a:cubicBezTo>
                      <a:close/>
                      <a:moveTo>
                        <a:pt x="1489984" y="1151301"/>
                      </a:moveTo>
                      <a:cubicBezTo>
                        <a:pt x="1505516" y="1113983"/>
                        <a:pt x="1527301" y="1126389"/>
                        <a:pt x="1558466" y="1067185"/>
                      </a:cubicBezTo>
                      <a:cubicBezTo>
                        <a:pt x="1589531" y="1007980"/>
                        <a:pt x="1573998" y="970663"/>
                        <a:pt x="1595784" y="948877"/>
                      </a:cubicBezTo>
                      <a:cubicBezTo>
                        <a:pt x="1617569" y="927092"/>
                        <a:pt x="1583378" y="899053"/>
                        <a:pt x="1583378" y="883521"/>
                      </a:cubicBezTo>
                      <a:cubicBezTo>
                        <a:pt x="1583378" y="867989"/>
                        <a:pt x="1539707" y="877268"/>
                        <a:pt x="1527301" y="827444"/>
                      </a:cubicBezTo>
                      <a:cubicBezTo>
                        <a:pt x="1514895" y="777619"/>
                        <a:pt x="1558466" y="749581"/>
                        <a:pt x="1561593" y="727795"/>
                      </a:cubicBezTo>
                      <a:cubicBezTo>
                        <a:pt x="1564720" y="706010"/>
                        <a:pt x="1533554" y="684124"/>
                        <a:pt x="1533554" y="684124"/>
                      </a:cubicBezTo>
                      <a:cubicBezTo>
                        <a:pt x="1533554" y="684124"/>
                        <a:pt x="1515097" y="679787"/>
                        <a:pt x="1496539" y="670104"/>
                      </a:cubicBezTo>
                      <a:cubicBezTo>
                        <a:pt x="1482924" y="670508"/>
                        <a:pt x="1451758" y="668390"/>
                        <a:pt x="1418072" y="645999"/>
                      </a:cubicBezTo>
                      <a:cubicBezTo>
                        <a:pt x="1372987" y="616044"/>
                        <a:pt x="1340814" y="635308"/>
                        <a:pt x="1319432" y="616044"/>
                      </a:cubicBezTo>
                      <a:cubicBezTo>
                        <a:pt x="1297949" y="596780"/>
                        <a:pt x="1246511" y="588106"/>
                        <a:pt x="1244393" y="541005"/>
                      </a:cubicBezTo>
                      <a:cubicBezTo>
                        <a:pt x="1242174" y="493804"/>
                        <a:pt x="1235820" y="459512"/>
                        <a:pt x="1203646" y="425220"/>
                      </a:cubicBezTo>
                      <a:cubicBezTo>
                        <a:pt x="1171472" y="390928"/>
                        <a:pt x="1128607" y="333035"/>
                        <a:pt x="1079287" y="333035"/>
                      </a:cubicBezTo>
                      <a:cubicBezTo>
                        <a:pt x="1029967" y="333035"/>
                        <a:pt x="1027850" y="371664"/>
                        <a:pt x="976411" y="375900"/>
                      </a:cubicBezTo>
                      <a:cubicBezTo>
                        <a:pt x="924873" y="380136"/>
                        <a:pt x="723257" y="388709"/>
                        <a:pt x="671819" y="405855"/>
                      </a:cubicBezTo>
                      <a:cubicBezTo>
                        <a:pt x="620381" y="423001"/>
                        <a:pt x="577516" y="337271"/>
                        <a:pt x="577516" y="337271"/>
                      </a:cubicBezTo>
                      <a:cubicBezTo>
                        <a:pt x="577516" y="337271"/>
                        <a:pt x="521641" y="232176"/>
                        <a:pt x="474539" y="204339"/>
                      </a:cubicBezTo>
                      <a:cubicBezTo>
                        <a:pt x="427338" y="176402"/>
                        <a:pt x="450939" y="120627"/>
                        <a:pt x="403737" y="77762"/>
                      </a:cubicBezTo>
                      <a:cubicBezTo>
                        <a:pt x="371462" y="48412"/>
                        <a:pt x="338683" y="28745"/>
                        <a:pt x="323050" y="0"/>
                      </a:cubicBezTo>
                      <a:cubicBezTo>
                        <a:pt x="323655" y="1210"/>
                        <a:pt x="323857" y="2521"/>
                        <a:pt x="324563" y="3631"/>
                      </a:cubicBezTo>
                      <a:cubicBezTo>
                        <a:pt x="316393" y="7161"/>
                        <a:pt x="308123" y="10590"/>
                        <a:pt x="300054" y="12406"/>
                      </a:cubicBezTo>
                      <a:cubicBezTo>
                        <a:pt x="218863" y="30459"/>
                        <a:pt x="215938" y="15431"/>
                        <a:pt x="185882" y="6354"/>
                      </a:cubicBezTo>
                      <a:cubicBezTo>
                        <a:pt x="155826" y="-2622"/>
                        <a:pt x="119719" y="27434"/>
                        <a:pt x="119719" y="45386"/>
                      </a:cubicBezTo>
                      <a:cubicBezTo>
                        <a:pt x="119719" y="63339"/>
                        <a:pt x="143723" y="120526"/>
                        <a:pt x="101665" y="132528"/>
                      </a:cubicBezTo>
                      <a:cubicBezTo>
                        <a:pt x="59506" y="144530"/>
                        <a:pt x="86637" y="189614"/>
                        <a:pt x="53556" y="192640"/>
                      </a:cubicBezTo>
                      <a:cubicBezTo>
                        <a:pt x="52749" y="192741"/>
                        <a:pt x="52345" y="192942"/>
                        <a:pt x="51539" y="193043"/>
                      </a:cubicBezTo>
                      <a:cubicBezTo>
                        <a:pt x="55573" y="200305"/>
                        <a:pt x="59506" y="206054"/>
                        <a:pt x="62734" y="208071"/>
                      </a:cubicBezTo>
                      <a:cubicBezTo>
                        <a:pt x="74635" y="215636"/>
                        <a:pt x="117803" y="226427"/>
                        <a:pt x="112356" y="252348"/>
                      </a:cubicBezTo>
                      <a:cubicBezTo>
                        <a:pt x="107011" y="278269"/>
                        <a:pt x="119921" y="285833"/>
                        <a:pt x="140395" y="289061"/>
                      </a:cubicBezTo>
                      <a:cubicBezTo>
                        <a:pt x="160869" y="292288"/>
                        <a:pt x="170653" y="313872"/>
                        <a:pt x="166316" y="338683"/>
                      </a:cubicBezTo>
                      <a:cubicBezTo>
                        <a:pt x="161979" y="363494"/>
                        <a:pt x="141505" y="359258"/>
                        <a:pt x="133940" y="375395"/>
                      </a:cubicBezTo>
                      <a:cubicBezTo>
                        <a:pt x="126376" y="391634"/>
                        <a:pt x="128595" y="407771"/>
                        <a:pt x="110137" y="415336"/>
                      </a:cubicBezTo>
                      <a:cubicBezTo>
                        <a:pt x="91781" y="422900"/>
                        <a:pt x="100455" y="457393"/>
                        <a:pt x="100455" y="479078"/>
                      </a:cubicBezTo>
                      <a:cubicBezTo>
                        <a:pt x="100455" y="500662"/>
                        <a:pt x="93899" y="512563"/>
                        <a:pt x="74534" y="529810"/>
                      </a:cubicBezTo>
                      <a:cubicBezTo>
                        <a:pt x="55069" y="547057"/>
                        <a:pt x="45386" y="541711"/>
                        <a:pt x="29148" y="542720"/>
                      </a:cubicBezTo>
                      <a:cubicBezTo>
                        <a:pt x="12910" y="543829"/>
                        <a:pt x="0" y="554621"/>
                        <a:pt x="0" y="582660"/>
                      </a:cubicBezTo>
                      <a:cubicBezTo>
                        <a:pt x="0" y="610699"/>
                        <a:pt x="26929" y="610699"/>
                        <a:pt x="39940" y="625827"/>
                      </a:cubicBezTo>
                      <a:cubicBezTo>
                        <a:pt x="52850" y="640956"/>
                        <a:pt x="42058" y="658203"/>
                        <a:pt x="50732" y="671214"/>
                      </a:cubicBezTo>
                      <a:cubicBezTo>
                        <a:pt x="59406" y="684124"/>
                        <a:pt x="72315" y="701471"/>
                        <a:pt x="59406" y="723055"/>
                      </a:cubicBezTo>
                      <a:cubicBezTo>
                        <a:pt x="46496" y="744639"/>
                        <a:pt x="30258" y="737074"/>
                        <a:pt x="24912" y="743529"/>
                      </a:cubicBezTo>
                      <a:cubicBezTo>
                        <a:pt x="19466" y="749984"/>
                        <a:pt x="31367" y="787806"/>
                        <a:pt x="45386" y="816954"/>
                      </a:cubicBezTo>
                      <a:cubicBezTo>
                        <a:pt x="59406" y="846102"/>
                        <a:pt x="49723" y="850439"/>
                        <a:pt x="36712" y="870914"/>
                      </a:cubicBezTo>
                      <a:cubicBezTo>
                        <a:pt x="23802" y="891489"/>
                        <a:pt x="11901" y="898952"/>
                        <a:pt x="22693" y="931429"/>
                      </a:cubicBezTo>
                      <a:cubicBezTo>
                        <a:pt x="33485" y="963805"/>
                        <a:pt x="78871" y="970259"/>
                        <a:pt x="78871" y="985388"/>
                      </a:cubicBezTo>
                      <a:cubicBezTo>
                        <a:pt x="78871" y="1000517"/>
                        <a:pt x="83208" y="1015646"/>
                        <a:pt x="98236" y="1025328"/>
                      </a:cubicBezTo>
                      <a:cubicBezTo>
                        <a:pt x="113365" y="1035011"/>
                        <a:pt x="113365" y="1058813"/>
                        <a:pt x="104691" y="1098753"/>
                      </a:cubicBezTo>
                      <a:cubicBezTo>
                        <a:pt x="96017" y="1138693"/>
                        <a:pt x="93899" y="1151704"/>
                        <a:pt x="127384" y="1171069"/>
                      </a:cubicBezTo>
                      <a:cubicBezTo>
                        <a:pt x="160869" y="1190434"/>
                        <a:pt x="148968" y="1238039"/>
                        <a:pt x="137167" y="1253067"/>
                      </a:cubicBezTo>
                      <a:cubicBezTo>
                        <a:pt x="125266" y="1268196"/>
                        <a:pt x="127384" y="1276869"/>
                        <a:pt x="133940" y="1300571"/>
                      </a:cubicBezTo>
                      <a:cubicBezTo>
                        <a:pt x="140395" y="1324273"/>
                        <a:pt x="135049" y="1353522"/>
                        <a:pt x="124157" y="1366432"/>
                      </a:cubicBezTo>
                      <a:cubicBezTo>
                        <a:pt x="113365" y="1379342"/>
                        <a:pt x="108019" y="1400926"/>
                        <a:pt x="120929" y="1419383"/>
                      </a:cubicBezTo>
                      <a:cubicBezTo>
                        <a:pt x="133839" y="1437739"/>
                        <a:pt x="142513" y="1453876"/>
                        <a:pt x="174889" y="1461441"/>
                      </a:cubicBezTo>
                      <a:cubicBezTo>
                        <a:pt x="207264" y="1469005"/>
                        <a:pt x="200809" y="1475460"/>
                        <a:pt x="206155" y="1491698"/>
                      </a:cubicBezTo>
                      <a:cubicBezTo>
                        <a:pt x="211601" y="1507936"/>
                        <a:pt x="248314" y="1501482"/>
                        <a:pt x="257996" y="1489479"/>
                      </a:cubicBezTo>
                      <a:cubicBezTo>
                        <a:pt x="267779" y="1477578"/>
                        <a:pt x="281799" y="1478687"/>
                        <a:pt x="289363" y="1491698"/>
                      </a:cubicBezTo>
                      <a:cubicBezTo>
                        <a:pt x="296927" y="1504608"/>
                        <a:pt x="304492" y="1507936"/>
                        <a:pt x="315284" y="1484134"/>
                      </a:cubicBezTo>
                      <a:cubicBezTo>
                        <a:pt x="326076" y="1460331"/>
                        <a:pt x="371361" y="1489479"/>
                        <a:pt x="380035" y="1514391"/>
                      </a:cubicBezTo>
                      <a:cubicBezTo>
                        <a:pt x="388709" y="1539203"/>
                        <a:pt x="406964" y="1543539"/>
                        <a:pt x="406964" y="1533857"/>
                      </a:cubicBezTo>
                      <a:cubicBezTo>
                        <a:pt x="406964" y="1524074"/>
                        <a:pt x="410192" y="1512173"/>
                        <a:pt x="438331" y="1501482"/>
                      </a:cubicBezTo>
                      <a:cubicBezTo>
                        <a:pt x="466370" y="1490690"/>
                        <a:pt x="441559" y="1470114"/>
                        <a:pt x="451241" y="1452868"/>
                      </a:cubicBezTo>
                      <a:cubicBezTo>
                        <a:pt x="461024" y="1435621"/>
                        <a:pt x="485836" y="1460432"/>
                        <a:pt x="494510" y="1484235"/>
                      </a:cubicBezTo>
                      <a:cubicBezTo>
                        <a:pt x="503183" y="1508037"/>
                        <a:pt x="524767" y="1503700"/>
                        <a:pt x="540904" y="1519838"/>
                      </a:cubicBezTo>
                      <a:cubicBezTo>
                        <a:pt x="557143" y="1536076"/>
                        <a:pt x="552906" y="1586404"/>
                        <a:pt x="552906" y="1586404"/>
                      </a:cubicBezTo>
                      <a:cubicBezTo>
                        <a:pt x="552906" y="1611215"/>
                        <a:pt x="577718" y="1642381"/>
                        <a:pt x="608883" y="1661040"/>
                      </a:cubicBezTo>
                      <a:cubicBezTo>
                        <a:pt x="639947" y="1679698"/>
                        <a:pt x="680392" y="1664166"/>
                        <a:pt x="692697" y="1679598"/>
                      </a:cubicBezTo>
                      <a:cubicBezTo>
                        <a:pt x="705203" y="1695130"/>
                        <a:pt x="689570" y="1751106"/>
                        <a:pt x="695823" y="1785297"/>
                      </a:cubicBezTo>
                      <a:cubicBezTo>
                        <a:pt x="702077" y="1819489"/>
                        <a:pt x="674139" y="1819489"/>
                        <a:pt x="658606" y="1828767"/>
                      </a:cubicBezTo>
                      <a:cubicBezTo>
                        <a:pt x="643074" y="1838147"/>
                        <a:pt x="621289" y="1844300"/>
                        <a:pt x="627542" y="1862959"/>
                      </a:cubicBezTo>
                      <a:cubicBezTo>
                        <a:pt x="633795" y="1881617"/>
                        <a:pt x="667986" y="1912682"/>
                        <a:pt x="692797" y="1912682"/>
                      </a:cubicBezTo>
                      <a:cubicBezTo>
                        <a:pt x="717609" y="1912682"/>
                        <a:pt x="708430" y="1946873"/>
                        <a:pt x="723862" y="1946873"/>
                      </a:cubicBezTo>
                      <a:cubicBezTo>
                        <a:pt x="739394" y="1946873"/>
                        <a:pt x="739394" y="1912682"/>
                        <a:pt x="770559" y="1918834"/>
                      </a:cubicBezTo>
                      <a:cubicBezTo>
                        <a:pt x="801624" y="1924987"/>
                        <a:pt x="838941" y="1937493"/>
                        <a:pt x="891792" y="1934366"/>
                      </a:cubicBezTo>
                      <a:cubicBezTo>
                        <a:pt x="944641" y="1931240"/>
                        <a:pt x="938388" y="1878491"/>
                        <a:pt x="938388" y="1878491"/>
                      </a:cubicBezTo>
                      <a:cubicBezTo>
                        <a:pt x="938388" y="1878491"/>
                        <a:pt x="916602" y="1825641"/>
                        <a:pt x="1012922" y="1819388"/>
                      </a:cubicBezTo>
                      <a:cubicBezTo>
                        <a:pt x="1109243" y="1813134"/>
                        <a:pt x="1149787" y="1856705"/>
                        <a:pt x="1152813" y="1909555"/>
                      </a:cubicBezTo>
                      <a:cubicBezTo>
                        <a:pt x="1155940" y="1962405"/>
                        <a:pt x="1174498" y="1953025"/>
                        <a:pt x="1193257" y="1946873"/>
                      </a:cubicBezTo>
                      <a:cubicBezTo>
                        <a:pt x="1212018" y="1940620"/>
                        <a:pt x="1196384" y="1872237"/>
                        <a:pt x="1196384" y="1872237"/>
                      </a:cubicBezTo>
                      <a:cubicBezTo>
                        <a:pt x="1196384" y="1872237"/>
                        <a:pt x="1239854" y="1782171"/>
                        <a:pt x="1246107" y="1741726"/>
                      </a:cubicBezTo>
                      <a:cubicBezTo>
                        <a:pt x="1252361" y="1701282"/>
                        <a:pt x="1230474" y="1692003"/>
                        <a:pt x="1242880" y="1651559"/>
                      </a:cubicBezTo>
                      <a:cubicBezTo>
                        <a:pt x="1255387" y="1611115"/>
                        <a:pt x="1301983" y="1611115"/>
                        <a:pt x="1311363" y="1636027"/>
                      </a:cubicBezTo>
                      <a:cubicBezTo>
                        <a:pt x="1320642" y="1660838"/>
                        <a:pt x="1351706" y="1663965"/>
                        <a:pt x="1364213" y="1636027"/>
                      </a:cubicBezTo>
                      <a:cubicBezTo>
                        <a:pt x="1376719" y="1607988"/>
                        <a:pt x="1413936" y="1632900"/>
                        <a:pt x="1438848" y="1654585"/>
                      </a:cubicBezTo>
                      <a:cubicBezTo>
                        <a:pt x="1451758" y="1665881"/>
                        <a:pt x="1477982" y="1671327"/>
                        <a:pt x="1500271" y="1673849"/>
                      </a:cubicBezTo>
                      <a:cubicBezTo>
                        <a:pt x="1502490" y="1656703"/>
                        <a:pt x="1509449" y="1646113"/>
                        <a:pt x="1530528" y="1646113"/>
                      </a:cubicBezTo>
                      <a:cubicBezTo>
                        <a:pt x="1558567" y="1646113"/>
                        <a:pt x="1552314" y="1618074"/>
                        <a:pt x="1543035" y="1605668"/>
                      </a:cubicBezTo>
                      <a:cubicBezTo>
                        <a:pt x="1533655" y="1593162"/>
                        <a:pt x="1524376" y="1593162"/>
                        <a:pt x="1555441" y="1527805"/>
                      </a:cubicBezTo>
                      <a:cubicBezTo>
                        <a:pt x="1586505" y="1462348"/>
                        <a:pt x="1543035" y="1456196"/>
                        <a:pt x="1536782" y="1406372"/>
                      </a:cubicBezTo>
                      <a:cubicBezTo>
                        <a:pt x="1530528" y="1356548"/>
                        <a:pt x="1536782" y="1350294"/>
                        <a:pt x="1558567" y="1325382"/>
                      </a:cubicBezTo>
                      <a:cubicBezTo>
                        <a:pt x="1580353" y="1300470"/>
                        <a:pt x="1558466" y="1278685"/>
                        <a:pt x="1527402" y="1278685"/>
                      </a:cubicBezTo>
                      <a:cubicBezTo>
                        <a:pt x="1496338" y="1278685"/>
                        <a:pt x="1424627" y="1238140"/>
                        <a:pt x="1449539" y="1207075"/>
                      </a:cubicBezTo>
                      <a:cubicBezTo>
                        <a:pt x="1474350" y="1176213"/>
                        <a:pt x="1474451" y="1188618"/>
                        <a:pt x="1489984" y="1151301"/>
                      </a:cubicBezTo>
                      <a:close/>
                    </a:path>
                  </a:pathLst>
                </a:custGeom>
                <a:solidFill>
                  <a:schemeClr val="bg1">
                    <a:lumMod val="75000"/>
                  </a:schemeClr>
                </a:solidFill>
                <a:ln w="10085" cap="flat">
                  <a:solidFill>
                    <a:srgbClr val="FFFFFF"/>
                  </a:solidFill>
                  <a:prstDash val="solid"/>
                  <a:miter/>
                </a:ln>
              </p:spPr>
              <p:txBody>
                <a:bodyPr rtlCol="0" anchor="ctr"/>
                <a:lstStyle/>
                <a:p>
                  <a:endParaRPr lang="fr-FR" sz="900"/>
                </a:p>
              </p:txBody>
            </p:sp>
            <p:sp>
              <p:nvSpPr>
                <p:cNvPr id="25" name="Forme libre : forme 24">
                  <a:extLst>
                    <a:ext uri="{FF2B5EF4-FFF2-40B4-BE49-F238E27FC236}">
                      <a16:creationId xmlns:a16="http://schemas.microsoft.com/office/drawing/2014/main" id="{6F24BD35-6878-F600-69C1-77F3B215A49E}"/>
                    </a:ext>
                  </a:extLst>
                </p:cNvPr>
                <p:cNvSpPr/>
                <p:nvPr/>
              </p:nvSpPr>
              <p:spPr>
                <a:xfrm>
                  <a:off x="5580547" y="6742309"/>
                  <a:ext cx="1608402" cy="1957662"/>
                </a:xfrm>
                <a:custGeom>
                  <a:avLst/>
                  <a:gdLst>
                    <a:gd name="connsiteX0" fmla="*/ 1152519 w 1608402"/>
                    <a:gd name="connsiteY0" fmla="*/ 1912579 h 1957662"/>
                    <a:gd name="connsiteX1" fmla="*/ 1033304 w 1608402"/>
                    <a:gd name="connsiteY1" fmla="*/ 1824429 h 1957662"/>
                    <a:gd name="connsiteX2" fmla="*/ 1033304 w 1608402"/>
                    <a:gd name="connsiteY2" fmla="*/ 1824429 h 1957662"/>
                    <a:gd name="connsiteX3" fmla="*/ 1015553 w 1608402"/>
                    <a:gd name="connsiteY3" fmla="*/ 1825135 h 1957662"/>
                    <a:gd name="connsiteX4" fmla="*/ 1015553 w 1608402"/>
                    <a:gd name="connsiteY4" fmla="*/ 1825135 h 1957662"/>
                    <a:gd name="connsiteX5" fmla="*/ 941422 w 1608402"/>
                    <a:gd name="connsiteY5" fmla="*/ 1869008 h 1957662"/>
                    <a:gd name="connsiteX6" fmla="*/ 941422 w 1608402"/>
                    <a:gd name="connsiteY6" fmla="*/ 1869008 h 1957662"/>
                    <a:gd name="connsiteX7" fmla="*/ 943641 w 1608402"/>
                    <a:gd name="connsiteY7" fmla="*/ 1881111 h 1957662"/>
                    <a:gd name="connsiteX8" fmla="*/ 943641 w 1608402"/>
                    <a:gd name="connsiteY8" fmla="*/ 1881111 h 1957662"/>
                    <a:gd name="connsiteX9" fmla="*/ 943843 w 1608402"/>
                    <a:gd name="connsiteY9" fmla="*/ 1886356 h 1957662"/>
                    <a:gd name="connsiteX10" fmla="*/ 943843 w 1608402"/>
                    <a:gd name="connsiteY10" fmla="*/ 1886356 h 1957662"/>
                    <a:gd name="connsiteX11" fmla="*/ 894321 w 1608402"/>
                    <a:gd name="connsiteY11" fmla="*/ 1940013 h 1957662"/>
                    <a:gd name="connsiteX12" fmla="*/ 894321 w 1608402"/>
                    <a:gd name="connsiteY12" fmla="*/ 1940013 h 1957662"/>
                    <a:gd name="connsiteX13" fmla="*/ 877578 w 1608402"/>
                    <a:gd name="connsiteY13" fmla="*/ 1940517 h 1957662"/>
                    <a:gd name="connsiteX14" fmla="*/ 877578 w 1608402"/>
                    <a:gd name="connsiteY14" fmla="*/ 1940517 h 1957662"/>
                    <a:gd name="connsiteX15" fmla="*/ 772383 w 1608402"/>
                    <a:gd name="connsiteY15" fmla="*/ 1924480 h 1957662"/>
                    <a:gd name="connsiteX16" fmla="*/ 772383 w 1608402"/>
                    <a:gd name="connsiteY16" fmla="*/ 1924480 h 1957662"/>
                    <a:gd name="connsiteX17" fmla="*/ 765928 w 1608402"/>
                    <a:gd name="connsiteY17" fmla="*/ 1923774 h 1957662"/>
                    <a:gd name="connsiteX18" fmla="*/ 765928 w 1608402"/>
                    <a:gd name="connsiteY18" fmla="*/ 1923774 h 1957662"/>
                    <a:gd name="connsiteX19" fmla="*/ 726492 w 1608402"/>
                    <a:gd name="connsiteY19" fmla="*/ 1952519 h 1957662"/>
                    <a:gd name="connsiteX20" fmla="*/ 726492 w 1608402"/>
                    <a:gd name="connsiteY20" fmla="*/ 1952519 h 1957662"/>
                    <a:gd name="connsiteX21" fmla="*/ 695428 w 1608402"/>
                    <a:gd name="connsiteY21" fmla="*/ 1918328 h 1957662"/>
                    <a:gd name="connsiteX22" fmla="*/ 695428 w 1608402"/>
                    <a:gd name="connsiteY22" fmla="*/ 1918328 h 1957662"/>
                    <a:gd name="connsiteX23" fmla="*/ 627449 w 1608402"/>
                    <a:gd name="connsiteY23" fmla="*/ 1866789 h 1957662"/>
                    <a:gd name="connsiteX24" fmla="*/ 627449 w 1608402"/>
                    <a:gd name="connsiteY24" fmla="*/ 1866789 h 1957662"/>
                    <a:gd name="connsiteX25" fmla="*/ 626239 w 1608402"/>
                    <a:gd name="connsiteY25" fmla="*/ 1859729 h 1957662"/>
                    <a:gd name="connsiteX26" fmla="*/ 626239 w 1608402"/>
                    <a:gd name="connsiteY26" fmla="*/ 1859729 h 1957662"/>
                    <a:gd name="connsiteX27" fmla="*/ 659724 w 1608402"/>
                    <a:gd name="connsiteY27" fmla="*/ 1829371 h 1957662"/>
                    <a:gd name="connsiteX28" fmla="*/ 659724 w 1608402"/>
                    <a:gd name="connsiteY28" fmla="*/ 1829371 h 1957662"/>
                    <a:gd name="connsiteX29" fmla="*/ 696537 w 1608402"/>
                    <a:gd name="connsiteY29" fmla="*/ 1797298 h 1957662"/>
                    <a:gd name="connsiteX30" fmla="*/ 696537 w 1608402"/>
                    <a:gd name="connsiteY30" fmla="*/ 1797298 h 1957662"/>
                    <a:gd name="connsiteX31" fmla="*/ 695731 w 1608402"/>
                    <a:gd name="connsiteY31" fmla="*/ 1788725 h 1957662"/>
                    <a:gd name="connsiteX32" fmla="*/ 695731 w 1608402"/>
                    <a:gd name="connsiteY32" fmla="*/ 1788725 h 1957662"/>
                    <a:gd name="connsiteX33" fmla="*/ 694016 w 1608402"/>
                    <a:gd name="connsiteY33" fmla="*/ 1768049 h 1957662"/>
                    <a:gd name="connsiteX34" fmla="*/ 694016 w 1608402"/>
                    <a:gd name="connsiteY34" fmla="*/ 1768049 h 1957662"/>
                    <a:gd name="connsiteX35" fmla="*/ 697445 w 1608402"/>
                    <a:gd name="connsiteY35" fmla="*/ 1706323 h 1957662"/>
                    <a:gd name="connsiteX36" fmla="*/ 697445 w 1608402"/>
                    <a:gd name="connsiteY36" fmla="*/ 1706323 h 1957662"/>
                    <a:gd name="connsiteX37" fmla="*/ 693209 w 1608402"/>
                    <a:gd name="connsiteY37" fmla="*/ 1684235 h 1957662"/>
                    <a:gd name="connsiteX38" fmla="*/ 693209 w 1608402"/>
                    <a:gd name="connsiteY38" fmla="*/ 1684235 h 1957662"/>
                    <a:gd name="connsiteX39" fmla="*/ 610102 w 1608402"/>
                    <a:gd name="connsiteY39" fmla="*/ 1666282 h 1957662"/>
                    <a:gd name="connsiteX40" fmla="*/ 610102 w 1608402"/>
                    <a:gd name="connsiteY40" fmla="*/ 1666282 h 1957662"/>
                    <a:gd name="connsiteX41" fmla="*/ 552713 w 1608402"/>
                    <a:gd name="connsiteY41" fmla="*/ 1589126 h 1957662"/>
                    <a:gd name="connsiteX42" fmla="*/ 552713 w 1608402"/>
                    <a:gd name="connsiteY42" fmla="*/ 1589126 h 1957662"/>
                    <a:gd name="connsiteX43" fmla="*/ 553117 w 1608402"/>
                    <a:gd name="connsiteY43" fmla="*/ 1575006 h 1957662"/>
                    <a:gd name="connsiteX44" fmla="*/ 553117 w 1608402"/>
                    <a:gd name="connsiteY44" fmla="*/ 1575006 h 1957662"/>
                    <a:gd name="connsiteX45" fmla="*/ 541619 w 1608402"/>
                    <a:gd name="connsiteY45" fmla="*/ 1524778 h 1957662"/>
                    <a:gd name="connsiteX46" fmla="*/ 541619 w 1608402"/>
                    <a:gd name="connsiteY46" fmla="*/ 1524778 h 1957662"/>
                    <a:gd name="connsiteX47" fmla="*/ 494619 w 1608402"/>
                    <a:gd name="connsiteY47" fmla="*/ 1488166 h 1957662"/>
                    <a:gd name="connsiteX48" fmla="*/ 494619 w 1608402"/>
                    <a:gd name="connsiteY48" fmla="*/ 1488166 h 1957662"/>
                    <a:gd name="connsiteX49" fmla="*/ 462848 w 1608402"/>
                    <a:gd name="connsiteY49" fmla="*/ 1452967 h 1957662"/>
                    <a:gd name="connsiteX50" fmla="*/ 462848 w 1608402"/>
                    <a:gd name="connsiteY50" fmla="*/ 1452967 h 1957662"/>
                    <a:gd name="connsiteX51" fmla="*/ 456292 w 1608402"/>
                    <a:gd name="connsiteY51" fmla="*/ 1457303 h 1957662"/>
                    <a:gd name="connsiteX52" fmla="*/ 456292 w 1608402"/>
                    <a:gd name="connsiteY52" fmla="*/ 1457303 h 1957662"/>
                    <a:gd name="connsiteX53" fmla="*/ 454174 w 1608402"/>
                    <a:gd name="connsiteY53" fmla="*/ 1465574 h 1957662"/>
                    <a:gd name="connsiteX54" fmla="*/ 454174 w 1608402"/>
                    <a:gd name="connsiteY54" fmla="*/ 1465574 h 1957662"/>
                    <a:gd name="connsiteX55" fmla="*/ 457603 w 1608402"/>
                    <a:gd name="connsiteY55" fmla="*/ 1487965 h 1957662"/>
                    <a:gd name="connsiteX56" fmla="*/ 457603 w 1608402"/>
                    <a:gd name="connsiteY56" fmla="*/ 1487965 h 1957662"/>
                    <a:gd name="connsiteX57" fmla="*/ 441870 w 1608402"/>
                    <a:gd name="connsiteY57" fmla="*/ 1507229 h 1957662"/>
                    <a:gd name="connsiteX58" fmla="*/ 441870 w 1608402"/>
                    <a:gd name="connsiteY58" fmla="*/ 1507229 h 1957662"/>
                    <a:gd name="connsiteX59" fmla="*/ 412318 w 1608402"/>
                    <a:gd name="connsiteY59" fmla="*/ 1536982 h 1957662"/>
                    <a:gd name="connsiteX60" fmla="*/ 412318 w 1608402"/>
                    <a:gd name="connsiteY60" fmla="*/ 1536982 h 1957662"/>
                    <a:gd name="connsiteX61" fmla="*/ 404653 w 1608402"/>
                    <a:gd name="connsiteY61" fmla="*/ 1544546 h 1957662"/>
                    <a:gd name="connsiteX62" fmla="*/ 404653 w 1608402"/>
                    <a:gd name="connsiteY62" fmla="*/ 1544546 h 1957662"/>
                    <a:gd name="connsiteX63" fmla="*/ 379942 w 1608402"/>
                    <a:gd name="connsiteY63" fmla="*/ 1518424 h 1957662"/>
                    <a:gd name="connsiteX64" fmla="*/ 379942 w 1608402"/>
                    <a:gd name="connsiteY64" fmla="*/ 1518424 h 1957662"/>
                    <a:gd name="connsiteX65" fmla="*/ 332034 w 1608402"/>
                    <a:gd name="connsiteY65" fmla="*/ 1481207 h 1957662"/>
                    <a:gd name="connsiteX66" fmla="*/ 332034 w 1608402"/>
                    <a:gd name="connsiteY66" fmla="*/ 1481207 h 1957662"/>
                    <a:gd name="connsiteX67" fmla="*/ 320234 w 1608402"/>
                    <a:gd name="connsiteY67" fmla="*/ 1488368 h 1957662"/>
                    <a:gd name="connsiteX68" fmla="*/ 320234 w 1608402"/>
                    <a:gd name="connsiteY68" fmla="*/ 1488368 h 1957662"/>
                    <a:gd name="connsiteX69" fmla="*/ 302786 w 1608402"/>
                    <a:gd name="connsiteY69" fmla="*/ 1507430 h 1957662"/>
                    <a:gd name="connsiteX70" fmla="*/ 302786 w 1608402"/>
                    <a:gd name="connsiteY70" fmla="*/ 1507430 h 1957662"/>
                    <a:gd name="connsiteX71" fmla="*/ 289271 w 1608402"/>
                    <a:gd name="connsiteY71" fmla="*/ 1496134 h 1957662"/>
                    <a:gd name="connsiteX72" fmla="*/ 289271 w 1608402"/>
                    <a:gd name="connsiteY72" fmla="*/ 1496134 h 1957662"/>
                    <a:gd name="connsiteX73" fmla="*/ 275655 w 1608402"/>
                    <a:gd name="connsiteY73" fmla="*/ 1486956 h 1957662"/>
                    <a:gd name="connsiteX74" fmla="*/ 275655 w 1608402"/>
                    <a:gd name="connsiteY74" fmla="*/ 1486956 h 1957662"/>
                    <a:gd name="connsiteX75" fmla="*/ 262543 w 1608402"/>
                    <a:gd name="connsiteY75" fmla="*/ 1494319 h 1957662"/>
                    <a:gd name="connsiteX76" fmla="*/ 262543 w 1608402"/>
                    <a:gd name="connsiteY76" fmla="*/ 1494319 h 1957662"/>
                    <a:gd name="connsiteX77" fmla="*/ 228049 w 1608402"/>
                    <a:gd name="connsiteY77" fmla="*/ 1507229 h 1957662"/>
                    <a:gd name="connsiteX78" fmla="*/ 228049 w 1608402"/>
                    <a:gd name="connsiteY78" fmla="*/ 1507229 h 1957662"/>
                    <a:gd name="connsiteX79" fmla="*/ 205961 w 1608402"/>
                    <a:gd name="connsiteY79" fmla="*/ 1495529 h 1957662"/>
                    <a:gd name="connsiteX80" fmla="*/ 205961 w 1608402"/>
                    <a:gd name="connsiteY80" fmla="*/ 1495529 h 1957662"/>
                    <a:gd name="connsiteX81" fmla="*/ 176712 w 1608402"/>
                    <a:gd name="connsiteY81" fmla="*/ 1467188 h 1957662"/>
                    <a:gd name="connsiteX82" fmla="*/ 176712 w 1608402"/>
                    <a:gd name="connsiteY82" fmla="*/ 1467188 h 1957662"/>
                    <a:gd name="connsiteX83" fmla="*/ 121139 w 1608402"/>
                    <a:gd name="connsiteY83" fmla="*/ 1423919 h 1957662"/>
                    <a:gd name="connsiteX84" fmla="*/ 121139 w 1608402"/>
                    <a:gd name="connsiteY84" fmla="*/ 1423919 h 1957662"/>
                    <a:gd name="connsiteX85" fmla="*/ 113071 w 1608402"/>
                    <a:gd name="connsiteY85" fmla="*/ 1398806 h 1957662"/>
                    <a:gd name="connsiteX86" fmla="*/ 113071 w 1608402"/>
                    <a:gd name="connsiteY86" fmla="*/ 1398806 h 1957662"/>
                    <a:gd name="connsiteX87" fmla="*/ 124468 w 1608402"/>
                    <a:gd name="connsiteY87" fmla="*/ 1367741 h 1957662"/>
                    <a:gd name="connsiteX88" fmla="*/ 124468 w 1608402"/>
                    <a:gd name="connsiteY88" fmla="*/ 1367741 h 1957662"/>
                    <a:gd name="connsiteX89" fmla="*/ 136369 w 1608402"/>
                    <a:gd name="connsiteY89" fmla="*/ 1325683 h 1957662"/>
                    <a:gd name="connsiteX90" fmla="*/ 136369 w 1608402"/>
                    <a:gd name="connsiteY90" fmla="*/ 1325683 h 1957662"/>
                    <a:gd name="connsiteX91" fmla="*/ 133646 w 1608402"/>
                    <a:gd name="connsiteY91" fmla="*/ 1304402 h 1957662"/>
                    <a:gd name="connsiteX92" fmla="*/ 133646 w 1608402"/>
                    <a:gd name="connsiteY92" fmla="*/ 1304402 h 1957662"/>
                    <a:gd name="connsiteX93" fmla="*/ 128300 w 1608402"/>
                    <a:gd name="connsiteY93" fmla="*/ 1277271 h 1957662"/>
                    <a:gd name="connsiteX94" fmla="*/ 128300 w 1608402"/>
                    <a:gd name="connsiteY94" fmla="*/ 1277271 h 1957662"/>
                    <a:gd name="connsiteX95" fmla="*/ 137478 w 1608402"/>
                    <a:gd name="connsiteY95" fmla="*/ 1254376 h 1957662"/>
                    <a:gd name="connsiteX96" fmla="*/ 137478 w 1608402"/>
                    <a:gd name="connsiteY96" fmla="*/ 1254376 h 1957662"/>
                    <a:gd name="connsiteX97" fmla="*/ 149077 w 1608402"/>
                    <a:gd name="connsiteY97" fmla="*/ 1215646 h 1957662"/>
                    <a:gd name="connsiteX98" fmla="*/ 149077 w 1608402"/>
                    <a:gd name="connsiteY98" fmla="*/ 1215646 h 1957662"/>
                    <a:gd name="connsiteX99" fmla="*/ 128603 w 1608402"/>
                    <a:gd name="connsiteY99" fmla="*/ 1176513 h 1957662"/>
                    <a:gd name="connsiteX100" fmla="*/ 128603 w 1608402"/>
                    <a:gd name="connsiteY100" fmla="*/ 1176513 h 1957662"/>
                    <a:gd name="connsiteX101" fmla="*/ 98950 w 1608402"/>
                    <a:gd name="connsiteY101" fmla="*/ 1136371 h 1957662"/>
                    <a:gd name="connsiteX102" fmla="*/ 98950 w 1608402"/>
                    <a:gd name="connsiteY102" fmla="*/ 1136371 h 1957662"/>
                    <a:gd name="connsiteX103" fmla="*/ 104598 w 1608402"/>
                    <a:gd name="connsiteY103" fmla="*/ 1101172 h 1957662"/>
                    <a:gd name="connsiteX104" fmla="*/ 104598 w 1608402"/>
                    <a:gd name="connsiteY104" fmla="*/ 1101172 h 1957662"/>
                    <a:gd name="connsiteX105" fmla="*/ 110348 w 1608402"/>
                    <a:gd name="connsiteY105" fmla="*/ 1059013 h 1957662"/>
                    <a:gd name="connsiteX106" fmla="*/ 110348 w 1608402"/>
                    <a:gd name="connsiteY106" fmla="*/ 1059013 h 1957662"/>
                    <a:gd name="connsiteX107" fmla="*/ 99354 w 1608402"/>
                    <a:gd name="connsiteY107" fmla="*/ 1030772 h 1957662"/>
                    <a:gd name="connsiteX108" fmla="*/ 99354 w 1608402"/>
                    <a:gd name="connsiteY108" fmla="*/ 1030772 h 1957662"/>
                    <a:gd name="connsiteX109" fmla="*/ 78678 w 1608402"/>
                    <a:gd name="connsiteY109" fmla="*/ 988412 h 1957662"/>
                    <a:gd name="connsiteX110" fmla="*/ 78678 w 1608402"/>
                    <a:gd name="connsiteY110" fmla="*/ 988412 h 1957662"/>
                    <a:gd name="connsiteX111" fmla="*/ 22701 w 1608402"/>
                    <a:gd name="connsiteY111" fmla="*/ 935259 h 1957662"/>
                    <a:gd name="connsiteX112" fmla="*/ 22701 w 1608402"/>
                    <a:gd name="connsiteY112" fmla="*/ 935259 h 1957662"/>
                    <a:gd name="connsiteX113" fmla="*/ 18365 w 1608402"/>
                    <a:gd name="connsiteY113" fmla="*/ 912566 h 1957662"/>
                    <a:gd name="connsiteX114" fmla="*/ 18365 w 1608402"/>
                    <a:gd name="connsiteY114" fmla="*/ 912566 h 1957662"/>
                    <a:gd name="connsiteX115" fmla="*/ 37124 w 1608402"/>
                    <a:gd name="connsiteY115" fmla="*/ 872425 h 1957662"/>
                    <a:gd name="connsiteX116" fmla="*/ 37124 w 1608402"/>
                    <a:gd name="connsiteY116" fmla="*/ 872425 h 1957662"/>
                    <a:gd name="connsiteX117" fmla="*/ 52152 w 1608402"/>
                    <a:gd name="connsiteY117" fmla="*/ 843075 h 1957662"/>
                    <a:gd name="connsiteX118" fmla="*/ 52152 w 1608402"/>
                    <a:gd name="connsiteY118" fmla="*/ 843075 h 1957662"/>
                    <a:gd name="connsiteX119" fmla="*/ 45697 w 1608402"/>
                    <a:gd name="connsiteY119" fmla="*/ 821088 h 1957662"/>
                    <a:gd name="connsiteX120" fmla="*/ 45697 w 1608402"/>
                    <a:gd name="connsiteY120" fmla="*/ 821088 h 1957662"/>
                    <a:gd name="connsiteX121" fmla="*/ 23508 w 1608402"/>
                    <a:gd name="connsiteY121" fmla="*/ 752201 h 1957662"/>
                    <a:gd name="connsiteX122" fmla="*/ 23508 w 1608402"/>
                    <a:gd name="connsiteY122" fmla="*/ 752201 h 1957662"/>
                    <a:gd name="connsiteX123" fmla="*/ 25525 w 1608402"/>
                    <a:gd name="connsiteY123" fmla="*/ 744637 h 1957662"/>
                    <a:gd name="connsiteX124" fmla="*/ 25525 w 1608402"/>
                    <a:gd name="connsiteY124" fmla="*/ 744637 h 1957662"/>
                    <a:gd name="connsiteX125" fmla="*/ 59716 w 1608402"/>
                    <a:gd name="connsiteY125" fmla="*/ 724566 h 1957662"/>
                    <a:gd name="connsiteX126" fmla="*/ 59716 w 1608402"/>
                    <a:gd name="connsiteY126" fmla="*/ 724566 h 1957662"/>
                    <a:gd name="connsiteX127" fmla="*/ 64860 w 1608402"/>
                    <a:gd name="connsiteY127" fmla="*/ 707521 h 1957662"/>
                    <a:gd name="connsiteX128" fmla="*/ 64860 w 1608402"/>
                    <a:gd name="connsiteY128" fmla="*/ 707521 h 1957662"/>
                    <a:gd name="connsiteX129" fmla="*/ 51244 w 1608402"/>
                    <a:gd name="connsiteY129" fmla="*/ 675751 h 1957662"/>
                    <a:gd name="connsiteX130" fmla="*/ 51244 w 1608402"/>
                    <a:gd name="connsiteY130" fmla="*/ 675751 h 1957662"/>
                    <a:gd name="connsiteX131" fmla="*/ 46806 w 1608402"/>
                    <a:gd name="connsiteY131" fmla="*/ 656991 h 1957662"/>
                    <a:gd name="connsiteX132" fmla="*/ 46806 w 1608402"/>
                    <a:gd name="connsiteY132" fmla="*/ 656991 h 1957662"/>
                    <a:gd name="connsiteX133" fmla="*/ 46907 w 1608402"/>
                    <a:gd name="connsiteY133" fmla="*/ 652049 h 1957662"/>
                    <a:gd name="connsiteX134" fmla="*/ 46907 w 1608402"/>
                    <a:gd name="connsiteY134" fmla="*/ 652049 h 1957662"/>
                    <a:gd name="connsiteX135" fmla="*/ 40654 w 1608402"/>
                    <a:gd name="connsiteY135" fmla="*/ 630566 h 1957662"/>
                    <a:gd name="connsiteX136" fmla="*/ 40654 w 1608402"/>
                    <a:gd name="connsiteY136" fmla="*/ 630566 h 1957662"/>
                    <a:gd name="connsiteX137" fmla="*/ 8 w 1608402"/>
                    <a:gd name="connsiteY137" fmla="*/ 585583 h 1957662"/>
                    <a:gd name="connsiteX138" fmla="*/ 8 w 1608402"/>
                    <a:gd name="connsiteY138" fmla="*/ 585583 h 1957662"/>
                    <a:gd name="connsiteX139" fmla="*/ 31577 w 1608402"/>
                    <a:gd name="connsiteY139" fmla="*/ 542819 h 1957662"/>
                    <a:gd name="connsiteX140" fmla="*/ 31577 w 1608402"/>
                    <a:gd name="connsiteY140" fmla="*/ 542819 h 1957662"/>
                    <a:gd name="connsiteX141" fmla="*/ 36922 w 1608402"/>
                    <a:gd name="connsiteY141" fmla="*/ 542617 h 1957662"/>
                    <a:gd name="connsiteX142" fmla="*/ 36922 w 1608402"/>
                    <a:gd name="connsiteY142" fmla="*/ 542617 h 1957662"/>
                    <a:gd name="connsiteX143" fmla="*/ 46504 w 1608402"/>
                    <a:gd name="connsiteY143" fmla="*/ 542819 h 1957662"/>
                    <a:gd name="connsiteX144" fmla="*/ 46504 w 1608402"/>
                    <a:gd name="connsiteY144" fmla="*/ 542819 h 1957662"/>
                    <a:gd name="connsiteX145" fmla="*/ 75350 w 1608402"/>
                    <a:gd name="connsiteY145" fmla="*/ 530615 h 1957662"/>
                    <a:gd name="connsiteX146" fmla="*/ 75350 w 1608402"/>
                    <a:gd name="connsiteY146" fmla="*/ 530615 h 1957662"/>
                    <a:gd name="connsiteX147" fmla="*/ 100362 w 1608402"/>
                    <a:gd name="connsiteY147" fmla="*/ 482001 h 1957662"/>
                    <a:gd name="connsiteX148" fmla="*/ 100362 w 1608402"/>
                    <a:gd name="connsiteY148" fmla="*/ 482001 h 1957662"/>
                    <a:gd name="connsiteX149" fmla="*/ 98345 w 1608402"/>
                    <a:gd name="connsiteY149" fmla="*/ 445894 h 1957662"/>
                    <a:gd name="connsiteX150" fmla="*/ 98345 w 1608402"/>
                    <a:gd name="connsiteY150" fmla="*/ 445894 h 1957662"/>
                    <a:gd name="connsiteX151" fmla="*/ 111860 w 1608402"/>
                    <a:gd name="connsiteY151" fmla="*/ 415737 h 1957662"/>
                    <a:gd name="connsiteX152" fmla="*/ 111860 w 1608402"/>
                    <a:gd name="connsiteY152" fmla="*/ 415737 h 1957662"/>
                    <a:gd name="connsiteX153" fmla="*/ 134150 w 1608402"/>
                    <a:gd name="connsiteY153" fmla="*/ 377209 h 1957662"/>
                    <a:gd name="connsiteX154" fmla="*/ 134150 w 1608402"/>
                    <a:gd name="connsiteY154" fmla="*/ 377209 h 1957662"/>
                    <a:gd name="connsiteX155" fmla="*/ 166324 w 1608402"/>
                    <a:gd name="connsiteY155" fmla="*/ 341203 h 1957662"/>
                    <a:gd name="connsiteX156" fmla="*/ 166324 w 1608402"/>
                    <a:gd name="connsiteY156" fmla="*/ 341203 h 1957662"/>
                    <a:gd name="connsiteX157" fmla="*/ 167232 w 1608402"/>
                    <a:gd name="connsiteY157" fmla="*/ 330310 h 1957662"/>
                    <a:gd name="connsiteX158" fmla="*/ 167232 w 1608402"/>
                    <a:gd name="connsiteY158" fmla="*/ 330310 h 1957662"/>
                    <a:gd name="connsiteX159" fmla="*/ 142723 w 1608402"/>
                    <a:gd name="connsiteY159" fmla="*/ 294707 h 1957662"/>
                    <a:gd name="connsiteX160" fmla="*/ 142723 w 1608402"/>
                    <a:gd name="connsiteY160" fmla="*/ 294707 h 1957662"/>
                    <a:gd name="connsiteX161" fmla="*/ 111054 w 1608402"/>
                    <a:gd name="connsiteY161" fmla="*/ 265861 h 1957662"/>
                    <a:gd name="connsiteX162" fmla="*/ 111054 w 1608402"/>
                    <a:gd name="connsiteY162" fmla="*/ 265861 h 1957662"/>
                    <a:gd name="connsiteX163" fmla="*/ 112364 w 1608402"/>
                    <a:gd name="connsiteY163" fmla="*/ 254767 h 1957662"/>
                    <a:gd name="connsiteX164" fmla="*/ 112364 w 1608402"/>
                    <a:gd name="connsiteY164" fmla="*/ 254767 h 1957662"/>
                    <a:gd name="connsiteX165" fmla="*/ 112667 w 1608402"/>
                    <a:gd name="connsiteY165" fmla="*/ 250732 h 1957662"/>
                    <a:gd name="connsiteX166" fmla="*/ 112667 w 1608402"/>
                    <a:gd name="connsiteY166" fmla="*/ 250732 h 1957662"/>
                    <a:gd name="connsiteX167" fmla="*/ 63953 w 1608402"/>
                    <a:gd name="connsiteY167" fmla="*/ 213213 h 1957662"/>
                    <a:gd name="connsiteX168" fmla="*/ 63953 w 1608402"/>
                    <a:gd name="connsiteY168" fmla="*/ 213213 h 1957662"/>
                    <a:gd name="connsiteX169" fmla="*/ 51849 w 1608402"/>
                    <a:gd name="connsiteY169" fmla="*/ 197177 h 1957662"/>
                    <a:gd name="connsiteX170" fmla="*/ 51849 w 1608402"/>
                    <a:gd name="connsiteY170" fmla="*/ 197177 h 1957662"/>
                    <a:gd name="connsiteX171" fmla="*/ 53766 w 1608402"/>
                    <a:gd name="connsiteY171" fmla="*/ 193142 h 1957662"/>
                    <a:gd name="connsiteX172" fmla="*/ 56086 w 1608402"/>
                    <a:gd name="connsiteY172" fmla="*/ 192638 h 1957662"/>
                    <a:gd name="connsiteX173" fmla="*/ 103691 w 1608402"/>
                    <a:gd name="connsiteY173" fmla="*/ 132627 h 1957662"/>
                    <a:gd name="connsiteX174" fmla="*/ 103691 w 1608402"/>
                    <a:gd name="connsiteY174" fmla="*/ 132627 h 1957662"/>
                    <a:gd name="connsiteX175" fmla="*/ 126485 w 1608402"/>
                    <a:gd name="connsiteY175" fmla="*/ 97528 h 1957662"/>
                    <a:gd name="connsiteX176" fmla="*/ 126485 w 1608402"/>
                    <a:gd name="connsiteY176" fmla="*/ 97528 h 1957662"/>
                    <a:gd name="connsiteX177" fmla="*/ 119727 w 1608402"/>
                    <a:gd name="connsiteY177" fmla="*/ 48108 h 1957662"/>
                    <a:gd name="connsiteX178" fmla="*/ 119727 w 1608402"/>
                    <a:gd name="connsiteY178" fmla="*/ 48108 h 1957662"/>
                    <a:gd name="connsiteX179" fmla="*/ 177116 w 1608402"/>
                    <a:gd name="connsiteY179" fmla="*/ 4537 h 1957662"/>
                    <a:gd name="connsiteX180" fmla="*/ 177116 w 1608402"/>
                    <a:gd name="connsiteY180" fmla="*/ 4537 h 1957662"/>
                    <a:gd name="connsiteX181" fmla="*/ 189421 w 1608402"/>
                    <a:gd name="connsiteY181" fmla="*/ 6352 h 1957662"/>
                    <a:gd name="connsiteX182" fmla="*/ 189421 w 1608402"/>
                    <a:gd name="connsiteY182" fmla="*/ 6352 h 1957662"/>
                    <a:gd name="connsiteX183" fmla="*/ 242674 w 1608402"/>
                    <a:gd name="connsiteY183" fmla="*/ 20674 h 1957662"/>
                    <a:gd name="connsiteX184" fmla="*/ 242674 w 1608402"/>
                    <a:gd name="connsiteY184" fmla="*/ 20674 h 1957662"/>
                    <a:gd name="connsiteX185" fmla="*/ 302180 w 1608402"/>
                    <a:gd name="connsiteY185" fmla="*/ 12303 h 1957662"/>
                    <a:gd name="connsiteX186" fmla="*/ 302180 w 1608402"/>
                    <a:gd name="connsiteY186" fmla="*/ 12303 h 1957662"/>
                    <a:gd name="connsiteX187" fmla="*/ 323663 w 1608402"/>
                    <a:gd name="connsiteY187" fmla="*/ 4839 h 1957662"/>
                    <a:gd name="connsiteX188" fmla="*/ 323663 w 1608402"/>
                    <a:gd name="connsiteY188" fmla="*/ 4839 h 1957662"/>
                    <a:gd name="connsiteX189" fmla="*/ 323260 w 1608402"/>
                    <a:gd name="connsiteY189" fmla="*/ 4032 h 1957662"/>
                    <a:gd name="connsiteX190" fmla="*/ 323260 w 1608402"/>
                    <a:gd name="connsiteY190" fmla="*/ 4032 h 1957662"/>
                    <a:gd name="connsiteX191" fmla="*/ 324470 w 1608402"/>
                    <a:gd name="connsiteY191" fmla="*/ 301 h 1957662"/>
                    <a:gd name="connsiteX192" fmla="*/ 324470 w 1608402"/>
                    <a:gd name="connsiteY192" fmla="*/ 301 h 1957662"/>
                    <a:gd name="connsiteX193" fmla="*/ 328202 w 1608402"/>
                    <a:gd name="connsiteY193" fmla="*/ 1410 h 1957662"/>
                    <a:gd name="connsiteX194" fmla="*/ 328202 w 1608402"/>
                    <a:gd name="connsiteY194" fmla="*/ 1410 h 1957662"/>
                    <a:gd name="connsiteX195" fmla="*/ 408284 w 1608402"/>
                    <a:gd name="connsiteY195" fmla="*/ 78365 h 1957662"/>
                    <a:gd name="connsiteX196" fmla="*/ 408284 w 1608402"/>
                    <a:gd name="connsiteY196" fmla="*/ 78365 h 1957662"/>
                    <a:gd name="connsiteX197" fmla="*/ 478582 w 1608402"/>
                    <a:gd name="connsiteY197" fmla="*/ 204640 h 1957662"/>
                    <a:gd name="connsiteX198" fmla="*/ 478582 w 1608402"/>
                    <a:gd name="connsiteY198" fmla="*/ 204640 h 1957662"/>
                    <a:gd name="connsiteX199" fmla="*/ 582668 w 1608402"/>
                    <a:gd name="connsiteY199" fmla="*/ 338782 h 1957662"/>
                    <a:gd name="connsiteX200" fmla="*/ 582668 w 1608402"/>
                    <a:gd name="connsiteY200" fmla="*/ 338782 h 1957662"/>
                    <a:gd name="connsiteX201" fmla="*/ 660632 w 1608402"/>
                    <a:gd name="connsiteY201" fmla="*/ 408072 h 1957662"/>
                    <a:gd name="connsiteX202" fmla="*/ 660632 w 1608402"/>
                    <a:gd name="connsiteY202" fmla="*/ 408072 h 1957662"/>
                    <a:gd name="connsiteX203" fmla="*/ 673542 w 1608402"/>
                    <a:gd name="connsiteY203" fmla="*/ 405954 h 1957662"/>
                    <a:gd name="connsiteX204" fmla="*/ 673542 w 1608402"/>
                    <a:gd name="connsiteY204" fmla="*/ 405954 h 1957662"/>
                    <a:gd name="connsiteX205" fmla="*/ 978740 w 1608402"/>
                    <a:gd name="connsiteY205" fmla="*/ 375898 h 1957662"/>
                    <a:gd name="connsiteX206" fmla="*/ 978740 w 1608402"/>
                    <a:gd name="connsiteY206" fmla="*/ 375898 h 1957662"/>
                    <a:gd name="connsiteX207" fmla="*/ 1081918 w 1608402"/>
                    <a:gd name="connsiteY207" fmla="*/ 333033 h 1957662"/>
                    <a:gd name="connsiteX208" fmla="*/ 1081918 w 1608402"/>
                    <a:gd name="connsiteY208" fmla="*/ 333033 h 1957662"/>
                    <a:gd name="connsiteX209" fmla="*/ 1208294 w 1608402"/>
                    <a:gd name="connsiteY209" fmla="*/ 426025 h 1957662"/>
                    <a:gd name="connsiteX210" fmla="*/ 1208294 w 1608402"/>
                    <a:gd name="connsiteY210" fmla="*/ 426025 h 1957662"/>
                    <a:gd name="connsiteX211" fmla="*/ 1249949 w 1608402"/>
                    <a:gd name="connsiteY211" fmla="*/ 543727 h 1957662"/>
                    <a:gd name="connsiteX212" fmla="*/ 1249949 w 1608402"/>
                    <a:gd name="connsiteY212" fmla="*/ 543727 h 1957662"/>
                    <a:gd name="connsiteX213" fmla="*/ 1324079 w 1608402"/>
                    <a:gd name="connsiteY213" fmla="*/ 616849 h 1957662"/>
                    <a:gd name="connsiteX214" fmla="*/ 1324079 w 1608402"/>
                    <a:gd name="connsiteY214" fmla="*/ 616849 h 1957662"/>
                    <a:gd name="connsiteX215" fmla="*/ 1422316 w 1608402"/>
                    <a:gd name="connsiteY215" fmla="*/ 646602 h 1957662"/>
                    <a:gd name="connsiteX216" fmla="*/ 1422316 w 1608402"/>
                    <a:gd name="connsiteY216" fmla="*/ 646602 h 1957662"/>
                    <a:gd name="connsiteX217" fmla="*/ 1496447 w 1608402"/>
                    <a:gd name="connsiteY217" fmla="*/ 670304 h 1957662"/>
                    <a:gd name="connsiteX218" fmla="*/ 1496447 w 1608402"/>
                    <a:gd name="connsiteY218" fmla="*/ 670304 h 1957662"/>
                    <a:gd name="connsiteX219" fmla="*/ 1499775 w 1608402"/>
                    <a:gd name="connsiteY219" fmla="*/ 670506 h 1957662"/>
                    <a:gd name="connsiteX220" fmla="*/ 1499775 w 1608402"/>
                    <a:gd name="connsiteY220" fmla="*/ 670506 h 1957662"/>
                    <a:gd name="connsiteX221" fmla="*/ 1500884 w 1608402"/>
                    <a:gd name="connsiteY221" fmla="*/ 670102 h 1957662"/>
                    <a:gd name="connsiteX222" fmla="*/ 1500884 w 1608402"/>
                    <a:gd name="connsiteY222" fmla="*/ 670102 h 1957662"/>
                    <a:gd name="connsiteX223" fmla="*/ 1506331 w 1608402"/>
                    <a:gd name="connsiteY223" fmla="*/ 669800 h 1957662"/>
                    <a:gd name="connsiteX224" fmla="*/ 1506331 w 1608402"/>
                    <a:gd name="connsiteY224" fmla="*/ 669800 h 1957662"/>
                    <a:gd name="connsiteX225" fmla="*/ 1509256 w 1608402"/>
                    <a:gd name="connsiteY225" fmla="*/ 672321 h 1957662"/>
                    <a:gd name="connsiteX226" fmla="*/ 1509256 w 1608402"/>
                    <a:gd name="connsiteY226" fmla="*/ 672321 h 1957662"/>
                    <a:gd name="connsiteX227" fmla="*/ 1508449 w 1608402"/>
                    <a:gd name="connsiteY227" fmla="*/ 674439 h 1957662"/>
                    <a:gd name="connsiteX228" fmla="*/ 1508449 w 1608402"/>
                    <a:gd name="connsiteY228" fmla="*/ 674439 h 1957662"/>
                    <a:gd name="connsiteX229" fmla="*/ 1537799 w 1608402"/>
                    <a:gd name="connsiteY229" fmla="*/ 684727 h 1957662"/>
                    <a:gd name="connsiteX230" fmla="*/ 1537799 w 1608402"/>
                    <a:gd name="connsiteY230" fmla="*/ 684727 h 1957662"/>
                    <a:gd name="connsiteX231" fmla="*/ 1567148 w 1608402"/>
                    <a:gd name="connsiteY231" fmla="*/ 727491 h 1957662"/>
                    <a:gd name="connsiteX232" fmla="*/ 1567148 w 1608402"/>
                    <a:gd name="connsiteY232" fmla="*/ 727491 h 1957662"/>
                    <a:gd name="connsiteX233" fmla="*/ 1566947 w 1608402"/>
                    <a:gd name="connsiteY233" fmla="*/ 731021 h 1957662"/>
                    <a:gd name="connsiteX234" fmla="*/ 1566947 w 1608402"/>
                    <a:gd name="connsiteY234" fmla="*/ 731021 h 1957662"/>
                    <a:gd name="connsiteX235" fmla="*/ 1530537 w 1608402"/>
                    <a:gd name="connsiteY235" fmla="*/ 812716 h 1957662"/>
                    <a:gd name="connsiteX236" fmla="*/ 1530537 w 1608402"/>
                    <a:gd name="connsiteY236" fmla="*/ 812716 h 1957662"/>
                    <a:gd name="connsiteX237" fmla="*/ 1532655 w 1608402"/>
                    <a:gd name="connsiteY237" fmla="*/ 829660 h 1957662"/>
                    <a:gd name="connsiteX238" fmla="*/ 1532655 w 1608402"/>
                    <a:gd name="connsiteY238" fmla="*/ 829660 h 1957662"/>
                    <a:gd name="connsiteX239" fmla="*/ 1588833 w 1608402"/>
                    <a:gd name="connsiteY239" fmla="*/ 886343 h 1957662"/>
                    <a:gd name="connsiteX240" fmla="*/ 1588833 w 1608402"/>
                    <a:gd name="connsiteY240" fmla="*/ 886343 h 1957662"/>
                    <a:gd name="connsiteX241" fmla="*/ 1608400 w 1608402"/>
                    <a:gd name="connsiteY241" fmla="*/ 935058 h 1957662"/>
                    <a:gd name="connsiteX242" fmla="*/ 1608400 w 1608402"/>
                    <a:gd name="connsiteY242" fmla="*/ 935058 h 1957662"/>
                    <a:gd name="connsiteX243" fmla="*/ 1600331 w 1608402"/>
                    <a:gd name="connsiteY243" fmla="*/ 953717 h 1957662"/>
                    <a:gd name="connsiteX244" fmla="*/ 1600331 w 1608402"/>
                    <a:gd name="connsiteY244" fmla="*/ 953717 h 1957662"/>
                    <a:gd name="connsiteX245" fmla="*/ 1563518 w 1608402"/>
                    <a:gd name="connsiteY245" fmla="*/ 1071418 h 1957662"/>
                    <a:gd name="connsiteX246" fmla="*/ 1563518 w 1608402"/>
                    <a:gd name="connsiteY246" fmla="*/ 1071418 h 1957662"/>
                    <a:gd name="connsiteX247" fmla="*/ 1495236 w 1608402"/>
                    <a:gd name="connsiteY247" fmla="*/ 1155232 h 1957662"/>
                    <a:gd name="connsiteX248" fmla="*/ 1495236 w 1608402"/>
                    <a:gd name="connsiteY248" fmla="*/ 1155232 h 1957662"/>
                    <a:gd name="connsiteX249" fmla="*/ 1454187 w 1608402"/>
                    <a:gd name="connsiteY249" fmla="*/ 1212015 h 1957662"/>
                    <a:gd name="connsiteX250" fmla="*/ 1454187 w 1608402"/>
                    <a:gd name="connsiteY250" fmla="*/ 1212015 h 1957662"/>
                    <a:gd name="connsiteX251" fmla="*/ 1449649 w 1608402"/>
                    <a:gd name="connsiteY251" fmla="*/ 1224018 h 1957662"/>
                    <a:gd name="connsiteX252" fmla="*/ 1449649 w 1608402"/>
                    <a:gd name="connsiteY252" fmla="*/ 1224018 h 1957662"/>
                    <a:gd name="connsiteX253" fmla="*/ 1529831 w 1608402"/>
                    <a:gd name="connsiteY253" fmla="*/ 1278986 h 1957662"/>
                    <a:gd name="connsiteX254" fmla="*/ 1529831 w 1608402"/>
                    <a:gd name="connsiteY254" fmla="*/ 1278986 h 1957662"/>
                    <a:gd name="connsiteX255" fmla="*/ 1572595 w 1608402"/>
                    <a:gd name="connsiteY255" fmla="*/ 1308638 h 1957662"/>
                    <a:gd name="connsiteX256" fmla="*/ 1572595 w 1608402"/>
                    <a:gd name="connsiteY256" fmla="*/ 1308638 h 1957662"/>
                    <a:gd name="connsiteX257" fmla="*/ 1563114 w 1608402"/>
                    <a:gd name="connsiteY257" fmla="*/ 1330323 h 1957662"/>
                    <a:gd name="connsiteX258" fmla="*/ 1563114 w 1608402"/>
                    <a:gd name="connsiteY258" fmla="*/ 1330323 h 1957662"/>
                    <a:gd name="connsiteX259" fmla="*/ 1539715 w 1608402"/>
                    <a:gd name="connsiteY259" fmla="*/ 1379945 h 1957662"/>
                    <a:gd name="connsiteX260" fmla="*/ 1539715 w 1608402"/>
                    <a:gd name="connsiteY260" fmla="*/ 1379945 h 1957662"/>
                    <a:gd name="connsiteX261" fmla="*/ 1542035 w 1608402"/>
                    <a:gd name="connsiteY261" fmla="*/ 1409093 h 1957662"/>
                    <a:gd name="connsiteX262" fmla="*/ 1542035 w 1608402"/>
                    <a:gd name="connsiteY262" fmla="*/ 1409093 h 1957662"/>
                    <a:gd name="connsiteX263" fmla="*/ 1571788 w 1608402"/>
                    <a:gd name="connsiteY263" fmla="*/ 1490183 h 1957662"/>
                    <a:gd name="connsiteX264" fmla="*/ 1571788 w 1608402"/>
                    <a:gd name="connsiteY264" fmla="*/ 1490183 h 1957662"/>
                    <a:gd name="connsiteX265" fmla="*/ 1560492 w 1608402"/>
                    <a:gd name="connsiteY265" fmla="*/ 1532040 h 1957662"/>
                    <a:gd name="connsiteX266" fmla="*/ 1560492 w 1608402"/>
                    <a:gd name="connsiteY266" fmla="*/ 1532040 h 1957662"/>
                    <a:gd name="connsiteX267" fmla="*/ 1539412 w 1608402"/>
                    <a:gd name="connsiteY267" fmla="*/ 1590840 h 1957662"/>
                    <a:gd name="connsiteX268" fmla="*/ 1539412 w 1608402"/>
                    <a:gd name="connsiteY268" fmla="*/ 1590840 h 1957662"/>
                    <a:gd name="connsiteX269" fmla="*/ 1547683 w 1608402"/>
                    <a:gd name="connsiteY269" fmla="*/ 1607078 h 1957662"/>
                    <a:gd name="connsiteX270" fmla="*/ 1547683 w 1608402"/>
                    <a:gd name="connsiteY270" fmla="*/ 1607078 h 1957662"/>
                    <a:gd name="connsiteX271" fmla="*/ 1556054 w 1608402"/>
                    <a:gd name="connsiteY271" fmla="*/ 1631486 h 1957662"/>
                    <a:gd name="connsiteX272" fmla="*/ 1556054 w 1608402"/>
                    <a:gd name="connsiteY272" fmla="*/ 1631486 h 1957662"/>
                    <a:gd name="connsiteX273" fmla="*/ 1533058 w 1608402"/>
                    <a:gd name="connsiteY273" fmla="*/ 1652061 h 1957662"/>
                    <a:gd name="connsiteX274" fmla="*/ 1533058 w 1608402"/>
                    <a:gd name="connsiteY274" fmla="*/ 1652061 h 1957662"/>
                    <a:gd name="connsiteX275" fmla="*/ 1502397 w 1608402"/>
                    <a:gd name="connsiteY275" fmla="*/ 1679697 h 1957662"/>
                    <a:gd name="connsiteX276" fmla="*/ 1502397 w 1608402"/>
                    <a:gd name="connsiteY276" fmla="*/ 1679697 h 1957662"/>
                    <a:gd name="connsiteX277" fmla="*/ 1439563 w 1608402"/>
                    <a:gd name="connsiteY277" fmla="*/ 1659828 h 1957662"/>
                    <a:gd name="connsiteX278" fmla="*/ 1439563 w 1608402"/>
                    <a:gd name="connsiteY278" fmla="*/ 1659828 h 1957662"/>
                    <a:gd name="connsiteX279" fmla="*/ 1384998 w 1608402"/>
                    <a:gd name="connsiteY279" fmla="*/ 1629469 h 1957662"/>
                    <a:gd name="connsiteX280" fmla="*/ 1384998 w 1608402"/>
                    <a:gd name="connsiteY280" fmla="*/ 1629469 h 1957662"/>
                    <a:gd name="connsiteX281" fmla="*/ 1369365 w 1608402"/>
                    <a:gd name="connsiteY281" fmla="*/ 1640362 h 1957662"/>
                    <a:gd name="connsiteX282" fmla="*/ 1369365 w 1608402"/>
                    <a:gd name="connsiteY282" fmla="*/ 1640362 h 1957662"/>
                    <a:gd name="connsiteX283" fmla="*/ 1340116 w 1608402"/>
                    <a:gd name="connsiteY283" fmla="*/ 1661845 h 1957662"/>
                    <a:gd name="connsiteX284" fmla="*/ 1340116 w 1608402"/>
                    <a:gd name="connsiteY284" fmla="*/ 1661845 h 1957662"/>
                    <a:gd name="connsiteX285" fmla="*/ 1311371 w 1608402"/>
                    <a:gd name="connsiteY285" fmla="*/ 1640261 h 1957662"/>
                    <a:gd name="connsiteX286" fmla="*/ 1311371 w 1608402"/>
                    <a:gd name="connsiteY286" fmla="*/ 1640261 h 1957662"/>
                    <a:gd name="connsiteX287" fmla="*/ 1285955 w 1608402"/>
                    <a:gd name="connsiteY287" fmla="*/ 1624930 h 1957662"/>
                    <a:gd name="connsiteX288" fmla="*/ 1285955 w 1608402"/>
                    <a:gd name="connsiteY288" fmla="*/ 1624930 h 1957662"/>
                    <a:gd name="connsiteX289" fmla="*/ 1248133 w 1608402"/>
                    <a:gd name="connsiteY289" fmla="*/ 1655591 h 1957662"/>
                    <a:gd name="connsiteX290" fmla="*/ 1248133 w 1608402"/>
                    <a:gd name="connsiteY290" fmla="*/ 1655591 h 1957662"/>
                    <a:gd name="connsiteX291" fmla="*/ 1244401 w 1608402"/>
                    <a:gd name="connsiteY291" fmla="*/ 1678184 h 1957662"/>
                    <a:gd name="connsiteX292" fmla="*/ 1244401 w 1608402"/>
                    <a:gd name="connsiteY292" fmla="*/ 1678184 h 1957662"/>
                    <a:gd name="connsiteX293" fmla="*/ 1252570 w 1608402"/>
                    <a:gd name="connsiteY293" fmla="*/ 1730529 h 1957662"/>
                    <a:gd name="connsiteX294" fmla="*/ 1252570 w 1608402"/>
                    <a:gd name="connsiteY294" fmla="*/ 1730529 h 1957662"/>
                    <a:gd name="connsiteX295" fmla="*/ 1251461 w 1608402"/>
                    <a:gd name="connsiteY295" fmla="*/ 1745255 h 1957662"/>
                    <a:gd name="connsiteX296" fmla="*/ 1251461 w 1608402"/>
                    <a:gd name="connsiteY296" fmla="*/ 1745255 h 1957662"/>
                    <a:gd name="connsiteX297" fmla="*/ 1201637 w 1608402"/>
                    <a:gd name="connsiteY297" fmla="*/ 1874757 h 1957662"/>
                    <a:gd name="connsiteX298" fmla="*/ 1201637 w 1608402"/>
                    <a:gd name="connsiteY298" fmla="*/ 1874757 h 1957662"/>
                    <a:gd name="connsiteX299" fmla="*/ 1207789 w 1608402"/>
                    <a:gd name="connsiteY299" fmla="*/ 1923573 h 1957662"/>
                    <a:gd name="connsiteX300" fmla="*/ 1207789 w 1608402"/>
                    <a:gd name="connsiteY300" fmla="*/ 1923573 h 1957662"/>
                    <a:gd name="connsiteX301" fmla="*/ 1196695 w 1608402"/>
                    <a:gd name="connsiteY301" fmla="*/ 1952620 h 1957662"/>
                    <a:gd name="connsiteX302" fmla="*/ 1196695 w 1608402"/>
                    <a:gd name="connsiteY302" fmla="*/ 1952620 h 1957662"/>
                    <a:gd name="connsiteX303" fmla="*/ 1176321 w 1608402"/>
                    <a:gd name="connsiteY303" fmla="*/ 1957663 h 1957662"/>
                    <a:gd name="connsiteX304" fmla="*/ 1176321 w 1608402"/>
                    <a:gd name="connsiteY304" fmla="*/ 1957663 h 1957662"/>
                    <a:gd name="connsiteX305" fmla="*/ 1152519 w 1608402"/>
                    <a:gd name="connsiteY305" fmla="*/ 1912579 h 1957662"/>
                    <a:gd name="connsiteX306" fmla="*/ 1152519 w 1608402"/>
                    <a:gd name="connsiteY306" fmla="*/ 1912579 h 1957662"/>
                    <a:gd name="connsiteX307" fmla="*/ 1158167 w 1608402"/>
                    <a:gd name="connsiteY307" fmla="*/ 1912176 h 1957662"/>
                    <a:gd name="connsiteX308" fmla="*/ 1176221 w 1608402"/>
                    <a:gd name="connsiteY308" fmla="*/ 1951712 h 1957662"/>
                    <a:gd name="connsiteX309" fmla="*/ 1176221 w 1608402"/>
                    <a:gd name="connsiteY309" fmla="*/ 1951712 h 1957662"/>
                    <a:gd name="connsiteX310" fmla="*/ 1194880 w 1608402"/>
                    <a:gd name="connsiteY310" fmla="*/ 1947073 h 1957662"/>
                    <a:gd name="connsiteX311" fmla="*/ 1194880 w 1608402"/>
                    <a:gd name="connsiteY311" fmla="*/ 1947073 h 1957662"/>
                    <a:gd name="connsiteX312" fmla="*/ 1202041 w 1608402"/>
                    <a:gd name="connsiteY312" fmla="*/ 1923270 h 1957662"/>
                    <a:gd name="connsiteX313" fmla="*/ 1202041 w 1608402"/>
                    <a:gd name="connsiteY313" fmla="*/ 1923270 h 1957662"/>
                    <a:gd name="connsiteX314" fmla="*/ 1196292 w 1608402"/>
                    <a:gd name="connsiteY314" fmla="*/ 1873849 h 1957662"/>
                    <a:gd name="connsiteX315" fmla="*/ 1196292 w 1608402"/>
                    <a:gd name="connsiteY315" fmla="*/ 1873849 h 1957662"/>
                    <a:gd name="connsiteX316" fmla="*/ 1245813 w 1608402"/>
                    <a:gd name="connsiteY316" fmla="*/ 1744044 h 1957662"/>
                    <a:gd name="connsiteX317" fmla="*/ 1245813 w 1608402"/>
                    <a:gd name="connsiteY317" fmla="*/ 1744044 h 1957662"/>
                    <a:gd name="connsiteX318" fmla="*/ 1246822 w 1608402"/>
                    <a:gd name="connsiteY318" fmla="*/ 1730227 h 1957662"/>
                    <a:gd name="connsiteX319" fmla="*/ 1246822 w 1608402"/>
                    <a:gd name="connsiteY319" fmla="*/ 1730227 h 1957662"/>
                    <a:gd name="connsiteX320" fmla="*/ 1238552 w 1608402"/>
                    <a:gd name="connsiteY320" fmla="*/ 1677881 h 1957662"/>
                    <a:gd name="connsiteX321" fmla="*/ 1238552 w 1608402"/>
                    <a:gd name="connsiteY321" fmla="*/ 1677881 h 1957662"/>
                    <a:gd name="connsiteX322" fmla="*/ 1242687 w 1608402"/>
                    <a:gd name="connsiteY322" fmla="*/ 1653473 h 1957662"/>
                    <a:gd name="connsiteX323" fmla="*/ 1242687 w 1608402"/>
                    <a:gd name="connsiteY323" fmla="*/ 1653473 h 1957662"/>
                    <a:gd name="connsiteX324" fmla="*/ 1285854 w 1608402"/>
                    <a:gd name="connsiteY324" fmla="*/ 1618980 h 1957662"/>
                    <a:gd name="connsiteX325" fmla="*/ 1285854 w 1608402"/>
                    <a:gd name="connsiteY325" fmla="*/ 1618980 h 1957662"/>
                    <a:gd name="connsiteX326" fmla="*/ 1316313 w 1608402"/>
                    <a:gd name="connsiteY326" fmla="*/ 1637941 h 1957662"/>
                    <a:gd name="connsiteX327" fmla="*/ 1316313 w 1608402"/>
                    <a:gd name="connsiteY327" fmla="*/ 1637941 h 1957662"/>
                    <a:gd name="connsiteX328" fmla="*/ 1339914 w 1608402"/>
                    <a:gd name="connsiteY328" fmla="*/ 1655894 h 1957662"/>
                    <a:gd name="connsiteX329" fmla="*/ 1339914 w 1608402"/>
                    <a:gd name="connsiteY329" fmla="*/ 1655894 h 1957662"/>
                    <a:gd name="connsiteX330" fmla="*/ 1364020 w 1608402"/>
                    <a:gd name="connsiteY330" fmla="*/ 1637740 h 1957662"/>
                    <a:gd name="connsiteX331" fmla="*/ 1364020 w 1608402"/>
                    <a:gd name="connsiteY331" fmla="*/ 1637740 h 1957662"/>
                    <a:gd name="connsiteX332" fmla="*/ 1384797 w 1608402"/>
                    <a:gd name="connsiteY332" fmla="*/ 1623619 h 1957662"/>
                    <a:gd name="connsiteX333" fmla="*/ 1384797 w 1608402"/>
                    <a:gd name="connsiteY333" fmla="*/ 1623619 h 1957662"/>
                    <a:gd name="connsiteX334" fmla="*/ 1442992 w 1608402"/>
                    <a:gd name="connsiteY334" fmla="*/ 1655490 h 1957662"/>
                    <a:gd name="connsiteX335" fmla="*/ 1442992 w 1608402"/>
                    <a:gd name="connsiteY335" fmla="*/ 1655490 h 1957662"/>
                    <a:gd name="connsiteX336" fmla="*/ 1499876 w 1608402"/>
                    <a:gd name="connsiteY336" fmla="*/ 1676469 h 1957662"/>
                    <a:gd name="connsiteX337" fmla="*/ 1499876 w 1608402"/>
                    <a:gd name="connsiteY337" fmla="*/ 1676469 h 1957662"/>
                    <a:gd name="connsiteX338" fmla="*/ 1532958 w 1608402"/>
                    <a:gd name="connsiteY338" fmla="*/ 1646212 h 1957662"/>
                    <a:gd name="connsiteX339" fmla="*/ 1532958 w 1608402"/>
                    <a:gd name="connsiteY339" fmla="*/ 1646212 h 1957662"/>
                    <a:gd name="connsiteX340" fmla="*/ 1550507 w 1608402"/>
                    <a:gd name="connsiteY340" fmla="*/ 1631184 h 1957662"/>
                    <a:gd name="connsiteX341" fmla="*/ 1550507 w 1608402"/>
                    <a:gd name="connsiteY341" fmla="*/ 1631184 h 1957662"/>
                    <a:gd name="connsiteX342" fmla="*/ 1543144 w 1608402"/>
                    <a:gd name="connsiteY342" fmla="*/ 1610104 h 1957662"/>
                    <a:gd name="connsiteX343" fmla="*/ 1543144 w 1608402"/>
                    <a:gd name="connsiteY343" fmla="*/ 1610104 h 1957662"/>
                    <a:gd name="connsiteX344" fmla="*/ 1533663 w 1608402"/>
                    <a:gd name="connsiteY344" fmla="*/ 1590538 h 1957662"/>
                    <a:gd name="connsiteX345" fmla="*/ 1533663 w 1608402"/>
                    <a:gd name="connsiteY345" fmla="*/ 1590538 h 1957662"/>
                    <a:gd name="connsiteX346" fmla="*/ 1555449 w 1608402"/>
                    <a:gd name="connsiteY346" fmla="*/ 1529417 h 1957662"/>
                    <a:gd name="connsiteX347" fmla="*/ 1555449 w 1608402"/>
                    <a:gd name="connsiteY347" fmla="*/ 1529417 h 1957662"/>
                    <a:gd name="connsiteX348" fmla="*/ 1566241 w 1608402"/>
                    <a:gd name="connsiteY348" fmla="*/ 1489881 h 1957662"/>
                    <a:gd name="connsiteX349" fmla="*/ 1566241 w 1608402"/>
                    <a:gd name="connsiteY349" fmla="*/ 1489881 h 1957662"/>
                    <a:gd name="connsiteX350" fmla="*/ 1536387 w 1608402"/>
                    <a:gd name="connsiteY350" fmla="*/ 1409497 h 1957662"/>
                    <a:gd name="connsiteX351" fmla="*/ 1536387 w 1608402"/>
                    <a:gd name="connsiteY351" fmla="*/ 1409497 h 1957662"/>
                    <a:gd name="connsiteX352" fmla="*/ 1533966 w 1608402"/>
                    <a:gd name="connsiteY352" fmla="*/ 1379643 h 1957662"/>
                    <a:gd name="connsiteX353" fmla="*/ 1533966 w 1608402"/>
                    <a:gd name="connsiteY353" fmla="*/ 1379643 h 1957662"/>
                    <a:gd name="connsiteX354" fmla="*/ 1558778 w 1608402"/>
                    <a:gd name="connsiteY354" fmla="*/ 1326389 h 1957662"/>
                    <a:gd name="connsiteX355" fmla="*/ 1558778 w 1608402"/>
                    <a:gd name="connsiteY355" fmla="*/ 1326389 h 1957662"/>
                    <a:gd name="connsiteX356" fmla="*/ 1566846 w 1608402"/>
                    <a:gd name="connsiteY356" fmla="*/ 1308335 h 1957662"/>
                    <a:gd name="connsiteX357" fmla="*/ 1566846 w 1608402"/>
                    <a:gd name="connsiteY357" fmla="*/ 1308335 h 1957662"/>
                    <a:gd name="connsiteX358" fmla="*/ 1529730 w 1608402"/>
                    <a:gd name="connsiteY358" fmla="*/ 1284331 h 1957662"/>
                    <a:gd name="connsiteX359" fmla="*/ 1529730 w 1608402"/>
                    <a:gd name="connsiteY359" fmla="*/ 1284331 h 1957662"/>
                    <a:gd name="connsiteX360" fmla="*/ 1444000 w 1608402"/>
                    <a:gd name="connsiteY360" fmla="*/ 1223715 h 1957662"/>
                    <a:gd name="connsiteX361" fmla="*/ 1444000 w 1608402"/>
                    <a:gd name="connsiteY361" fmla="*/ 1223715 h 1957662"/>
                    <a:gd name="connsiteX362" fmla="*/ 1449850 w 1608402"/>
                    <a:gd name="connsiteY362" fmla="*/ 1208183 h 1957662"/>
                    <a:gd name="connsiteX363" fmla="*/ 1449850 w 1608402"/>
                    <a:gd name="connsiteY363" fmla="*/ 1208183 h 1957662"/>
                    <a:gd name="connsiteX364" fmla="*/ 1489992 w 1608402"/>
                    <a:gd name="connsiteY364" fmla="*/ 1152811 h 1957662"/>
                    <a:gd name="connsiteX365" fmla="*/ 1489992 w 1608402"/>
                    <a:gd name="connsiteY365" fmla="*/ 1152811 h 1957662"/>
                    <a:gd name="connsiteX366" fmla="*/ 1558475 w 1608402"/>
                    <a:gd name="connsiteY366" fmla="*/ 1068594 h 1957662"/>
                    <a:gd name="connsiteX367" fmla="*/ 1558475 w 1608402"/>
                    <a:gd name="connsiteY367" fmla="*/ 1068594 h 1957662"/>
                    <a:gd name="connsiteX368" fmla="*/ 1596297 w 1608402"/>
                    <a:gd name="connsiteY368" fmla="*/ 949481 h 1957662"/>
                    <a:gd name="connsiteX369" fmla="*/ 1596297 w 1608402"/>
                    <a:gd name="connsiteY369" fmla="*/ 949481 h 1957662"/>
                    <a:gd name="connsiteX370" fmla="*/ 1602752 w 1608402"/>
                    <a:gd name="connsiteY370" fmla="*/ 934755 h 1957662"/>
                    <a:gd name="connsiteX371" fmla="*/ 1602752 w 1608402"/>
                    <a:gd name="connsiteY371" fmla="*/ 934755 h 1957662"/>
                    <a:gd name="connsiteX372" fmla="*/ 1583084 w 1608402"/>
                    <a:gd name="connsiteY372" fmla="*/ 886041 h 1957662"/>
                    <a:gd name="connsiteX373" fmla="*/ 1583084 w 1608402"/>
                    <a:gd name="connsiteY373" fmla="*/ 886041 h 1957662"/>
                    <a:gd name="connsiteX374" fmla="*/ 1527209 w 1608402"/>
                    <a:gd name="connsiteY374" fmla="*/ 830669 h 1957662"/>
                    <a:gd name="connsiteX375" fmla="*/ 1527209 w 1608402"/>
                    <a:gd name="connsiteY375" fmla="*/ 830669 h 1957662"/>
                    <a:gd name="connsiteX376" fmla="*/ 1524788 w 1608402"/>
                    <a:gd name="connsiteY376" fmla="*/ 812414 h 1957662"/>
                    <a:gd name="connsiteX377" fmla="*/ 1524788 w 1608402"/>
                    <a:gd name="connsiteY377" fmla="*/ 812414 h 1957662"/>
                    <a:gd name="connsiteX378" fmla="*/ 1561399 w 1608402"/>
                    <a:gd name="connsiteY378" fmla="*/ 730012 h 1957662"/>
                    <a:gd name="connsiteX379" fmla="*/ 1561399 w 1608402"/>
                    <a:gd name="connsiteY379" fmla="*/ 730012 h 1957662"/>
                    <a:gd name="connsiteX380" fmla="*/ 1561601 w 1608402"/>
                    <a:gd name="connsiteY380" fmla="*/ 727188 h 1957662"/>
                    <a:gd name="connsiteX381" fmla="*/ 1561601 w 1608402"/>
                    <a:gd name="connsiteY381" fmla="*/ 727188 h 1957662"/>
                    <a:gd name="connsiteX382" fmla="*/ 1535479 w 1608402"/>
                    <a:gd name="connsiteY382" fmla="*/ 689467 h 1957662"/>
                    <a:gd name="connsiteX383" fmla="*/ 1535479 w 1608402"/>
                    <a:gd name="connsiteY383" fmla="*/ 689467 h 1957662"/>
                    <a:gd name="connsiteX384" fmla="*/ 1499069 w 1608402"/>
                    <a:gd name="connsiteY384" fmla="*/ 675549 h 1957662"/>
                    <a:gd name="connsiteX385" fmla="*/ 1499069 w 1608402"/>
                    <a:gd name="connsiteY385" fmla="*/ 675549 h 1957662"/>
                    <a:gd name="connsiteX386" fmla="*/ 1496245 w 1608402"/>
                    <a:gd name="connsiteY386" fmla="*/ 675549 h 1957662"/>
                    <a:gd name="connsiteX387" fmla="*/ 1496245 w 1608402"/>
                    <a:gd name="connsiteY387" fmla="*/ 675549 h 1957662"/>
                    <a:gd name="connsiteX388" fmla="*/ 1419088 w 1608402"/>
                    <a:gd name="connsiteY388" fmla="*/ 650939 h 1957662"/>
                    <a:gd name="connsiteX389" fmla="*/ 1419088 w 1608402"/>
                    <a:gd name="connsiteY389" fmla="*/ 650939 h 1957662"/>
                    <a:gd name="connsiteX390" fmla="*/ 1320045 w 1608402"/>
                    <a:gd name="connsiteY390" fmla="*/ 620782 h 1957662"/>
                    <a:gd name="connsiteX391" fmla="*/ 1320045 w 1608402"/>
                    <a:gd name="connsiteY391" fmla="*/ 620782 h 1957662"/>
                    <a:gd name="connsiteX392" fmla="*/ 1244099 w 1608402"/>
                    <a:gd name="connsiteY392" fmla="*/ 543727 h 1957662"/>
                    <a:gd name="connsiteX393" fmla="*/ 1244099 w 1608402"/>
                    <a:gd name="connsiteY393" fmla="*/ 543727 h 1957662"/>
                    <a:gd name="connsiteX394" fmla="*/ 1204058 w 1608402"/>
                    <a:gd name="connsiteY394" fmla="*/ 429756 h 1957662"/>
                    <a:gd name="connsiteX395" fmla="*/ 1204058 w 1608402"/>
                    <a:gd name="connsiteY395" fmla="*/ 429756 h 1957662"/>
                    <a:gd name="connsiteX396" fmla="*/ 1081716 w 1608402"/>
                    <a:gd name="connsiteY396" fmla="*/ 338479 h 1957662"/>
                    <a:gd name="connsiteX397" fmla="*/ 1081716 w 1608402"/>
                    <a:gd name="connsiteY397" fmla="*/ 338479 h 1957662"/>
                    <a:gd name="connsiteX398" fmla="*/ 979042 w 1608402"/>
                    <a:gd name="connsiteY398" fmla="*/ 381344 h 1957662"/>
                    <a:gd name="connsiteX399" fmla="*/ 979042 w 1608402"/>
                    <a:gd name="connsiteY399" fmla="*/ 381344 h 1957662"/>
                    <a:gd name="connsiteX400" fmla="*/ 675155 w 1608402"/>
                    <a:gd name="connsiteY400" fmla="*/ 411198 h 1957662"/>
                    <a:gd name="connsiteX401" fmla="*/ 675155 w 1608402"/>
                    <a:gd name="connsiteY401" fmla="*/ 411198 h 1957662"/>
                    <a:gd name="connsiteX402" fmla="*/ 660430 w 1608402"/>
                    <a:gd name="connsiteY402" fmla="*/ 413518 h 1957662"/>
                    <a:gd name="connsiteX403" fmla="*/ 660430 w 1608402"/>
                    <a:gd name="connsiteY403" fmla="*/ 413518 h 1957662"/>
                    <a:gd name="connsiteX404" fmla="*/ 577524 w 1608402"/>
                    <a:gd name="connsiteY404" fmla="*/ 341203 h 1957662"/>
                    <a:gd name="connsiteX405" fmla="*/ 577524 w 1608402"/>
                    <a:gd name="connsiteY405" fmla="*/ 341203 h 1957662"/>
                    <a:gd name="connsiteX406" fmla="*/ 475556 w 1608402"/>
                    <a:gd name="connsiteY406" fmla="*/ 209380 h 1957662"/>
                    <a:gd name="connsiteX407" fmla="*/ 475556 w 1608402"/>
                    <a:gd name="connsiteY407" fmla="*/ 209380 h 1957662"/>
                    <a:gd name="connsiteX408" fmla="*/ 404350 w 1608402"/>
                    <a:gd name="connsiteY408" fmla="*/ 82400 h 1957662"/>
                    <a:gd name="connsiteX409" fmla="*/ 404350 w 1608402"/>
                    <a:gd name="connsiteY409" fmla="*/ 82400 h 1957662"/>
                    <a:gd name="connsiteX410" fmla="*/ 326487 w 1608402"/>
                    <a:gd name="connsiteY410" fmla="*/ 9580 h 1957662"/>
                    <a:gd name="connsiteX411" fmla="*/ 326487 w 1608402"/>
                    <a:gd name="connsiteY411" fmla="*/ 9580 h 1957662"/>
                    <a:gd name="connsiteX412" fmla="*/ 303088 w 1608402"/>
                    <a:gd name="connsiteY412" fmla="*/ 17749 h 1957662"/>
                    <a:gd name="connsiteX413" fmla="*/ 303088 w 1608402"/>
                    <a:gd name="connsiteY413" fmla="*/ 17749 h 1957662"/>
                    <a:gd name="connsiteX414" fmla="*/ 242472 w 1608402"/>
                    <a:gd name="connsiteY414" fmla="*/ 26221 h 1957662"/>
                    <a:gd name="connsiteX415" fmla="*/ 242472 w 1608402"/>
                    <a:gd name="connsiteY415" fmla="*/ 26221 h 1957662"/>
                    <a:gd name="connsiteX416" fmla="*/ 187605 w 1608402"/>
                    <a:gd name="connsiteY416" fmla="*/ 11698 h 1957662"/>
                    <a:gd name="connsiteX417" fmla="*/ 187605 w 1608402"/>
                    <a:gd name="connsiteY417" fmla="*/ 11698 h 1957662"/>
                    <a:gd name="connsiteX418" fmla="*/ 176813 w 1608402"/>
                    <a:gd name="connsiteY418" fmla="*/ 10084 h 1957662"/>
                    <a:gd name="connsiteX419" fmla="*/ 176813 w 1608402"/>
                    <a:gd name="connsiteY419" fmla="*/ 10084 h 1957662"/>
                    <a:gd name="connsiteX420" fmla="*/ 124972 w 1608402"/>
                    <a:gd name="connsiteY420" fmla="*/ 48108 h 1957662"/>
                    <a:gd name="connsiteX421" fmla="*/ 124972 w 1608402"/>
                    <a:gd name="connsiteY421" fmla="*/ 48108 h 1957662"/>
                    <a:gd name="connsiteX422" fmla="*/ 131729 w 1608402"/>
                    <a:gd name="connsiteY422" fmla="*/ 97528 h 1957662"/>
                    <a:gd name="connsiteX423" fmla="*/ 131729 w 1608402"/>
                    <a:gd name="connsiteY423" fmla="*/ 97528 h 1957662"/>
                    <a:gd name="connsiteX424" fmla="*/ 104901 w 1608402"/>
                    <a:gd name="connsiteY424" fmla="*/ 137973 h 1957662"/>
                    <a:gd name="connsiteX425" fmla="*/ 104901 w 1608402"/>
                    <a:gd name="connsiteY425" fmla="*/ 137973 h 1957662"/>
                    <a:gd name="connsiteX426" fmla="*/ 58405 w 1608402"/>
                    <a:gd name="connsiteY426" fmla="*/ 197782 h 1957662"/>
                    <a:gd name="connsiteX427" fmla="*/ 58405 w 1608402"/>
                    <a:gd name="connsiteY427" fmla="*/ 197782 h 1957662"/>
                    <a:gd name="connsiteX428" fmla="*/ 66676 w 1608402"/>
                    <a:gd name="connsiteY428" fmla="*/ 208372 h 1957662"/>
                    <a:gd name="connsiteX429" fmla="*/ 66676 w 1608402"/>
                    <a:gd name="connsiteY429" fmla="*/ 208372 h 1957662"/>
                    <a:gd name="connsiteX430" fmla="*/ 118013 w 1608402"/>
                    <a:gd name="connsiteY430" fmla="*/ 250531 h 1957662"/>
                    <a:gd name="connsiteX431" fmla="*/ 118013 w 1608402"/>
                    <a:gd name="connsiteY431" fmla="*/ 250531 h 1957662"/>
                    <a:gd name="connsiteX432" fmla="*/ 117609 w 1608402"/>
                    <a:gd name="connsiteY432" fmla="*/ 255574 h 1957662"/>
                    <a:gd name="connsiteX433" fmla="*/ 117609 w 1608402"/>
                    <a:gd name="connsiteY433" fmla="*/ 255574 h 1957662"/>
                    <a:gd name="connsiteX434" fmla="*/ 116298 w 1608402"/>
                    <a:gd name="connsiteY434" fmla="*/ 265660 h 1957662"/>
                    <a:gd name="connsiteX435" fmla="*/ 116298 w 1608402"/>
                    <a:gd name="connsiteY435" fmla="*/ 265660 h 1957662"/>
                    <a:gd name="connsiteX436" fmla="*/ 143328 w 1608402"/>
                    <a:gd name="connsiteY436" fmla="*/ 288958 h 1957662"/>
                    <a:gd name="connsiteX437" fmla="*/ 143328 w 1608402"/>
                    <a:gd name="connsiteY437" fmla="*/ 288958 h 1957662"/>
                    <a:gd name="connsiteX438" fmla="*/ 172577 w 1608402"/>
                    <a:gd name="connsiteY438" fmla="*/ 330007 h 1957662"/>
                    <a:gd name="connsiteX439" fmla="*/ 172577 w 1608402"/>
                    <a:gd name="connsiteY439" fmla="*/ 330007 h 1957662"/>
                    <a:gd name="connsiteX440" fmla="*/ 171569 w 1608402"/>
                    <a:gd name="connsiteY440" fmla="*/ 341808 h 1957662"/>
                    <a:gd name="connsiteX441" fmla="*/ 171569 w 1608402"/>
                    <a:gd name="connsiteY441" fmla="*/ 341808 h 1957662"/>
                    <a:gd name="connsiteX442" fmla="*/ 138991 w 1608402"/>
                    <a:gd name="connsiteY442" fmla="*/ 379226 h 1957662"/>
                    <a:gd name="connsiteX443" fmla="*/ 138991 w 1608402"/>
                    <a:gd name="connsiteY443" fmla="*/ 379226 h 1957662"/>
                    <a:gd name="connsiteX444" fmla="*/ 113777 w 1608402"/>
                    <a:gd name="connsiteY444" fmla="*/ 420578 h 1957662"/>
                    <a:gd name="connsiteX445" fmla="*/ 113777 w 1608402"/>
                    <a:gd name="connsiteY445" fmla="*/ 420578 h 1957662"/>
                    <a:gd name="connsiteX446" fmla="*/ 103691 w 1608402"/>
                    <a:gd name="connsiteY446" fmla="*/ 445591 h 1957662"/>
                    <a:gd name="connsiteX447" fmla="*/ 103691 w 1608402"/>
                    <a:gd name="connsiteY447" fmla="*/ 445591 h 1957662"/>
                    <a:gd name="connsiteX448" fmla="*/ 105910 w 1608402"/>
                    <a:gd name="connsiteY448" fmla="*/ 481698 h 1957662"/>
                    <a:gd name="connsiteX449" fmla="*/ 105910 w 1608402"/>
                    <a:gd name="connsiteY449" fmla="*/ 481698 h 1957662"/>
                    <a:gd name="connsiteX450" fmla="*/ 79081 w 1608402"/>
                    <a:gd name="connsiteY450" fmla="*/ 534549 h 1957662"/>
                    <a:gd name="connsiteX451" fmla="*/ 79081 w 1608402"/>
                    <a:gd name="connsiteY451" fmla="*/ 534549 h 1957662"/>
                    <a:gd name="connsiteX452" fmla="*/ 46504 w 1608402"/>
                    <a:gd name="connsiteY452" fmla="*/ 548165 h 1957662"/>
                    <a:gd name="connsiteX453" fmla="*/ 46504 w 1608402"/>
                    <a:gd name="connsiteY453" fmla="*/ 548165 h 1957662"/>
                    <a:gd name="connsiteX454" fmla="*/ 36922 w 1608402"/>
                    <a:gd name="connsiteY454" fmla="*/ 547963 h 1957662"/>
                    <a:gd name="connsiteX455" fmla="*/ 36922 w 1608402"/>
                    <a:gd name="connsiteY455" fmla="*/ 547963 h 1957662"/>
                    <a:gd name="connsiteX456" fmla="*/ 32081 w 1608402"/>
                    <a:gd name="connsiteY456" fmla="*/ 548165 h 1957662"/>
                    <a:gd name="connsiteX457" fmla="*/ 32081 w 1608402"/>
                    <a:gd name="connsiteY457" fmla="*/ 548165 h 1957662"/>
                    <a:gd name="connsiteX458" fmla="*/ 5455 w 1608402"/>
                    <a:gd name="connsiteY458" fmla="*/ 585381 h 1957662"/>
                    <a:gd name="connsiteX459" fmla="*/ 5455 w 1608402"/>
                    <a:gd name="connsiteY459" fmla="*/ 585381 h 1957662"/>
                    <a:gd name="connsiteX460" fmla="*/ 44789 w 1608402"/>
                    <a:gd name="connsiteY460" fmla="*/ 626733 h 1957662"/>
                    <a:gd name="connsiteX461" fmla="*/ 44789 w 1608402"/>
                    <a:gd name="connsiteY461" fmla="*/ 626733 h 1957662"/>
                    <a:gd name="connsiteX462" fmla="*/ 52454 w 1608402"/>
                    <a:gd name="connsiteY462" fmla="*/ 651847 h 1957662"/>
                    <a:gd name="connsiteX463" fmla="*/ 52454 w 1608402"/>
                    <a:gd name="connsiteY463" fmla="*/ 651847 h 1957662"/>
                    <a:gd name="connsiteX464" fmla="*/ 52354 w 1608402"/>
                    <a:gd name="connsiteY464" fmla="*/ 656789 h 1957662"/>
                    <a:gd name="connsiteX465" fmla="*/ 52354 w 1608402"/>
                    <a:gd name="connsiteY465" fmla="*/ 656789 h 1957662"/>
                    <a:gd name="connsiteX466" fmla="*/ 55783 w 1608402"/>
                    <a:gd name="connsiteY466" fmla="*/ 672523 h 1957662"/>
                    <a:gd name="connsiteX467" fmla="*/ 55783 w 1608402"/>
                    <a:gd name="connsiteY467" fmla="*/ 672523 h 1957662"/>
                    <a:gd name="connsiteX468" fmla="*/ 70307 w 1608402"/>
                    <a:gd name="connsiteY468" fmla="*/ 707420 h 1957662"/>
                    <a:gd name="connsiteX469" fmla="*/ 70307 w 1608402"/>
                    <a:gd name="connsiteY469" fmla="*/ 707420 h 1957662"/>
                    <a:gd name="connsiteX470" fmla="*/ 64457 w 1608402"/>
                    <a:gd name="connsiteY470" fmla="*/ 727289 h 1957662"/>
                    <a:gd name="connsiteX471" fmla="*/ 64457 w 1608402"/>
                    <a:gd name="connsiteY471" fmla="*/ 727289 h 1957662"/>
                    <a:gd name="connsiteX472" fmla="*/ 29661 w 1608402"/>
                    <a:gd name="connsiteY472" fmla="*/ 748167 h 1957662"/>
                    <a:gd name="connsiteX473" fmla="*/ 29661 w 1608402"/>
                    <a:gd name="connsiteY473" fmla="*/ 748167 h 1957662"/>
                    <a:gd name="connsiteX474" fmla="*/ 28955 w 1608402"/>
                    <a:gd name="connsiteY474" fmla="*/ 752201 h 1957662"/>
                    <a:gd name="connsiteX475" fmla="*/ 28955 w 1608402"/>
                    <a:gd name="connsiteY475" fmla="*/ 752201 h 1957662"/>
                    <a:gd name="connsiteX476" fmla="*/ 50538 w 1608402"/>
                    <a:gd name="connsiteY476" fmla="*/ 818667 h 1957662"/>
                    <a:gd name="connsiteX477" fmla="*/ 50538 w 1608402"/>
                    <a:gd name="connsiteY477" fmla="*/ 818667 h 1957662"/>
                    <a:gd name="connsiteX478" fmla="*/ 57598 w 1608402"/>
                    <a:gd name="connsiteY478" fmla="*/ 843075 h 1957662"/>
                    <a:gd name="connsiteX479" fmla="*/ 57598 w 1608402"/>
                    <a:gd name="connsiteY479" fmla="*/ 843075 h 1957662"/>
                    <a:gd name="connsiteX480" fmla="*/ 41663 w 1608402"/>
                    <a:gd name="connsiteY480" fmla="*/ 875450 h 1957662"/>
                    <a:gd name="connsiteX481" fmla="*/ 41663 w 1608402"/>
                    <a:gd name="connsiteY481" fmla="*/ 875450 h 1957662"/>
                    <a:gd name="connsiteX482" fmla="*/ 23811 w 1608402"/>
                    <a:gd name="connsiteY482" fmla="*/ 912566 h 1957662"/>
                    <a:gd name="connsiteX483" fmla="*/ 23811 w 1608402"/>
                    <a:gd name="connsiteY483" fmla="*/ 912566 h 1957662"/>
                    <a:gd name="connsiteX484" fmla="*/ 27946 w 1608402"/>
                    <a:gd name="connsiteY484" fmla="*/ 933545 h 1957662"/>
                    <a:gd name="connsiteX485" fmla="*/ 27946 w 1608402"/>
                    <a:gd name="connsiteY485" fmla="*/ 933545 h 1957662"/>
                    <a:gd name="connsiteX486" fmla="*/ 84225 w 1608402"/>
                    <a:gd name="connsiteY486" fmla="*/ 988412 h 1957662"/>
                    <a:gd name="connsiteX487" fmla="*/ 84225 w 1608402"/>
                    <a:gd name="connsiteY487" fmla="*/ 988412 h 1957662"/>
                    <a:gd name="connsiteX488" fmla="*/ 102380 w 1608402"/>
                    <a:gd name="connsiteY488" fmla="*/ 1026032 h 1957662"/>
                    <a:gd name="connsiteX489" fmla="*/ 102380 w 1608402"/>
                    <a:gd name="connsiteY489" fmla="*/ 1026032 h 1957662"/>
                    <a:gd name="connsiteX490" fmla="*/ 115895 w 1608402"/>
                    <a:gd name="connsiteY490" fmla="*/ 1058912 h 1957662"/>
                    <a:gd name="connsiteX491" fmla="*/ 115895 w 1608402"/>
                    <a:gd name="connsiteY491" fmla="*/ 1058912 h 1957662"/>
                    <a:gd name="connsiteX492" fmla="*/ 110045 w 1608402"/>
                    <a:gd name="connsiteY492" fmla="*/ 1102282 h 1957662"/>
                    <a:gd name="connsiteX493" fmla="*/ 110045 w 1608402"/>
                    <a:gd name="connsiteY493" fmla="*/ 1102282 h 1957662"/>
                    <a:gd name="connsiteX494" fmla="*/ 104498 w 1608402"/>
                    <a:gd name="connsiteY494" fmla="*/ 1136371 h 1957662"/>
                    <a:gd name="connsiteX495" fmla="*/ 104498 w 1608402"/>
                    <a:gd name="connsiteY495" fmla="*/ 1136371 h 1957662"/>
                    <a:gd name="connsiteX496" fmla="*/ 131427 w 1608402"/>
                    <a:gd name="connsiteY496" fmla="*/ 1171773 h 1957662"/>
                    <a:gd name="connsiteX497" fmla="*/ 131427 w 1608402"/>
                    <a:gd name="connsiteY497" fmla="*/ 1171773 h 1957662"/>
                    <a:gd name="connsiteX498" fmla="*/ 154624 w 1608402"/>
                    <a:gd name="connsiteY498" fmla="*/ 1215646 h 1957662"/>
                    <a:gd name="connsiteX499" fmla="*/ 154624 w 1608402"/>
                    <a:gd name="connsiteY499" fmla="*/ 1215646 h 1957662"/>
                    <a:gd name="connsiteX500" fmla="*/ 141916 w 1608402"/>
                    <a:gd name="connsiteY500" fmla="*/ 1257805 h 1957662"/>
                    <a:gd name="connsiteX501" fmla="*/ 141916 w 1608402"/>
                    <a:gd name="connsiteY501" fmla="*/ 1257805 h 1957662"/>
                    <a:gd name="connsiteX502" fmla="*/ 133948 w 1608402"/>
                    <a:gd name="connsiteY502" fmla="*/ 1277271 h 1957662"/>
                    <a:gd name="connsiteX503" fmla="*/ 133948 w 1608402"/>
                    <a:gd name="connsiteY503" fmla="*/ 1277271 h 1957662"/>
                    <a:gd name="connsiteX504" fmla="*/ 139092 w 1608402"/>
                    <a:gd name="connsiteY504" fmla="*/ 1302889 h 1957662"/>
                    <a:gd name="connsiteX505" fmla="*/ 139092 w 1608402"/>
                    <a:gd name="connsiteY505" fmla="*/ 1302889 h 1957662"/>
                    <a:gd name="connsiteX506" fmla="*/ 141916 w 1608402"/>
                    <a:gd name="connsiteY506" fmla="*/ 1325683 h 1957662"/>
                    <a:gd name="connsiteX507" fmla="*/ 141916 w 1608402"/>
                    <a:gd name="connsiteY507" fmla="*/ 1325683 h 1957662"/>
                    <a:gd name="connsiteX508" fmla="*/ 128804 w 1608402"/>
                    <a:gd name="connsiteY508" fmla="*/ 1371271 h 1957662"/>
                    <a:gd name="connsiteX509" fmla="*/ 128804 w 1608402"/>
                    <a:gd name="connsiteY509" fmla="*/ 1371271 h 1957662"/>
                    <a:gd name="connsiteX510" fmla="*/ 118719 w 1608402"/>
                    <a:gd name="connsiteY510" fmla="*/ 1398806 h 1957662"/>
                    <a:gd name="connsiteX511" fmla="*/ 118719 w 1608402"/>
                    <a:gd name="connsiteY511" fmla="*/ 1398806 h 1957662"/>
                    <a:gd name="connsiteX512" fmla="*/ 125779 w 1608402"/>
                    <a:gd name="connsiteY512" fmla="*/ 1420793 h 1957662"/>
                    <a:gd name="connsiteX513" fmla="*/ 125779 w 1608402"/>
                    <a:gd name="connsiteY513" fmla="*/ 1420793 h 1957662"/>
                    <a:gd name="connsiteX514" fmla="*/ 178024 w 1608402"/>
                    <a:gd name="connsiteY514" fmla="*/ 1461842 h 1957662"/>
                    <a:gd name="connsiteX515" fmla="*/ 178024 w 1608402"/>
                    <a:gd name="connsiteY515" fmla="*/ 1461842 h 1957662"/>
                    <a:gd name="connsiteX516" fmla="*/ 211408 w 1608402"/>
                    <a:gd name="connsiteY516" fmla="*/ 1493915 h 1957662"/>
                    <a:gd name="connsiteX517" fmla="*/ 211408 w 1608402"/>
                    <a:gd name="connsiteY517" fmla="*/ 1493915 h 1957662"/>
                    <a:gd name="connsiteX518" fmla="*/ 228150 w 1608402"/>
                    <a:gd name="connsiteY518" fmla="*/ 1501681 h 1957662"/>
                    <a:gd name="connsiteX519" fmla="*/ 228150 w 1608402"/>
                    <a:gd name="connsiteY519" fmla="*/ 1501681 h 1957662"/>
                    <a:gd name="connsiteX520" fmla="*/ 258408 w 1608402"/>
                    <a:gd name="connsiteY520" fmla="*/ 1490789 h 1957662"/>
                    <a:gd name="connsiteX521" fmla="*/ 258408 w 1608402"/>
                    <a:gd name="connsiteY521" fmla="*/ 1490789 h 1957662"/>
                    <a:gd name="connsiteX522" fmla="*/ 275756 w 1608402"/>
                    <a:gd name="connsiteY522" fmla="*/ 1481509 h 1957662"/>
                    <a:gd name="connsiteX523" fmla="*/ 275756 w 1608402"/>
                    <a:gd name="connsiteY523" fmla="*/ 1481509 h 1957662"/>
                    <a:gd name="connsiteX524" fmla="*/ 294212 w 1608402"/>
                    <a:gd name="connsiteY524" fmla="*/ 1493310 h 1957662"/>
                    <a:gd name="connsiteX525" fmla="*/ 294212 w 1608402"/>
                    <a:gd name="connsiteY525" fmla="*/ 1493310 h 1957662"/>
                    <a:gd name="connsiteX526" fmla="*/ 302886 w 1608402"/>
                    <a:gd name="connsiteY526" fmla="*/ 1501984 h 1957662"/>
                    <a:gd name="connsiteX527" fmla="*/ 302886 w 1608402"/>
                    <a:gd name="connsiteY527" fmla="*/ 1501984 h 1957662"/>
                    <a:gd name="connsiteX528" fmla="*/ 315191 w 1608402"/>
                    <a:gd name="connsiteY528" fmla="*/ 1485947 h 1957662"/>
                    <a:gd name="connsiteX529" fmla="*/ 315191 w 1608402"/>
                    <a:gd name="connsiteY529" fmla="*/ 1485947 h 1957662"/>
                    <a:gd name="connsiteX530" fmla="*/ 332034 w 1608402"/>
                    <a:gd name="connsiteY530" fmla="*/ 1475559 h 1957662"/>
                    <a:gd name="connsiteX531" fmla="*/ 332034 w 1608402"/>
                    <a:gd name="connsiteY531" fmla="*/ 1475559 h 1957662"/>
                    <a:gd name="connsiteX532" fmla="*/ 385187 w 1608402"/>
                    <a:gd name="connsiteY532" fmla="*/ 1516507 h 1957662"/>
                    <a:gd name="connsiteX533" fmla="*/ 385187 w 1608402"/>
                    <a:gd name="connsiteY533" fmla="*/ 1516507 h 1957662"/>
                    <a:gd name="connsiteX534" fmla="*/ 404653 w 1608402"/>
                    <a:gd name="connsiteY534" fmla="*/ 1538797 h 1957662"/>
                    <a:gd name="connsiteX535" fmla="*/ 404653 w 1608402"/>
                    <a:gd name="connsiteY535" fmla="*/ 1538797 h 1957662"/>
                    <a:gd name="connsiteX536" fmla="*/ 406670 w 1608402"/>
                    <a:gd name="connsiteY536" fmla="*/ 1536881 h 1957662"/>
                    <a:gd name="connsiteX537" fmla="*/ 406670 w 1608402"/>
                    <a:gd name="connsiteY537" fmla="*/ 1536881 h 1957662"/>
                    <a:gd name="connsiteX538" fmla="*/ 439752 w 1608402"/>
                    <a:gd name="connsiteY538" fmla="*/ 1501883 h 1957662"/>
                    <a:gd name="connsiteX539" fmla="*/ 439752 w 1608402"/>
                    <a:gd name="connsiteY539" fmla="*/ 1501883 h 1957662"/>
                    <a:gd name="connsiteX540" fmla="*/ 451854 w 1608402"/>
                    <a:gd name="connsiteY540" fmla="*/ 1487965 h 1957662"/>
                    <a:gd name="connsiteX541" fmla="*/ 451854 w 1608402"/>
                    <a:gd name="connsiteY541" fmla="*/ 1487965 h 1957662"/>
                    <a:gd name="connsiteX542" fmla="*/ 448425 w 1608402"/>
                    <a:gd name="connsiteY542" fmla="*/ 1465574 h 1957662"/>
                    <a:gd name="connsiteX543" fmla="*/ 448425 w 1608402"/>
                    <a:gd name="connsiteY543" fmla="*/ 1465574 h 1957662"/>
                    <a:gd name="connsiteX544" fmla="*/ 451249 w 1608402"/>
                    <a:gd name="connsiteY544" fmla="*/ 1454580 h 1957662"/>
                    <a:gd name="connsiteX545" fmla="*/ 451249 w 1608402"/>
                    <a:gd name="connsiteY545" fmla="*/ 1454580 h 1957662"/>
                    <a:gd name="connsiteX546" fmla="*/ 462545 w 1608402"/>
                    <a:gd name="connsiteY546" fmla="*/ 1447419 h 1957662"/>
                    <a:gd name="connsiteX547" fmla="*/ 462545 w 1608402"/>
                    <a:gd name="connsiteY547" fmla="*/ 1447419 h 1957662"/>
                    <a:gd name="connsiteX548" fmla="*/ 499561 w 1608402"/>
                    <a:gd name="connsiteY548" fmla="*/ 1486351 h 1957662"/>
                    <a:gd name="connsiteX549" fmla="*/ 499561 w 1608402"/>
                    <a:gd name="connsiteY549" fmla="*/ 1486351 h 1957662"/>
                    <a:gd name="connsiteX550" fmla="*/ 545149 w 1608402"/>
                    <a:gd name="connsiteY550" fmla="*/ 1520945 h 1957662"/>
                    <a:gd name="connsiteX551" fmla="*/ 545149 w 1608402"/>
                    <a:gd name="connsiteY551" fmla="*/ 1520945 h 1957662"/>
                    <a:gd name="connsiteX552" fmla="*/ 558462 w 1608402"/>
                    <a:gd name="connsiteY552" fmla="*/ 1575106 h 1957662"/>
                    <a:gd name="connsiteX553" fmla="*/ 558462 w 1608402"/>
                    <a:gd name="connsiteY553" fmla="*/ 1575106 h 1957662"/>
                    <a:gd name="connsiteX554" fmla="*/ 557958 w 1608402"/>
                    <a:gd name="connsiteY554" fmla="*/ 1589529 h 1957662"/>
                    <a:gd name="connsiteX555" fmla="*/ 557958 w 1608402"/>
                    <a:gd name="connsiteY555" fmla="*/ 1589529 h 1957662"/>
                    <a:gd name="connsiteX556" fmla="*/ 612623 w 1608402"/>
                    <a:gd name="connsiteY556" fmla="*/ 1661845 h 1957662"/>
                    <a:gd name="connsiteX557" fmla="*/ 612623 w 1608402"/>
                    <a:gd name="connsiteY557" fmla="*/ 1661845 h 1957662"/>
                    <a:gd name="connsiteX558" fmla="*/ 697243 w 1608402"/>
                    <a:gd name="connsiteY558" fmla="*/ 1681008 h 1957662"/>
                    <a:gd name="connsiteX559" fmla="*/ 697243 w 1608402"/>
                    <a:gd name="connsiteY559" fmla="*/ 1681008 h 1957662"/>
                    <a:gd name="connsiteX560" fmla="*/ 702690 w 1608402"/>
                    <a:gd name="connsiteY560" fmla="*/ 1706525 h 1957662"/>
                    <a:gd name="connsiteX561" fmla="*/ 702690 w 1608402"/>
                    <a:gd name="connsiteY561" fmla="*/ 1706525 h 1957662"/>
                    <a:gd name="connsiteX562" fmla="*/ 699261 w 1608402"/>
                    <a:gd name="connsiteY562" fmla="*/ 1768251 h 1957662"/>
                    <a:gd name="connsiteX563" fmla="*/ 699261 w 1608402"/>
                    <a:gd name="connsiteY563" fmla="*/ 1768251 h 1957662"/>
                    <a:gd name="connsiteX564" fmla="*/ 700774 w 1608402"/>
                    <a:gd name="connsiteY564" fmla="*/ 1787918 h 1957662"/>
                    <a:gd name="connsiteX565" fmla="*/ 700774 w 1608402"/>
                    <a:gd name="connsiteY565" fmla="*/ 1787918 h 1957662"/>
                    <a:gd name="connsiteX566" fmla="*/ 701681 w 1608402"/>
                    <a:gd name="connsiteY566" fmla="*/ 1797499 h 1957662"/>
                    <a:gd name="connsiteX567" fmla="*/ 701681 w 1608402"/>
                    <a:gd name="connsiteY567" fmla="*/ 1797499 h 1957662"/>
                    <a:gd name="connsiteX568" fmla="*/ 662246 w 1608402"/>
                    <a:gd name="connsiteY568" fmla="*/ 1834313 h 1957662"/>
                    <a:gd name="connsiteX569" fmla="*/ 662246 w 1608402"/>
                    <a:gd name="connsiteY569" fmla="*/ 1834313 h 1957662"/>
                    <a:gd name="connsiteX570" fmla="*/ 631383 w 1608402"/>
                    <a:gd name="connsiteY570" fmla="*/ 1859931 h 1957662"/>
                    <a:gd name="connsiteX571" fmla="*/ 631383 w 1608402"/>
                    <a:gd name="connsiteY571" fmla="*/ 1859931 h 1957662"/>
                    <a:gd name="connsiteX572" fmla="*/ 632391 w 1608402"/>
                    <a:gd name="connsiteY572" fmla="*/ 1865175 h 1957662"/>
                    <a:gd name="connsiteX573" fmla="*/ 632391 w 1608402"/>
                    <a:gd name="connsiteY573" fmla="*/ 1865175 h 1957662"/>
                    <a:gd name="connsiteX574" fmla="*/ 695025 w 1608402"/>
                    <a:gd name="connsiteY574" fmla="*/ 1912982 h 1957662"/>
                    <a:gd name="connsiteX575" fmla="*/ 695025 w 1608402"/>
                    <a:gd name="connsiteY575" fmla="*/ 1912982 h 1957662"/>
                    <a:gd name="connsiteX576" fmla="*/ 726089 w 1608402"/>
                    <a:gd name="connsiteY576" fmla="*/ 1947174 h 1957662"/>
                    <a:gd name="connsiteX577" fmla="*/ 726089 w 1608402"/>
                    <a:gd name="connsiteY577" fmla="*/ 1947174 h 1957662"/>
                    <a:gd name="connsiteX578" fmla="*/ 765525 w 1608402"/>
                    <a:gd name="connsiteY578" fmla="*/ 1918530 h 1957662"/>
                    <a:gd name="connsiteX579" fmla="*/ 765525 w 1608402"/>
                    <a:gd name="connsiteY579" fmla="*/ 1918530 h 1957662"/>
                    <a:gd name="connsiteX580" fmla="*/ 773190 w 1608402"/>
                    <a:gd name="connsiteY580" fmla="*/ 1919336 h 1957662"/>
                    <a:gd name="connsiteX581" fmla="*/ 773190 w 1608402"/>
                    <a:gd name="connsiteY581" fmla="*/ 1919336 h 1957662"/>
                    <a:gd name="connsiteX582" fmla="*/ 877276 w 1608402"/>
                    <a:gd name="connsiteY582" fmla="*/ 1935373 h 1957662"/>
                    <a:gd name="connsiteX583" fmla="*/ 877276 w 1608402"/>
                    <a:gd name="connsiteY583" fmla="*/ 1935373 h 1957662"/>
                    <a:gd name="connsiteX584" fmla="*/ 893716 w 1608402"/>
                    <a:gd name="connsiteY584" fmla="*/ 1934869 h 1957662"/>
                    <a:gd name="connsiteX585" fmla="*/ 893716 w 1608402"/>
                    <a:gd name="connsiteY585" fmla="*/ 1934869 h 1957662"/>
                    <a:gd name="connsiteX586" fmla="*/ 937892 w 1608402"/>
                    <a:gd name="connsiteY586" fmla="*/ 1886759 h 1957662"/>
                    <a:gd name="connsiteX587" fmla="*/ 937892 w 1608402"/>
                    <a:gd name="connsiteY587" fmla="*/ 1886759 h 1957662"/>
                    <a:gd name="connsiteX588" fmla="*/ 937791 w 1608402"/>
                    <a:gd name="connsiteY588" fmla="*/ 1882725 h 1957662"/>
                    <a:gd name="connsiteX589" fmla="*/ 937791 w 1608402"/>
                    <a:gd name="connsiteY589" fmla="*/ 1882725 h 1957662"/>
                    <a:gd name="connsiteX590" fmla="*/ 935572 w 1608402"/>
                    <a:gd name="connsiteY590" fmla="*/ 1869412 h 1957662"/>
                    <a:gd name="connsiteX591" fmla="*/ 935572 w 1608402"/>
                    <a:gd name="connsiteY591" fmla="*/ 1869412 h 1957662"/>
                    <a:gd name="connsiteX592" fmla="*/ 1014847 w 1608402"/>
                    <a:gd name="connsiteY592" fmla="*/ 1819890 h 1957662"/>
                    <a:gd name="connsiteX593" fmla="*/ 1014847 w 1608402"/>
                    <a:gd name="connsiteY593" fmla="*/ 1819890 h 1957662"/>
                    <a:gd name="connsiteX594" fmla="*/ 1032901 w 1608402"/>
                    <a:gd name="connsiteY594" fmla="*/ 1819184 h 1957662"/>
                    <a:gd name="connsiteX595" fmla="*/ 1032901 w 1608402"/>
                    <a:gd name="connsiteY595" fmla="*/ 1819184 h 1957662"/>
                    <a:gd name="connsiteX596" fmla="*/ 1033506 w 1608402"/>
                    <a:gd name="connsiteY596" fmla="*/ 1819184 h 1957662"/>
                    <a:gd name="connsiteX597" fmla="*/ 1033506 w 1608402"/>
                    <a:gd name="connsiteY597" fmla="*/ 1819184 h 1957662"/>
                    <a:gd name="connsiteX598" fmla="*/ 1158167 w 1608402"/>
                    <a:gd name="connsiteY598" fmla="*/ 1912176 h 1957662"/>
                    <a:gd name="connsiteX599" fmla="*/ 1158167 w 1608402"/>
                    <a:gd name="connsiteY599" fmla="*/ 1912176 h 1957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Lst>
                  <a:rect l="l" t="t" r="r" b="b"/>
                  <a:pathLst>
                    <a:path w="1608402" h="1957662">
                      <a:moveTo>
                        <a:pt x="1152519" y="1912579"/>
                      </a:moveTo>
                      <a:cubicBezTo>
                        <a:pt x="1149392" y="1864469"/>
                        <a:pt x="1115806" y="1824630"/>
                        <a:pt x="1033304" y="1824429"/>
                      </a:cubicBezTo>
                      <a:lnTo>
                        <a:pt x="1033304" y="1824429"/>
                      </a:lnTo>
                      <a:cubicBezTo>
                        <a:pt x="1027656" y="1824429"/>
                        <a:pt x="1021706" y="1824630"/>
                        <a:pt x="1015553" y="1825135"/>
                      </a:cubicBezTo>
                      <a:lnTo>
                        <a:pt x="1015553" y="1825135"/>
                      </a:lnTo>
                      <a:cubicBezTo>
                        <a:pt x="949793" y="1829673"/>
                        <a:pt x="941825" y="1854485"/>
                        <a:pt x="941422" y="1869008"/>
                      </a:cubicBezTo>
                      <a:lnTo>
                        <a:pt x="941422" y="1869008"/>
                      </a:lnTo>
                      <a:cubicBezTo>
                        <a:pt x="941422" y="1875665"/>
                        <a:pt x="943338" y="1880304"/>
                        <a:pt x="943641" y="1881111"/>
                      </a:cubicBezTo>
                      <a:lnTo>
                        <a:pt x="943641" y="1881111"/>
                      </a:lnTo>
                      <a:cubicBezTo>
                        <a:pt x="943641" y="1881111"/>
                        <a:pt x="943843" y="1883027"/>
                        <a:pt x="943843" y="1886356"/>
                      </a:cubicBezTo>
                      <a:lnTo>
                        <a:pt x="943843" y="1886356"/>
                      </a:lnTo>
                      <a:cubicBezTo>
                        <a:pt x="944044" y="1899871"/>
                        <a:pt x="939304" y="1937491"/>
                        <a:pt x="894321" y="1940013"/>
                      </a:cubicBezTo>
                      <a:lnTo>
                        <a:pt x="894321" y="1940013"/>
                      </a:lnTo>
                      <a:cubicBezTo>
                        <a:pt x="888572" y="1940315"/>
                        <a:pt x="883125" y="1940517"/>
                        <a:pt x="877578" y="1940517"/>
                      </a:cubicBezTo>
                      <a:lnTo>
                        <a:pt x="877578" y="1940517"/>
                      </a:lnTo>
                      <a:cubicBezTo>
                        <a:pt x="832898" y="1940517"/>
                        <a:pt x="799917" y="1930027"/>
                        <a:pt x="772383" y="1924480"/>
                      </a:cubicBezTo>
                      <a:lnTo>
                        <a:pt x="772383" y="1924480"/>
                      </a:lnTo>
                      <a:cubicBezTo>
                        <a:pt x="769962" y="1923875"/>
                        <a:pt x="767844" y="1923774"/>
                        <a:pt x="765928" y="1923774"/>
                      </a:cubicBezTo>
                      <a:lnTo>
                        <a:pt x="765928" y="1923774"/>
                      </a:lnTo>
                      <a:cubicBezTo>
                        <a:pt x="744143" y="1922968"/>
                        <a:pt x="744546" y="1950502"/>
                        <a:pt x="726492" y="1952519"/>
                      </a:cubicBezTo>
                      <a:lnTo>
                        <a:pt x="726492" y="1952519"/>
                      </a:lnTo>
                      <a:cubicBezTo>
                        <a:pt x="706422" y="1949392"/>
                        <a:pt x="717113" y="1916815"/>
                        <a:pt x="695428" y="1918328"/>
                      </a:cubicBezTo>
                      <a:lnTo>
                        <a:pt x="695428" y="1918328"/>
                      </a:lnTo>
                      <a:cubicBezTo>
                        <a:pt x="668398" y="1917824"/>
                        <a:pt x="634610" y="1886860"/>
                        <a:pt x="627449" y="1866789"/>
                      </a:cubicBezTo>
                      <a:lnTo>
                        <a:pt x="627449" y="1866789"/>
                      </a:lnTo>
                      <a:cubicBezTo>
                        <a:pt x="626542" y="1864167"/>
                        <a:pt x="626239" y="1861847"/>
                        <a:pt x="626239" y="1859729"/>
                      </a:cubicBezTo>
                      <a:lnTo>
                        <a:pt x="626239" y="1859729"/>
                      </a:lnTo>
                      <a:cubicBezTo>
                        <a:pt x="626844" y="1842684"/>
                        <a:pt x="646814" y="1837439"/>
                        <a:pt x="659724" y="1829371"/>
                      </a:cubicBezTo>
                      <a:lnTo>
                        <a:pt x="659724" y="1829371"/>
                      </a:lnTo>
                      <a:cubicBezTo>
                        <a:pt x="675155" y="1820193"/>
                        <a:pt x="696638" y="1819890"/>
                        <a:pt x="696537" y="1797298"/>
                      </a:cubicBezTo>
                      <a:lnTo>
                        <a:pt x="696537" y="1797298"/>
                      </a:lnTo>
                      <a:cubicBezTo>
                        <a:pt x="696537" y="1794776"/>
                        <a:pt x="696336" y="1791952"/>
                        <a:pt x="695731" y="1788725"/>
                      </a:cubicBezTo>
                      <a:lnTo>
                        <a:pt x="695731" y="1788725"/>
                      </a:lnTo>
                      <a:cubicBezTo>
                        <a:pt x="694520" y="1782270"/>
                        <a:pt x="694016" y="1775310"/>
                        <a:pt x="694016" y="1768049"/>
                      </a:cubicBezTo>
                      <a:lnTo>
                        <a:pt x="694016" y="1768049"/>
                      </a:lnTo>
                      <a:cubicBezTo>
                        <a:pt x="694016" y="1747171"/>
                        <a:pt x="697445" y="1723671"/>
                        <a:pt x="697445" y="1706323"/>
                      </a:cubicBezTo>
                      <a:lnTo>
                        <a:pt x="697445" y="1706323"/>
                      </a:lnTo>
                      <a:cubicBezTo>
                        <a:pt x="697546" y="1695935"/>
                        <a:pt x="696235" y="1687866"/>
                        <a:pt x="693209" y="1684235"/>
                      </a:cubicBezTo>
                      <a:lnTo>
                        <a:pt x="693209" y="1684235"/>
                      </a:lnTo>
                      <a:cubicBezTo>
                        <a:pt x="683930" y="1670720"/>
                        <a:pt x="642477" y="1685244"/>
                        <a:pt x="610102" y="1666282"/>
                      </a:cubicBezTo>
                      <a:lnTo>
                        <a:pt x="610102" y="1666282"/>
                      </a:lnTo>
                      <a:cubicBezTo>
                        <a:pt x="578432" y="1647220"/>
                        <a:pt x="552915" y="1615954"/>
                        <a:pt x="552713" y="1589126"/>
                      </a:cubicBezTo>
                      <a:lnTo>
                        <a:pt x="552713" y="1589126"/>
                      </a:lnTo>
                      <a:cubicBezTo>
                        <a:pt x="552713" y="1589126"/>
                        <a:pt x="553117" y="1583276"/>
                        <a:pt x="553117" y="1575006"/>
                      </a:cubicBezTo>
                      <a:lnTo>
                        <a:pt x="553117" y="1575006"/>
                      </a:lnTo>
                      <a:cubicBezTo>
                        <a:pt x="553318" y="1559070"/>
                        <a:pt x="551099" y="1533956"/>
                        <a:pt x="541619" y="1524778"/>
                      </a:cubicBezTo>
                      <a:lnTo>
                        <a:pt x="541619" y="1524778"/>
                      </a:lnTo>
                      <a:cubicBezTo>
                        <a:pt x="527095" y="1509649"/>
                        <a:pt x="504301" y="1513784"/>
                        <a:pt x="494619" y="1488166"/>
                      </a:cubicBezTo>
                      <a:lnTo>
                        <a:pt x="494619" y="1488166"/>
                      </a:lnTo>
                      <a:cubicBezTo>
                        <a:pt x="488466" y="1470617"/>
                        <a:pt x="471623" y="1452361"/>
                        <a:pt x="462848" y="1452967"/>
                      </a:cubicBezTo>
                      <a:lnTo>
                        <a:pt x="462848" y="1452967"/>
                      </a:lnTo>
                      <a:cubicBezTo>
                        <a:pt x="460327" y="1452967"/>
                        <a:pt x="458410" y="1453874"/>
                        <a:pt x="456292" y="1457303"/>
                      </a:cubicBezTo>
                      <a:lnTo>
                        <a:pt x="456292" y="1457303"/>
                      </a:lnTo>
                      <a:cubicBezTo>
                        <a:pt x="454779" y="1459926"/>
                        <a:pt x="454174" y="1462649"/>
                        <a:pt x="454174" y="1465574"/>
                      </a:cubicBezTo>
                      <a:lnTo>
                        <a:pt x="454174" y="1465574"/>
                      </a:lnTo>
                      <a:cubicBezTo>
                        <a:pt x="454073" y="1472432"/>
                        <a:pt x="457503" y="1480198"/>
                        <a:pt x="457603" y="1487965"/>
                      </a:cubicBezTo>
                      <a:lnTo>
                        <a:pt x="457603" y="1487965"/>
                      </a:lnTo>
                      <a:cubicBezTo>
                        <a:pt x="457704" y="1495428"/>
                        <a:pt x="453569" y="1502791"/>
                        <a:pt x="441870" y="1507229"/>
                      </a:cubicBezTo>
                      <a:lnTo>
                        <a:pt x="441870" y="1507229"/>
                      </a:lnTo>
                      <a:cubicBezTo>
                        <a:pt x="414335" y="1518121"/>
                        <a:pt x="412621" y="1528106"/>
                        <a:pt x="412318" y="1536982"/>
                      </a:cubicBezTo>
                      <a:lnTo>
                        <a:pt x="412318" y="1536982"/>
                      </a:lnTo>
                      <a:cubicBezTo>
                        <a:pt x="412318" y="1541319"/>
                        <a:pt x="408687" y="1544546"/>
                        <a:pt x="404653" y="1544546"/>
                      </a:cubicBezTo>
                      <a:lnTo>
                        <a:pt x="404653" y="1544546"/>
                      </a:lnTo>
                      <a:cubicBezTo>
                        <a:pt x="396685" y="1544344"/>
                        <a:pt x="386095" y="1535973"/>
                        <a:pt x="379942" y="1518424"/>
                      </a:cubicBezTo>
                      <a:lnTo>
                        <a:pt x="379942" y="1518424"/>
                      </a:lnTo>
                      <a:cubicBezTo>
                        <a:pt x="374194" y="1501379"/>
                        <a:pt x="347769" y="1480904"/>
                        <a:pt x="332034" y="1481207"/>
                      </a:cubicBezTo>
                      <a:lnTo>
                        <a:pt x="332034" y="1481207"/>
                      </a:lnTo>
                      <a:cubicBezTo>
                        <a:pt x="326487" y="1481308"/>
                        <a:pt x="322756" y="1483123"/>
                        <a:pt x="320234" y="1488368"/>
                      </a:cubicBezTo>
                      <a:lnTo>
                        <a:pt x="320234" y="1488368"/>
                      </a:lnTo>
                      <a:cubicBezTo>
                        <a:pt x="314284" y="1500975"/>
                        <a:pt x="309543" y="1507128"/>
                        <a:pt x="302786" y="1507430"/>
                      </a:cubicBezTo>
                      <a:lnTo>
                        <a:pt x="302786" y="1507430"/>
                      </a:lnTo>
                      <a:cubicBezTo>
                        <a:pt x="296734" y="1507229"/>
                        <a:pt x="293103" y="1502286"/>
                        <a:pt x="289271" y="1496134"/>
                      </a:cubicBezTo>
                      <a:lnTo>
                        <a:pt x="289271" y="1496134"/>
                      </a:lnTo>
                      <a:cubicBezTo>
                        <a:pt x="285640" y="1489780"/>
                        <a:pt x="280697" y="1487157"/>
                        <a:pt x="275655" y="1486956"/>
                      </a:cubicBezTo>
                      <a:lnTo>
                        <a:pt x="275655" y="1486956"/>
                      </a:lnTo>
                      <a:cubicBezTo>
                        <a:pt x="271419" y="1486956"/>
                        <a:pt x="266779" y="1489276"/>
                        <a:pt x="262543" y="1494319"/>
                      </a:cubicBezTo>
                      <a:lnTo>
                        <a:pt x="262543" y="1494319"/>
                      </a:lnTo>
                      <a:cubicBezTo>
                        <a:pt x="255785" y="1502186"/>
                        <a:pt x="241161" y="1507128"/>
                        <a:pt x="228049" y="1507229"/>
                      </a:cubicBezTo>
                      <a:lnTo>
                        <a:pt x="228049" y="1507229"/>
                      </a:lnTo>
                      <a:cubicBezTo>
                        <a:pt x="218569" y="1507229"/>
                        <a:pt x="209088" y="1504405"/>
                        <a:pt x="205961" y="1495529"/>
                      </a:cubicBezTo>
                      <a:lnTo>
                        <a:pt x="205961" y="1495529"/>
                      </a:lnTo>
                      <a:cubicBezTo>
                        <a:pt x="199708" y="1477879"/>
                        <a:pt x="208584" y="1475458"/>
                        <a:pt x="176712" y="1467188"/>
                      </a:cubicBezTo>
                      <a:lnTo>
                        <a:pt x="176712" y="1467188"/>
                      </a:lnTo>
                      <a:cubicBezTo>
                        <a:pt x="143429" y="1459522"/>
                        <a:pt x="133847" y="1441973"/>
                        <a:pt x="121139" y="1423919"/>
                      </a:cubicBezTo>
                      <a:lnTo>
                        <a:pt x="121139" y="1423919"/>
                      </a:lnTo>
                      <a:cubicBezTo>
                        <a:pt x="115289" y="1415750"/>
                        <a:pt x="113071" y="1407076"/>
                        <a:pt x="113071" y="1398806"/>
                      </a:cubicBezTo>
                      <a:lnTo>
                        <a:pt x="113071" y="1398806"/>
                      </a:lnTo>
                      <a:cubicBezTo>
                        <a:pt x="113071" y="1386904"/>
                        <a:pt x="117710" y="1375709"/>
                        <a:pt x="124468" y="1367741"/>
                      </a:cubicBezTo>
                      <a:lnTo>
                        <a:pt x="124468" y="1367741"/>
                      </a:lnTo>
                      <a:cubicBezTo>
                        <a:pt x="131326" y="1359370"/>
                        <a:pt x="136369" y="1342728"/>
                        <a:pt x="136369" y="1325683"/>
                      </a:cubicBezTo>
                      <a:lnTo>
                        <a:pt x="136369" y="1325683"/>
                      </a:lnTo>
                      <a:cubicBezTo>
                        <a:pt x="136369" y="1318522"/>
                        <a:pt x="135461" y="1311159"/>
                        <a:pt x="133646" y="1304402"/>
                      </a:cubicBezTo>
                      <a:lnTo>
                        <a:pt x="133646" y="1304402"/>
                      </a:lnTo>
                      <a:cubicBezTo>
                        <a:pt x="130418" y="1292702"/>
                        <a:pt x="128300" y="1284735"/>
                        <a:pt x="128300" y="1277271"/>
                      </a:cubicBezTo>
                      <a:lnTo>
                        <a:pt x="128300" y="1277271"/>
                      </a:lnTo>
                      <a:cubicBezTo>
                        <a:pt x="128300" y="1269202"/>
                        <a:pt x="131124" y="1262445"/>
                        <a:pt x="137478" y="1254376"/>
                      </a:cubicBezTo>
                      <a:lnTo>
                        <a:pt x="137478" y="1254376"/>
                      </a:lnTo>
                      <a:cubicBezTo>
                        <a:pt x="143026" y="1247417"/>
                        <a:pt x="149077" y="1231481"/>
                        <a:pt x="149077" y="1215646"/>
                      </a:cubicBezTo>
                      <a:lnTo>
                        <a:pt x="149077" y="1215646"/>
                      </a:lnTo>
                      <a:cubicBezTo>
                        <a:pt x="148976" y="1200316"/>
                        <a:pt x="143833" y="1185490"/>
                        <a:pt x="128603" y="1176513"/>
                      </a:cubicBezTo>
                      <a:lnTo>
                        <a:pt x="128603" y="1176513"/>
                      </a:lnTo>
                      <a:cubicBezTo>
                        <a:pt x="107019" y="1164208"/>
                        <a:pt x="98849" y="1153013"/>
                        <a:pt x="98950" y="1136371"/>
                      </a:cubicBezTo>
                      <a:lnTo>
                        <a:pt x="98950" y="1136371"/>
                      </a:lnTo>
                      <a:cubicBezTo>
                        <a:pt x="99051" y="1126891"/>
                        <a:pt x="101472" y="1115797"/>
                        <a:pt x="104598" y="1101172"/>
                      </a:cubicBezTo>
                      <a:lnTo>
                        <a:pt x="104598" y="1101172"/>
                      </a:lnTo>
                      <a:cubicBezTo>
                        <a:pt x="108230" y="1084026"/>
                        <a:pt x="110348" y="1070007"/>
                        <a:pt x="110348" y="1059013"/>
                      </a:cubicBezTo>
                      <a:lnTo>
                        <a:pt x="110348" y="1059013"/>
                      </a:lnTo>
                      <a:cubicBezTo>
                        <a:pt x="110348" y="1044288"/>
                        <a:pt x="106918" y="1035412"/>
                        <a:pt x="99354" y="1030772"/>
                      </a:cubicBezTo>
                      <a:lnTo>
                        <a:pt x="99354" y="1030772"/>
                      </a:lnTo>
                      <a:cubicBezTo>
                        <a:pt x="83217" y="1020384"/>
                        <a:pt x="78678" y="1004045"/>
                        <a:pt x="78678" y="988412"/>
                      </a:cubicBezTo>
                      <a:lnTo>
                        <a:pt x="78678" y="988412"/>
                      </a:lnTo>
                      <a:cubicBezTo>
                        <a:pt x="80998" y="977620"/>
                        <a:pt x="34704" y="968946"/>
                        <a:pt x="22701" y="935259"/>
                      </a:cubicBezTo>
                      <a:lnTo>
                        <a:pt x="22701" y="935259"/>
                      </a:lnTo>
                      <a:cubicBezTo>
                        <a:pt x="19575" y="926082"/>
                        <a:pt x="18365" y="918920"/>
                        <a:pt x="18365" y="912566"/>
                      </a:cubicBezTo>
                      <a:lnTo>
                        <a:pt x="18365" y="912566"/>
                      </a:lnTo>
                      <a:cubicBezTo>
                        <a:pt x="18365" y="895521"/>
                        <a:pt x="27946" y="886948"/>
                        <a:pt x="37124" y="872425"/>
                      </a:cubicBezTo>
                      <a:lnTo>
                        <a:pt x="37124" y="872425"/>
                      </a:lnTo>
                      <a:cubicBezTo>
                        <a:pt x="45697" y="858607"/>
                        <a:pt x="52253" y="852556"/>
                        <a:pt x="52152" y="843075"/>
                      </a:cubicBezTo>
                      <a:lnTo>
                        <a:pt x="52152" y="843075"/>
                      </a:lnTo>
                      <a:cubicBezTo>
                        <a:pt x="52152" y="837830"/>
                        <a:pt x="50437" y="831073"/>
                        <a:pt x="45697" y="821088"/>
                      </a:cubicBezTo>
                      <a:lnTo>
                        <a:pt x="45697" y="821088"/>
                      </a:lnTo>
                      <a:cubicBezTo>
                        <a:pt x="33796" y="796478"/>
                        <a:pt x="23609" y="766523"/>
                        <a:pt x="23508" y="752201"/>
                      </a:cubicBezTo>
                      <a:lnTo>
                        <a:pt x="23508" y="752201"/>
                      </a:lnTo>
                      <a:cubicBezTo>
                        <a:pt x="23508" y="749176"/>
                        <a:pt x="23811" y="746755"/>
                        <a:pt x="25525" y="744637"/>
                      </a:cubicBezTo>
                      <a:lnTo>
                        <a:pt x="25525" y="744637"/>
                      </a:lnTo>
                      <a:cubicBezTo>
                        <a:pt x="34502" y="736165"/>
                        <a:pt x="47513" y="745040"/>
                        <a:pt x="59716" y="724566"/>
                      </a:cubicBezTo>
                      <a:lnTo>
                        <a:pt x="59716" y="724566"/>
                      </a:lnTo>
                      <a:cubicBezTo>
                        <a:pt x="63347" y="718313"/>
                        <a:pt x="64860" y="712665"/>
                        <a:pt x="64860" y="707521"/>
                      </a:cubicBezTo>
                      <a:lnTo>
                        <a:pt x="64860" y="707521"/>
                      </a:lnTo>
                      <a:cubicBezTo>
                        <a:pt x="64860" y="695418"/>
                        <a:pt x="57296" y="684727"/>
                        <a:pt x="51244" y="675751"/>
                      </a:cubicBezTo>
                      <a:lnTo>
                        <a:pt x="51244" y="675751"/>
                      </a:lnTo>
                      <a:cubicBezTo>
                        <a:pt x="47210" y="669699"/>
                        <a:pt x="46806" y="663143"/>
                        <a:pt x="46806" y="656991"/>
                      </a:cubicBezTo>
                      <a:lnTo>
                        <a:pt x="46806" y="656991"/>
                      </a:lnTo>
                      <a:cubicBezTo>
                        <a:pt x="46806" y="655276"/>
                        <a:pt x="46907" y="653662"/>
                        <a:pt x="46907" y="652049"/>
                      </a:cubicBezTo>
                      <a:lnTo>
                        <a:pt x="46907" y="652049"/>
                      </a:lnTo>
                      <a:cubicBezTo>
                        <a:pt x="46907" y="644383"/>
                        <a:pt x="46403" y="637424"/>
                        <a:pt x="40654" y="630566"/>
                      </a:cubicBezTo>
                      <a:lnTo>
                        <a:pt x="40654" y="630566"/>
                      </a:lnTo>
                      <a:cubicBezTo>
                        <a:pt x="29560" y="616849"/>
                        <a:pt x="412" y="616143"/>
                        <a:pt x="8" y="585583"/>
                      </a:cubicBezTo>
                      <a:lnTo>
                        <a:pt x="8" y="585583"/>
                      </a:lnTo>
                      <a:cubicBezTo>
                        <a:pt x="-395" y="556637"/>
                        <a:pt x="14128" y="543727"/>
                        <a:pt x="31577" y="542819"/>
                      </a:cubicBezTo>
                      <a:lnTo>
                        <a:pt x="31577" y="542819"/>
                      </a:lnTo>
                      <a:cubicBezTo>
                        <a:pt x="33392" y="542617"/>
                        <a:pt x="35208" y="542617"/>
                        <a:pt x="36922" y="542617"/>
                      </a:cubicBezTo>
                      <a:lnTo>
                        <a:pt x="36922" y="542617"/>
                      </a:lnTo>
                      <a:cubicBezTo>
                        <a:pt x="40352" y="542617"/>
                        <a:pt x="43579" y="542819"/>
                        <a:pt x="46504" y="542819"/>
                      </a:cubicBezTo>
                      <a:lnTo>
                        <a:pt x="46504" y="542819"/>
                      </a:lnTo>
                      <a:cubicBezTo>
                        <a:pt x="55279" y="542718"/>
                        <a:pt x="62742" y="541709"/>
                        <a:pt x="75350" y="530615"/>
                      </a:cubicBezTo>
                      <a:lnTo>
                        <a:pt x="75350" y="530615"/>
                      </a:lnTo>
                      <a:cubicBezTo>
                        <a:pt x="94614" y="513368"/>
                        <a:pt x="100262" y="502980"/>
                        <a:pt x="100362" y="482001"/>
                      </a:cubicBezTo>
                      <a:lnTo>
                        <a:pt x="100362" y="482001"/>
                      </a:lnTo>
                      <a:cubicBezTo>
                        <a:pt x="100362" y="471714"/>
                        <a:pt x="98345" y="458199"/>
                        <a:pt x="98345" y="445894"/>
                      </a:cubicBezTo>
                      <a:lnTo>
                        <a:pt x="98345" y="445894"/>
                      </a:lnTo>
                      <a:cubicBezTo>
                        <a:pt x="98345" y="433085"/>
                        <a:pt x="100564" y="420578"/>
                        <a:pt x="111860" y="415737"/>
                      </a:cubicBezTo>
                      <a:lnTo>
                        <a:pt x="111860" y="415737"/>
                      </a:lnTo>
                      <a:cubicBezTo>
                        <a:pt x="128401" y="409080"/>
                        <a:pt x="126283" y="394557"/>
                        <a:pt x="134150" y="377209"/>
                      </a:cubicBezTo>
                      <a:lnTo>
                        <a:pt x="134150" y="377209"/>
                      </a:lnTo>
                      <a:cubicBezTo>
                        <a:pt x="143732" y="358954"/>
                        <a:pt x="162693" y="364098"/>
                        <a:pt x="166324" y="341203"/>
                      </a:cubicBezTo>
                      <a:lnTo>
                        <a:pt x="166324" y="341203"/>
                      </a:lnTo>
                      <a:cubicBezTo>
                        <a:pt x="166929" y="337471"/>
                        <a:pt x="167232" y="333739"/>
                        <a:pt x="167232" y="330310"/>
                      </a:cubicBezTo>
                      <a:lnTo>
                        <a:pt x="167232" y="330310"/>
                      </a:lnTo>
                      <a:cubicBezTo>
                        <a:pt x="167131" y="311348"/>
                        <a:pt x="158255" y="297127"/>
                        <a:pt x="142723" y="294707"/>
                      </a:cubicBezTo>
                      <a:lnTo>
                        <a:pt x="142723" y="294707"/>
                      </a:lnTo>
                      <a:cubicBezTo>
                        <a:pt x="125174" y="292185"/>
                        <a:pt x="110852" y="285024"/>
                        <a:pt x="111054" y="265861"/>
                      </a:cubicBezTo>
                      <a:lnTo>
                        <a:pt x="111054" y="265861"/>
                      </a:lnTo>
                      <a:cubicBezTo>
                        <a:pt x="111054" y="262432"/>
                        <a:pt x="111558" y="258801"/>
                        <a:pt x="112364" y="254767"/>
                      </a:cubicBezTo>
                      <a:lnTo>
                        <a:pt x="112364" y="254767"/>
                      </a:lnTo>
                      <a:cubicBezTo>
                        <a:pt x="112566" y="253254"/>
                        <a:pt x="112667" y="251943"/>
                        <a:pt x="112667" y="250732"/>
                      </a:cubicBezTo>
                      <a:lnTo>
                        <a:pt x="112667" y="250732"/>
                      </a:lnTo>
                      <a:cubicBezTo>
                        <a:pt x="113474" y="231267"/>
                        <a:pt x="76358" y="220475"/>
                        <a:pt x="63953" y="213213"/>
                      </a:cubicBezTo>
                      <a:lnTo>
                        <a:pt x="63953" y="213213"/>
                      </a:lnTo>
                      <a:cubicBezTo>
                        <a:pt x="59716" y="210490"/>
                        <a:pt x="56086" y="204640"/>
                        <a:pt x="51849" y="197177"/>
                      </a:cubicBezTo>
                      <a:lnTo>
                        <a:pt x="51849" y="197177"/>
                      </a:lnTo>
                      <a:lnTo>
                        <a:pt x="53766" y="193142"/>
                      </a:lnTo>
                      <a:lnTo>
                        <a:pt x="56086" y="192638"/>
                      </a:lnTo>
                      <a:cubicBezTo>
                        <a:pt x="85234" y="192436"/>
                        <a:pt x="59111" y="146949"/>
                        <a:pt x="103691" y="132627"/>
                      </a:cubicBezTo>
                      <a:lnTo>
                        <a:pt x="103691" y="132627"/>
                      </a:lnTo>
                      <a:cubicBezTo>
                        <a:pt x="121745" y="127282"/>
                        <a:pt x="126384" y="113767"/>
                        <a:pt x="126485" y="97528"/>
                      </a:cubicBezTo>
                      <a:lnTo>
                        <a:pt x="126485" y="97528"/>
                      </a:lnTo>
                      <a:cubicBezTo>
                        <a:pt x="126586" y="78970"/>
                        <a:pt x="119828" y="58597"/>
                        <a:pt x="119727" y="48108"/>
                      </a:cubicBezTo>
                      <a:lnTo>
                        <a:pt x="119727" y="48108"/>
                      </a:lnTo>
                      <a:cubicBezTo>
                        <a:pt x="120332" y="29550"/>
                        <a:pt x="148472" y="4940"/>
                        <a:pt x="177116" y="4537"/>
                      </a:cubicBezTo>
                      <a:lnTo>
                        <a:pt x="177116" y="4537"/>
                      </a:lnTo>
                      <a:cubicBezTo>
                        <a:pt x="181251" y="4537"/>
                        <a:pt x="185386" y="5142"/>
                        <a:pt x="189421" y="6352"/>
                      </a:cubicBezTo>
                      <a:lnTo>
                        <a:pt x="189421" y="6352"/>
                      </a:lnTo>
                      <a:cubicBezTo>
                        <a:pt x="209794" y="12505"/>
                        <a:pt x="217056" y="20674"/>
                        <a:pt x="242674" y="20674"/>
                      </a:cubicBezTo>
                      <a:lnTo>
                        <a:pt x="242674" y="20674"/>
                      </a:lnTo>
                      <a:cubicBezTo>
                        <a:pt x="256088" y="20674"/>
                        <a:pt x="274444" y="18455"/>
                        <a:pt x="302180" y="12303"/>
                      </a:cubicBezTo>
                      <a:lnTo>
                        <a:pt x="302180" y="12303"/>
                      </a:lnTo>
                      <a:cubicBezTo>
                        <a:pt x="309140" y="10790"/>
                        <a:pt x="316301" y="7966"/>
                        <a:pt x="323663" y="4839"/>
                      </a:cubicBezTo>
                      <a:lnTo>
                        <a:pt x="323663" y="4839"/>
                      </a:lnTo>
                      <a:cubicBezTo>
                        <a:pt x="323562" y="4436"/>
                        <a:pt x="323462" y="4133"/>
                        <a:pt x="323260" y="4032"/>
                      </a:cubicBezTo>
                      <a:lnTo>
                        <a:pt x="323260" y="4032"/>
                      </a:lnTo>
                      <a:cubicBezTo>
                        <a:pt x="322554" y="2721"/>
                        <a:pt x="323058" y="1007"/>
                        <a:pt x="324470" y="301"/>
                      </a:cubicBezTo>
                      <a:lnTo>
                        <a:pt x="324470" y="301"/>
                      </a:lnTo>
                      <a:cubicBezTo>
                        <a:pt x="325882" y="-405"/>
                        <a:pt x="327395" y="200"/>
                        <a:pt x="328202" y="1410"/>
                      </a:cubicBezTo>
                      <a:lnTo>
                        <a:pt x="328202" y="1410"/>
                      </a:lnTo>
                      <a:cubicBezTo>
                        <a:pt x="343230" y="29247"/>
                        <a:pt x="375706" y="48914"/>
                        <a:pt x="408284" y="78365"/>
                      </a:cubicBezTo>
                      <a:lnTo>
                        <a:pt x="408284" y="78365"/>
                      </a:lnTo>
                      <a:cubicBezTo>
                        <a:pt x="456595" y="123046"/>
                        <a:pt x="433397" y="178720"/>
                        <a:pt x="478582" y="204640"/>
                      </a:cubicBezTo>
                      <a:lnTo>
                        <a:pt x="478582" y="204640"/>
                      </a:lnTo>
                      <a:cubicBezTo>
                        <a:pt x="527095" y="233587"/>
                        <a:pt x="582466" y="338580"/>
                        <a:pt x="582668" y="338782"/>
                      </a:cubicBezTo>
                      <a:lnTo>
                        <a:pt x="582668" y="338782"/>
                      </a:lnTo>
                      <a:cubicBezTo>
                        <a:pt x="582769" y="338782"/>
                        <a:pt x="618473" y="408677"/>
                        <a:pt x="660632" y="408072"/>
                      </a:cubicBezTo>
                      <a:lnTo>
                        <a:pt x="660632" y="408072"/>
                      </a:lnTo>
                      <a:cubicBezTo>
                        <a:pt x="664868" y="408072"/>
                        <a:pt x="669205" y="407366"/>
                        <a:pt x="673542" y="405954"/>
                      </a:cubicBezTo>
                      <a:lnTo>
                        <a:pt x="673542" y="405954"/>
                      </a:lnTo>
                      <a:cubicBezTo>
                        <a:pt x="725988" y="388505"/>
                        <a:pt x="927302" y="380235"/>
                        <a:pt x="978740" y="375898"/>
                      </a:cubicBezTo>
                      <a:lnTo>
                        <a:pt x="978740" y="375898"/>
                      </a:lnTo>
                      <a:cubicBezTo>
                        <a:pt x="1028261" y="372267"/>
                        <a:pt x="1030379" y="333537"/>
                        <a:pt x="1081918" y="333033"/>
                      </a:cubicBezTo>
                      <a:lnTo>
                        <a:pt x="1081918" y="333033"/>
                      </a:lnTo>
                      <a:cubicBezTo>
                        <a:pt x="1133457" y="333336"/>
                        <a:pt x="1176120" y="392136"/>
                        <a:pt x="1208294" y="426025"/>
                      </a:cubicBezTo>
                      <a:lnTo>
                        <a:pt x="1208294" y="426025"/>
                      </a:lnTo>
                      <a:cubicBezTo>
                        <a:pt x="1241173" y="460922"/>
                        <a:pt x="1247729" y="496323"/>
                        <a:pt x="1249949" y="543727"/>
                      </a:cubicBezTo>
                      <a:lnTo>
                        <a:pt x="1249949" y="543727"/>
                      </a:lnTo>
                      <a:cubicBezTo>
                        <a:pt x="1251663" y="588407"/>
                        <a:pt x="1300983" y="596677"/>
                        <a:pt x="1324079" y="616849"/>
                      </a:cubicBezTo>
                      <a:lnTo>
                        <a:pt x="1324079" y="616849"/>
                      </a:lnTo>
                      <a:cubicBezTo>
                        <a:pt x="1342738" y="634903"/>
                        <a:pt x="1376022" y="616143"/>
                        <a:pt x="1422316" y="646602"/>
                      </a:cubicBezTo>
                      <a:lnTo>
                        <a:pt x="1422316" y="646602"/>
                      </a:lnTo>
                      <a:cubicBezTo>
                        <a:pt x="1453279" y="667177"/>
                        <a:pt x="1482125" y="670304"/>
                        <a:pt x="1496447" y="670304"/>
                      </a:cubicBezTo>
                      <a:lnTo>
                        <a:pt x="1496447" y="670304"/>
                      </a:lnTo>
                      <a:cubicBezTo>
                        <a:pt x="1497455" y="670304"/>
                        <a:pt x="1498161" y="670304"/>
                        <a:pt x="1499775" y="670506"/>
                      </a:cubicBezTo>
                      <a:lnTo>
                        <a:pt x="1499775" y="670506"/>
                      </a:lnTo>
                      <a:cubicBezTo>
                        <a:pt x="1500078" y="670304"/>
                        <a:pt x="1500481" y="670203"/>
                        <a:pt x="1500884" y="670102"/>
                      </a:cubicBezTo>
                      <a:lnTo>
                        <a:pt x="1500884" y="670102"/>
                      </a:lnTo>
                      <a:cubicBezTo>
                        <a:pt x="1503507" y="670002"/>
                        <a:pt x="1506331" y="669800"/>
                        <a:pt x="1506331" y="669800"/>
                      </a:cubicBezTo>
                      <a:lnTo>
                        <a:pt x="1506331" y="669800"/>
                      </a:lnTo>
                      <a:cubicBezTo>
                        <a:pt x="1507843" y="669699"/>
                        <a:pt x="1509155" y="670808"/>
                        <a:pt x="1509256" y="672321"/>
                      </a:cubicBezTo>
                      <a:lnTo>
                        <a:pt x="1509256" y="672321"/>
                      </a:lnTo>
                      <a:cubicBezTo>
                        <a:pt x="1509357" y="673128"/>
                        <a:pt x="1509054" y="673935"/>
                        <a:pt x="1508449" y="674439"/>
                      </a:cubicBezTo>
                      <a:lnTo>
                        <a:pt x="1508449" y="674439"/>
                      </a:lnTo>
                      <a:cubicBezTo>
                        <a:pt x="1523678" y="681197"/>
                        <a:pt x="1536992" y="684424"/>
                        <a:pt x="1537799" y="684727"/>
                      </a:cubicBezTo>
                      <a:lnTo>
                        <a:pt x="1537799" y="684727"/>
                      </a:lnTo>
                      <a:cubicBezTo>
                        <a:pt x="1537900" y="685130"/>
                        <a:pt x="1566745" y="704394"/>
                        <a:pt x="1567148" y="727491"/>
                      </a:cubicBezTo>
                      <a:lnTo>
                        <a:pt x="1567148" y="727491"/>
                      </a:lnTo>
                      <a:cubicBezTo>
                        <a:pt x="1567148" y="728600"/>
                        <a:pt x="1567048" y="729811"/>
                        <a:pt x="1566947" y="731021"/>
                      </a:cubicBezTo>
                      <a:lnTo>
                        <a:pt x="1566947" y="731021"/>
                      </a:lnTo>
                      <a:cubicBezTo>
                        <a:pt x="1563114" y="752302"/>
                        <a:pt x="1530234" y="775096"/>
                        <a:pt x="1530537" y="812716"/>
                      </a:cubicBezTo>
                      <a:lnTo>
                        <a:pt x="1530537" y="812716"/>
                      </a:lnTo>
                      <a:cubicBezTo>
                        <a:pt x="1530537" y="818062"/>
                        <a:pt x="1531142" y="823710"/>
                        <a:pt x="1532655" y="829660"/>
                      </a:cubicBezTo>
                      <a:lnTo>
                        <a:pt x="1532655" y="829660"/>
                      </a:lnTo>
                      <a:cubicBezTo>
                        <a:pt x="1544455" y="878375"/>
                        <a:pt x="1585303" y="865667"/>
                        <a:pt x="1588833" y="886343"/>
                      </a:cubicBezTo>
                      <a:lnTo>
                        <a:pt x="1588833" y="886343"/>
                      </a:lnTo>
                      <a:cubicBezTo>
                        <a:pt x="1588228" y="895824"/>
                        <a:pt x="1608097" y="915491"/>
                        <a:pt x="1608400" y="935058"/>
                      </a:cubicBezTo>
                      <a:lnTo>
                        <a:pt x="1608400" y="935058"/>
                      </a:lnTo>
                      <a:cubicBezTo>
                        <a:pt x="1608501" y="941412"/>
                        <a:pt x="1606080" y="947968"/>
                        <a:pt x="1600331" y="953717"/>
                      </a:cubicBezTo>
                      <a:lnTo>
                        <a:pt x="1600331" y="953717"/>
                      </a:lnTo>
                      <a:cubicBezTo>
                        <a:pt x="1579958" y="973182"/>
                        <a:pt x="1594884" y="1011408"/>
                        <a:pt x="1563518" y="1071418"/>
                      </a:cubicBezTo>
                      <a:lnTo>
                        <a:pt x="1563518" y="1071418"/>
                      </a:lnTo>
                      <a:cubicBezTo>
                        <a:pt x="1531848" y="1131429"/>
                        <a:pt x="1509559" y="1119528"/>
                        <a:pt x="1495236" y="1155232"/>
                      </a:cubicBezTo>
                      <a:lnTo>
                        <a:pt x="1495236" y="1155232"/>
                      </a:lnTo>
                      <a:cubicBezTo>
                        <a:pt x="1479603" y="1192953"/>
                        <a:pt x="1478494" y="1181657"/>
                        <a:pt x="1454187" y="1212015"/>
                      </a:cubicBezTo>
                      <a:lnTo>
                        <a:pt x="1454187" y="1212015"/>
                      </a:lnTo>
                      <a:cubicBezTo>
                        <a:pt x="1450960" y="1216050"/>
                        <a:pt x="1449649" y="1219882"/>
                        <a:pt x="1449649" y="1224018"/>
                      </a:cubicBezTo>
                      <a:lnTo>
                        <a:pt x="1449649" y="1224018"/>
                      </a:lnTo>
                      <a:cubicBezTo>
                        <a:pt x="1449749" y="1248829"/>
                        <a:pt x="1504717" y="1278986"/>
                        <a:pt x="1529831" y="1278986"/>
                      </a:cubicBezTo>
                      <a:lnTo>
                        <a:pt x="1529831" y="1278986"/>
                      </a:lnTo>
                      <a:cubicBezTo>
                        <a:pt x="1552928" y="1278986"/>
                        <a:pt x="1572393" y="1290584"/>
                        <a:pt x="1572595" y="1308638"/>
                      </a:cubicBezTo>
                      <a:lnTo>
                        <a:pt x="1572595" y="1308638"/>
                      </a:lnTo>
                      <a:cubicBezTo>
                        <a:pt x="1572595" y="1315496"/>
                        <a:pt x="1569469" y="1322960"/>
                        <a:pt x="1563114" y="1330323"/>
                      </a:cubicBezTo>
                      <a:lnTo>
                        <a:pt x="1563114" y="1330323"/>
                      </a:lnTo>
                      <a:cubicBezTo>
                        <a:pt x="1546472" y="1349284"/>
                        <a:pt x="1539816" y="1356041"/>
                        <a:pt x="1539715" y="1379945"/>
                      </a:cubicBezTo>
                      <a:lnTo>
                        <a:pt x="1539715" y="1379945"/>
                      </a:lnTo>
                      <a:cubicBezTo>
                        <a:pt x="1539715" y="1387610"/>
                        <a:pt x="1540522" y="1397091"/>
                        <a:pt x="1542035" y="1409093"/>
                      </a:cubicBezTo>
                      <a:lnTo>
                        <a:pt x="1542035" y="1409093"/>
                      </a:lnTo>
                      <a:cubicBezTo>
                        <a:pt x="1546170" y="1444595"/>
                        <a:pt x="1571485" y="1457404"/>
                        <a:pt x="1571788" y="1490183"/>
                      </a:cubicBezTo>
                      <a:lnTo>
                        <a:pt x="1571788" y="1490183"/>
                      </a:lnTo>
                      <a:cubicBezTo>
                        <a:pt x="1571788" y="1501480"/>
                        <a:pt x="1568661" y="1514894"/>
                        <a:pt x="1560492" y="1532040"/>
                      </a:cubicBezTo>
                      <a:lnTo>
                        <a:pt x="1560492" y="1532040"/>
                      </a:lnTo>
                      <a:cubicBezTo>
                        <a:pt x="1544254" y="1565928"/>
                        <a:pt x="1539211" y="1582166"/>
                        <a:pt x="1539412" y="1590840"/>
                      </a:cubicBezTo>
                      <a:lnTo>
                        <a:pt x="1539412" y="1590840"/>
                      </a:lnTo>
                      <a:cubicBezTo>
                        <a:pt x="1539412" y="1598505"/>
                        <a:pt x="1542741" y="1600623"/>
                        <a:pt x="1547683" y="1607078"/>
                      </a:cubicBezTo>
                      <a:lnTo>
                        <a:pt x="1547683" y="1607078"/>
                      </a:lnTo>
                      <a:cubicBezTo>
                        <a:pt x="1552222" y="1613231"/>
                        <a:pt x="1556054" y="1622510"/>
                        <a:pt x="1556054" y="1631486"/>
                      </a:cubicBezTo>
                      <a:lnTo>
                        <a:pt x="1556054" y="1631486"/>
                      </a:lnTo>
                      <a:cubicBezTo>
                        <a:pt x="1556054" y="1641975"/>
                        <a:pt x="1549297" y="1652061"/>
                        <a:pt x="1533058" y="1652061"/>
                      </a:cubicBezTo>
                      <a:lnTo>
                        <a:pt x="1533058" y="1652061"/>
                      </a:lnTo>
                      <a:cubicBezTo>
                        <a:pt x="1513088" y="1652364"/>
                        <a:pt x="1507944" y="1660735"/>
                        <a:pt x="1502397" y="1679697"/>
                      </a:cubicBezTo>
                      <a:lnTo>
                        <a:pt x="1502397" y="1679697"/>
                      </a:lnTo>
                      <a:cubicBezTo>
                        <a:pt x="1479906" y="1677074"/>
                        <a:pt x="1453481" y="1671930"/>
                        <a:pt x="1439563" y="1659828"/>
                      </a:cubicBezTo>
                      <a:lnTo>
                        <a:pt x="1439563" y="1659828"/>
                      </a:lnTo>
                      <a:cubicBezTo>
                        <a:pt x="1422719" y="1645102"/>
                        <a:pt x="1399925" y="1629267"/>
                        <a:pt x="1384998" y="1629469"/>
                      </a:cubicBezTo>
                      <a:lnTo>
                        <a:pt x="1384998" y="1629469"/>
                      </a:lnTo>
                      <a:cubicBezTo>
                        <a:pt x="1378039" y="1629570"/>
                        <a:pt x="1372996" y="1632192"/>
                        <a:pt x="1369365" y="1640362"/>
                      </a:cubicBezTo>
                      <a:lnTo>
                        <a:pt x="1369365" y="1640362"/>
                      </a:lnTo>
                      <a:cubicBezTo>
                        <a:pt x="1362809" y="1654785"/>
                        <a:pt x="1351412" y="1661845"/>
                        <a:pt x="1340116" y="1661845"/>
                      </a:cubicBezTo>
                      <a:lnTo>
                        <a:pt x="1340116" y="1661845"/>
                      </a:lnTo>
                      <a:cubicBezTo>
                        <a:pt x="1328114" y="1661845"/>
                        <a:pt x="1316515" y="1653978"/>
                        <a:pt x="1311371" y="1640261"/>
                      </a:cubicBezTo>
                      <a:lnTo>
                        <a:pt x="1311371" y="1640261"/>
                      </a:lnTo>
                      <a:cubicBezTo>
                        <a:pt x="1307740" y="1630478"/>
                        <a:pt x="1297655" y="1624930"/>
                        <a:pt x="1285955" y="1624930"/>
                      </a:cubicBezTo>
                      <a:lnTo>
                        <a:pt x="1285955" y="1624930"/>
                      </a:lnTo>
                      <a:cubicBezTo>
                        <a:pt x="1271331" y="1624930"/>
                        <a:pt x="1254689" y="1634008"/>
                        <a:pt x="1248133" y="1655591"/>
                      </a:cubicBezTo>
                      <a:lnTo>
                        <a:pt x="1248133" y="1655591"/>
                      </a:lnTo>
                      <a:cubicBezTo>
                        <a:pt x="1245208" y="1664467"/>
                        <a:pt x="1244401" y="1671829"/>
                        <a:pt x="1244401" y="1678184"/>
                      </a:cubicBezTo>
                      <a:lnTo>
                        <a:pt x="1244401" y="1678184"/>
                      </a:lnTo>
                      <a:cubicBezTo>
                        <a:pt x="1244301" y="1696136"/>
                        <a:pt x="1252470" y="1708240"/>
                        <a:pt x="1252570" y="1730529"/>
                      </a:cubicBezTo>
                      <a:lnTo>
                        <a:pt x="1252570" y="1730529"/>
                      </a:lnTo>
                      <a:cubicBezTo>
                        <a:pt x="1252570" y="1734967"/>
                        <a:pt x="1252268" y="1739909"/>
                        <a:pt x="1251461" y="1745255"/>
                      </a:cubicBezTo>
                      <a:lnTo>
                        <a:pt x="1251461" y="1745255"/>
                      </a:lnTo>
                      <a:cubicBezTo>
                        <a:pt x="1245006" y="1786203"/>
                        <a:pt x="1202343" y="1874656"/>
                        <a:pt x="1201637" y="1874757"/>
                      </a:cubicBezTo>
                      <a:lnTo>
                        <a:pt x="1201637" y="1874757"/>
                      </a:lnTo>
                      <a:cubicBezTo>
                        <a:pt x="1201839" y="1875665"/>
                        <a:pt x="1207789" y="1901989"/>
                        <a:pt x="1207789" y="1923573"/>
                      </a:cubicBezTo>
                      <a:lnTo>
                        <a:pt x="1207789" y="1923573"/>
                      </a:lnTo>
                      <a:cubicBezTo>
                        <a:pt x="1207588" y="1936583"/>
                        <a:pt x="1206176" y="1948888"/>
                        <a:pt x="1196695" y="1952620"/>
                      </a:cubicBezTo>
                      <a:lnTo>
                        <a:pt x="1196695" y="1952620"/>
                      </a:lnTo>
                      <a:cubicBezTo>
                        <a:pt x="1190039" y="1954637"/>
                        <a:pt x="1183180" y="1957562"/>
                        <a:pt x="1176321" y="1957663"/>
                      </a:cubicBezTo>
                      <a:lnTo>
                        <a:pt x="1176321" y="1957663"/>
                      </a:lnTo>
                      <a:cubicBezTo>
                        <a:pt x="1163412" y="1957360"/>
                        <a:pt x="1154334" y="1946367"/>
                        <a:pt x="1152519" y="1912579"/>
                      </a:cubicBezTo>
                      <a:lnTo>
                        <a:pt x="1152519" y="1912579"/>
                      </a:lnTo>
                      <a:close/>
                      <a:moveTo>
                        <a:pt x="1158167" y="1912176"/>
                      </a:moveTo>
                      <a:cubicBezTo>
                        <a:pt x="1160386" y="1946064"/>
                        <a:pt x="1167951" y="1951712"/>
                        <a:pt x="1176221" y="1951712"/>
                      </a:cubicBezTo>
                      <a:lnTo>
                        <a:pt x="1176221" y="1951712"/>
                      </a:lnTo>
                      <a:cubicBezTo>
                        <a:pt x="1181364" y="1951712"/>
                        <a:pt x="1188021" y="1949191"/>
                        <a:pt x="1194880" y="1947073"/>
                      </a:cubicBezTo>
                      <a:lnTo>
                        <a:pt x="1194880" y="1947073"/>
                      </a:lnTo>
                      <a:cubicBezTo>
                        <a:pt x="1199317" y="1946064"/>
                        <a:pt x="1202242" y="1936079"/>
                        <a:pt x="1202041" y="1923270"/>
                      </a:cubicBezTo>
                      <a:lnTo>
                        <a:pt x="1202041" y="1923270"/>
                      </a:lnTo>
                      <a:cubicBezTo>
                        <a:pt x="1202141" y="1902191"/>
                        <a:pt x="1196090" y="1875665"/>
                        <a:pt x="1196292" y="1873849"/>
                      </a:cubicBezTo>
                      <a:lnTo>
                        <a:pt x="1196292" y="1873849"/>
                      </a:lnTo>
                      <a:cubicBezTo>
                        <a:pt x="1196292" y="1873749"/>
                        <a:pt x="1239762" y="1783581"/>
                        <a:pt x="1245813" y="1744044"/>
                      </a:cubicBezTo>
                      <a:lnTo>
                        <a:pt x="1245813" y="1744044"/>
                      </a:lnTo>
                      <a:cubicBezTo>
                        <a:pt x="1246620" y="1739001"/>
                        <a:pt x="1246822" y="1734362"/>
                        <a:pt x="1246822" y="1730227"/>
                      </a:cubicBezTo>
                      <a:lnTo>
                        <a:pt x="1246822" y="1730227"/>
                      </a:lnTo>
                      <a:cubicBezTo>
                        <a:pt x="1246922" y="1709651"/>
                        <a:pt x="1238753" y="1697750"/>
                        <a:pt x="1238552" y="1677881"/>
                      </a:cubicBezTo>
                      <a:lnTo>
                        <a:pt x="1238552" y="1677881"/>
                      </a:lnTo>
                      <a:cubicBezTo>
                        <a:pt x="1238552" y="1670922"/>
                        <a:pt x="1239762" y="1663055"/>
                        <a:pt x="1242687" y="1653473"/>
                      </a:cubicBezTo>
                      <a:lnTo>
                        <a:pt x="1242687" y="1653473"/>
                      </a:lnTo>
                      <a:cubicBezTo>
                        <a:pt x="1249949" y="1629772"/>
                        <a:pt x="1268809" y="1618879"/>
                        <a:pt x="1285854" y="1618980"/>
                      </a:cubicBezTo>
                      <a:lnTo>
                        <a:pt x="1285854" y="1618980"/>
                      </a:lnTo>
                      <a:cubicBezTo>
                        <a:pt x="1299268" y="1618980"/>
                        <a:pt x="1311674" y="1625636"/>
                        <a:pt x="1316313" y="1637941"/>
                      </a:cubicBezTo>
                      <a:lnTo>
                        <a:pt x="1316313" y="1637941"/>
                      </a:lnTo>
                      <a:cubicBezTo>
                        <a:pt x="1320751" y="1649742"/>
                        <a:pt x="1330333" y="1655894"/>
                        <a:pt x="1339914" y="1655894"/>
                      </a:cubicBezTo>
                      <a:lnTo>
                        <a:pt x="1339914" y="1655894"/>
                      </a:lnTo>
                      <a:cubicBezTo>
                        <a:pt x="1348790" y="1655894"/>
                        <a:pt x="1358170" y="1650548"/>
                        <a:pt x="1364020" y="1637740"/>
                      </a:cubicBezTo>
                      <a:lnTo>
                        <a:pt x="1364020" y="1637740"/>
                      </a:lnTo>
                      <a:cubicBezTo>
                        <a:pt x="1368256" y="1628057"/>
                        <a:pt x="1376122" y="1623619"/>
                        <a:pt x="1384797" y="1623619"/>
                      </a:cubicBezTo>
                      <a:lnTo>
                        <a:pt x="1384797" y="1623619"/>
                      </a:lnTo>
                      <a:cubicBezTo>
                        <a:pt x="1403153" y="1623821"/>
                        <a:pt x="1425745" y="1640564"/>
                        <a:pt x="1442992" y="1655490"/>
                      </a:cubicBezTo>
                      <a:lnTo>
                        <a:pt x="1442992" y="1655490"/>
                      </a:lnTo>
                      <a:cubicBezTo>
                        <a:pt x="1454893" y="1665879"/>
                        <a:pt x="1480713" y="1671527"/>
                        <a:pt x="1499876" y="1676469"/>
                      </a:cubicBezTo>
                      <a:lnTo>
                        <a:pt x="1499876" y="1676469"/>
                      </a:lnTo>
                      <a:cubicBezTo>
                        <a:pt x="1501691" y="1658718"/>
                        <a:pt x="1510668" y="1645909"/>
                        <a:pt x="1532958" y="1646212"/>
                      </a:cubicBezTo>
                      <a:lnTo>
                        <a:pt x="1532958" y="1646212"/>
                      </a:lnTo>
                      <a:cubicBezTo>
                        <a:pt x="1546977" y="1645909"/>
                        <a:pt x="1550103" y="1639757"/>
                        <a:pt x="1550507" y="1631184"/>
                      </a:cubicBezTo>
                      <a:lnTo>
                        <a:pt x="1550507" y="1631184"/>
                      </a:lnTo>
                      <a:cubicBezTo>
                        <a:pt x="1550507" y="1624023"/>
                        <a:pt x="1547078" y="1615349"/>
                        <a:pt x="1543144" y="1610104"/>
                      </a:cubicBezTo>
                      <a:lnTo>
                        <a:pt x="1543144" y="1610104"/>
                      </a:lnTo>
                      <a:cubicBezTo>
                        <a:pt x="1539110" y="1604658"/>
                        <a:pt x="1533663" y="1600523"/>
                        <a:pt x="1533663" y="1590538"/>
                      </a:cubicBezTo>
                      <a:lnTo>
                        <a:pt x="1533663" y="1590538"/>
                      </a:lnTo>
                      <a:cubicBezTo>
                        <a:pt x="1533663" y="1579947"/>
                        <a:pt x="1539110" y="1563407"/>
                        <a:pt x="1555449" y="1529417"/>
                      </a:cubicBezTo>
                      <a:lnTo>
                        <a:pt x="1555449" y="1529417"/>
                      </a:lnTo>
                      <a:cubicBezTo>
                        <a:pt x="1563316" y="1512675"/>
                        <a:pt x="1566241" y="1500168"/>
                        <a:pt x="1566241" y="1489881"/>
                      </a:cubicBezTo>
                      <a:lnTo>
                        <a:pt x="1566241" y="1489881"/>
                      </a:lnTo>
                      <a:cubicBezTo>
                        <a:pt x="1566543" y="1460834"/>
                        <a:pt x="1541531" y="1447722"/>
                        <a:pt x="1536387" y="1409497"/>
                      </a:cubicBezTo>
                      <a:lnTo>
                        <a:pt x="1536387" y="1409497"/>
                      </a:lnTo>
                      <a:cubicBezTo>
                        <a:pt x="1534974" y="1397393"/>
                        <a:pt x="1533966" y="1387711"/>
                        <a:pt x="1533966" y="1379643"/>
                      </a:cubicBezTo>
                      <a:lnTo>
                        <a:pt x="1533966" y="1379643"/>
                      </a:lnTo>
                      <a:cubicBezTo>
                        <a:pt x="1533865" y="1354327"/>
                        <a:pt x="1542338" y="1344745"/>
                        <a:pt x="1558778" y="1326389"/>
                      </a:cubicBezTo>
                      <a:lnTo>
                        <a:pt x="1558778" y="1326389"/>
                      </a:lnTo>
                      <a:cubicBezTo>
                        <a:pt x="1564627" y="1319632"/>
                        <a:pt x="1566846" y="1313580"/>
                        <a:pt x="1566846" y="1308335"/>
                      </a:cubicBezTo>
                      <a:lnTo>
                        <a:pt x="1566846" y="1308335"/>
                      </a:lnTo>
                      <a:cubicBezTo>
                        <a:pt x="1566846" y="1295224"/>
                        <a:pt x="1551314" y="1284331"/>
                        <a:pt x="1529730" y="1284331"/>
                      </a:cubicBezTo>
                      <a:lnTo>
                        <a:pt x="1529730" y="1284331"/>
                      </a:lnTo>
                      <a:cubicBezTo>
                        <a:pt x="1501691" y="1283726"/>
                        <a:pt x="1444908" y="1255183"/>
                        <a:pt x="1444000" y="1223715"/>
                      </a:cubicBezTo>
                      <a:lnTo>
                        <a:pt x="1444000" y="1223715"/>
                      </a:lnTo>
                      <a:cubicBezTo>
                        <a:pt x="1444000" y="1218369"/>
                        <a:pt x="1445816" y="1213024"/>
                        <a:pt x="1449850" y="1208183"/>
                      </a:cubicBezTo>
                      <a:lnTo>
                        <a:pt x="1449850" y="1208183"/>
                      </a:lnTo>
                      <a:cubicBezTo>
                        <a:pt x="1475367" y="1176211"/>
                        <a:pt x="1474459" y="1189726"/>
                        <a:pt x="1489992" y="1152811"/>
                      </a:cubicBezTo>
                      <a:lnTo>
                        <a:pt x="1489992" y="1152811"/>
                      </a:lnTo>
                      <a:cubicBezTo>
                        <a:pt x="1506533" y="1113678"/>
                        <a:pt x="1528015" y="1126689"/>
                        <a:pt x="1558475" y="1068594"/>
                      </a:cubicBezTo>
                      <a:lnTo>
                        <a:pt x="1558475" y="1068594"/>
                      </a:lnTo>
                      <a:cubicBezTo>
                        <a:pt x="1589438" y="1010298"/>
                        <a:pt x="1573200" y="973687"/>
                        <a:pt x="1596297" y="949481"/>
                      </a:cubicBezTo>
                      <a:lnTo>
                        <a:pt x="1596297" y="949481"/>
                      </a:lnTo>
                      <a:cubicBezTo>
                        <a:pt x="1601037" y="944539"/>
                        <a:pt x="1602651" y="939899"/>
                        <a:pt x="1602752" y="934755"/>
                      </a:cubicBezTo>
                      <a:lnTo>
                        <a:pt x="1602752" y="934755"/>
                      </a:lnTo>
                      <a:cubicBezTo>
                        <a:pt x="1603054" y="918416"/>
                        <a:pt x="1583689" y="900060"/>
                        <a:pt x="1583084" y="886041"/>
                      </a:cubicBezTo>
                      <a:lnTo>
                        <a:pt x="1583084" y="886041"/>
                      </a:lnTo>
                      <a:cubicBezTo>
                        <a:pt x="1586514" y="875753"/>
                        <a:pt x="1540118" y="881603"/>
                        <a:pt x="1527209" y="830669"/>
                      </a:cubicBezTo>
                      <a:lnTo>
                        <a:pt x="1527209" y="830669"/>
                      </a:lnTo>
                      <a:cubicBezTo>
                        <a:pt x="1525595" y="824315"/>
                        <a:pt x="1524788" y="818163"/>
                        <a:pt x="1524788" y="812414"/>
                      </a:cubicBezTo>
                      <a:lnTo>
                        <a:pt x="1524788" y="812414"/>
                      </a:lnTo>
                      <a:cubicBezTo>
                        <a:pt x="1524990" y="771768"/>
                        <a:pt x="1559584" y="746755"/>
                        <a:pt x="1561399" y="730012"/>
                      </a:cubicBezTo>
                      <a:lnTo>
                        <a:pt x="1561399" y="730012"/>
                      </a:lnTo>
                      <a:cubicBezTo>
                        <a:pt x="1561601" y="729105"/>
                        <a:pt x="1561601" y="728096"/>
                        <a:pt x="1561601" y="727188"/>
                      </a:cubicBezTo>
                      <a:lnTo>
                        <a:pt x="1561601" y="727188"/>
                      </a:lnTo>
                      <a:cubicBezTo>
                        <a:pt x="1562005" y="709236"/>
                        <a:pt x="1535681" y="689669"/>
                        <a:pt x="1535479" y="689467"/>
                      </a:cubicBezTo>
                      <a:lnTo>
                        <a:pt x="1535479" y="689467"/>
                      </a:lnTo>
                      <a:cubicBezTo>
                        <a:pt x="1535277" y="689366"/>
                        <a:pt x="1516820" y="685029"/>
                        <a:pt x="1499069" y="675549"/>
                      </a:cubicBezTo>
                      <a:lnTo>
                        <a:pt x="1499069" y="675549"/>
                      </a:lnTo>
                      <a:cubicBezTo>
                        <a:pt x="1498161" y="675549"/>
                        <a:pt x="1497253" y="675549"/>
                        <a:pt x="1496245" y="675549"/>
                      </a:cubicBezTo>
                      <a:lnTo>
                        <a:pt x="1496245" y="675549"/>
                      </a:lnTo>
                      <a:cubicBezTo>
                        <a:pt x="1481116" y="675549"/>
                        <a:pt x="1451161" y="672220"/>
                        <a:pt x="1419088" y="650939"/>
                      </a:cubicBezTo>
                      <a:lnTo>
                        <a:pt x="1419088" y="650939"/>
                      </a:lnTo>
                      <a:cubicBezTo>
                        <a:pt x="1375215" y="621287"/>
                        <a:pt x="1344049" y="641156"/>
                        <a:pt x="1320045" y="620782"/>
                      </a:cubicBezTo>
                      <a:lnTo>
                        <a:pt x="1320045" y="620782"/>
                      </a:lnTo>
                      <a:cubicBezTo>
                        <a:pt x="1300176" y="602225"/>
                        <a:pt x="1246620" y="593349"/>
                        <a:pt x="1244099" y="543727"/>
                      </a:cubicBezTo>
                      <a:lnTo>
                        <a:pt x="1244099" y="543727"/>
                      </a:lnTo>
                      <a:cubicBezTo>
                        <a:pt x="1241880" y="496626"/>
                        <a:pt x="1235626" y="463443"/>
                        <a:pt x="1204058" y="429756"/>
                      </a:cubicBezTo>
                      <a:lnTo>
                        <a:pt x="1204058" y="429756"/>
                      </a:lnTo>
                      <a:cubicBezTo>
                        <a:pt x="1171783" y="395061"/>
                        <a:pt x="1128817" y="338177"/>
                        <a:pt x="1081716" y="338479"/>
                      </a:cubicBezTo>
                      <a:lnTo>
                        <a:pt x="1081716" y="338479"/>
                      </a:lnTo>
                      <a:cubicBezTo>
                        <a:pt x="1034514" y="337874"/>
                        <a:pt x="1032397" y="376301"/>
                        <a:pt x="979042" y="381344"/>
                      </a:cubicBezTo>
                      <a:lnTo>
                        <a:pt x="979042" y="381344"/>
                      </a:lnTo>
                      <a:cubicBezTo>
                        <a:pt x="927604" y="385480"/>
                        <a:pt x="725484" y="394153"/>
                        <a:pt x="675155" y="411198"/>
                      </a:cubicBezTo>
                      <a:lnTo>
                        <a:pt x="675155" y="411198"/>
                      </a:lnTo>
                      <a:cubicBezTo>
                        <a:pt x="670113" y="412812"/>
                        <a:pt x="665170" y="413518"/>
                        <a:pt x="660430" y="413518"/>
                      </a:cubicBezTo>
                      <a:lnTo>
                        <a:pt x="660430" y="413518"/>
                      </a:lnTo>
                      <a:cubicBezTo>
                        <a:pt x="612522" y="412913"/>
                        <a:pt x="577827" y="341203"/>
                        <a:pt x="577524" y="341203"/>
                      </a:cubicBezTo>
                      <a:lnTo>
                        <a:pt x="577524" y="341203"/>
                      </a:lnTo>
                      <a:cubicBezTo>
                        <a:pt x="577424" y="341203"/>
                        <a:pt x="521346" y="236209"/>
                        <a:pt x="475556" y="209380"/>
                      </a:cubicBezTo>
                      <a:lnTo>
                        <a:pt x="475556" y="209380"/>
                      </a:lnTo>
                      <a:cubicBezTo>
                        <a:pt x="426539" y="179426"/>
                        <a:pt x="450443" y="123449"/>
                        <a:pt x="404350" y="82400"/>
                      </a:cubicBezTo>
                      <a:lnTo>
                        <a:pt x="404350" y="82400"/>
                      </a:lnTo>
                      <a:cubicBezTo>
                        <a:pt x="374395" y="55168"/>
                        <a:pt x="343633" y="36307"/>
                        <a:pt x="326487" y="9580"/>
                      </a:cubicBezTo>
                      <a:lnTo>
                        <a:pt x="326487" y="9580"/>
                      </a:lnTo>
                      <a:cubicBezTo>
                        <a:pt x="318822" y="12807"/>
                        <a:pt x="311056" y="15934"/>
                        <a:pt x="303088" y="17749"/>
                      </a:cubicBezTo>
                      <a:lnTo>
                        <a:pt x="303088" y="17749"/>
                      </a:lnTo>
                      <a:cubicBezTo>
                        <a:pt x="275251" y="23902"/>
                        <a:pt x="256391" y="26221"/>
                        <a:pt x="242472" y="26221"/>
                      </a:cubicBezTo>
                      <a:lnTo>
                        <a:pt x="242472" y="26221"/>
                      </a:lnTo>
                      <a:cubicBezTo>
                        <a:pt x="215341" y="26221"/>
                        <a:pt x="206567" y="17245"/>
                        <a:pt x="187605" y="11698"/>
                      </a:cubicBezTo>
                      <a:lnTo>
                        <a:pt x="187605" y="11698"/>
                      </a:lnTo>
                      <a:cubicBezTo>
                        <a:pt x="184075" y="10689"/>
                        <a:pt x="180444" y="10084"/>
                        <a:pt x="176813" y="10084"/>
                      </a:cubicBezTo>
                      <a:lnTo>
                        <a:pt x="176813" y="10084"/>
                      </a:lnTo>
                      <a:cubicBezTo>
                        <a:pt x="151296" y="10084"/>
                        <a:pt x="124972" y="34895"/>
                        <a:pt x="124972" y="48108"/>
                      </a:cubicBezTo>
                      <a:lnTo>
                        <a:pt x="124972" y="48108"/>
                      </a:lnTo>
                      <a:cubicBezTo>
                        <a:pt x="124871" y="56681"/>
                        <a:pt x="131729" y="77861"/>
                        <a:pt x="131729" y="97528"/>
                      </a:cubicBezTo>
                      <a:lnTo>
                        <a:pt x="131729" y="97528"/>
                      </a:lnTo>
                      <a:cubicBezTo>
                        <a:pt x="131931" y="114573"/>
                        <a:pt x="125880" y="131921"/>
                        <a:pt x="104901" y="137973"/>
                      </a:cubicBezTo>
                      <a:lnTo>
                        <a:pt x="104901" y="137973"/>
                      </a:lnTo>
                      <a:cubicBezTo>
                        <a:pt x="65869" y="147554"/>
                        <a:pt x="92294" y="190923"/>
                        <a:pt x="58405" y="197782"/>
                      </a:cubicBezTo>
                      <a:lnTo>
                        <a:pt x="58405" y="197782"/>
                      </a:lnTo>
                      <a:cubicBezTo>
                        <a:pt x="61633" y="203228"/>
                        <a:pt x="64860" y="207363"/>
                        <a:pt x="66676" y="208372"/>
                      </a:cubicBezTo>
                      <a:lnTo>
                        <a:pt x="66676" y="208372"/>
                      </a:lnTo>
                      <a:cubicBezTo>
                        <a:pt x="76661" y="215331"/>
                        <a:pt x="117206" y="224509"/>
                        <a:pt x="118013" y="250531"/>
                      </a:cubicBezTo>
                      <a:lnTo>
                        <a:pt x="118013" y="250531"/>
                      </a:lnTo>
                      <a:cubicBezTo>
                        <a:pt x="118013" y="252145"/>
                        <a:pt x="117811" y="253758"/>
                        <a:pt x="117609" y="255574"/>
                      </a:cubicBezTo>
                      <a:lnTo>
                        <a:pt x="117609" y="255574"/>
                      </a:lnTo>
                      <a:cubicBezTo>
                        <a:pt x="116802" y="259507"/>
                        <a:pt x="116298" y="262735"/>
                        <a:pt x="116298" y="265660"/>
                      </a:cubicBezTo>
                      <a:lnTo>
                        <a:pt x="116298" y="265660"/>
                      </a:lnTo>
                      <a:cubicBezTo>
                        <a:pt x="116500" y="281393"/>
                        <a:pt x="126081" y="285932"/>
                        <a:pt x="143328" y="288958"/>
                      </a:cubicBezTo>
                      <a:lnTo>
                        <a:pt x="143328" y="288958"/>
                      </a:lnTo>
                      <a:cubicBezTo>
                        <a:pt x="162290" y="291984"/>
                        <a:pt x="172678" y="309432"/>
                        <a:pt x="172577" y="330007"/>
                      </a:cubicBezTo>
                      <a:lnTo>
                        <a:pt x="172577" y="330007"/>
                      </a:lnTo>
                      <a:cubicBezTo>
                        <a:pt x="172577" y="333739"/>
                        <a:pt x="172174" y="337672"/>
                        <a:pt x="171569" y="341808"/>
                      </a:cubicBezTo>
                      <a:lnTo>
                        <a:pt x="171569" y="341808"/>
                      </a:lnTo>
                      <a:cubicBezTo>
                        <a:pt x="166425" y="368737"/>
                        <a:pt x="144438" y="365106"/>
                        <a:pt x="138991" y="379226"/>
                      </a:cubicBezTo>
                      <a:lnTo>
                        <a:pt x="138991" y="379226"/>
                      </a:lnTo>
                      <a:cubicBezTo>
                        <a:pt x="131830" y="394254"/>
                        <a:pt x="133948" y="412106"/>
                        <a:pt x="113777" y="420578"/>
                      </a:cubicBezTo>
                      <a:lnTo>
                        <a:pt x="113777" y="420578"/>
                      </a:lnTo>
                      <a:cubicBezTo>
                        <a:pt x="106212" y="423604"/>
                        <a:pt x="103691" y="433085"/>
                        <a:pt x="103691" y="445591"/>
                      </a:cubicBezTo>
                      <a:lnTo>
                        <a:pt x="103691" y="445591"/>
                      </a:lnTo>
                      <a:cubicBezTo>
                        <a:pt x="103691" y="457392"/>
                        <a:pt x="105910" y="470806"/>
                        <a:pt x="105910" y="481698"/>
                      </a:cubicBezTo>
                      <a:lnTo>
                        <a:pt x="105910" y="481698"/>
                      </a:lnTo>
                      <a:cubicBezTo>
                        <a:pt x="106011" y="503887"/>
                        <a:pt x="98749" y="517201"/>
                        <a:pt x="79081" y="534549"/>
                      </a:cubicBezTo>
                      <a:lnTo>
                        <a:pt x="79081" y="534549"/>
                      </a:lnTo>
                      <a:cubicBezTo>
                        <a:pt x="65768" y="546349"/>
                        <a:pt x="55985" y="548165"/>
                        <a:pt x="46504" y="548165"/>
                      </a:cubicBezTo>
                      <a:lnTo>
                        <a:pt x="46504" y="548165"/>
                      </a:lnTo>
                      <a:cubicBezTo>
                        <a:pt x="43277" y="548165"/>
                        <a:pt x="40150" y="547963"/>
                        <a:pt x="36922" y="547963"/>
                      </a:cubicBezTo>
                      <a:lnTo>
                        <a:pt x="36922" y="547963"/>
                      </a:lnTo>
                      <a:cubicBezTo>
                        <a:pt x="35309" y="547963"/>
                        <a:pt x="33695" y="547963"/>
                        <a:pt x="32081" y="548165"/>
                      </a:cubicBezTo>
                      <a:lnTo>
                        <a:pt x="32081" y="548165"/>
                      </a:lnTo>
                      <a:cubicBezTo>
                        <a:pt x="17053" y="549375"/>
                        <a:pt x="5757" y="558048"/>
                        <a:pt x="5455" y="585381"/>
                      </a:cubicBezTo>
                      <a:lnTo>
                        <a:pt x="5455" y="585381"/>
                      </a:lnTo>
                      <a:cubicBezTo>
                        <a:pt x="5253" y="610999"/>
                        <a:pt x="29963" y="610293"/>
                        <a:pt x="44789" y="626733"/>
                      </a:cubicBezTo>
                      <a:lnTo>
                        <a:pt x="44789" y="626733"/>
                      </a:lnTo>
                      <a:cubicBezTo>
                        <a:pt x="51849" y="635004"/>
                        <a:pt x="52454" y="643980"/>
                        <a:pt x="52454" y="651847"/>
                      </a:cubicBezTo>
                      <a:lnTo>
                        <a:pt x="52454" y="651847"/>
                      </a:lnTo>
                      <a:cubicBezTo>
                        <a:pt x="52454" y="653562"/>
                        <a:pt x="52354" y="655175"/>
                        <a:pt x="52354" y="656789"/>
                      </a:cubicBezTo>
                      <a:lnTo>
                        <a:pt x="52354" y="656789"/>
                      </a:lnTo>
                      <a:cubicBezTo>
                        <a:pt x="52354" y="662841"/>
                        <a:pt x="52858" y="667984"/>
                        <a:pt x="55783" y="672523"/>
                      </a:cubicBezTo>
                      <a:lnTo>
                        <a:pt x="55783" y="672523"/>
                      </a:lnTo>
                      <a:cubicBezTo>
                        <a:pt x="61734" y="681399"/>
                        <a:pt x="70307" y="692997"/>
                        <a:pt x="70307" y="707420"/>
                      </a:cubicBezTo>
                      <a:lnTo>
                        <a:pt x="70307" y="707420"/>
                      </a:lnTo>
                      <a:cubicBezTo>
                        <a:pt x="70307" y="713572"/>
                        <a:pt x="68592" y="720330"/>
                        <a:pt x="64457" y="727289"/>
                      </a:cubicBezTo>
                      <a:lnTo>
                        <a:pt x="64457" y="727289"/>
                      </a:lnTo>
                      <a:cubicBezTo>
                        <a:pt x="50942" y="749982"/>
                        <a:pt x="31476" y="743628"/>
                        <a:pt x="29661" y="748167"/>
                      </a:cubicBezTo>
                      <a:lnTo>
                        <a:pt x="29661" y="748167"/>
                      </a:lnTo>
                      <a:cubicBezTo>
                        <a:pt x="29459" y="748268"/>
                        <a:pt x="28854" y="749781"/>
                        <a:pt x="28955" y="752201"/>
                      </a:cubicBezTo>
                      <a:lnTo>
                        <a:pt x="28955" y="752201"/>
                      </a:lnTo>
                      <a:cubicBezTo>
                        <a:pt x="28854" y="764304"/>
                        <a:pt x="38939" y="794764"/>
                        <a:pt x="50538" y="818667"/>
                      </a:cubicBezTo>
                      <a:lnTo>
                        <a:pt x="50538" y="818667"/>
                      </a:lnTo>
                      <a:cubicBezTo>
                        <a:pt x="55480" y="828955"/>
                        <a:pt x="57598" y="836519"/>
                        <a:pt x="57598" y="843075"/>
                      </a:cubicBezTo>
                      <a:lnTo>
                        <a:pt x="57598" y="843075"/>
                      </a:lnTo>
                      <a:cubicBezTo>
                        <a:pt x="57497" y="855380"/>
                        <a:pt x="49731" y="862339"/>
                        <a:pt x="41663" y="875450"/>
                      </a:cubicBezTo>
                      <a:lnTo>
                        <a:pt x="41663" y="875450"/>
                      </a:lnTo>
                      <a:cubicBezTo>
                        <a:pt x="31880" y="890781"/>
                        <a:pt x="23710" y="898144"/>
                        <a:pt x="23811" y="912566"/>
                      </a:cubicBezTo>
                      <a:lnTo>
                        <a:pt x="23811" y="912566"/>
                      </a:lnTo>
                      <a:cubicBezTo>
                        <a:pt x="23811" y="918013"/>
                        <a:pt x="24920" y="924669"/>
                        <a:pt x="27946" y="933545"/>
                      </a:cubicBezTo>
                      <a:lnTo>
                        <a:pt x="27946" y="933545"/>
                      </a:lnTo>
                      <a:cubicBezTo>
                        <a:pt x="37528" y="964609"/>
                        <a:pt x="82107" y="968845"/>
                        <a:pt x="84225" y="988412"/>
                      </a:cubicBezTo>
                      <a:lnTo>
                        <a:pt x="84225" y="988412"/>
                      </a:lnTo>
                      <a:cubicBezTo>
                        <a:pt x="84225" y="1003036"/>
                        <a:pt x="88259" y="1016854"/>
                        <a:pt x="102380" y="1026032"/>
                      </a:cubicBezTo>
                      <a:lnTo>
                        <a:pt x="102380" y="1026032"/>
                      </a:lnTo>
                      <a:cubicBezTo>
                        <a:pt x="111961" y="1032185"/>
                        <a:pt x="115895" y="1043481"/>
                        <a:pt x="115895" y="1058912"/>
                      </a:cubicBezTo>
                      <a:lnTo>
                        <a:pt x="115895" y="1058912"/>
                      </a:lnTo>
                      <a:cubicBezTo>
                        <a:pt x="115895" y="1070612"/>
                        <a:pt x="113676" y="1084833"/>
                        <a:pt x="110045" y="1102282"/>
                      </a:cubicBezTo>
                      <a:lnTo>
                        <a:pt x="110045" y="1102282"/>
                      </a:lnTo>
                      <a:cubicBezTo>
                        <a:pt x="106817" y="1116906"/>
                        <a:pt x="104498" y="1127799"/>
                        <a:pt x="104498" y="1136371"/>
                      </a:cubicBezTo>
                      <a:lnTo>
                        <a:pt x="104498" y="1136371"/>
                      </a:lnTo>
                      <a:cubicBezTo>
                        <a:pt x="104699" y="1150996"/>
                        <a:pt x="110247" y="1159267"/>
                        <a:pt x="131427" y="1171773"/>
                      </a:cubicBezTo>
                      <a:lnTo>
                        <a:pt x="131427" y="1171773"/>
                      </a:lnTo>
                      <a:cubicBezTo>
                        <a:pt x="148674" y="1181758"/>
                        <a:pt x="154624" y="1199206"/>
                        <a:pt x="154624" y="1215646"/>
                      </a:cubicBezTo>
                      <a:lnTo>
                        <a:pt x="154624" y="1215646"/>
                      </a:lnTo>
                      <a:cubicBezTo>
                        <a:pt x="154524" y="1232893"/>
                        <a:pt x="148371" y="1249434"/>
                        <a:pt x="141916" y="1257805"/>
                      </a:cubicBezTo>
                      <a:lnTo>
                        <a:pt x="141916" y="1257805"/>
                      </a:lnTo>
                      <a:cubicBezTo>
                        <a:pt x="135966" y="1265370"/>
                        <a:pt x="133948" y="1270614"/>
                        <a:pt x="133948" y="1277271"/>
                      </a:cubicBezTo>
                      <a:lnTo>
                        <a:pt x="133948" y="1277271"/>
                      </a:lnTo>
                      <a:cubicBezTo>
                        <a:pt x="133948" y="1283423"/>
                        <a:pt x="135865" y="1291290"/>
                        <a:pt x="139092" y="1302889"/>
                      </a:cubicBezTo>
                      <a:lnTo>
                        <a:pt x="139092" y="1302889"/>
                      </a:lnTo>
                      <a:cubicBezTo>
                        <a:pt x="141210" y="1310151"/>
                        <a:pt x="141916" y="1318018"/>
                        <a:pt x="141916" y="1325683"/>
                      </a:cubicBezTo>
                      <a:lnTo>
                        <a:pt x="141916" y="1325683"/>
                      </a:lnTo>
                      <a:cubicBezTo>
                        <a:pt x="141916" y="1343737"/>
                        <a:pt x="136974" y="1361286"/>
                        <a:pt x="128804" y="1371271"/>
                      </a:cubicBezTo>
                      <a:lnTo>
                        <a:pt x="128804" y="1371271"/>
                      </a:lnTo>
                      <a:cubicBezTo>
                        <a:pt x="122854" y="1378331"/>
                        <a:pt x="118618" y="1388417"/>
                        <a:pt x="118719" y="1398806"/>
                      </a:cubicBezTo>
                      <a:lnTo>
                        <a:pt x="118719" y="1398806"/>
                      </a:lnTo>
                      <a:cubicBezTo>
                        <a:pt x="118719" y="1406168"/>
                        <a:pt x="120635" y="1413632"/>
                        <a:pt x="125779" y="1420793"/>
                      </a:cubicBezTo>
                      <a:lnTo>
                        <a:pt x="125779" y="1420793"/>
                      </a:lnTo>
                      <a:cubicBezTo>
                        <a:pt x="138890" y="1439351"/>
                        <a:pt x="146556" y="1454278"/>
                        <a:pt x="178024" y="1461842"/>
                      </a:cubicBezTo>
                      <a:lnTo>
                        <a:pt x="178024" y="1461842"/>
                      </a:lnTo>
                      <a:cubicBezTo>
                        <a:pt x="211004" y="1468600"/>
                        <a:pt x="206970" y="1479089"/>
                        <a:pt x="211408" y="1493915"/>
                      </a:cubicBezTo>
                      <a:lnTo>
                        <a:pt x="211408" y="1493915"/>
                      </a:lnTo>
                      <a:cubicBezTo>
                        <a:pt x="212920" y="1498958"/>
                        <a:pt x="219376" y="1501681"/>
                        <a:pt x="228150" y="1501681"/>
                      </a:cubicBezTo>
                      <a:lnTo>
                        <a:pt x="228150" y="1501681"/>
                      </a:lnTo>
                      <a:cubicBezTo>
                        <a:pt x="239648" y="1501782"/>
                        <a:pt x="253869" y="1496538"/>
                        <a:pt x="258408" y="1490789"/>
                      </a:cubicBezTo>
                      <a:lnTo>
                        <a:pt x="258408" y="1490789"/>
                      </a:lnTo>
                      <a:cubicBezTo>
                        <a:pt x="263350" y="1484838"/>
                        <a:pt x="269502" y="1481509"/>
                        <a:pt x="275756" y="1481509"/>
                      </a:cubicBezTo>
                      <a:lnTo>
                        <a:pt x="275756" y="1481509"/>
                      </a:lnTo>
                      <a:cubicBezTo>
                        <a:pt x="282916" y="1481409"/>
                        <a:pt x="289775" y="1485746"/>
                        <a:pt x="294212" y="1493310"/>
                      </a:cubicBezTo>
                      <a:lnTo>
                        <a:pt x="294212" y="1493310"/>
                      </a:lnTo>
                      <a:cubicBezTo>
                        <a:pt x="297642" y="1499362"/>
                        <a:pt x="300970" y="1502186"/>
                        <a:pt x="302886" y="1501984"/>
                      </a:cubicBezTo>
                      <a:lnTo>
                        <a:pt x="302886" y="1501984"/>
                      </a:lnTo>
                      <a:cubicBezTo>
                        <a:pt x="304803" y="1502286"/>
                        <a:pt x="309644" y="1498454"/>
                        <a:pt x="315191" y="1485947"/>
                      </a:cubicBezTo>
                      <a:lnTo>
                        <a:pt x="315191" y="1485947"/>
                      </a:lnTo>
                      <a:cubicBezTo>
                        <a:pt x="318419" y="1478786"/>
                        <a:pt x="324975" y="1475458"/>
                        <a:pt x="332034" y="1475559"/>
                      </a:cubicBezTo>
                      <a:lnTo>
                        <a:pt x="332034" y="1475559"/>
                      </a:lnTo>
                      <a:cubicBezTo>
                        <a:pt x="351601" y="1475861"/>
                        <a:pt x="378026" y="1496739"/>
                        <a:pt x="385187" y="1516507"/>
                      </a:cubicBezTo>
                      <a:lnTo>
                        <a:pt x="385187" y="1516507"/>
                      </a:lnTo>
                      <a:cubicBezTo>
                        <a:pt x="390634" y="1532645"/>
                        <a:pt x="400719" y="1539201"/>
                        <a:pt x="404653" y="1538797"/>
                      </a:cubicBezTo>
                      <a:lnTo>
                        <a:pt x="404653" y="1538797"/>
                      </a:lnTo>
                      <a:cubicBezTo>
                        <a:pt x="406367" y="1538595"/>
                        <a:pt x="406468" y="1538595"/>
                        <a:pt x="406670" y="1536881"/>
                      </a:cubicBezTo>
                      <a:lnTo>
                        <a:pt x="406670" y="1536881"/>
                      </a:lnTo>
                      <a:cubicBezTo>
                        <a:pt x="406468" y="1526392"/>
                        <a:pt x="411208" y="1512473"/>
                        <a:pt x="439752" y="1501883"/>
                      </a:cubicBezTo>
                      <a:lnTo>
                        <a:pt x="439752" y="1501883"/>
                      </a:lnTo>
                      <a:cubicBezTo>
                        <a:pt x="450140" y="1497647"/>
                        <a:pt x="451653" y="1493512"/>
                        <a:pt x="451854" y="1487965"/>
                      </a:cubicBezTo>
                      <a:lnTo>
                        <a:pt x="451854" y="1487965"/>
                      </a:lnTo>
                      <a:cubicBezTo>
                        <a:pt x="451955" y="1481913"/>
                        <a:pt x="448526" y="1473945"/>
                        <a:pt x="448425" y="1465574"/>
                      </a:cubicBezTo>
                      <a:lnTo>
                        <a:pt x="448425" y="1465574"/>
                      </a:lnTo>
                      <a:cubicBezTo>
                        <a:pt x="448425" y="1461943"/>
                        <a:pt x="449232" y="1458110"/>
                        <a:pt x="451249" y="1454580"/>
                      </a:cubicBezTo>
                      <a:lnTo>
                        <a:pt x="451249" y="1454580"/>
                      </a:lnTo>
                      <a:cubicBezTo>
                        <a:pt x="453771" y="1449840"/>
                        <a:pt x="458108" y="1447319"/>
                        <a:pt x="462545" y="1447419"/>
                      </a:cubicBezTo>
                      <a:lnTo>
                        <a:pt x="462545" y="1447419"/>
                      </a:lnTo>
                      <a:cubicBezTo>
                        <a:pt x="476666" y="1448025"/>
                        <a:pt x="492299" y="1467389"/>
                        <a:pt x="499561" y="1486351"/>
                      </a:cubicBezTo>
                      <a:lnTo>
                        <a:pt x="499561" y="1486351"/>
                      </a:lnTo>
                      <a:cubicBezTo>
                        <a:pt x="507125" y="1508338"/>
                        <a:pt x="527398" y="1503799"/>
                        <a:pt x="545149" y="1520945"/>
                      </a:cubicBezTo>
                      <a:lnTo>
                        <a:pt x="545149" y="1520945"/>
                      </a:lnTo>
                      <a:cubicBezTo>
                        <a:pt x="557050" y="1533048"/>
                        <a:pt x="558260" y="1558566"/>
                        <a:pt x="558462" y="1575106"/>
                      </a:cubicBezTo>
                      <a:lnTo>
                        <a:pt x="558462" y="1575106"/>
                      </a:lnTo>
                      <a:cubicBezTo>
                        <a:pt x="558462" y="1583679"/>
                        <a:pt x="557958" y="1589731"/>
                        <a:pt x="557958" y="1589529"/>
                      </a:cubicBezTo>
                      <a:lnTo>
                        <a:pt x="557958" y="1589529"/>
                      </a:lnTo>
                      <a:cubicBezTo>
                        <a:pt x="557756" y="1612626"/>
                        <a:pt x="581962" y="1643488"/>
                        <a:pt x="612623" y="1661845"/>
                      </a:cubicBezTo>
                      <a:lnTo>
                        <a:pt x="612623" y="1661845"/>
                      </a:lnTo>
                      <a:cubicBezTo>
                        <a:pt x="642275" y="1680100"/>
                        <a:pt x="681610" y="1663559"/>
                        <a:pt x="697243" y="1681008"/>
                      </a:cubicBezTo>
                      <a:lnTo>
                        <a:pt x="697243" y="1681008"/>
                      </a:lnTo>
                      <a:cubicBezTo>
                        <a:pt x="701681" y="1686858"/>
                        <a:pt x="702589" y="1695733"/>
                        <a:pt x="702690" y="1706525"/>
                      </a:cubicBezTo>
                      <a:lnTo>
                        <a:pt x="702690" y="1706525"/>
                      </a:lnTo>
                      <a:cubicBezTo>
                        <a:pt x="702690" y="1724478"/>
                        <a:pt x="699261" y="1747978"/>
                        <a:pt x="699261" y="1768251"/>
                      </a:cubicBezTo>
                      <a:lnTo>
                        <a:pt x="699261" y="1768251"/>
                      </a:lnTo>
                      <a:cubicBezTo>
                        <a:pt x="699261" y="1775310"/>
                        <a:pt x="699563" y="1781967"/>
                        <a:pt x="700774" y="1787918"/>
                      </a:cubicBezTo>
                      <a:lnTo>
                        <a:pt x="700774" y="1787918"/>
                      </a:lnTo>
                      <a:cubicBezTo>
                        <a:pt x="701480" y="1791448"/>
                        <a:pt x="701681" y="1794575"/>
                        <a:pt x="701681" y="1797499"/>
                      </a:cubicBezTo>
                      <a:lnTo>
                        <a:pt x="701681" y="1797499"/>
                      </a:lnTo>
                      <a:cubicBezTo>
                        <a:pt x="701480" y="1825135"/>
                        <a:pt x="674752" y="1826446"/>
                        <a:pt x="662246" y="1834313"/>
                      </a:cubicBezTo>
                      <a:lnTo>
                        <a:pt x="662246" y="1834313"/>
                      </a:lnTo>
                      <a:cubicBezTo>
                        <a:pt x="647823" y="1842583"/>
                        <a:pt x="630778" y="1848836"/>
                        <a:pt x="631383" y="1859931"/>
                      </a:cubicBezTo>
                      <a:lnTo>
                        <a:pt x="631383" y="1859931"/>
                      </a:lnTo>
                      <a:cubicBezTo>
                        <a:pt x="631383" y="1861545"/>
                        <a:pt x="631685" y="1863158"/>
                        <a:pt x="632391" y="1865175"/>
                      </a:cubicBezTo>
                      <a:lnTo>
                        <a:pt x="632391" y="1865175"/>
                      </a:lnTo>
                      <a:cubicBezTo>
                        <a:pt x="637636" y="1882422"/>
                        <a:pt x="672331" y="1913487"/>
                        <a:pt x="695025" y="1912982"/>
                      </a:cubicBezTo>
                      <a:lnTo>
                        <a:pt x="695025" y="1912982"/>
                      </a:lnTo>
                      <a:cubicBezTo>
                        <a:pt x="722862" y="1914495"/>
                        <a:pt x="715095" y="1950401"/>
                        <a:pt x="726089" y="1947174"/>
                      </a:cubicBezTo>
                      <a:lnTo>
                        <a:pt x="726089" y="1947174"/>
                      </a:lnTo>
                      <a:cubicBezTo>
                        <a:pt x="736376" y="1949191"/>
                        <a:pt x="738999" y="1919236"/>
                        <a:pt x="765525" y="1918530"/>
                      </a:cubicBezTo>
                      <a:lnTo>
                        <a:pt x="765525" y="1918530"/>
                      </a:lnTo>
                      <a:cubicBezTo>
                        <a:pt x="767844" y="1918530"/>
                        <a:pt x="770467" y="1918731"/>
                        <a:pt x="773190" y="1919336"/>
                      </a:cubicBezTo>
                      <a:lnTo>
                        <a:pt x="773190" y="1919336"/>
                      </a:lnTo>
                      <a:cubicBezTo>
                        <a:pt x="801228" y="1924884"/>
                        <a:pt x="833503" y="1935373"/>
                        <a:pt x="877276" y="1935373"/>
                      </a:cubicBezTo>
                      <a:lnTo>
                        <a:pt x="877276" y="1935373"/>
                      </a:lnTo>
                      <a:cubicBezTo>
                        <a:pt x="882520" y="1935373"/>
                        <a:pt x="888068" y="1935171"/>
                        <a:pt x="893716" y="1934869"/>
                      </a:cubicBezTo>
                      <a:lnTo>
                        <a:pt x="893716" y="1934869"/>
                      </a:lnTo>
                      <a:cubicBezTo>
                        <a:pt x="934463" y="1932347"/>
                        <a:pt x="937589" y="1899669"/>
                        <a:pt x="937892" y="1886759"/>
                      </a:cubicBezTo>
                      <a:lnTo>
                        <a:pt x="937892" y="1886759"/>
                      </a:lnTo>
                      <a:cubicBezTo>
                        <a:pt x="937892" y="1884440"/>
                        <a:pt x="937791" y="1882927"/>
                        <a:pt x="937791" y="1882725"/>
                      </a:cubicBezTo>
                      <a:lnTo>
                        <a:pt x="937791" y="1882725"/>
                      </a:lnTo>
                      <a:cubicBezTo>
                        <a:pt x="937488" y="1881716"/>
                        <a:pt x="935572" y="1876573"/>
                        <a:pt x="935572" y="1869412"/>
                      </a:cubicBezTo>
                      <a:lnTo>
                        <a:pt x="935572" y="1869412"/>
                      </a:lnTo>
                      <a:cubicBezTo>
                        <a:pt x="935371" y="1851862"/>
                        <a:pt x="947776" y="1823924"/>
                        <a:pt x="1014847" y="1819890"/>
                      </a:cubicBezTo>
                      <a:lnTo>
                        <a:pt x="1014847" y="1819890"/>
                      </a:lnTo>
                      <a:cubicBezTo>
                        <a:pt x="1021201" y="1819386"/>
                        <a:pt x="1027152" y="1819184"/>
                        <a:pt x="1032901" y="1819184"/>
                      </a:cubicBezTo>
                      <a:lnTo>
                        <a:pt x="1032901" y="1819184"/>
                      </a:lnTo>
                      <a:cubicBezTo>
                        <a:pt x="1033103" y="1819184"/>
                        <a:pt x="1033304" y="1819184"/>
                        <a:pt x="1033506" y="1819184"/>
                      </a:cubicBezTo>
                      <a:lnTo>
                        <a:pt x="1033506" y="1819184"/>
                      </a:lnTo>
                      <a:cubicBezTo>
                        <a:pt x="1117723" y="1818780"/>
                        <a:pt x="1155343" y="1861444"/>
                        <a:pt x="1158167" y="1912176"/>
                      </a:cubicBezTo>
                      <a:lnTo>
                        <a:pt x="1158167" y="1912176"/>
                      </a:lnTo>
                      <a:close/>
                    </a:path>
                  </a:pathLst>
                </a:custGeom>
                <a:solidFill>
                  <a:srgbClr val="ABDEF6"/>
                </a:solidFill>
                <a:ln w="10085" cap="flat">
                  <a:solidFill>
                    <a:srgbClr val="FFFFFF"/>
                  </a:solidFill>
                  <a:prstDash val="solid"/>
                  <a:miter/>
                </a:ln>
              </p:spPr>
              <p:txBody>
                <a:bodyPr rtlCol="0" anchor="ctr"/>
                <a:lstStyle/>
                <a:p>
                  <a:endParaRPr lang="fr-FR" sz="900"/>
                </a:p>
              </p:txBody>
            </p:sp>
          </p:grpSp>
          <p:grpSp>
            <p:nvGrpSpPr>
              <p:cNvPr id="26" name="Graphique 17">
                <a:extLst>
                  <a:ext uri="{FF2B5EF4-FFF2-40B4-BE49-F238E27FC236}">
                    <a16:creationId xmlns:a16="http://schemas.microsoft.com/office/drawing/2014/main" id="{26600F5A-4FAC-C7F9-61FE-CA1188AC7FA2}"/>
                  </a:ext>
                </a:extLst>
              </p:cNvPr>
              <p:cNvGrpSpPr/>
              <p:nvPr/>
            </p:nvGrpSpPr>
            <p:grpSpPr>
              <a:xfrm>
                <a:off x="4231168" y="8438042"/>
                <a:ext cx="1199309" cy="1336375"/>
                <a:chOff x="4231168" y="8438042"/>
                <a:chExt cx="1199309" cy="1336375"/>
              </a:xfrm>
              <a:solidFill>
                <a:srgbClr val="ABDEF6"/>
              </a:solidFill>
            </p:grpSpPr>
            <p:sp>
              <p:nvSpPr>
                <p:cNvPr id="27" name="Forme libre : forme 26">
                  <a:extLst>
                    <a:ext uri="{FF2B5EF4-FFF2-40B4-BE49-F238E27FC236}">
                      <a16:creationId xmlns:a16="http://schemas.microsoft.com/office/drawing/2014/main" id="{76E75364-A6BC-2CAC-962A-EB1A54EEB7C2}"/>
                    </a:ext>
                  </a:extLst>
                </p:cNvPr>
                <p:cNvSpPr/>
                <p:nvPr/>
              </p:nvSpPr>
              <p:spPr>
                <a:xfrm>
                  <a:off x="4233488" y="8440810"/>
                  <a:ext cx="1194303" cy="1330294"/>
                </a:xfrm>
                <a:custGeom>
                  <a:avLst/>
                  <a:gdLst>
                    <a:gd name="connsiteX0" fmla="*/ 1088365 w 1194303"/>
                    <a:gd name="connsiteY0" fmla="*/ 131878 h 1330294"/>
                    <a:gd name="connsiteX1" fmla="*/ 1003139 w 1194303"/>
                    <a:gd name="connsiteY1" fmla="*/ 17403 h 1330294"/>
                    <a:gd name="connsiteX2" fmla="*/ 1002736 w 1194303"/>
                    <a:gd name="connsiteY2" fmla="*/ 15185 h 1330294"/>
                    <a:gd name="connsiteX3" fmla="*/ 996180 w 1194303"/>
                    <a:gd name="connsiteY3" fmla="*/ 19521 h 1330294"/>
                    <a:gd name="connsiteX4" fmla="*/ 868190 w 1194303"/>
                    <a:gd name="connsiteY4" fmla="*/ 21236 h 1330294"/>
                    <a:gd name="connsiteX5" fmla="*/ 760978 w 1194303"/>
                    <a:gd name="connsiteY5" fmla="*/ 14377 h 1330294"/>
                    <a:gd name="connsiteX6" fmla="*/ 715995 w 1194303"/>
                    <a:gd name="connsiteY6" fmla="*/ 3989 h 1330294"/>
                    <a:gd name="connsiteX7" fmla="*/ 686544 w 1194303"/>
                    <a:gd name="connsiteY7" fmla="*/ 12562 h 1330294"/>
                    <a:gd name="connsiteX8" fmla="*/ 696933 w 1194303"/>
                    <a:gd name="connsiteY8" fmla="*/ 57545 h 1330294"/>
                    <a:gd name="connsiteX9" fmla="*/ 658909 w 1194303"/>
                    <a:gd name="connsiteY9" fmla="*/ 42013 h 1330294"/>
                    <a:gd name="connsiteX10" fmla="*/ 641662 w 1194303"/>
                    <a:gd name="connsiteY10" fmla="*/ 69648 h 1330294"/>
                    <a:gd name="connsiteX11" fmla="*/ 614027 w 1194303"/>
                    <a:gd name="connsiteY11" fmla="*/ 47157 h 1330294"/>
                    <a:gd name="connsiteX12" fmla="*/ 549982 w 1194303"/>
                    <a:gd name="connsiteY12" fmla="*/ 35054 h 1330294"/>
                    <a:gd name="connsiteX13" fmla="*/ 482507 w 1194303"/>
                    <a:gd name="connsiteY13" fmla="*/ 90425 h 1330294"/>
                    <a:gd name="connsiteX14" fmla="*/ 437525 w 1194303"/>
                    <a:gd name="connsiteY14" fmla="*/ 52401 h 1330294"/>
                    <a:gd name="connsiteX15" fmla="*/ 375194 w 1194303"/>
                    <a:gd name="connsiteY15" fmla="*/ 69648 h 1330294"/>
                    <a:gd name="connsiteX16" fmla="*/ 354014 w 1194303"/>
                    <a:gd name="connsiteY16" fmla="*/ 56436 h 1330294"/>
                    <a:gd name="connsiteX17" fmla="*/ 354014 w 1194303"/>
                    <a:gd name="connsiteY17" fmla="*/ 56536 h 1330294"/>
                    <a:gd name="connsiteX18" fmla="*/ 322848 w 1194303"/>
                    <a:gd name="connsiteY18" fmla="*/ 79229 h 1330294"/>
                    <a:gd name="connsiteX19" fmla="*/ 252852 w 1194303"/>
                    <a:gd name="connsiteY19" fmla="*/ 100914 h 1330294"/>
                    <a:gd name="connsiteX20" fmla="*/ 197279 w 1194303"/>
                    <a:gd name="connsiteY20" fmla="*/ 146805 h 1330294"/>
                    <a:gd name="connsiteX21" fmla="*/ 117601 w 1194303"/>
                    <a:gd name="connsiteY21" fmla="*/ 190275 h 1330294"/>
                    <a:gd name="connsiteX22" fmla="*/ 124863 w 1194303"/>
                    <a:gd name="connsiteY22" fmla="*/ 364054 h 1330294"/>
                    <a:gd name="connsiteX23" fmla="*/ 170753 w 1194303"/>
                    <a:gd name="connsiteY23" fmla="*/ 426889 h 1330294"/>
                    <a:gd name="connsiteX24" fmla="*/ 115281 w 1194303"/>
                    <a:gd name="connsiteY24" fmla="*/ 446153 h 1330294"/>
                    <a:gd name="connsiteX25" fmla="*/ 93597 w 1194303"/>
                    <a:gd name="connsiteY25" fmla="*/ 513728 h 1330294"/>
                    <a:gd name="connsiteX26" fmla="*/ 98438 w 1194303"/>
                    <a:gd name="connsiteY26" fmla="*/ 571722 h 1330294"/>
                    <a:gd name="connsiteX27" fmla="*/ 30863 w 1194303"/>
                    <a:gd name="connsiteY27" fmla="*/ 598248 h 1330294"/>
                    <a:gd name="connsiteX28" fmla="*/ 0 w 1194303"/>
                    <a:gd name="connsiteY28" fmla="*/ 637784 h 1330294"/>
                    <a:gd name="connsiteX29" fmla="*/ 33586 w 1194303"/>
                    <a:gd name="connsiteY29" fmla="*/ 643533 h 1330294"/>
                    <a:gd name="connsiteX30" fmla="*/ 94101 w 1194303"/>
                    <a:gd name="connsiteY30" fmla="*/ 677119 h 1330294"/>
                    <a:gd name="connsiteX31" fmla="*/ 97429 w 1194303"/>
                    <a:gd name="connsiteY31" fmla="*/ 757705 h 1330294"/>
                    <a:gd name="connsiteX32" fmla="*/ 141101 w 1194303"/>
                    <a:gd name="connsiteY32" fmla="*/ 737534 h 1330294"/>
                    <a:gd name="connsiteX33" fmla="*/ 255374 w 1194303"/>
                    <a:gd name="connsiteY33" fmla="*/ 730877 h 1330294"/>
                    <a:gd name="connsiteX34" fmla="*/ 299046 w 1194303"/>
                    <a:gd name="connsiteY34" fmla="*/ 791291 h 1330294"/>
                    <a:gd name="connsiteX35" fmla="*/ 335960 w 1194303"/>
                    <a:gd name="connsiteY35" fmla="*/ 848377 h 1330294"/>
                    <a:gd name="connsiteX36" fmla="*/ 406460 w 1194303"/>
                    <a:gd name="connsiteY36" fmla="*/ 888720 h 1330294"/>
                    <a:gd name="connsiteX37" fmla="*/ 403132 w 1194303"/>
                    <a:gd name="connsiteY37" fmla="*/ 965978 h 1330294"/>
                    <a:gd name="connsiteX38" fmla="*/ 369546 w 1194303"/>
                    <a:gd name="connsiteY38" fmla="*/ 1012978 h 1330294"/>
                    <a:gd name="connsiteX39" fmla="*/ 379631 w 1194303"/>
                    <a:gd name="connsiteY39" fmla="*/ 1080150 h 1330294"/>
                    <a:gd name="connsiteX40" fmla="*/ 403132 w 1194303"/>
                    <a:gd name="connsiteY40" fmla="*/ 1133908 h 1330294"/>
                    <a:gd name="connsiteX41" fmla="*/ 446803 w 1194303"/>
                    <a:gd name="connsiteY41" fmla="*/ 1147322 h 1330294"/>
                    <a:gd name="connsiteX42" fmla="*/ 470304 w 1194303"/>
                    <a:gd name="connsiteY42" fmla="*/ 1174150 h 1330294"/>
                    <a:gd name="connsiteX43" fmla="*/ 456990 w 1194303"/>
                    <a:gd name="connsiteY43" fmla="*/ 1211569 h 1330294"/>
                    <a:gd name="connsiteX44" fmla="*/ 495921 w 1194303"/>
                    <a:gd name="connsiteY44" fmla="*/ 1223470 h 1330294"/>
                    <a:gd name="connsiteX45" fmla="*/ 525070 w 1194303"/>
                    <a:gd name="connsiteY45" fmla="*/ 1241826 h 1330294"/>
                    <a:gd name="connsiteX46" fmla="*/ 561782 w 1194303"/>
                    <a:gd name="connsiteY46" fmla="*/ 1226698 h 1330294"/>
                    <a:gd name="connsiteX47" fmla="*/ 621188 w 1194303"/>
                    <a:gd name="connsiteY47" fmla="*/ 1254736 h 1330294"/>
                    <a:gd name="connsiteX48" fmla="*/ 719424 w 1194303"/>
                    <a:gd name="connsiteY48" fmla="*/ 1330280 h 1330294"/>
                    <a:gd name="connsiteX49" fmla="*/ 775501 w 1194303"/>
                    <a:gd name="connsiteY49" fmla="*/ 1298912 h 1330294"/>
                    <a:gd name="connsiteX50" fmla="*/ 811205 w 1194303"/>
                    <a:gd name="connsiteY50" fmla="*/ 1308696 h 1330294"/>
                    <a:gd name="connsiteX51" fmla="*/ 856491 w 1194303"/>
                    <a:gd name="connsiteY51" fmla="*/ 1288221 h 1330294"/>
                    <a:gd name="connsiteX52" fmla="*/ 891085 w 1194303"/>
                    <a:gd name="connsiteY52" fmla="*/ 1280657 h 1330294"/>
                    <a:gd name="connsiteX53" fmla="*/ 913779 w 1194303"/>
                    <a:gd name="connsiteY53" fmla="*/ 1257963 h 1330294"/>
                    <a:gd name="connsiteX54" fmla="*/ 919124 w 1194303"/>
                    <a:gd name="connsiteY54" fmla="*/ 1232043 h 1330294"/>
                    <a:gd name="connsiteX55" fmla="*/ 947163 w 1194303"/>
                    <a:gd name="connsiteY55" fmla="*/ 1194221 h 1330294"/>
                    <a:gd name="connsiteX56" fmla="*/ 976311 w 1194303"/>
                    <a:gd name="connsiteY56" fmla="*/ 1138143 h 1330294"/>
                    <a:gd name="connsiteX57" fmla="*/ 970965 w 1194303"/>
                    <a:gd name="connsiteY57" fmla="*/ 1071174 h 1330294"/>
                    <a:gd name="connsiteX58" fmla="*/ 1028152 w 1194303"/>
                    <a:gd name="connsiteY58" fmla="*/ 1018223 h 1330294"/>
                    <a:gd name="connsiteX59" fmla="*/ 1064865 w 1194303"/>
                    <a:gd name="connsiteY59" fmla="*/ 966382 h 1330294"/>
                    <a:gd name="connsiteX60" fmla="*/ 1063856 w 1194303"/>
                    <a:gd name="connsiteY60" fmla="*/ 901630 h 1330294"/>
                    <a:gd name="connsiteX61" fmla="*/ 1086549 w 1194303"/>
                    <a:gd name="connsiteY61" fmla="*/ 915650 h 1330294"/>
                    <a:gd name="connsiteX62" fmla="*/ 1128607 w 1194303"/>
                    <a:gd name="connsiteY62" fmla="*/ 939452 h 1330294"/>
                    <a:gd name="connsiteX63" fmla="*/ 1160983 w 1194303"/>
                    <a:gd name="connsiteY63" fmla="*/ 873491 h 1330294"/>
                    <a:gd name="connsiteX64" fmla="*/ 1146863 w 1194303"/>
                    <a:gd name="connsiteY64" fmla="*/ 807630 h 1330294"/>
                    <a:gd name="connsiteX65" fmla="*/ 1134961 w 1194303"/>
                    <a:gd name="connsiteY65" fmla="*/ 733096 h 1330294"/>
                    <a:gd name="connsiteX66" fmla="*/ 1161891 w 1194303"/>
                    <a:gd name="connsiteY66" fmla="*/ 659671 h 1330294"/>
                    <a:gd name="connsiteX67" fmla="*/ 1105813 w 1194303"/>
                    <a:gd name="connsiteY67" fmla="*/ 593810 h 1330294"/>
                    <a:gd name="connsiteX68" fmla="*/ 1095022 w 1194303"/>
                    <a:gd name="connsiteY68" fmla="*/ 524722 h 1330294"/>
                    <a:gd name="connsiteX69" fmla="*/ 1179238 w 1194303"/>
                    <a:gd name="connsiteY69" fmla="*/ 478327 h 1330294"/>
                    <a:gd name="connsiteX70" fmla="*/ 1181457 w 1194303"/>
                    <a:gd name="connsiteY70" fmla="*/ 263498 h 1330294"/>
                    <a:gd name="connsiteX71" fmla="*/ 1088365 w 1194303"/>
                    <a:gd name="connsiteY71" fmla="*/ 131878 h 1330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194303" h="1330294">
                      <a:moveTo>
                        <a:pt x="1088365" y="131878"/>
                      </a:moveTo>
                      <a:cubicBezTo>
                        <a:pt x="1045197" y="100511"/>
                        <a:pt x="1008485" y="59562"/>
                        <a:pt x="1003139" y="17403"/>
                      </a:cubicBezTo>
                      <a:cubicBezTo>
                        <a:pt x="1003038" y="16596"/>
                        <a:pt x="1002837" y="15991"/>
                        <a:pt x="1002736" y="15185"/>
                      </a:cubicBezTo>
                      <a:cubicBezTo>
                        <a:pt x="1000416" y="16496"/>
                        <a:pt x="998903" y="18311"/>
                        <a:pt x="996180" y="19521"/>
                      </a:cubicBezTo>
                      <a:cubicBezTo>
                        <a:pt x="961686" y="35054"/>
                        <a:pt x="907929" y="43727"/>
                        <a:pt x="868190" y="21236"/>
                      </a:cubicBezTo>
                      <a:cubicBezTo>
                        <a:pt x="828452" y="-1255"/>
                        <a:pt x="788613" y="-4685"/>
                        <a:pt x="760978" y="14377"/>
                      </a:cubicBezTo>
                      <a:cubicBezTo>
                        <a:pt x="733343" y="33440"/>
                        <a:pt x="721139" y="10948"/>
                        <a:pt x="715995" y="3989"/>
                      </a:cubicBezTo>
                      <a:cubicBezTo>
                        <a:pt x="710750" y="-2970"/>
                        <a:pt x="681400" y="-1255"/>
                        <a:pt x="686544" y="12562"/>
                      </a:cubicBezTo>
                      <a:cubicBezTo>
                        <a:pt x="691688" y="26380"/>
                        <a:pt x="710750" y="48972"/>
                        <a:pt x="696933" y="57545"/>
                      </a:cubicBezTo>
                      <a:cubicBezTo>
                        <a:pt x="683115" y="66219"/>
                        <a:pt x="677870" y="33339"/>
                        <a:pt x="658909" y="42013"/>
                      </a:cubicBezTo>
                      <a:cubicBezTo>
                        <a:pt x="639847" y="50586"/>
                        <a:pt x="662338" y="66118"/>
                        <a:pt x="641662" y="69648"/>
                      </a:cubicBezTo>
                      <a:cubicBezTo>
                        <a:pt x="620885" y="73077"/>
                        <a:pt x="614027" y="67933"/>
                        <a:pt x="614027" y="47157"/>
                      </a:cubicBezTo>
                      <a:cubicBezTo>
                        <a:pt x="614027" y="26380"/>
                        <a:pt x="556941" y="15991"/>
                        <a:pt x="549982" y="35054"/>
                      </a:cubicBezTo>
                      <a:cubicBezTo>
                        <a:pt x="543123" y="54116"/>
                        <a:pt x="496325" y="109487"/>
                        <a:pt x="482507" y="90425"/>
                      </a:cubicBezTo>
                      <a:cubicBezTo>
                        <a:pt x="468690" y="71363"/>
                        <a:pt x="458301" y="24665"/>
                        <a:pt x="437525" y="52401"/>
                      </a:cubicBezTo>
                      <a:cubicBezTo>
                        <a:pt x="416748" y="80037"/>
                        <a:pt x="401215" y="81751"/>
                        <a:pt x="375194" y="69648"/>
                      </a:cubicBezTo>
                      <a:cubicBezTo>
                        <a:pt x="364604" y="64706"/>
                        <a:pt x="358350" y="60268"/>
                        <a:pt x="354014" y="56436"/>
                      </a:cubicBezTo>
                      <a:lnTo>
                        <a:pt x="354014" y="56536"/>
                      </a:lnTo>
                      <a:cubicBezTo>
                        <a:pt x="339994" y="69144"/>
                        <a:pt x="328395" y="78221"/>
                        <a:pt x="322848" y="79229"/>
                      </a:cubicBezTo>
                      <a:cubicBezTo>
                        <a:pt x="298743" y="84071"/>
                        <a:pt x="257694" y="79229"/>
                        <a:pt x="252852" y="100914"/>
                      </a:cubicBezTo>
                      <a:cubicBezTo>
                        <a:pt x="248011" y="122700"/>
                        <a:pt x="221485" y="139543"/>
                        <a:pt x="197279" y="146805"/>
                      </a:cubicBezTo>
                      <a:cubicBezTo>
                        <a:pt x="173174" y="154067"/>
                        <a:pt x="124863" y="170910"/>
                        <a:pt x="117601" y="190275"/>
                      </a:cubicBezTo>
                      <a:cubicBezTo>
                        <a:pt x="110339" y="209539"/>
                        <a:pt x="91075" y="349531"/>
                        <a:pt x="124863" y="364054"/>
                      </a:cubicBezTo>
                      <a:cubicBezTo>
                        <a:pt x="158650" y="378578"/>
                        <a:pt x="175494" y="397842"/>
                        <a:pt x="170753" y="426889"/>
                      </a:cubicBezTo>
                      <a:cubicBezTo>
                        <a:pt x="165912" y="455836"/>
                        <a:pt x="122543" y="431730"/>
                        <a:pt x="115281" y="446153"/>
                      </a:cubicBezTo>
                      <a:cubicBezTo>
                        <a:pt x="108019" y="460576"/>
                        <a:pt x="86335" y="494363"/>
                        <a:pt x="93597" y="513728"/>
                      </a:cubicBezTo>
                      <a:cubicBezTo>
                        <a:pt x="100758" y="533093"/>
                        <a:pt x="117702" y="557299"/>
                        <a:pt x="98438" y="571722"/>
                      </a:cubicBezTo>
                      <a:cubicBezTo>
                        <a:pt x="79073" y="586145"/>
                        <a:pt x="47706" y="569302"/>
                        <a:pt x="30863" y="598248"/>
                      </a:cubicBezTo>
                      <a:cubicBezTo>
                        <a:pt x="24710" y="608838"/>
                        <a:pt x="13011" y="623059"/>
                        <a:pt x="0" y="637784"/>
                      </a:cubicBezTo>
                      <a:cubicBezTo>
                        <a:pt x="11800" y="641113"/>
                        <a:pt x="23500" y="643533"/>
                        <a:pt x="33586" y="643533"/>
                      </a:cubicBezTo>
                      <a:cubicBezTo>
                        <a:pt x="77258" y="643533"/>
                        <a:pt x="87344" y="656948"/>
                        <a:pt x="94101" y="677119"/>
                      </a:cubicBezTo>
                      <a:cubicBezTo>
                        <a:pt x="100758" y="697291"/>
                        <a:pt x="70500" y="757705"/>
                        <a:pt x="97429" y="757705"/>
                      </a:cubicBezTo>
                      <a:cubicBezTo>
                        <a:pt x="124358" y="757705"/>
                        <a:pt x="141101" y="757604"/>
                        <a:pt x="141101" y="737534"/>
                      </a:cubicBezTo>
                      <a:cubicBezTo>
                        <a:pt x="141101" y="717463"/>
                        <a:pt x="221687" y="710806"/>
                        <a:pt x="255374" y="730877"/>
                      </a:cubicBezTo>
                      <a:cubicBezTo>
                        <a:pt x="288960" y="750948"/>
                        <a:pt x="275546" y="781306"/>
                        <a:pt x="299046" y="791291"/>
                      </a:cubicBezTo>
                      <a:cubicBezTo>
                        <a:pt x="322546" y="801377"/>
                        <a:pt x="312460" y="841620"/>
                        <a:pt x="335960" y="848377"/>
                      </a:cubicBezTo>
                      <a:cubicBezTo>
                        <a:pt x="359460" y="855135"/>
                        <a:pt x="389617" y="871877"/>
                        <a:pt x="406460" y="888720"/>
                      </a:cubicBezTo>
                      <a:cubicBezTo>
                        <a:pt x="423303" y="905564"/>
                        <a:pt x="453561" y="949236"/>
                        <a:pt x="403132" y="965978"/>
                      </a:cubicBezTo>
                      <a:cubicBezTo>
                        <a:pt x="352702" y="982822"/>
                        <a:pt x="349374" y="1002993"/>
                        <a:pt x="369546" y="1012978"/>
                      </a:cubicBezTo>
                      <a:cubicBezTo>
                        <a:pt x="389717" y="1023064"/>
                        <a:pt x="403132" y="1063408"/>
                        <a:pt x="379631" y="1080150"/>
                      </a:cubicBezTo>
                      <a:cubicBezTo>
                        <a:pt x="356132" y="1096994"/>
                        <a:pt x="386389" y="1113736"/>
                        <a:pt x="403132" y="1133908"/>
                      </a:cubicBezTo>
                      <a:cubicBezTo>
                        <a:pt x="419975" y="1154079"/>
                        <a:pt x="419975" y="1150751"/>
                        <a:pt x="446803" y="1147322"/>
                      </a:cubicBezTo>
                      <a:cubicBezTo>
                        <a:pt x="473632" y="1143993"/>
                        <a:pt x="470304" y="1150549"/>
                        <a:pt x="470304" y="1174150"/>
                      </a:cubicBezTo>
                      <a:cubicBezTo>
                        <a:pt x="470304" y="1197751"/>
                        <a:pt x="447308" y="1199668"/>
                        <a:pt x="456990" y="1211569"/>
                      </a:cubicBezTo>
                      <a:cubicBezTo>
                        <a:pt x="466773" y="1223470"/>
                        <a:pt x="485130" y="1213787"/>
                        <a:pt x="495921" y="1223470"/>
                      </a:cubicBezTo>
                      <a:cubicBezTo>
                        <a:pt x="506713" y="1233254"/>
                        <a:pt x="513168" y="1247273"/>
                        <a:pt x="525070" y="1241826"/>
                      </a:cubicBezTo>
                      <a:cubicBezTo>
                        <a:pt x="536971" y="1236481"/>
                        <a:pt x="539089" y="1224579"/>
                        <a:pt x="561782" y="1226698"/>
                      </a:cubicBezTo>
                      <a:cubicBezTo>
                        <a:pt x="584475" y="1228916"/>
                        <a:pt x="609287" y="1237490"/>
                        <a:pt x="621188" y="1254736"/>
                      </a:cubicBezTo>
                      <a:cubicBezTo>
                        <a:pt x="633089" y="1271983"/>
                        <a:pt x="688158" y="1331389"/>
                        <a:pt x="719424" y="1330280"/>
                      </a:cubicBezTo>
                      <a:cubicBezTo>
                        <a:pt x="750791" y="1329170"/>
                        <a:pt x="756137" y="1306476"/>
                        <a:pt x="775501" y="1298912"/>
                      </a:cubicBezTo>
                      <a:cubicBezTo>
                        <a:pt x="794967" y="1291348"/>
                        <a:pt x="798195" y="1305367"/>
                        <a:pt x="811205" y="1308696"/>
                      </a:cubicBezTo>
                      <a:cubicBezTo>
                        <a:pt x="824115" y="1311923"/>
                        <a:pt x="847918" y="1295785"/>
                        <a:pt x="856491" y="1288221"/>
                      </a:cubicBezTo>
                      <a:cubicBezTo>
                        <a:pt x="865165" y="1280657"/>
                        <a:pt x="891085" y="1280657"/>
                        <a:pt x="891085" y="1280657"/>
                      </a:cubicBezTo>
                      <a:lnTo>
                        <a:pt x="913779" y="1257963"/>
                      </a:lnTo>
                      <a:cubicBezTo>
                        <a:pt x="913779" y="1257963"/>
                        <a:pt x="920233" y="1256854"/>
                        <a:pt x="919124" y="1232043"/>
                      </a:cubicBezTo>
                      <a:cubicBezTo>
                        <a:pt x="918015" y="1207232"/>
                        <a:pt x="925579" y="1205114"/>
                        <a:pt x="947163" y="1194221"/>
                      </a:cubicBezTo>
                      <a:cubicBezTo>
                        <a:pt x="968746" y="1183429"/>
                        <a:pt x="973083" y="1160736"/>
                        <a:pt x="976311" y="1138143"/>
                      </a:cubicBezTo>
                      <a:cubicBezTo>
                        <a:pt x="979538" y="1115450"/>
                        <a:pt x="947163" y="1105768"/>
                        <a:pt x="970965" y="1071174"/>
                      </a:cubicBezTo>
                      <a:cubicBezTo>
                        <a:pt x="994768" y="1036579"/>
                        <a:pt x="1016352" y="1029015"/>
                        <a:pt x="1028152" y="1018223"/>
                      </a:cubicBezTo>
                      <a:cubicBezTo>
                        <a:pt x="1040053" y="1007431"/>
                        <a:pt x="1063856" y="989075"/>
                        <a:pt x="1064865" y="966382"/>
                      </a:cubicBezTo>
                      <a:cubicBezTo>
                        <a:pt x="1065974" y="943688"/>
                        <a:pt x="1054073" y="906976"/>
                        <a:pt x="1063856" y="901630"/>
                      </a:cubicBezTo>
                      <a:cubicBezTo>
                        <a:pt x="1073539" y="896184"/>
                        <a:pt x="1078985" y="897293"/>
                        <a:pt x="1086549" y="915650"/>
                      </a:cubicBezTo>
                      <a:cubicBezTo>
                        <a:pt x="1094114" y="934006"/>
                        <a:pt x="1108133" y="950143"/>
                        <a:pt x="1128607" y="939452"/>
                      </a:cubicBezTo>
                      <a:cubicBezTo>
                        <a:pt x="1149082" y="928660"/>
                        <a:pt x="1160983" y="900521"/>
                        <a:pt x="1160983" y="873491"/>
                      </a:cubicBezTo>
                      <a:cubicBezTo>
                        <a:pt x="1160983" y="846562"/>
                        <a:pt x="1164210" y="837888"/>
                        <a:pt x="1146863" y="807630"/>
                      </a:cubicBezTo>
                      <a:cubicBezTo>
                        <a:pt x="1129616" y="777372"/>
                        <a:pt x="1122052" y="751553"/>
                        <a:pt x="1134961" y="733096"/>
                      </a:cubicBezTo>
                      <a:cubicBezTo>
                        <a:pt x="1147871" y="714739"/>
                        <a:pt x="1176011" y="708285"/>
                        <a:pt x="1161891" y="659671"/>
                      </a:cubicBezTo>
                      <a:cubicBezTo>
                        <a:pt x="1147871" y="611057"/>
                        <a:pt x="1119833" y="596029"/>
                        <a:pt x="1105813" y="593810"/>
                      </a:cubicBezTo>
                      <a:cubicBezTo>
                        <a:pt x="1091794" y="591591"/>
                        <a:pt x="1060427" y="545196"/>
                        <a:pt x="1095022" y="524722"/>
                      </a:cubicBezTo>
                      <a:cubicBezTo>
                        <a:pt x="1129616" y="504248"/>
                        <a:pt x="1163101" y="523613"/>
                        <a:pt x="1179238" y="478327"/>
                      </a:cubicBezTo>
                      <a:cubicBezTo>
                        <a:pt x="1195477" y="433041"/>
                        <a:pt x="1201931" y="332586"/>
                        <a:pt x="1181457" y="263498"/>
                      </a:cubicBezTo>
                      <a:cubicBezTo>
                        <a:pt x="1160680" y="194511"/>
                        <a:pt x="1131532" y="163144"/>
                        <a:pt x="1088365" y="131878"/>
                      </a:cubicBezTo>
                      <a:close/>
                    </a:path>
                  </a:pathLst>
                </a:custGeom>
                <a:solidFill>
                  <a:schemeClr val="bg1">
                    <a:lumMod val="75000"/>
                  </a:schemeClr>
                </a:solidFill>
                <a:ln w="10085" cap="flat">
                  <a:solidFill>
                    <a:srgbClr val="FFFFFF"/>
                  </a:solidFill>
                  <a:prstDash val="solid"/>
                  <a:miter/>
                </a:ln>
              </p:spPr>
              <p:txBody>
                <a:bodyPr rtlCol="0" anchor="ctr"/>
                <a:lstStyle/>
                <a:p>
                  <a:endParaRPr lang="fr-FR" sz="900"/>
                </a:p>
              </p:txBody>
            </p:sp>
            <p:sp>
              <p:nvSpPr>
                <p:cNvPr id="28" name="Forme libre : forme 27">
                  <a:extLst>
                    <a:ext uri="{FF2B5EF4-FFF2-40B4-BE49-F238E27FC236}">
                      <a16:creationId xmlns:a16="http://schemas.microsoft.com/office/drawing/2014/main" id="{F38391F6-792D-772F-FC52-ABEC1996F63D}"/>
                    </a:ext>
                  </a:extLst>
                </p:cNvPr>
                <p:cNvSpPr/>
                <p:nvPr/>
              </p:nvSpPr>
              <p:spPr>
                <a:xfrm>
                  <a:off x="4231168" y="8438042"/>
                  <a:ext cx="1199309" cy="1336375"/>
                </a:xfrm>
                <a:custGeom>
                  <a:avLst/>
                  <a:gdLst>
                    <a:gd name="connsiteX0" fmla="*/ 620785 w 1199309"/>
                    <a:gd name="connsiteY0" fmla="*/ 1259118 h 1336375"/>
                    <a:gd name="connsiteX1" fmla="*/ 563295 w 1199309"/>
                    <a:gd name="connsiteY1" fmla="*/ 1232189 h 1336375"/>
                    <a:gd name="connsiteX2" fmla="*/ 563295 w 1199309"/>
                    <a:gd name="connsiteY2" fmla="*/ 1232189 h 1336375"/>
                    <a:gd name="connsiteX3" fmla="*/ 558454 w 1199309"/>
                    <a:gd name="connsiteY3" fmla="*/ 1231987 h 1336375"/>
                    <a:gd name="connsiteX4" fmla="*/ 558454 w 1199309"/>
                    <a:gd name="connsiteY4" fmla="*/ 1231987 h 1336375"/>
                    <a:gd name="connsiteX5" fmla="*/ 527995 w 1199309"/>
                    <a:gd name="connsiteY5" fmla="*/ 1247217 h 1336375"/>
                    <a:gd name="connsiteX6" fmla="*/ 527995 w 1199309"/>
                    <a:gd name="connsiteY6" fmla="*/ 1247217 h 1336375"/>
                    <a:gd name="connsiteX7" fmla="*/ 521943 w 1199309"/>
                    <a:gd name="connsiteY7" fmla="*/ 1248629 h 1336375"/>
                    <a:gd name="connsiteX8" fmla="*/ 521943 w 1199309"/>
                    <a:gd name="connsiteY8" fmla="*/ 1248629 h 1336375"/>
                    <a:gd name="connsiteX9" fmla="*/ 496022 w 1199309"/>
                    <a:gd name="connsiteY9" fmla="*/ 1228357 h 1336375"/>
                    <a:gd name="connsiteX10" fmla="*/ 496022 w 1199309"/>
                    <a:gd name="connsiteY10" fmla="*/ 1228357 h 1336375"/>
                    <a:gd name="connsiteX11" fmla="*/ 456789 w 1199309"/>
                    <a:gd name="connsiteY11" fmla="*/ 1216253 h 1336375"/>
                    <a:gd name="connsiteX12" fmla="*/ 456789 w 1199309"/>
                    <a:gd name="connsiteY12" fmla="*/ 1216253 h 1336375"/>
                    <a:gd name="connsiteX13" fmla="*/ 453864 w 1199309"/>
                    <a:gd name="connsiteY13" fmla="*/ 1208891 h 1336375"/>
                    <a:gd name="connsiteX14" fmla="*/ 453864 w 1199309"/>
                    <a:gd name="connsiteY14" fmla="*/ 1208891 h 1336375"/>
                    <a:gd name="connsiteX15" fmla="*/ 469597 w 1199309"/>
                    <a:gd name="connsiteY15" fmla="*/ 1177019 h 1336375"/>
                    <a:gd name="connsiteX16" fmla="*/ 469597 w 1199309"/>
                    <a:gd name="connsiteY16" fmla="*/ 1177019 h 1336375"/>
                    <a:gd name="connsiteX17" fmla="*/ 469597 w 1199309"/>
                    <a:gd name="connsiteY17" fmla="*/ 1164715 h 1336375"/>
                    <a:gd name="connsiteX18" fmla="*/ 469597 w 1199309"/>
                    <a:gd name="connsiteY18" fmla="*/ 1164715 h 1336375"/>
                    <a:gd name="connsiteX19" fmla="*/ 459512 w 1199309"/>
                    <a:gd name="connsiteY19" fmla="*/ 1152108 h 1336375"/>
                    <a:gd name="connsiteX20" fmla="*/ 459512 w 1199309"/>
                    <a:gd name="connsiteY20" fmla="*/ 1152108 h 1336375"/>
                    <a:gd name="connsiteX21" fmla="*/ 449123 w 1199309"/>
                    <a:gd name="connsiteY21" fmla="*/ 1152914 h 1336375"/>
                    <a:gd name="connsiteX22" fmla="*/ 449123 w 1199309"/>
                    <a:gd name="connsiteY22" fmla="*/ 1152914 h 1336375"/>
                    <a:gd name="connsiteX23" fmla="*/ 427439 w 1199309"/>
                    <a:gd name="connsiteY23" fmla="*/ 1155435 h 1336375"/>
                    <a:gd name="connsiteX24" fmla="*/ 427439 w 1199309"/>
                    <a:gd name="connsiteY24" fmla="*/ 1155435 h 1336375"/>
                    <a:gd name="connsiteX25" fmla="*/ 403031 w 1199309"/>
                    <a:gd name="connsiteY25" fmla="*/ 1138491 h 1336375"/>
                    <a:gd name="connsiteX26" fmla="*/ 403031 w 1199309"/>
                    <a:gd name="connsiteY26" fmla="*/ 1138491 h 1336375"/>
                    <a:gd name="connsiteX27" fmla="*/ 370252 w 1199309"/>
                    <a:gd name="connsiteY27" fmla="*/ 1096231 h 1336375"/>
                    <a:gd name="connsiteX28" fmla="*/ 370252 w 1199309"/>
                    <a:gd name="connsiteY28" fmla="*/ 1096231 h 1336375"/>
                    <a:gd name="connsiteX29" fmla="*/ 380035 w 1199309"/>
                    <a:gd name="connsiteY29" fmla="*/ 1080800 h 1336375"/>
                    <a:gd name="connsiteX30" fmla="*/ 380035 w 1199309"/>
                    <a:gd name="connsiteY30" fmla="*/ 1080800 h 1336375"/>
                    <a:gd name="connsiteX31" fmla="*/ 391331 w 1199309"/>
                    <a:gd name="connsiteY31" fmla="*/ 1056897 h 1336375"/>
                    <a:gd name="connsiteX32" fmla="*/ 391331 w 1199309"/>
                    <a:gd name="connsiteY32" fmla="*/ 1056897 h 1336375"/>
                    <a:gd name="connsiteX33" fmla="*/ 370353 w 1199309"/>
                    <a:gd name="connsiteY33" fmla="*/ 1018268 h 1336375"/>
                    <a:gd name="connsiteX34" fmla="*/ 370353 w 1199309"/>
                    <a:gd name="connsiteY34" fmla="*/ 1018268 h 1336375"/>
                    <a:gd name="connsiteX35" fmla="*/ 357140 w 1199309"/>
                    <a:gd name="connsiteY35" fmla="*/ 1001424 h 1336375"/>
                    <a:gd name="connsiteX36" fmla="*/ 357140 w 1199309"/>
                    <a:gd name="connsiteY36" fmla="*/ 1001424 h 1336375"/>
                    <a:gd name="connsiteX37" fmla="*/ 404241 w 1199309"/>
                    <a:gd name="connsiteY37" fmla="*/ 966225 h 1336375"/>
                    <a:gd name="connsiteX38" fmla="*/ 404241 w 1199309"/>
                    <a:gd name="connsiteY38" fmla="*/ 966225 h 1336375"/>
                    <a:gd name="connsiteX39" fmla="*/ 430162 w 1199309"/>
                    <a:gd name="connsiteY39" fmla="*/ 938186 h 1336375"/>
                    <a:gd name="connsiteX40" fmla="*/ 430162 w 1199309"/>
                    <a:gd name="connsiteY40" fmla="*/ 938186 h 1336375"/>
                    <a:gd name="connsiteX41" fmla="*/ 406561 w 1199309"/>
                    <a:gd name="connsiteY41" fmla="*/ 893506 h 1336375"/>
                    <a:gd name="connsiteX42" fmla="*/ 406561 w 1199309"/>
                    <a:gd name="connsiteY42" fmla="*/ 893506 h 1336375"/>
                    <a:gd name="connsiteX43" fmla="*/ 337170 w 1199309"/>
                    <a:gd name="connsiteY43" fmla="*/ 853869 h 1336375"/>
                    <a:gd name="connsiteX44" fmla="*/ 337170 w 1199309"/>
                    <a:gd name="connsiteY44" fmla="*/ 853869 h 1336375"/>
                    <a:gd name="connsiteX45" fmla="*/ 299953 w 1199309"/>
                    <a:gd name="connsiteY45" fmla="*/ 796682 h 1336375"/>
                    <a:gd name="connsiteX46" fmla="*/ 299953 w 1199309"/>
                    <a:gd name="connsiteY46" fmla="*/ 796682 h 1336375"/>
                    <a:gd name="connsiteX47" fmla="*/ 255979 w 1199309"/>
                    <a:gd name="connsiteY47" fmla="*/ 736167 h 1336375"/>
                    <a:gd name="connsiteX48" fmla="*/ 255979 w 1199309"/>
                    <a:gd name="connsiteY48" fmla="*/ 736167 h 1336375"/>
                    <a:gd name="connsiteX49" fmla="*/ 199700 w 1199309"/>
                    <a:gd name="connsiteY49" fmla="*/ 724366 h 1336375"/>
                    <a:gd name="connsiteX50" fmla="*/ 199700 w 1199309"/>
                    <a:gd name="connsiteY50" fmla="*/ 724366 h 1336375"/>
                    <a:gd name="connsiteX51" fmla="*/ 145942 w 1199309"/>
                    <a:gd name="connsiteY51" fmla="*/ 740403 h 1336375"/>
                    <a:gd name="connsiteX52" fmla="*/ 145942 w 1199309"/>
                    <a:gd name="connsiteY52" fmla="*/ 740403 h 1336375"/>
                    <a:gd name="connsiteX53" fmla="*/ 99547 w 1199309"/>
                    <a:gd name="connsiteY53" fmla="*/ 763399 h 1336375"/>
                    <a:gd name="connsiteX54" fmla="*/ 99547 w 1199309"/>
                    <a:gd name="connsiteY54" fmla="*/ 763399 h 1336375"/>
                    <a:gd name="connsiteX55" fmla="*/ 85326 w 1199309"/>
                    <a:gd name="connsiteY55" fmla="*/ 745446 h 1336375"/>
                    <a:gd name="connsiteX56" fmla="*/ 85326 w 1199309"/>
                    <a:gd name="connsiteY56" fmla="*/ 745446 h 1336375"/>
                    <a:gd name="connsiteX57" fmla="*/ 94404 w 1199309"/>
                    <a:gd name="connsiteY57" fmla="*/ 687553 h 1336375"/>
                    <a:gd name="connsiteX58" fmla="*/ 94404 w 1199309"/>
                    <a:gd name="connsiteY58" fmla="*/ 687553 h 1336375"/>
                    <a:gd name="connsiteX59" fmla="*/ 93597 w 1199309"/>
                    <a:gd name="connsiteY59" fmla="*/ 680896 h 1336375"/>
                    <a:gd name="connsiteX60" fmla="*/ 93597 w 1199309"/>
                    <a:gd name="connsiteY60" fmla="*/ 680896 h 1336375"/>
                    <a:gd name="connsiteX61" fmla="*/ 35704 w 1199309"/>
                    <a:gd name="connsiteY61" fmla="*/ 649227 h 1336375"/>
                    <a:gd name="connsiteX62" fmla="*/ 35704 w 1199309"/>
                    <a:gd name="connsiteY62" fmla="*/ 649227 h 1336375"/>
                    <a:gd name="connsiteX63" fmla="*/ 1412 w 1199309"/>
                    <a:gd name="connsiteY63" fmla="*/ 643377 h 1336375"/>
                    <a:gd name="connsiteX64" fmla="*/ 1412 w 1199309"/>
                    <a:gd name="connsiteY64" fmla="*/ 643377 h 1336375"/>
                    <a:gd name="connsiteX65" fmla="*/ 0 w 1199309"/>
                    <a:gd name="connsiteY65" fmla="*/ 638939 h 1336375"/>
                    <a:gd name="connsiteX66" fmla="*/ 30459 w 1199309"/>
                    <a:gd name="connsiteY66" fmla="*/ 599806 h 1336375"/>
                    <a:gd name="connsiteX67" fmla="*/ 30459 w 1199309"/>
                    <a:gd name="connsiteY67" fmla="*/ 599806 h 1336375"/>
                    <a:gd name="connsiteX68" fmla="*/ 98741 w 1199309"/>
                    <a:gd name="connsiteY68" fmla="*/ 572473 h 1336375"/>
                    <a:gd name="connsiteX69" fmla="*/ 98741 w 1199309"/>
                    <a:gd name="connsiteY69" fmla="*/ 572473 h 1336375"/>
                    <a:gd name="connsiteX70" fmla="*/ 106608 w 1199309"/>
                    <a:gd name="connsiteY70" fmla="*/ 557143 h 1336375"/>
                    <a:gd name="connsiteX71" fmla="*/ 106608 w 1199309"/>
                    <a:gd name="connsiteY71" fmla="*/ 557143 h 1336375"/>
                    <a:gd name="connsiteX72" fmla="*/ 93093 w 1199309"/>
                    <a:gd name="connsiteY72" fmla="*/ 517808 h 1336375"/>
                    <a:gd name="connsiteX73" fmla="*/ 93093 w 1199309"/>
                    <a:gd name="connsiteY73" fmla="*/ 517808 h 1336375"/>
                    <a:gd name="connsiteX74" fmla="*/ 91378 w 1199309"/>
                    <a:gd name="connsiteY74" fmla="*/ 507823 h 1336375"/>
                    <a:gd name="connsiteX75" fmla="*/ 91378 w 1199309"/>
                    <a:gd name="connsiteY75" fmla="*/ 507823 h 1336375"/>
                    <a:gd name="connsiteX76" fmla="*/ 114878 w 1199309"/>
                    <a:gd name="connsiteY76" fmla="*/ 448014 h 1336375"/>
                    <a:gd name="connsiteX77" fmla="*/ 114878 w 1199309"/>
                    <a:gd name="connsiteY77" fmla="*/ 448014 h 1336375"/>
                    <a:gd name="connsiteX78" fmla="*/ 130410 w 1199309"/>
                    <a:gd name="connsiteY78" fmla="*/ 441256 h 1336375"/>
                    <a:gd name="connsiteX79" fmla="*/ 130410 w 1199309"/>
                    <a:gd name="connsiteY79" fmla="*/ 441256 h 1336375"/>
                    <a:gd name="connsiteX80" fmla="*/ 150380 w 1199309"/>
                    <a:gd name="connsiteY80" fmla="*/ 442265 h 1336375"/>
                    <a:gd name="connsiteX81" fmla="*/ 150380 w 1199309"/>
                    <a:gd name="connsiteY81" fmla="*/ 442265 h 1336375"/>
                    <a:gd name="connsiteX82" fmla="*/ 170048 w 1199309"/>
                    <a:gd name="connsiteY82" fmla="*/ 429456 h 1336375"/>
                    <a:gd name="connsiteX83" fmla="*/ 170048 w 1199309"/>
                    <a:gd name="connsiteY83" fmla="*/ 429456 h 1336375"/>
                    <a:gd name="connsiteX84" fmla="*/ 170854 w 1199309"/>
                    <a:gd name="connsiteY84" fmla="*/ 420378 h 1336375"/>
                    <a:gd name="connsiteX85" fmla="*/ 170854 w 1199309"/>
                    <a:gd name="connsiteY85" fmla="*/ 420378 h 1336375"/>
                    <a:gd name="connsiteX86" fmla="*/ 125872 w 1199309"/>
                    <a:gd name="connsiteY86" fmla="*/ 369546 h 1336375"/>
                    <a:gd name="connsiteX87" fmla="*/ 125872 w 1199309"/>
                    <a:gd name="connsiteY87" fmla="*/ 369546 h 1336375"/>
                    <a:gd name="connsiteX88" fmla="*/ 104893 w 1199309"/>
                    <a:gd name="connsiteY88" fmla="*/ 297432 h 1336375"/>
                    <a:gd name="connsiteX89" fmla="*/ 104893 w 1199309"/>
                    <a:gd name="connsiteY89" fmla="*/ 297432 h 1336375"/>
                    <a:gd name="connsiteX90" fmla="*/ 117198 w 1199309"/>
                    <a:gd name="connsiteY90" fmla="*/ 192236 h 1336375"/>
                    <a:gd name="connsiteX91" fmla="*/ 117198 w 1199309"/>
                    <a:gd name="connsiteY91" fmla="*/ 192236 h 1336375"/>
                    <a:gd name="connsiteX92" fmla="*/ 198692 w 1199309"/>
                    <a:gd name="connsiteY92" fmla="*/ 147052 h 1336375"/>
                    <a:gd name="connsiteX93" fmla="*/ 198692 w 1199309"/>
                    <a:gd name="connsiteY93" fmla="*/ 147052 h 1336375"/>
                    <a:gd name="connsiteX94" fmla="*/ 252348 w 1199309"/>
                    <a:gd name="connsiteY94" fmla="*/ 103279 h 1336375"/>
                    <a:gd name="connsiteX95" fmla="*/ 252348 w 1199309"/>
                    <a:gd name="connsiteY95" fmla="*/ 103279 h 1336375"/>
                    <a:gd name="connsiteX96" fmla="*/ 324462 w 1199309"/>
                    <a:gd name="connsiteY96" fmla="*/ 79476 h 1336375"/>
                    <a:gd name="connsiteX97" fmla="*/ 324462 w 1199309"/>
                    <a:gd name="connsiteY97" fmla="*/ 79476 h 1336375"/>
                    <a:gd name="connsiteX98" fmla="*/ 353812 w 1199309"/>
                    <a:gd name="connsiteY98" fmla="*/ 60717 h 1336375"/>
                    <a:gd name="connsiteX99" fmla="*/ 353812 w 1199309"/>
                    <a:gd name="connsiteY99" fmla="*/ 60717 h 1336375"/>
                    <a:gd name="connsiteX100" fmla="*/ 353711 w 1199309"/>
                    <a:gd name="connsiteY100" fmla="*/ 60717 h 1336375"/>
                    <a:gd name="connsiteX101" fmla="*/ 354518 w 1199309"/>
                    <a:gd name="connsiteY101" fmla="*/ 57288 h 1336375"/>
                    <a:gd name="connsiteX102" fmla="*/ 354518 w 1199309"/>
                    <a:gd name="connsiteY102" fmla="*/ 57288 h 1336375"/>
                    <a:gd name="connsiteX103" fmla="*/ 358048 w 1199309"/>
                    <a:gd name="connsiteY103" fmla="*/ 57389 h 1336375"/>
                    <a:gd name="connsiteX104" fmla="*/ 358048 w 1199309"/>
                    <a:gd name="connsiteY104" fmla="*/ 57389 h 1336375"/>
                    <a:gd name="connsiteX105" fmla="*/ 378623 w 1199309"/>
                    <a:gd name="connsiteY105" fmla="*/ 70097 h 1336375"/>
                    <a:gd name="connsiteX106" fmla="*/ 378623 w 1199309"/>
                    <a:gd name="connsiteY106" fmla="*/ 70097 h 1336375"/>
                    <a:gd name="connsiteX107" fmla="*/ 403132 w 1199309"/>
                    <a:gd name="connsiteY107" fmla="*/ 76955 h 1336375"/>
                    <a:gd name="connsiteX108" fmla="*/ 403132 w 1199309"/>
                    <a:gd name="connsiteY108" fmla="*/ 76955 h 1336375"/>
                    <a:gd name="connsiteX109" fmla="*/ 437525 w 1199309"/>
                    <a:gd name="connsiteY109" fmla="*/ 53657 h 1336375"/>
                    <a:gd name="connsiteX110" fmla="*/ 437525 w 1199309"/>
                    <a:gd name="connsiteY110" fmla="*/ 53657 h 1336375"/>
                    <a:gd name="connsiteX111" fmla="*/ 451947 w 1199309"/>
                    <a:gd name="connsiteY111" fmla="*/ 43873 h 1336375"/>
                    <a:gd name="connsiteX112" fmla="*/ 451947 w 1199309"/>
                    <a:gd name="connsiteY112" fmla="*/ 43873 h 1336375"/>
                    <a:gd name="connsiteX113" fmla="*/ 486945 w 1199309"/>
                    <a:gd name="connsiteY113" fmla="*/ 91781 h 1336375"/>
                    <a:gd name="connsiteX114" fmla="*/ 486945 w 1199309"/>
                    <a:gd name="connsiteY114" fmla="*/ 91781 h 1336375"/>
                    <a:gd name="connsiteX115" fmla="*/ 492392 w 1199309"/>
                    <a:gd name="connsiteY115" fmla="*/ 94403 h 1336375"/>
                    <a:gd name="connsiteX116" fmla="*/ 492392 w 1199309"/>
                    <a:gd name="connsiteY116" fmla="*/ 94403 h 1336375"/>
                    <a:gd name="connsiteX117" fmla="*/ 549478 w 1199309"/>
                    <a:gd name="connsiteY117" fmla="*/ 37015 h 1336375"/>
                    <a:gd name="connsiteX118" fmla="*/ 549478 w 1199309"/>
                    <a:gd name="connsiteY118" fmla="*/ 37015 h 1336375"/>
                    <a:gd name="connsiteX119" fmla="*/ 574692 w 1199309"/>
                    <a:gd name="connsiteY119" fmla="*/ 25114 h 1336375"/>
                    <a:gd name="connsiteX120" fmla="*/ 574692 w 1199309"/>
                    <a:gd name="connsiteY120" fmla="*/ 25114 h 1336375"/>
                    <a:gd name="connsiteX121" fmla="*/ 618969 w 1199309"/>
                    <a:gd name="connsiteY121" fmla="*/ 50127 h 1336375"/>
                    <a:gd name="connsiteX122" fmla="*/ 618969 w 1199309"/>
                    <a:gd name="connsiteY122" fmla="*/ 50127 h 1336375"/>
                    <a:gd name="connsiteX123" fmla="*/ 633594 w 1199309"/>
                    <a:gd name="connsiteY123" fmla="*/ 70803 h 1336375"/>
                    <a:gd name="connsiteX124" fmla="*/ 633594 w 1199309"/>
                    <a:gd name="connsiteY124" fmla="*/ 70803 h 1336375"/>
                    <a:gd name="connsiteX125" fmla="*/ 643377 w 1199309"/>
                    <a:gd name="connsiteY125" fmla="*/ 69895 h 1336375"/>
                    <a:gd name="connsiteX126" fmla="*/ 643377 w 1199309"/>
                    <a:gd name="connsiteY126" fmla="*/ 69895 h 1336375"/>
                    <a:gd name="connsiteX127" fmla="*/ 650538 w 1199309"/>
                    <a:gd name="connsiteY127" fmla="*/ 64247 h 1336375"/>
                    <a:gd name="connsiteX128" fmla="*/ 650538 w 1199309"/>
                    <a:gd name="connsiteY128" fmla="*/ 64247 h 1336375"/>
                    <a:gd name="connsiteX129" fmla="*/ 649832 w 1199309"/>
                    <a:gd name="connsiteY129" fmla="*/ 56178 h 1336375"/>
                    <a:gd name="connsiteX130" fmla="*/ 649832 w 1199309"/>
                    <a:gd name="connsiteY130" fmla="*/ 56178 h 1336375"/>
                    <a:gd name="connsiteX131" fmla="*/ 659817 w 1199309"/>
                    <a:gd name="connsiteY131" fmla="*/ 42461 h 1336375"/>
                    <a:gd name="connsiteX132" fmla="*/ 659817 w 1199309"/>
                    <a:gd name="connsiteY132" fmla="*/ 42461 h 1336375"/>
                    <a:gd name="connsiteX133" fmla="*/ 667079 w 1199309"/>
                    <a:gd name="connsiteY133" fmla="*/ 40646 h 1336375"/>
                    <a:gd name="connsiteX134" fmla="*/ 667079 w 1199309"/>
                    <a:gd name="connsiteY134" fmla="*/ 40646 h 1336375"/>
                    <a:gd name="connsiteX135" fmla="*/ 694512 w 1199309"/>
                    <a:gd name="connsiteY135" fmla="*/ 59204 h 1336375"/>
                    <a:gd name="connsiteX136" fmla="*/ 694512 w 1199309"/>
                    <a:gd name="connsiteY136" fmla="*/ 59204 h 1336375"/>
                    <a:gd name="connsiteX137" fmla="*/ 697639 w 1199309"/>
                    <a:gd name="connsiteY137" fmla="*/ 58195 h 1336375"/>
                    <a:gd name="connsiteX138" fmla="*/ 697639 w 1199309"/>
                    <a:gd name="connsiteY138" fmla="*/ 58195 h 1336375"/>
                    <a:gd name="connsiteX139" fmla="*/ 701169 w 1199309"/>
                    <a:gd name="connsiteY139" fmla="*/ 51539 h 1336375"/>
                    <a:gd name="connsiteX140" fmla="*/ 701169 w 1199309"/>
                    <a:gd name="connsiteY140" fmla="*/ 51539 h 1336375"/>
                    <a:gd name="connsiteX141" fmla="*/ 686141 w 1199309"/>
                    <a:gd name="connsiteY141" fmla="*/ 16541 h 1336375"/>
                    <a:gd name="connsiteX142" fmla="*/ 686141 w 1199309"/>
                    <a:gd name="connsiteY142" fmla="*/ 16541 h 1336375"/>
                    <a:gd name="connsiteX143" fmla="*/ 685233 w 1199309"/>
                    <a:gd name="connsiteY143" fmla="*/ 12305 h 1336375"/>
                    <a:gd name="connsiteX144" fmla="*/ 685233 w 1199309"/>
                    <a:gd name="connsiteY144" fmla="*/ 12305 h 1336375"/>
                    <a:gd name="connsiteX145" fmla="*/ 705203 w 1199309"/>
                    <a:gd name="connsiteY145" fmla="*/ 0 h 1336375"/>
                    <a:gd name="connsiteX146" fmla="*/ 705203 w 1199309"/>
                    <a:gd name="connsiteY146" fmla="*/ 0 h 1336375"/>
                    <a:gd name="connsiteX147" fmla="*/ 720433 w 1199309"/>
                    <a:gd name="connsiteY147" fmla="*/ 5144 h 1336375"/>
                    <a:gd name="connsiteX148" fmla="*/ 720433 w 1199309"/>
                    <a:gd name="connsiteY148" fmla="*/ 5144 h 1336375"/>
                    <a:gd name="connsiteX149" fmla="*/ 743025 w 1199309"/>
                    <a:gd name="connsiteY149" fmla="*/ 21886 h 1336375"/>
                    <a:gd name="connsiteX150" fmla="*/ 743025 w 1199309"/>
                    <a:gd name="connsiteY150" fmla="*/ 21886 h 1336375"/>
                    <a:gd name="connsiteX151" fmla="*/ 761583 w 1199309"/>
                    <a:gd name="connsiteY151" fmla="*/ 15028 h 1336375"/>
                    <a:gd name="connsiteX152" fmla="*/ 761583 w 1199309"/>
                    <a:gd name="connsiteY152" fmla="*/ 15028 h 1336375"/>
                    <a:gd name="connsiteX153" fmla="*/ 805457 w 1199309"/>
                    <a:gd name="connsiteY153" fmla="*/ 2118 h 1336375"/>
                    <a:gd name="connsiteX154" fmla="*/ 805457 w 1199309"/>
                    <a:gd name="connsiteY154" fmla="*/ 2118 h 1336375"/>
                    <a:gd name="connsiteX155" fmla="*/ 871721 w 1199309"/>
                    <a:gd name="connsiteY155" fmla="*/ 21685 h 1336375"/>
                    <a:gd name="connsiteX156" fmla="*/ 871721 w 1199309"/>
                    <a:gd name="connsiteY156" fmla="*/ 21685 h 1336375"/>
                    <a:gd name="connsiteX157" fmla="*/ 927294 w 1199309"/>
                    <a:gd name="connsiteY157" fmla="*/ 34998 h 1336375"/>
                    <a:gd name="connsiteX158" fmla="*/ 927294 w 1199309"/>
                    <a:gd name="connsiteY158" fmla="*/ 34998 h 1336375"/>
                    <a:gd name="connsiteX159" fmla="*/ 997189 w 1199309"/>
                    <a:gd name="connsiteY159" fmla="*/ 19869 h 1336375"/>
                    <a:gd name="connsiteX160" fmla="*/ 997189 w 1199309"/>
                    <a:gd name="connsiteY160" fmla="*/ 19869 h 1336375"/>
                    <a:gd name="connsiteX161" fmla="*/ 1003341 w 1199309"/>
                    <a:gd name="connsiteY161" fmla="*/ 15734 h 1336375"/>
                    <a:gd name="connsiteX162" fmla="*/ 1003341 w 1199309"/>
                    <a:gd name="connsiteY162" fmla="*/ 15734 h 1336375"/>
                    <a:gd name="connsiteX163" fmla="*/ 1007577 w 1199309"/>
                    <a:gd name="connsiteY163" fmla="*/ 17549 h 1336375"/>
                    <a:gd name="connsiteX164" fmla="*/ 1008081 w 1199309"/>
                    <a:gd name="connsiteY164" fmla="*/ 20071 h 1336375"/>
                    <a:gd name="connsiteX165" fmla="*/ 1092198 w 1199309"/>
                    <a:gd name="connsiteY165" fmla="*/ 132629 h 1336375"/>
                    <a:gd name="connsiteX166" fmla="*/ 1092198 w 1199309"/>
                    <a:gd name="connsiteY166" fmla="*/ 132629 h 1336375"/>
                    <a:gd name="connsiteX167" fmla="*/ 1090584 w 1199309"/>
                    <a:gd name="connsiteY167" fmla="*/ 134848 h 1336375"/>
                    <a:gd name="connsiteX168" fmla="*/ 1088869 w 1199309"/>
                    <a:gd name="connsiteY168" fmla="*/ 137167 h 1336375"/>
                    <a:gd name="connsiteX169" fmla="*/ 1002837 w 1199309"/>
                    <a:gd name="connsiteY169" fmla="*/ 22996 h 1336375"/>
                    <a:gd name="connsiteX170" fmla="*/ 1002837 w 1199309"/>
                    <a:gd name="connsiteY170" fmla="*/ 22996 h 1336375"/>
                    <a:gd name="connsiteX171" fmla="*/ 999407 w 1199309"/>
                    <a:gd name="connsiteY171" fmla="*/ 25013 h 1336375"/>
                    <a:gd name="connsiteX172" fmla="*/ 999407 w 1199309"/>
                    <a:gd name="connsiteY172" fmla="*/ 25013 h 1336375"/>
                    <a:gd name="connsiteX173" fmla="*/ 927193 w 1199309"/>
                    <a:gd name="connsiteY173" fmla="*/ 40545 h 1336375"/>
                    <a:gd name="connsiteX174" fmla="*/ 927193 w 1199309"/>
                    <a:gd name="connsiteY174" fmla="*/ 40545 h 1336375"/>
                    <a:gd name="connsiteX175" fmla="*/ 868796 w 1199309"/>
                    <a:gd name="connsiteY175" fmla="*/ 26526 h 1336375"/>
                    <a:gd name="connsiteX176" fmla="*/ 868796 w 1199309"/>
                    <a:gd name="connsiteY176" fmla="*/ 26526 h 1336375"/>
                    <a:gd name="connsiteX177" fmla="*/ 805255 w 1199309"/>
                    <a:gd name="connsiteY177" fmla="*/ 7463 h 1336375"/>
                    <a:gd name="connsiteX178" fmla="*/ 805255 w 1199309"/>
                    <a:gd name="connsiteY178" fmla="*/ 7463 h 1336375"/>
                    <a:gd name="connsiteX179" fmla="*/ 764407 w 1199309"/>
                    <a:gd name="connsiteY179" fmla="*/ 19466 h 1336375"/>
                    <a:gd name="connsiteX180" fmla="*/ 764407 w 1199309"/>
                    <a:gd name="connsiteY180" fmla="*/ 19466 h 1336375"/>
                    <a:gd name="connsiteX181" fmla="*/ 742723 w 1199309"/>
                    <a:gd name="connsiteY181" fmla="*/ 27333 h 1336375"/>
                    <a:gd name="connsiteX182" fmla="*/ 742723 w 1199309"/>
                    <a:gd name="connsiteY182" fmla="*/ 27333 h 1336375"/>
                    <a:gd name="connsiteX183" fmla="*/ 715692 w 1199309"/>
                    <a:gd name="connsiteY183" fmla="*/ 8371 h 1336375"/>
                    <a:gd name="connsiteX184" fmla="*/ 715692 w 1199309"/>
                    <a:gd name="connsiteY184" fmla="*/ 8371 h 1336375"/>
                    <a:gd name="connsiteX185" fmla="*/ 704901 w 1199309"/>
                    <a:gd name="connsiteY185" fmla="*/ 5446 h 1336375"/>
                    <a:gd name="connsiteX186" fmla="*/ 704901 w 1199309"/>
                    <a:gd name="connsiteY186" fmla="*/ 5446 h 1336375"/>
                    <a:gd name="connsiteX187" fmla="*/ 690579 w 1199309"/>
                    <a:gd name="connsiteY187" fmla="*/ 12103 h 1336375"/>
                    <a:gd name="connsiteX188" fmla="*/ 690579 w 1199309"/>
                    <a:gd name="connsiteY188" fmla="*/ 12103 h 1336375"/>
                    <a:gd name="connsiteX189" fmla="*/ 691083 w 1199309"/>
                    <a:gd name="connsiteY189" fmla="*/ 14322 h 1336375"/>
                    <a:gd name="connsiteX190" fmla="*/ 691083 w 1199309"/>
                    <a:gd name="connsiteY190" fmla="*/ 14322 h 1336375"/>
                    <a:gd name="connsiteX191" fmla="*/ 706514 w 1199309"/>
                    <a:gd name="connsiteY191" fmla="*/ 51337 h 1336375"/>
                    <a:gd name="connsiteX192" fmla="*/ 706514 w 1199309"/>
                    <a:gd name="connsiteY192" fmla="*/ 51337 h 1336375"/>
                    <a:gd name="connsiteX193" fmla="*/ 700362 w 1199309"/>
                    <a:gd name="connsiteY193" fmla="*/ 62633 h 1336375"/>
                    <a:gd name="connsiteX194" fmla="*/ 700362 w 1199309"/>
                    <a:gd name="connsiteY194" fmla="*/ 62633 h 1336375"/>
                    <a:gd name="connsiteX195" fmla="*/ 694310 w 1199309"/>
                    <a:gd name="connsiteY195" fmla="*/ 64448 h 1336375"/>
                    <a:gd name="connsiteX196" fmla="*/ 694310 w 1199309"/>
                    <a:gd name="connsiteY196" fmla="*/ 64448 h 1336375"/>
                    <a:gd name="connsiteX197" fmla="*/ 666877 w 1199309"/>
                    <a:gd name="connsiteY197" fmla="*/ 45991 h 1336375"/>
                    <a:gd name="connsiteX198" fmla="*/ 666877 w 1199309"/>
                    <a:gd name="connsiteY198" fmla="*/ 45991 h 1336375"/>
                    <a:gd name="connsiteX199" fmla="*/ 661935 w 1199309"/>
                    <a:gd name="connsiteY199" fmla="*/ 47202 h 1336375"/>
                    <a:gd name="connsiteX200" fmla="*/ 661935 w 1199309"/>
                    <a:gd name="connsiteY200" fmla="*/ 47202 h 1336375"/>
                    <a:gd name="connsiteX201" fmla="*/ 655177 w 1199309"/>
                    <a:gd name="connsiteY201" fmla="*/ 55875 h 1336375"/>
                    <a:gd name="connsiteX202" fmla="*/ 655177 w 1199309"/>
                    <a:gd name="connsiteY202" fmla="*/ 55875 h 1336375"/>
                    <a:gd name="connsiteX203" fmla="*/ 655783 w 1199309"/>
                    <a:gd name="connsiteY203" fmla="*/ 63944 h 1336375"/>
                    <a:gd name="connsiteX204" fmla="*/ 655783 w 1199309"/>
                    <a:gd name="connsiteY204" fmla="*/ 63944 h 1336375"/>
                    <a:gd name="connsiteX205" fmla="*/ 643982 w 1199309"/>
                    <a:gd name="connsiteY205" fmla="*/ 75039 h 1336375"/>
                    <a:gd name="connsiteX206" fmla="*/ 643982 w 1199309"/>
                    <a:gd name="connsiteY206" fmla="*/ 75039 h 1336375"/>
                    <a:gd name="connsiteX207" fmla="*/ 633291 w 1199309"/>
                    <a:gd name="connsiteY207" fmla="*/ 76047 h 1336375"/>
                    <a:gd name="connsiteX208" fmla="*/ 633291 w 1199309"/>
                    <a:gd name="connsiteY208" fmla="*/ 76047 h 1336375"/>
                    <a:gd name="connsiteX209" fmla="*/ 613018 w 1199309"/>
                    <a:gd name="connsiteY209" fmla="*/ 49824 h 1336375"/>
                    <a:gd name="connsiteX210" fmla="*/ 613018 w 1199309"/>
                    <a:gd name="connsiteY210" fmla="*/ 49824 h 1336375"/>
                    <a:gd name="connsiteX211" fmla="*/ 574390 w 1199309"/>
                    <a:gd name="connsiteY211" fmla="*/ 30459 h 1336375"/>
                    <a:gd name="connsiteX212" fmla="*/ 574390 w 1199309"/>
                    <a:gd name="connsiteY212" fmla="*/ 30459 h 1336375"/>
                    <a:gd name="connsiteX213" fmla="*/ 554420 w 1199309"/>
                    <a:gd name="connsiteY213" fmla="*/ 38629 h 1336375"/>
                    <a:gd name="connsiteX214" fmla="*/ 554420 w 1199309"/>
                    <a:gd name="connsiteY214" fmla="*/ 38629 h 1336375"/>
                    <a:gd name="connsiteX215" fmla="*/ 492089 w 1199309"/>
                    <a:gd name="connsiteY215" fmla="*/ 99850 h 1336375"/>
                    <a:gd name="connsiteX216" fmla="*/ 492089 w 1199309"/>
                    <a:gd name="connsiteY216" fmla="*/ 99850 h 1336375"/>
                    <a:gd name="connsiteX217" fmla="*/ 482104 w 1199309"/>
                    <a:gd name="connsiteY217" fmla="*/ 94807 h 1336375"/>
                    <a:gd name="connsiteX218" fmla="*/ 482104 w 1199309"/>
                    <a:gd name="connsiteY218" fmla="*/ 94807 h 1336375"/>
                    <a:gd name="connsiteX219" fmla="*/ 451645 w 1199309"/>
                    <a:gd name="connsiteY219" fmla="*/ 49320 h 1336375"/>
                    <a:gd name="connsiteX220" fmla="*/ 451645 w 1199309"/>
                    <a:gd name="connsiteY220" fmla="*/ 49320 h 1336375"/>
                    <a:gd name="connsiteX221" fmla="*/ 441660 w 1199309"/>
                    <a:gd name="connsiteY221" fmla="*/ 56783 h 1336375"/>
                    <a:gd name="connsiteX222" fmla="*/ 441660 w 1199309"/>
                    <a:gd name="connsiteY222" fmla="*/ 56783 h 1336375"/>
                    <a:gd name="connsiteX223" fmla="*/ 402829 w 1199309"/>
                    <a:gd name="connsiteY223" fmla="*/ 82200 h 1336375"/>
                    <a:gd name="connsiteX224" fmla="*/ 402829 w 1199309"/>
                    <a:gd name="connsiteY224" fmla="*/ 82200 h 1336375"/>
                    <a:gd name="connsiteX225" fmla="*/ 375900 w 1199309"/>
                    <a:gd name="connsiteY225" fmla="*/ 74837 h 1336375"/>
                    <a:gd name="connsiteX226" fmla="*/ 375900 w 1199309"/>
                    <a:gd name="connsiteY226" fmla="*/ 74837 h 1336375"/>
                    <a:gd name="connsiteX227" fmla="*/ 356031 w 1199309"/>
                    <a:gd name="connsiteY227" fmla="*/ 62835 h 1336375"/>
                    <a:gd name="connsiteX228" fmla="*/ 356031 w 1199309"/>
                    <a:gd name="connsiteY228" fmla="*/ 62835 h 1336375"/>
                    <a:gd name="connsiteX229" fmla="*/ 325370 w 1199309"/>
                    <a:gd name="connsiteY229" fmla="*/ 84620 h 1336375"/>
                    <a:gd name="connsiteX230" fmla="*/ 325370 w 1199309"/>
                    <a:gd name="connsiteY230" fmla="*/ 84620 h 1336375"/>
                    <a:gd name="connsiteX231" fmla="*/ 257492 w 1199309"/>
                    <a:gd name="connsiteY231" fmla="*/ 104187 h 1336375"/>
                    <a:gd name="connsiteX232" fmla="*/ 257492 w 1199309"/>
                    <a:gd name="connsiteY232" fmla="*/ 104187 h 1336375"/>
                    <a:gd name="connsiteX233" fmla="*/ 200103 w 1199309"/>
                    <a:gd name="connsiteY233" fmla="*/ 152095 h 1336375"/>
                    <a:gd name="connsiteX234" fmla="*/ 200103 w 1199309"/>
                    <a:gd name="connsiteY234" fmla="*/ 152095 h 1336375"/>
                    <a:gd name="connsiteX235" fmla="*/ 122140 w 1199309"/>
                    <a:gd name="connsiteY235" fmla="*/ 193850 h 1336375"/>
                    <a:gd name="connsiteX236" fmla="*/ 122140 w 1199309"/>
                    <a:gd name="connsiteY236" fmla="*/ 193850 h 1336375"/>
                    <a:gd name="connsiteX237" fmla="*/ 110238 w 1199309"/>
                    <a:gd name="connsiteY237" fmla="*/ 297129 h 1336375"/>
                    <a:gd name="connsiteX238" fmla="*/ 110238 w 1199309"/>
                    <a:gd name="connsiteY238" fmla="*/ 297129 h 1336375"/>
                    <a:gd name="connsiteX239" fmla="*/ 127990 w 1199309"/>
                    <a:gd name="connsiteY239" fmla="*/ 364099 h 1336375"/>
                    <a:gd name="connsiteX240" fmla="*/ 127990 w 1199309"/>
                    <a:gd name="connsiteY240" fmla="*/ 364099 h 1336375"/>
                    <a:gd name="connsiteX241" fmla="*/ 176301 w 1199309"/>
                    <a:gd name="connsiteY241" fmla="*/ 420076 h 1336375"/>
                    <a:gd name="connsiteX242" fmla="*/ 176301 w 1199309"/>
                    <a:gd name="connsiteY242" fmla="*/ 420076 h 1336375"/>
                    <a:gd name="connsiteX243" fmla="*/ 175494 w 1199309"/>
                    <a:gd name="connsiteY243" fmla="*/ 430061 h 1336375"/>
                    <a:gd name="connsiteX244" fmla="*/ 175494 w 1199309"/>
                    <a:gd name="connsiteY244" fmla="*/ 430061 h 1336375"/>
                    <a:gd name="connsiteX245" fmla="*/ 150279 w 1199309"/>
                    <a:gd name="connsiteY245" fmla="*/ 447509 h 1336375"/>
                    <a:gd name="connsiteX246" fmla="*/ 150279 w 1199309"/>
                    <a:gd name="connsiteY246" fmla="*/ 447509 h 1336375"/>
                    <a:gd name="connsiteX247" fmla="*/ 130309 w 1199309"/>
                    <a:gd name="connsiteY247" fmla="*/ 446501 h 1336375"/>
                    <a:gd name="connsiteX248" fmla="*/ 130309 w 1199309"/>
                    <a:gd name="connsiteY248" fmla="*/ 446501 h 1336375"/>
                    <a:gd name="connsiteX249" fmla="*/ 119719 w 1199309"/>
                    <a:gd name="connsiteY249" fmla="*/ 450132 h 1336375"/>
                    <a:gd name="connsiteX250" fmla="*/ 119719 w 1199309"/>
                    <a:gd name="connsiteY250" fmla="*/ 450132 h 1336375"/>
                    <a:gd name="connsiteX251" fmla="*/ 96723 w 1199309"/>
                    <a:gd name="connsiteY251" fmla="*/ 507621 h 1336375"/>
                    <a:gd name="connsiteX252" fmla="*/ 96723 w 1199309"/>
                    <a:gd name="connsiteY252" fmla="*/ 507621 h 1336375"/>
                    <a:gd name="connsiteX253" fmla="*/ 98135 w 1199309"/>
                    <a:gd name="connsiteY253" fmla="*/ 515488 h 1336375"/>
                    <a:gd name="connsiteX254" fmla="*/ 98135 w 1199309"/>
                    <a:gd name="connsiteY254" fmla="*/ 515488 h 1336375"/>
                    <a:gd name="connsiteX255" fmla="*/ 111953 w 1199309"/>
                    <a:gd name="connsiteY255" fmla="*/ 556840 h 1336375"/>
                    <a:gd name="connsiteX256" fmla="*/ 111953 w 1199309"/>
                    <a:gd name="connsiteY256" fmla="*/ 556840 h 1336375"/>
                    <a:gd name="connsiteX257" fmla="*/ 101968 w 1199309"/>
                    <a:gd name="connsiteY257" fmla="*/ 576709 h 1336375"/>
                    <a:gd name="connsiteX258" fmla="*/ 101968 w 1199309"/>
                    <a:gd name="connsiteY258" fmla="*/ 576709 h 1336375"/>
                    <a:gd name="connsiteX259" fmla="*/ 34998 w 1199309"/>
                    <a:gd name="connsiteY259" fmla="*/ 602327 h 1336375"/>
                    <a:gd name="connsiteX260" fmla="*/ 34998 w 1199309"/>
                    <a:gd name="connsiteY260" fmla="*/ 602327 h 1336375"/>
                    <a:gd name="connsiteX261" fmla="*/ 6858 w 1199309"/>
                    <a:gd name="connsiteY261" fmla="*/ 638939 h 1336375"/>
                    <a:gd name="connsiteX262" fmla="*/ 6858 w 1199309"/>
                    <a:gd name="connsiteY262" fmla="*/ 638939 h 1336375"/>
                    <a:gd name="connsiteX263" fmla="*/ 35300 w 1199309"/>
                    <a:gd name="connsiteY263" fmla="*/ 643377 h 1336375"/>
                    <a:gd name="connsiteX264" fmla="*/ 35300 w 1199309"/>
                    <a:gd name="connsiteY264" fmla="*/ 643377 h 1336375"/>
                    <a:gd name="connsiteX265" fmla="*/ 98438 w 1199309"/>
                    <a:gd name="connsiteY265" fmla="*/ 678879 h 1336375"/>
                    <a:gd name="connsiteX266" fmla="*/ 98438 w 1199309"/>
                    <a:gd name="connsiteY266" fmla="*/ 678879 h 1336375"/>
                    <a:gd name="connsiteX267" fmla="*/ 99447 w 1199309"/>
                    <a:gd name="connsiteY267" fmla="*/ 687250 h 1336375"/>
                    <a:gd name="connsiteX268" fmla="*/ 99447 w 1199309"/>
                    <a:gd name="connsiteY268" fmla="*/ 687250 h 1336375"/>
                    <a:gd name="connsiteX269" fmla="*/ 90369 w 1199309"/>
                    <a:gd name="connsiteY269" fmla="*/ 745143 h 1336375"/>
                    <a:gd name="connsiteX270" fmla="*/ 90369 w 1199309"/>
                    <a:gd name="connsiteY270" fmla="*/ 745143 h 1336375"/>
                    <a:gd name="connsiteX271" fmla="*/ 99144 w 1199309"/>
                    <a:gd name="connsiteY271" fmla="*/ 757549 h 1336375"/>
                    <a:gd name="connsiteX272" fmla="*/ 99144 w 1199309"/>
                    <a:gd name="connsiteY272" fmla="*/ 757549 h 1336375"/>
                    <a:gd name="connsiteX273" fmla="*/ 139992 w 1199309"/>
                    <a:gd name="connsiteY273" fmla="*/ 740201 h 1336375"/>
                    <a:gd name="connsiteX274" fmla="*/ 139992 w 1199309"/>
                    <a:gd name="connsiteY274" fmla="*/ 740201 h 1336375"/>
                    <a:gd name="connsiteX275" fmla="*/ 199398 w 1199309"/>
                    <a:gd name="connsiteY275" fmla="*/ 718516 h 1336375"/>
                    <a:gd name="connsiteX276" fmla="*/ 199398 w 1199309"/>
                    <a:gd name="connsiteY276" fmla="*/ 718516 h 1336375"/>
                    <a:gd name="connsiteX277" fmla="*/ 258602 w 1199309"/>
                    <a:gd name="connsiteY277" fmla="*/ 731124 h 1336375"/>
                    <a:gd name="connsiteX278" fmla="*/ 258602 w 1199309"/>
                    <a:gd name="connsiteY278" fmla="*/ 731124 h 1336375"/>
                    <a:gd name="connsiteX279" fmla="*/ 301971 w 1199309"/>
                    <a:gd name="connsiteY279" fmla="*/ 791336 h 1336375"/>
                    <a:gd name="connsiteX280" fmla="*/ 301971 w 1199309"/>
                    <a:gd name="connsiteY280" fmla="*/ 791336 h 1336375"/>
                    <a:gd name="connsiteX281" fmla="*/ 338683 w 1199309"/>
                    <a:gd name="connsiteY281" fmla="*/ 848321 h 1336375"/>
                    <a:gd name="connsiteX282" fmla="*/ 338683 w 1199309"/>
                    <a:gd name="connsiteY282" fmla="*/ 848321 h 1336375"/>
                    <a:gd name="connsiteX283" fmla="*/ 410293 w 1199309"/>
                    <a:gd name="connsiteY283" fmla="*/ 889371 h 1336375"/>
                    <a:gd name="connsiteX284" fmla="*/ 410293 w 1199309"/>
                    <a:gd name="connsiteY284" fmla="*/ 889371 h 1336375"/>
                    <a:gd name="connsiteX285" fmla="*/ 435507 w 1199309"/>
                    <a:gd name="connsiteY285" fmla="*/ 938085 h 1336375"/>
                    <a:gd name="connsiteX286" fmla="*/ 435507 w 1199309"/>
                    <a:gd name="connsiteY286" fmla="*/ 938085 h 1336375"/>
                    <a:gd name="connsiteX287" fmla="*/ 405855 w 1199309"/>
                    <a:gd name="connsiteY287" fmla="*/ 971268 h 1336375"/>
                    <a:gd name="connsiteX288" fmla="*/ 405855 w 1199309"/>
                    <a:gd name="connsiteY288" fmla="*/ 971268 h 1336375"/>
                    <a:gd name="connsiteX289" fmla="*/ 362587 w 1199309"/>
                    <a:gd name="connsiteY289" fmla="*/ 1001223 h 1336375"/>
                    <a:gd name="connsiteX290" fmla="*/ 362587 w 1199309"/>
                    <a:gd name="connsiteY290" fmla="*/ 1001223 h 1336375"/>
                    <a:gd name="connsiteX291" fmla="*/ 372572 w 1199309"/>
                    <a:gd name="connsiteY291" fmla="*/ 1013124 h 1336375"/>
                    <a:gd name="connsiteX292" fmla="*/ 372572 w 1199309"/>
                    <a:gd name="connsiteY292" fmla="*/ 1013124 h 1336375"/>
                    <a:gd name="connsiteX293" fmla="*/ 396677 w 1199309"/>
                    <a:gd name="connsiteY293" fmla="*/ 1056695 h 1336375"/>
                    <a:gd name="connsiteX294" fmla="*/ 396677 w 1199309"/>
                    <a:gd name="connsiteY294" fmla="*/ 1056695 h 1336375"/>
                    <a:gd name="connsiteX295" fmla="*/ 383061 w 1199309"/>
                    <a:gd name="connsiteY295" fmla="*/ 1085137 h 1336375"/>
                    <a:gd name="connsiteX296" fmla="*/ 383061 w 1199309"/>
                    <a:gd name="connsiteY296" fmla="*/ 1085137 h 1336375"/>
                    <a:gd name="connsiteX297" fmla="*/ 375597 w 1199309"/>
                    <a:gd name="connsiteY297" fmla="*/ 1096030 h 1336375"/>
                    <a:gd name="connsiteX298" fmla="*/ 375597 w 1199309"/>
                    <a:gd name="connsiteY298" fmla="*/ 1096030 h 1336375"/>
                    <a:gd name="connsiteX299" fmla="*/ 407166 w 1199309"/>
                    <a:gd name="connsiteY299" fmla="*/ 1134860 h 1336375"/>
                    <a:gd name="connsiteX300" fmla="*/ 407166 w 1199309"/>
                    <a:gd name="connsiteY300" fmla="*/ 1134860 h 1336375"/>
                    <a:gd name="connsiteX301" fmla="*/ 427338 w 1199309"/>
                    <a:gd name="connsiteY301" fmla="*/ 1149686 h 1336375"/>
                    <a:gd name="connsiteX302" fmla="*/ 427338 w 1199309"/>
                    <a:gd name="connsiteY302" fmla="*/ 1149686 h 1336375"/>
                    <a:gd name="connsiteX303" fmla="*/ 448417 w 1199309"/>
                    <a:gd name="connsiteY303" fmla="*/ 1147266 h 1336375"/>
                    <a:gd name="connsiteX304" fmla="*/ 448417 w 1199309"/>
                    <a:gd name="connsiteY304" fmla="*/ 1147266 h 1336375"/>
                    <a:gd name="connsiteX305" fmla="*/ 459411 w 1199309"/>
                    <a:gd name="connsiteY305" fmla="*/ 1146358 h 1336375"/>
                    <a:gd name="connsiteX306" fmla="*/ 459411 w 1199309"/>
                    <a:gd name="connsiteY306" fmla="*/ 1146358 h 1336375"/>
                    <a:gd name="connsiteX307" fmla="*/ 475145 w 1199309"/>
                    <a:gd name="connsiteY307" fmla="*/ 1164614 h 1336375"/>
                    <a:gd name="connsiteX308" fmla="*/ 475145 w 1199309"/>
                    <a:gd name="connsiteY308" fmla="*/ 1164614 h 1336375"/>
                    <a:gd name="connsiteX309" fmla="*/ 475044 w 1199309"/>
                    <a:gd name="connsiteY309" fmla="*/ 1176918 h 1336375"/>
                    <a:gd name="connsiteX310" fmla="*/ 475044 w 1199309"/>
                    <a:gd name="connsiteY310" fmla="*/ 1176918 h 1336375"/>
                    <a:gd name="connsiteX311" fmla="*/ 459310 w 1199309"/>
                    <a:gd name="connsiteY311" fmla="*/ 1208790 h 1336375"/>
                    <a:gd name="connsiteX312" fmla="*/ 459310 w 1199309"/>
                    <a:gd name="connsiteY312" fmla="*/ 1208790 h 1336375"/>
                    <a:gd name="connsiteX313" fmla="*/ 461125 w 1199309"/>
                    <a:gd name="connsiteY313" fmla="*/ 1212522 h 1336375"/>
                    <a:gd name="connsiteX314" fmla="*/ 461125 w 1199309"/>
                    <a:gd name="connsiteY314" fmla="*/ 1212522 h 1336375"/>
                    <a:gd name="connsiteX315" fmla="*/ 499754 w 1199309"/>
                    <a:gd name="connsiteY315" fmla="*/ 1224120 h 1336375"/>
                    <a:gd name="connsiteX316" fmla="*/ 499754 w 1199309"/>
                    <a:gd name="connsiteY316" fmla="*/ 1224120 h 1336375"/>
                    <a:gd name="connsiteX317" fmla="*/ 521842 w 1199309"/>
                    <a:gd name="connsiteY317" fmla="*/ 1242981 h 1336375"/>
                    <a:gd name="connsiteX318" fmla="*/ 521842 w 1199309"/>
                    <a:gd name="connsiteY318" fmla="*/ 1242981 h 1336375"/>
                    <a:gd name="connsiteX319" fmla="*/ 525877 w 1199309"/>
                    <a:gd name="connsiteY319" fmla="*/ 1242073 h 1336375"/>
                    <a:gd name="connsiteX320" fmla="*/ 525877 w 1199309"/>
                    <a:gd name="connsiteY320" fmla="*/ 1242073 h 1336375"/>
                    <a:gd name="connsiteX321" fmla="*/ 558454 w 1199309"/>
                    <a:gd name="connsiteY321" fmla="*/ 1226339 h 1336375"/>
                    <a:gd name="connsiteX322" fmla="*/ 558454 w 1199309"/>
                    <a:gd name="connsiteY322" fmla="*/ 1226339 h 1336375"/>
                    <a:gd name="connsiteX323" fmla="*/ 563900 w 1199309"/>
                    <a:gd name="connsiteY323" fmla="*/ 1226742 h 1336375"/>
                    <a:gd name="connsiteX324" fmla="*/ 563900 w 1199309"/>
                    <a:gd name="connsiteY324" fmla="*/ 1226742 h 1336375"/>
                    <a:gd name="connsiteX325" fmla="*/ 625323 w 1199309"/>
                    <a:gd name="connsiteY325" fmla="*/ 1256093 h 1336375"/>
                    <a:gd name="connsiteX326" fmla="*/ 625323 w 1199309"/>
                    <a:gd name="connsiteY326" fmla="*/ 1256093 h 1336375"/>
                    <a:gd name="connsiteX327" fmla="*/ 720332 w 1199309"/>
                    <a:gd name="connsiteY327" fmla="*/ 1330324 h 1336375"/>
                    <a:gd name="connsiteX328" fmla="*/ 720332 w 1199309"/>
                    <a:gd name="connsiteY328" fmla="*/ 1330324 h 1336375"/>
                    <a:gd name="connsiteX329" fmla="*/ 720635 w 1199309"/>
                    <a:gd name="connsiteY329" fmla="*/ 1330324 h 1336375"/>
                    <a:gd name="connsiteX330" fmla="*/ 720635 w 1199309"/>
                    <a:gd name="connsiteY330" fmla="*/ 1330324 h 1336375"/>
                    <a:gd name="connsiteX331" fmla="*/ 721139 w 1199309"/>
                    <a:gd name="connsiteY331" fmla="*/ 1330324 h 1336375"/>
                    <a:gd name="connsiteX332" fmla="*/ 721139 w 1199309"/>
                    <a:gd name="connsiteY332" fmla="*/ 1330324 h 1336375"/>
                    <a:gd name="connsiteX333" fmla="*/ 776409 w 1199309"/>
                    <a:gd name="connsiteY333" fmla="*/ 1299260 h 1336375"/>
                    <a:gd name="connsiteX334" fmla="*/ 776409 w 1199309"/>
                    <a:gd name="connsiteY334" fmla="*/ 1299260 h 1336375"/>
                    <a:gd name="connsiteX335" fmla="*/ 787605 w 1199309"/>
                    <a:gd name="connsiteY335" fmla="*/ 1296738 h 1336375"/>
                    <a:gd name="connsiteX336" fmla="*/ 787605 w 1199309"/>
                    <a:gd name="connsiteY336" fmla="*/ 1296738 h 1336375"/>
                    <a:gd name="connsiteX337" fmla="*/ 813727 w 1199309"/>
                    <a:gd name="connsiteY337" fmla="*/ 1308841 h 1336375"/>
                    <a:gd name="connsiteX338" fmla="*/ 813727 w 1199309"/>
                    <a:gd name="connsiteY338" fmla="*/ 1308841 h 1336375"/>
                    <a:gd name="connsiteX339" fmla="*/ 816652 w 1199309"/>
                    <a:gd name="connsiteY339" fmla="*/ 1309043 h 1336375"/>
                    <a:gd name="connsiteX340" fmla="*/ 816652 w 1199309"/>
                    <a:gd name="connsiteY340" fmla="*/ 1309043 h 1336375"/>
                    <a:gd name="connsiteX341" fmla="*/ 856390 w 1199309"/>
                    <a:gd name="connsiteY341" fmla="*/ 1288872 h 1336375"/>
                    <a:gd name="connsiteX342" fmla="*/ 856390 w 1199309"/>
                    <a:gd name="connsiteY342" fmla="*/ 1288872 h 1336375"/>
                    <a:gd name="connsiteX343" fmla="*/ 890985 w 1199309"/>
                    <a:gd name="connsiteY343" fmla="*/ 1281408 h 1336375"/>
                    <a:gd name="connsiteX344" fmla="*/ 890985 w 1199309"/>
                    <a:gd name="connsiteY344" fmla="*/ 1281408 h 1336375"/>
                    <a:gd name="connsiteX345" fmla="*/ 914989 w 1199309"/>
                    <a:gd name="connsiteY345" fmla="*/ 1258109 h 1336375"/>
                    <a:gd name="connsiteX346" fmla="*/ 915796 w 1199309"/>
                    <a:gd name="connsiteY346" fmla="*/ 1256597 h 1336375"/>
                    <a:gd name="connsiteX347" fmla="*/ 915796 w 1199309"/>
                    <a:gd name="connsiteY347" fmla="*/ 1256597 h 1336375"/>
                    <a:gd name="connsiteX348" fmla="*/ 918216 w 1199309"/>
                    <a:gd name="connsiteY348" fmla="*/ 1240157 h 1336375"/>
                    <a:gd name="connsiteX349" fmla="*/ 918216 w 1199309"/>
                    <a:gd name="connsiteY349" fmla="*/ 1240157 h 1336375"/>
                    <a:gd name="connsiteX350" fmla="*/ 918116 w 1199309"/>
                    <a:gd name="connsiteY350" fmla="*/ 1234912 h 1336375"/>
                    <a:gd name="connsiteX351" fmla="*/ 918116 w 1199309"/>
                    <a:gd name="connsiteY351" fmla="*/ 1234912 h 1336375"/>
                    <a:gd name="connsiteX352" fmla="*/ 918015 w 1199309"/>
                    <a:gd name="connsiteY352" fmla="*/ 1230474 h 1336375"/>
                    <a:gd name="connsiteX353" fmla="*/ 918015 w 1199309"/>
                    <a:gd name="connsiteY353" fmla="*/ 1230474 h 1336375"/>
                    <a:gd name="connsiteX354" fmla="*/ 947869 w 1199309"/>
                    <a:gd name="connsiteY354" fmla="*/ 1194670 h 1336375"/>
                    <a:gd name="connsiteX355" fmla="*/ 947869 w 1199309"/>
                    <a:gd name="connsiteY355" fmla="*/ 1194670 h 1336375"/>
                    <a:gd name="connsiteX356" fmla="*/ 975504 w 1199309"/>
                    <a:gd name="connsiteY356" fmla="*/ 1140710 h 1336375"/>
                    <a:gd name="connsiteX357" fmla="*/ 975504 w 1199309"/>
                    <a:gd name="connsiteY357" fmla="*/ 1140710 h 1336375"/>
                    <a:gd name="connsiteX358" fmla="*/ 975605 w 1199309"/>
                    <a:gd name="connsiteY358" fmla="*/ 1137685 h 1336375"/>
                    <a:gd name="connsiteX359" fmla="*/ 975605 w 1199309"/>
                    <a:gd name="connsiteY359" fmla="*/ 1137685 h 1336375"/>
                    <a:gd name="connsiteX360" fmla="*/ 961182 w 1199309"/>
                    <a:gd name="connsiteY360" fmla="*/ 1097341 h 1336375"/>
                    <a:gd name="connsiteX361" fmla="*/ 961182 w 1199309"/>
                    <a:gd name="connsiteY361" fmla="*/ 1097341 h 1336375"/>
                    <a:gd name="connsiteX362" fmla="*/ 970562 w 1199309"/>
                    <a:gd name="connsiteY362" fmla="*/ 1072530 h 1336375"/>
                    <a:gd name="connsiteX363" fmla="*/ 970562 w 1199309"/>
                    <a:gd name="connsiteY363" fmla="*/ 1072530 h 1336375"/>
                    <a:gd name="connsiteX364" fmla="*/ 1028253 w 1199309"/>
                    <a:gd name="connsiteY364" fmla="*/ 1019176 h 1336375"/>
                    <a:gd name="connsiteX365" fmla="*/ 1028253 w 1199309"/>
                    <a:gd name="connsiteY365" fmla="*/ 1019176 h 1336375"/>
                    <a:gd name="connsiteX366" fmla="*/ 1064058 w 1199309"/>
                    <a:gd name="connsiteY366" fmla="*/ 969352 h 1336375"/>
                    <a:gd name="connsiteX367" fmla="*/ 1064058 w 1199309"/>
                    <a:gd name="connsiteY367" fmla="*/ 969352 h 1336375"/>
                    <a:gd name="connsiteX368" fmla="*/ 1064058 w 1199309"/>
                    <a:gd name="connsiteY368" fmla="*/ 966326 h 1336375"/>
                    <a:gd name="connsiteX369" fmla="*/ 1064058 w 1199309"/>
                    <a:gd name="connsiteY369" fmla="*/ 966326 h 1336375"/>
                    <a:gd name="connsiteX370" fmla="*/ 1059015 w 1199309"/>
                    <a:gd name="connsiteY370" fmla="*/ 916300 h 1336375"/>
                    <a:gd name="connsiteX371" fmla="*/ 1059015 w 1199309"/>
                    <a:gd name="connsiteY371" fmla="*/ 916300 h 1336375"/>
                    <a:gd name="connsiteX372" fmla="*/ 1064360 w 1199309"/>
                    <a:gd name="connsiteY372" fmla="*/ 902180 h 1336375"/>
                    <a:gd name="connsiteX373" fmla="*/ 1064360 w 1199309"/>
                    <a:gd name="connsiteY373" fmla="*/ 902180 h 1336375"/>
                    <a:gd name="connsiteX374" fmla="*/ 1074144 w 1199309"/>
                    <a:gd name="connsiteY374" fmla="*/ 898851 h 1336375"/>
                    <a:gd name="connsiteX375" fmla="*/ 1074144 w 1199309"/>
                    <a:gd name="connsiteY375" fmla="*/ 898851 h 1336375"/>
                    <a:gd name="connsiteX376" fmla="*/ 1090987 w 1199309"/>
                    <a:gd name="connsiteY376" fmla="*/ 917611 h 1336375"/>
                    <a:gd name="connsiteX377" fmla="*/ 1090987 w 1199309"/>
                    <a:gd name="connsiteY377" fmla="*/ 917611 h 1336375"/>
                    <a:gd name="connsiteX378" fmla="*/ 1117816 w 1199309"/>
                    <a:gd name="connsiteY378" fmla="*/ 943028 h 1336375"/>
                    <a:gd name="connsiteX379" fmla="*/ 1117816 w 1199309"/>
                    <a:gd name="connsiteY379" fmla="*/ 943028 h 1336375"/>
                    <a:gd name="connsiteX380" fmla="*/ 1129212 w 1199309"/>
                    <a:gd name="connsiteY380" fmla="*/ 939901 h 1336375"/>
                    <a:gd name="connsiteX381" fmla="*/ 1129212 w 1199309"/>
                    <a:gd name="connsiteY381" fmla="*/ 939901 h 1336375"/>
                    <a:gd name="connsiteX382" fmla="*/ 1160176 w 1199309"/>
                    <a:gd name="connsiteY382" fmla="*/ 876461 h 1336375"/>
                    <a:gd name="connsiteX383" fmla="*/ 1160176 w 1199309"/>
                    <a:gd name="connsiteY383" fmla="*/ 876461 h 1336375"/>
                    <a:gd name="connsiteX384" fmla="*/ 1160277 w 1199309"/>
                    <a:gd name="connsiteY384" fmla="*/ 857701 h 1336375"/>
                    <a:gd name="connsiteX385" fmla="*/ 1160277 w 1199309"/>
                    <a:gd name="connsiteY385" fmla="*/ 857701 h 1336375"/>
                    <a:gd name="connsiteX386" fmla="*/ 1146459 w 1199309"/>
                    <a:gd name="connsiteY386" fmla="*/ 812012 h 1336375"/>
                    <a:gd name="connsiteX387" fmla="*/ 1146459 w 1199309"/>
                    <a:gd name="connsiteY387" fmla="*/ 812012 h 1336375"/>
                    <a:gd name="connsiteX388" fmla="*/ 1127599 w 1199309"/>
                    <a:gd name="connsiteY388" fmla="*/ 757851 h 1336375"/>
                    <a:gd name="connsiteX389" fmla="*/ 1127599 w 1199309"/>
                    <a:gd name="connsiteY389" fmla="*/ 757851 h 1336375"/>
                    <a:gd name="connsiteX390" fmla="*/ 1134760 w 1199309"/>
                    <a:gd name="connsiteY390" fmla="*/ 734553 h 1336375"/>
                    <a:gd name="connsiteX391" fmla="*/ 1134760 w 1199309"/>
                    <a:gd name="connsiteY391" fmla="*/ 734553 h 1336375"/>
                    <a:gd name="connsiteX392" fmla="*/ 1165017 w 1199309"/>
                    <a:gd name="connsiteY392" fmla="*/ 686342 h 1336375"/>
                    <a:gd name="connsiteX393" fmla="*/ 1165017 w 1199309"/>
                    <a:gd name="connsiteY393" fmla="*/ 686342 h 1336375"/>
                    <a:gd name="connsiteX394" fmla="*/ 1161286 w 1199309"/>
                    <a:gd name="connsiteY394" fmla="*/ 663548 h 1336375"/>
                    <a:gd name="connsiteX395" fmla="*/ 1161286 w 1199309"/>
                    <a:gd name="connsiteY395" fmla="*/ 663548 h 1336375"/>
                    <a:gd name="connsiteX396" fmla="*/ 1107528 w 1199309"/>
                    <a:gd name="connsiteY396" fmla="*/ 599705 h 1336375"/>
                    <a:gd name="connsiteX397" fmla="*/ 1107528 w 1199309"/>
                    <a:gd name="connsiteY397" fmla="*/ 599705 h 1336375"/>
                    <a:gd name="connsiteX398" fmla="*/ 1078683 w 1199309"/>
                    <a:gd name="connsiteY398" fmla="*/ 554218 h 1336375"/>
                    <a:gd name="connsiteX399" fmla="*/ 1078683 w 1199309"/>
                    <a:gd name="connsiteY399" fmla="*/ 554218 h 1336375"/>
                    <a:gd name="connsiteX400" fmla="*/ 1095627 w 1199309"/>
                    <a:gd name="connsiteY400" fmla="*/ 525473 h 1336375"/>
                    <a:gd name="connsiteX401" fmla="*/ 1095627 w 1199309"/>
                    <a:gd name="connsiteY401" fmla="*/ 525473 h 1336375"/>
                    <a:gd name="connsiteX402" fmla="*/ 1178734 w 1199309"/>
                    <a:gd name="connsiteY402" fmla="*/ 480389 h 1336375"/>
                    <a:gd name="connsiteX403" fmla="*/ 1178734 w 1199309"/>
                    <a:gd name="connsiteY403" fmla="*/ 480389 h 1336375"/>
                    <a:gd name="connsiteX404" fmla="*/ 1193560 w 1199309"/>
                    <a:gd name="connsiteY404" fmla="*/ 369243 h 1336375"/>
                    <a:gd name="connsiteX405" fmla="*/ 1193560 w 1199309"/>
                    <a:gd name="connsiteY405" fmla="*/ 369243 h 1336375"/>
                    <a:gd name="connsiteX406" fmla="*/ 1180852 w 1199309"/>
                    <a:gd name="connsiteY406" fmla="*/ 267376 h 1336375"/>
                    <a:gd name="connsiteX407" fmla="*/ 1180852 w 1199309"/>
                    <a:gd name="connsiteY407" fmla="*/ 267376 h 1336375"/>
                    <a:gd name="connsiteX408" fmla="*/ 1089071 w 1199309"/>
                    <a:gd name="connsiteY408" fmla="*/ 137167 h 1336375"/>
                    <a:gd name="connsiteX409" fmla="*/ 1089071 w 1199309"/>
                    <a:gd name="connsiteY409" fmla="*/ 137167 h 1336375"/>
                    <a:gd name="connsiteX410" fmla="*/ 1090785 w 1199309"/>
                    <a:gd name="connsiteY410" fmla="*/ 134848 h 1336375"/>
                    <a:gd name="connsiteX411" fmla="*/ 1092399 w 1199309"/>
                    <a:gd name="connsiteY411" fmla="*/ 132629 h 1336375"/>
                    <a:gd name="connsiteX412" fmla="*/ 1186298 w 1199309"/>
                    <a:gd name="connsiteY412" fmla="*/ 265762 h 1336375"/>
                    <a:gd name="connsiteX413" fmla="*/ 1186298 w 1199309"/>
                    <a:gd name="connsiteY413" fmla="*/ 265762 h 1336375"/>
                    <a:gd name="connsiteX414" fmla="*/ 1199309 w 1199309"/>
                    <a:gd name="connsiteY414" fmla="*/ 369243 h 1336375"/>
                    <a:gd name="connsiteX415" fmla="*/ 1199309 w 1199309"/>
                    <a:gd name="connsiteY415" fmla="*/ 369243 h 1336375"/>
                    <a:gd name="connsiteX416" fmla="*/ 1184180 w 1199309"/>
                    <a:gd name="connsiteY416" fmla="*/ 482406 h 1336375"/>
                    <a:gd name="connsiteX417" fmla="*/ 1184180 w 1199309"/>
                    <a:gd name="connsiteY417" fmla="*/ 482406 h 1336375"/>
                    <a:gd name="connsiteX418" fmla="*/ 1098652 w 1199309"/>
                    <a:gd name="connsiteY418" fmla="*/ 530314 h 1336375"/>
                    <a:gd name="connsiteX419" fmla="*/ 1098652 w 1199309"/>
                    <a:gd name="connsiteY419" fmla="*/ 530314 h 1336375"/>
                    <a:gd name="connsiteX420" fmla="*/ 1084331 w 1199309"/>
                    <a:gd name="connsiteY420" fmla="*/ 554319 h 1336375"/>
                    <a:gd name="connsiteX421" fmla="*/ 1084331 w 1199309"/>
                    <a:gd name="connsiteY421" fmla="*/ 554319 h 1336375"/>
                    <a:gd name="connsiteX422" fmla="*/ 1108537 w 1199309"/>
                    <a:gd name="connsiteY422" fmla="*/ 594359 h 1336375"/>
                    <a:gd name="connsiteX423" fmla="*/ 1108537 w 1199309"/>
                    <a:gd name="connsiteY423" fmla="*/ 594359 h 1336375"/>
                    <a:gd name="connsiteX424" fmla="*/ 1166934 w 1199309"/>
                    <a:gd name="connsiteY424" fmla="*/ 662136 h 1336375"/>
                    <a:gd name="connsiteX425" fmla="*/ 1166934 w 1199309"/>
                    <a:gd name="connsiteY425" fmla="*/ 662136 h 1336375"/>
                    <a:gd name="connsiteX426" fmla="*/ 1170867 w 1199309"/>
                    <a:gd name="connsiteY426" fmla="*/ 686544 h 1336375"/>
                    <a:gd name="connsiteX427" fmla="*/ 1170867 w 1199309"/>
                    <a:gd name="connsiteY427" fmla="*/ 686544 h 1336375"/>
                    <a:gd name="connsiteX428" fmla="*/ 1139601 w 1199309"/>
                    <a:gd name="connsiteY428" fmla="*/ 737982 h 1336375"/>
                    <a:gd name="connsiteX429" fmla="*/ 1139601 w 1199309"/>
                    <a:gd name="connsiteY429" fmla="*/ 737982 h 1336375"/>
                    <a:gd name="connsiteX430" fmla="*/ 1133550 w 1199309"/>
                    <a:gd name="connsiteY430" fmla="*/ 758053 h 1336375"/>
                    <a:gd name="connsiteX431" fmla="*/ 1133550 w 1199309"/>
                    <a:gd name="connsiteY431" fmla="*/ 758053 h 1336375"/>
                    <a:gd name="connsiteX432" fmla="*/ 1151704 w 1199309"/>
                    <a:gd name="connsiteY432" fmla="*/ 809390 h 1336375"/>
                    <a:gd name="connsiteX433" fmla="*/ 1151704 w 1199309"/>
                    <a:gd name="connsiteY433" fmla="*/ 809390 h 1336375"/>
                    <a:gd name="connsiteX434" fmla="*/ 1166329 w 1199309"/>
                    <a:gd name="connsiteY434" fmla="*/ 857903 h 1336375"/>
                    <a:gd name="connsiteX435" fmla="*/ 1166329 w 1199309"/>
                    <a:gd name="connsiteY435" fmla="*/ 857903 h 1336375"/>
                    <a:gd name="connsiteX436" fmla="*/ 1166127 w 1199309"/>
                    <a:gd name="connsiteY436" fmla="*/ 876662 h 1336375"/>
                    <a:gd name="connsiteX437" fmla="*/ 1166127 w 1199309"/>
                    <a:gd name="connsiteY437" fmla="*/ 876662 h 1336375"/>
                    <a:gd name="connsiteX438" fmla="*/ 1132238 w 1199309"/>
                    <a:gd name="connsiteY438" fmla="*/ 945045 h 1336375"/>
                    <a:gd name="connsiteX439" fmla="*/ 1132238 w 1199309"/>
                    <a:gd name="connsiteY439" fmla="*/ 945045 h 1336375"/>
                    <a:gd name="connsiteX440" fmla="*/ 1118219 w 1199309"/>
                    <a:gd name="connsiteY440" fmla="*/ 948776 h 1336375"/>
                    <a:gd name="connsiteX441" fmla="*/ 1118219 w 1199309"/>
                    <a:gd name="connsiteY441" fmla="*/ 948776 h 1336375"/>
                    <a:gd name="connsiteX442" fmla="*/ 1086247 w 1199309"/>
                    <a:gd name="connsiteY442" fmla="*/ 919931 h 1336375"/>
                    <a:gd name="connsiteX443" fmla="*/ 1086247 w 1199309"/>
                    <a:gd name="connsiteY443" fmla="*/ 919931 h 1336375"/>
                    <a:gd name="connsiteX444" fmla="*/ 1074547 w 1199309"/>
                    <a:gd name="connsiteY444" fmla="*/ 904701 h 1336375"/>
                    <a:gd name="connsiteX445" fmla="*/ 1074547 w 1199309"/>
                    <a:gd name="connsiteY445" fmla="*/ 904701 h 1336375"/>
                    <a:gd name="connsiteX446" fmla="*/ 1067386 w 1199309"/>
                    <a:gd name="connsiteY446" fmla="*/ 907324 h 1336375"/>
                    <a:gd name="connsiteX447" fmla="*/ 1067386 w 1199309"/>
                    <a:gd name="connsiteY447" fmla="*/ 907324 h 1336375"/>
                    <a:gd name="connsiteX448" fmla="*/ 1064966 w 1199309"/>
                    <a:gd name="connsiteY448" fmla="*/ 916502 h 1336375"/>
                    <a:gd name="connsiteX449" fmla="*/ 1064966 w 1199309"/>
                    <a:gd name="connsiteY449" fmla="*/ 916502 h 1336375"/>
                    <a:gd name="connsiteX450" fmla="*/ 1070009 w 1199309"/>
                    <a:gd name="connsiteY450" fmla="*/ 966527 h 1336375"/>
                    <a:gd name="connsiteX451" fmla="*/ 1070009 w 1199309"/>
                    <a:gd name="connsiteY451" fmla="*/ 966527 h 1336375"/>
                    <a:gd name="connsiteX452" fmla="*/ 1069908 w 1199309"/>
                    <a:gd name="connsiteY452" fmla="*/ 969755 h 1336375"/>
                    <a:gd name="connsiteX453" fmla="*/ 1069908 w 1199309"/>
                    <a:gd name="connsiteY453" fmla="*/ 969755 h 1336375"/>
                    <a:gd name="connsiteX454" fmla="*/ 1032287 w 1199309"/>
                    <a:gd name="connsiteY454" fmla="*/ 1023513 h 1336375"/>
                    <a:gd name="connsiteX455" fmla="*/ 1032287 w 1199309"/>
                    <a:gd name="connsiteY455" fmla="*/ 1023513 h 1336375"/>
                    <a:gd name="connsiteX456" fmla="*/ 975504 w 1199309"/>
                    <a:gd name="connsiteY456" fmla="*/ 1076060 h 1336375"/>
                    <a:gd name="connsiteX457" fmla="*/ 975504 w 1199309"/>
                    <a:gd name="connsiteY457" fmla="*/ 1076060 h 1336375"/>
                    <a:gd name="connsiteX458" fmla="*/ 967133 w 1199309"/>
                    <a:gd name="connsiteY458" fmla="*/ 1097745 h 1336375"/>
                    <a:gd name="connsiteX459" fmla="*/ 967133 w 1199309"/>
                    <a:gd name="connsiteY459" fmla="*/ 1097745 h 1336375"/>
                    <a:gd name="connsiteX460" fmla="*/ 981556 w 1199309"/>
                    <a:gd name="connsiteY460" fmla="*/ 1138088 h 1336375"/>
                    <a:gd name="connsiteX461" fmla="*/ 981556 w 1199309"/>
                    <a:gd name="connsiteY461" fmla="*/ 1138088 h 1336375"/>
                    <a:gd name="connsiteX462" fmla="*/ 981354 w 1199309"/>
                    <a:gd name="connsiteY462" fmla="*/ 1141820 h 1336375"/>
                    <a:gd name="connsiteX463" fmla="*/ 981354 w 1199309"/>
                    <a:gd name="connsiteY463" fmla="*/ 1141820 h 1336375"/>
                    <a:gd name="connsiteX464" fmla="*/ 950693 w 1199309"/>
                    <a:gd name="connsiteY464" fmla="*/ 1199914 h 1336375"/>
                    <a:gd name="connsiteX465" fmla="*/ 950693 w 1199309"/>
                    <a:gd name="connsiteY465" fmla="*/ 1199914 h 1336375"/>
                    <a:gd name="connsiteX466" fmla="*/ 924066 w 1199309"/>
                    <a:gd name="connsiteY466" fmla="*/ 1230878 h 1336375"/>
                    <a:gd name="connsiteX467" fmla="*/ 924066 w 1199309"/>
                    <a:gd name="connsiteY467" fmla="*/ 1230878 h 1336375"/>
                    <a:gd name="connsiteX468" fmla="*/ 924167 w 1199309"/>
                    <a:gd name="connsiteY468" fmla="*/ 1235215 h 1336375"/>
                    <a:gd name="connsiteX469" fmla="*/ 924167 w 1199309"/>
                    <a:gd name="connsiteY469" fmla="*/ 1235215 h 1336375"/>
                    <a:gd name="connsiteX470" fmla="*/ 924268 w 1199309"/>
                    <a:gd name="connsiteY470" fmla="*/ 1240560 h 1336375"/>
                    <a:gd name="connsiteX471" fmla="*/ 924268 w 1199309"/>
                    <a:gd name="connsiteY471" fmla="*/ 1240560 h 1336375"/>
                    <a:gd name="connsiteX472" fmla="*/ 921141 w 1199309"/>
                    <a:gd name="connsiteY472" fmla="*/ 1259522 h 1336375"/>
                    <a:gd name="connsiteX473" fmla="*/ 921141 w 1199309"/>
                    <a:gd name="connsiteY473" fmla="*/ 1259522 h 1336375"/>
                    <a:gd name="connsiteX474" fmla="*/ 917914 w 1199309"/>
                    <a:gd name="connsiteY474" fmla="*/ 1263253 h 1336375"/>
                    <a:gd name="connsiteX475" fmla="*/ 917914 w 1199309"/>
                    <a:gd name="connsiteY475" fmla="*/ 1263253 h 1336375"/>
                    <a:gd name="connsiteX476" fmla="*/ 893304 w 1199309"/>
                    <a:gd name="connsiteY476" fmla="*/ 1286753 h 1336375"/>
                    <a:gd name="connsiteX477" fmla="*/ 860525 w 1199309"/>
                    <a:gd name="connsiteY477" fmla="*/ 1293612 h 1336375"/>
                    <a:gd name="connsiteX478" fmla="*/ 860525 w 1199309"/>
                    <a:gd name="connsiteY478" fmla="*/ 1293612 h 1336375"/>
                    <a:gd name="connsiteX479" fmla="*/ 817055 w 1199309"/>
                    <a:gd name="connsiteY479" fmla="*/ 1314994 h 1336375"/>
                    <a:gd name="connsiteX480" fmla="*/ 817055 w 1199309"/>
                    <a:gd name="connsiteY480" fmla="*/ 1314994 h 1336375"/>
                    <a:gd name="connsiteX481" fmla="*/ 812719 w 1199309"/>
                    <a:gd name="connsiteY481" fmla="*/ 1314691 h 1336375"/>
                    <a:gd name="connsiteX482" fmla="*/ 812719 w 1199309"/>
                    <a:gd name="connsiteY482" fmla="*/ 1314691 h 1336375"/>
                    <a:gd name="connsiteX483" fmla="*/ 787907 w 1199309"/>
                    <a:gd name="connsiteY483" fmla="*/ 1302790 h 1336375"/>
                    <a:gd name="connsiteX484" fmla="*/ 787907 w 1199309"/>
                    <a:gd name="connsiteY484" fmla="*/ 1302790 h 1336375"/>
                    <a:gd name="connsiteX485" fmla="*/ 778729 w 1199309"/>
                    <a:gd name="connsiteY485" fmla="*/ 1304807 h 1336375"/>
                    <a:gd name="connsiteX486" fmla="*/ 778729 w 1199309"/>
                    <a:gd name="connsiteY486" fmla="*/ 1304807 h 1336375"/>
                    <a:gd name="connsiteX487" fmla="*/ 720735 w 1199309"/>
                    <a:gd name="connsiteY487" fmla="*/ 1336174 h 1336375"/>
                    <a:gd name="connsiteX488" fmla="*/ 720735 w 1199309"/>
                    <a:gd name="connsiteY488" fmla="*/ 1336174 h 1336375"/>
                    <a:gd name="connsiteX489" fmla="*/ 720635 w 1199309"/>
                    <a:gd name="connsiteY489" fmla="*/ 1336376 h 1336375"/>
                    <a:gd name="connsiteX490" fmla="*/ 620785 w 1199309"/>
                    <a:gd name="connsiteY490" fmla="*/ 1259118 h 1336375"/>
                    <a:gd name="connsiteX491" fmla="*/ 620785 w 1199309"/>
                    <a:gd name="connsiteY491" fmla="*/ 1259118 h 1336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Lst>
                  <a:rect l="l" t="t" r="r" b="b"/>
                  <a:pathLst>
                    <a:path w="1199309" h="1336375">
                      <a:moveTo>
                        <a:pt x="620785" y="1259118"/>
                      </a:moveTo>
                      <a:cubicBezTo>
                        <a:pt x="609791" y="1242981"/>
                        <a:pt x="585585" y="1234408"/>
                        <a:pt x="563295" y="1232189"/>
                      </a:cubicBezTo>
                      <a:lnTo>
                        <a:pt x="563295" y="1232189"/>
                      </a:lnTo>
                      <a:cubicBezTo>
                        <a:pt x="561580" y="1231987"/>
                        <a:pt x="560068" y="1231987"/>
                        <a:pt x="558454" y="1231987"/>
                      </a:cubicBezTo>
                      <a:lnTo>
                        <a:pt x="558454" y="1231987"/>
                      </a:lnTo>
                      <a:cubicBezTo>
                        <a:pt x="541913" y="1231886"/>
                        <a:pt x="540501" y="1241165"/>
                        <a:pt x="527995" y="1247217"/>
                      </a:cubicBezTo>
                      <a:lnTo>
                        <a:pt x="527995" y="1247217"/>
                      </a:lnTo>
                      <a:cubicBezTo>
                        <a:pt x="525977" y="1247923"/>
                        <a:pt x="523960" y="1248629"/>
                        <a:pt x="521943" y="1248629"/>
                      </a:cubicBezTo>
                      <a:lnTo>
                        <a:pt x="521943" y="1248629"/>
                      </a:lnTo>
                      <a:cubicBezTo>
                        <a:pt x="510445" y="1248124"/>
                        <a:pt x="504898" y="1235921"/>
                        <a:pt x="496022" y="1228357"/>
                      </a:cubicBezTo>
                      <a:lnTo>
                        <a:pt x="496022" y="1228357"/>
                      </a:lnTo>
                      <a:cubicBezTo>
                        <a:pt x="487752" y="1219783"/>
                        <a:pt x="468992" y="1229567"/>
                        <a:pt x="456789" y="1216253"/>
                      </a:cubicBezTo>
                      <a:lnTo>
                        <a:pt x="456789" y="1216253"/>
                      </a:lnTo>
                      <a:cubicBezTo>
                        <a:pt x="454872" y="1213833"/>
                        <a:pt x="453864" y="1211311"/>
                        <a:pt x="453864" y="1208891"/>
                      </a:cubicBezTo>
                      <a:lnTo>
                        <a:pt x="453864" y="1208891"/>
                      </a:lnTo>
                      <a:cubicBezTo>
                        <a:pt x="455175" y="1197594"/>
                        <a:pt x="469698" y="1195174"/>
                        <a:pt x="469597" y="1177019"/>
                      </a:cubicBezTo>
                      <a:lnTo>
                        <a:pt x="469597" y="1177019"/>
                      </a:lnTo>
                      <a:cubicBezTo>
                        <a:pt x="469597" y="1172178"/>
                        <a:pt x="469597" y="1168245"/>
                        <a:pt x="469597" y="1164715"/>
                      </a:cubicBezTo>
                      <a:lnTo>
                        <a:pt x="469597" y="1164715"/>
                      </a:lnTo>
                      <a:cubicBezTo>
                        <a:pt x="468791" y="1153620"/>
                        <a:pt x="470102" y="1152814"/>
                        <a:pt x="459512" y="1152108"/>
                      </a:cubicBezTo>
                      <a:lnTo>
                        <a:pt x="459512" y="1152108"/>
                      </a:lnTo>
                      <a:cubicBezTo>
                        <a:pt x="456789" y="1152108"/>
                        <a:pt x="453460" y="1152410"/>
                        <a:pt x="449123" y="1152914"/>
                      </a:cubicBezTo>
                      <a:lnTo>
                        <a:pt x="449123" y="1152914"/>
                      </a:lnTo>
                      <a:cubicBezTo>
                        <a:pt x="439037" y="1154024"/>
                        <a:pt x="432885" y="1155335"/>
                        <a:pt x="427439" y="1155435"/>
                      </a:cubicBezTo>
                      <a:lnTo>
                        <a:pt x="427439" y="1155435"/>
                      </a:lnTo>
                      <a:cubicBezTo>
                        <a:pt x="418361" y="1155435"/>
                        <a:pt x="413218" y="1150897"/>
                        <a:pt x="403031" y="1138491"/>
                      </a:cubicBezTo>
                      <a:lnTo>
                        <a:pt x="403031" y="1138491"/>
                      </a:lnTo>
                      <a:cubicBezTo>
                        <a:pt x="391130" y="1123665"/>
                        <a:pt x="370857" y="1111562"/>
                        <a:pt x="370252" y="1096231"/>
                      </a:cubicBezTo>
                      <a:lnTo>
                        <a:pt x="370252" y="1096231"/>
                      </a:lnTo>
                      <a:cubicBezTo>
                        <a:pt x="370151" y="1090583"/>
                        <a:pt x="373479" y="1085339"/>
                        <a:pt x="380035" y="1080800"/>
                      </a:cubicBezTo>
                      <a:lnTo>
                        <a:pt x="380035" y="1080800"/>
                      </a:lnTo>
                      <a:cubicBezTo>
                        <a:pt x="388104" y="1074950"/>
                        <a:pt x="391230" y="1066378"/>
                        <a:pt x="391331" y="1056897"/>
                      </a:cubicBezTo>
                      <a:lnTo>
                        <a:pt x="391331" y="1056897"/>
                      </a:lnTo>
                      <a:cubicBezTo>
                        <a:pt x="391432" y="1041163"/>
                        <a:pt x="381548" y="1023815"/>
                        <a:pt x="370353" y="1018268"/>
                      </a:cubicBezTo>
                      <a:lnTo>
                        <a:pt x="370353" y="1018268"/>
                      </a:lnTo>
                      <a:cubicBezTo>
                        <a:pt x="362587" y="1014435"/>
                        <a:pt x="357241" y="1008686"/>
                        <a:pt x="357140" y="1001424"/>
                      </a:cubicBezTo>
                      <a:lnTo>
                        <a:pt x="357140" y="1001424"/>
                      </a:lnTo>
                      <a:cubicBezTo>
                        <a:pt x="357644" y="988918"/>
                        <a:pt x="371966" y="977017"/>
                        <a:pt x="404241" y="966225"/>
                      </a:cubicBezTo>
                      <a:lnTo>
                        <a:pt x="404241" y="966225"/>
                      </a:lnTo>
                      <a:cubicBezTo>
                        <a:pt x="424312" y="959165"/>
                        <a:pt x="430061" y="949281"/>
                        <a:pt x="430162" y="938186"/>
                      </a:cubicBezTo>
                      <a:lnTo>
                        <a:pt x="430162" y="938186"/>
                      </a:lnTo>
                      <a:cubicBezTo>
                        <a:pt x="430263" y="922049"/>
                        <a:pt x="416143" y="902987"/>
                        <a:pt x="406561" y="893506"/>
                      </a:cubicBezTo>
                      <a:lnTo>
                        <a:pt x="406561" y="893506"/>
                      </a:lnTo>
                      <a:cubicBezTo>
                        <a:pt x="390323" y="877167"/>
                        <a:pt x="360166" y="860424"/>
                        <a:pt x="337170" y="853869"/>
                      </a:cubicBezTo>
                      <a:lnTo>
                        <a:pt x="337170" y="853869"/>
                      </a:lnTo>
                      <a:cubicBezTo>
                        <a:pt x="310846" y="844791"/>
                        <a:pt x="321134" y="804347"/>
                        <a:pt x="299953" y="796682"/>
                      </a:cubicBezTo>
                      <a:lnTo>
                        <a:pt x="299953" y="796682"/>
                      </a:lnTo>
                      <a:cubicBezTo>
                        <a:pt x="273932" y="784276"/>
                        <a:pt x="288153" y="754725"/>
                        <a:pt x="255979" y="736167"/>
                      </a:cubicBezTo>
                      <a:lnTo>
                        <a:pt x="255979" y="736167"/>
                      </a:lnTo>
                      <a:cubicBezTo>
                        <a:pt x="242565" y="727997"/>
                        <a:pt x="220578" y="724265"/>
                        <a:pt x="199700" y="724366"/>
                      </a:cubicBezTo>
                      <a:lnTo>
                        <a:pt x="199700" y="724366"/>
                      </a:lnTo>
                      <a:cubicBezTo>
                        <a:pt x="170653" y="724366"/>
                        <a:pt x="146043" y="732939"/>
                        <a:pt x="145942" y="740403"/>
                      </a:cubicBezTo>
                      <a:lnTo>
                        <a:pt x="145942" y="740403"/>
                      </a:lnTo>
                      <a:cubicBezTo>
                        <a:pt x="145741" y="763197"/>
                        <a:pt x="125670" y="763399"/>
                        <a:pt x="99547" y="763399"/>
                      </a:cubicBezTo>
                      <a:lnTo>
                        <a:pt x="99547" y="763399"/>
                      </a:lnTo>
                      <a:cubicBezTo>
                        <a:pt x="88957" y="763399"/>
                        <a:pt x="85326" y="754624"/>
                        <a:pt x="85326" y="745446"/>
                      </a:cubicBezTo>
                      <a:lnTo>
                        <a:pt x="85326" y="745446"/>
                      </a:lnTo>
                      <a:cubicBezTo>
                        <a:pt x="85326" y="728199"/>
                        <a:pt x="94504" y="702581"/>
                        <a:pt x="94404" y="687553"/>
                      </a:cubicBezTo>
                      <a:lnTo>
                        <a:pt x="94404" y="687553"/>
                      </a:lnTo>
                      <a:cubicBezTo>
                        <a:pt x="94404" y="684830"/>
                        <a:pt x="94101" y="682611"/>
                        <a:pt x="93597" y="680896"/>
                      </a:cubicBezTo>
                      <a:lnTo>
                        <a:pt x="93597" y="680896"/>
                      </a:lnTo>
                      <a:cubicBezTo>
                        <a:pt x="86738" y="661430"/>
                        <a:pt x="79073" y="649630"/>
                        <a:pt x="35704" y="649227"/>
                      </a:cubicBezTo>
                      <a:lnTo>
                        <a:pt x="35704" y="649227"/>
                      </a:lnTo>
                      <a:cubicBezTo>
                        <a:pt x="25114" y="649227"/>
                        <a:pt x="13313" y="646806"/>
                        <a:pt x="1412" y="643377"/>
                      </a:cubicBezTo>
                      <a:lnTo>
                        <a:pt x="1412" y="643377"/>
                      </a:lnTo>
                      <a:lnTo>
                        <a:pt x="0" y="638939"/>
                      </a:lnTo>
                      <a:cubicBezTo>
                        <a:pt x="13011" y="624113"/>
                        <a:pt x="24710" y="610093"/>
                        <a:pt x="30459" y="599806"/>
                      </a:cubicBezTo>
                      <a:lnTo>
                        <a:pt x="30459" y="599806"/>
                      </a:lnTo>
                      <a:cubicBezTo>
                        <a:pt x="49118" y="568943"/>
                        <a:pt x="82301" y="586089"/>
                        <a:pt x="98741" y="572473"/>
                      </a:cubicBezTo>
                      <a:lnTo>
                        <a:pt x="98741" y="572473"/>
                      </a:lnTo>
                      <a:cubicBezTo>
                        <a:pt x="104590" y="567935"/>
                        <a:pt x="106507" y="562992"/>
                        <a:pt x="106608" y="557143"/>
                      </a:cubicBezTo>
                      <a:lnTo>
                        <a:pt x="106608" y="557143"/>
                      </a:lnTo>
                      <a:cubicBezTo>
                        <a:pt x="106709" y="545544"/>
                        <a:pt x="98035" y="530818"/>
                        <a:pt x="93093" y="517808"/>
                      </a:cubicBezTo>
                      <a:lnTo>
                        <a:pt x="93093" y="517808"/>
                      </a:lnTo>
                      <a:cubicBezTo>
                        <a:pt x="91882" y="514580"/>
                        <a:pt x="91378" y="511151"/>
                        <a:pt x="91378" y="507823"/>
                      </a:cubicBezTo>
                      <a:lnTo>
                        <a:pt x="91378" y="507823"/>
                      </a:lnTo>
                      <a:cubicBezTo>
                        <a:pt x="91479" y="486844"/>
                        <a:pt x="108826" y="460117"/>
                        <a:pt x="114878" y="448014"/>
                      </a:cubicBezTo>
                      <a:lnTo>
                        <a:pt x="114878" y="448014"/>
                      </a:lnTo>
                      <a:cubicBezTo>
                        <a:pt x="117702" y="442164"/>
                        <a:pt x="124157" y="441256"/>
                        <a:pt x="130410" y="441256"/>
                      </a:cubicBezTo>
                      <a:lnTo>
                        <a:pt x="130410" y="441256"/>
                      </a:lnTo>
                      <a:cubicBezTo>
                        <a:pt x="136764" y="441256"/>
                        <a:pt x="143824" y="442265"/>
                        <a:pt x="150380" y="442265"/>
                      </a:cubicBezTo>
                      <a:lnTo>
                        <a:pt x="150380" y="442265"/>
                      </a:lnTo>
                      <a:cubicBezTo>
                        <a:pt x="161071" y="441861"/>
                        <a:pt x="168131" y="440449"/>
                        <a:pt x="170048" y="429456"/>
                      </a:cubicBezTo>
                      <a:lnTo>
                        <a:pt x="170048" y="429456"/>
                      </a:lnTo>
                      <a:cubicBezTo>
                        <a:pt x="170552" y="426228"/>
                        <a:pt x="170854" y="423303"/>
                        <a:pt x="170854" y="420378"/>
                      </a:cubicBezTo>
                      <a:lnTo>
                        <a:pt x="170854" y="420378"/>
                      </a:lnTo>
                      <a:cubicBezTo>
                        <a:pt x="170753" y="398089"/>
                        <a:pt x="155524" y="382456"/>
                        <a:pt x="125872" y="369546"/>
                      </a:cubicBezTo>
                      <a:lnTo>
                        <a:pt x="125872" y="369546"/>
                      </a:lnTo>
                      <a:cubicBezTo>
                        <a:pt x="108625" y="361376"/>
                        <a:pt x="105095" y="330917"/>
                        <a:pt x="104893" y="297432"/>
                      </a:cubicBezTo>
                      <a:lnTo>
                        <a:pt x="104893" y="297432"/>
                      </a:lnTo>
                      <a:cubicBezTo>
                        <a:pt x="104893" y="253256"/>
                        <a:pt x="112760" y="204037"/>
                        <a:pt x="117198" y="192236"/>
                      </a:cubicBezTo>
                      <a:lnTo>
                        <a:pt x="117198" y="192236"/>
                      </a:lnTo>
                      <a:cubicBezTo>
                        <a:pt x="126073" y="170451"/>
                        <a:pt x="174284" y="154717"/>
                        <a:pt x="198692" y="147052"/>
                      </a:cubicBezTo>
                      <a:lnTo>
                        <a:pt x="198692" y="147052"/>
                      </a:lnTo>
                      <a:cubicBezTo>
                        <a:pt x="222292" y="140193"/>
                        <a:pt x="248112" y="123249"/>
                        <a:pt x="252348" y="103279"/>
                      </a:cubicBezTo>
                      <a:lnTo>
                        <a:pt x="252348" y="103279"/>
                      </a:lnTo>
                      <a:cubicBezTo>
                        <a:pt x="259207" y="78064"/>
                        <a:pt x="301264" y="84721"/>
                        <a:pt x="324462" y="79476"/>
                      </a:cubicBezTo>
                      <a:lnTo>
                        <a:pt x="324462" y="79476"/>
                      </a:lnTo>
                      <a:cubicBezTo>
                        <a:pt x="328597" y="78871"/>
                        <a:pt x="340600" y="69895"/>
                        <a:pt x="353812" y="60717"/>
                      </a:cubicBezTo>
                      <a:lnTo>
                        <a:pt x="353812" y="60717"/>
                      </a:lnTo>
                      <a:lnTo>
                        <a:pt x="353711" y="60717"/>
                      </a:lnTo>
                      <a:cubicBezTo>
                        <a:pt x="353106" y="59406"/>
                        <a:pt x="353509" y="58094"/>
                        <a:pt x="354518" y="57288"/>
                      </a:cubicBezTo>
                      <a:lnTo>
                        <a:pt x="354518" y="57288"/>
                      </a:lnTo>
                      <a:cubicBezTo>
                        <a:pt x="355526" y="56481"/>
                        <a:pt x="357039" y="56481"/>
                        <a:pt x="358048" y="57389"/>
                      </a:cubicBezTo>
                      <a:lnTo>
                        <a:pt x="358048" y="57389"/>
                      </a:lnTo>
                      <a:cubicBezTo>
                        <a:pt x="362284" y="61019"/>
                        <a:pt x="368134" y="65256"/>
                        <a:pt x="378623" y="70097"/>
                      </a:cubicBezTo>
                      <a:lnTo>
                        <a:pt x="378623" y="70097"/>
                      </a:lnTo>
                      <a:cubicBezTo>
                        <a:pt x="388104" y="74433"/>
                        <a:pt x="396072" y="76955"/>
                        <a:pt x="403132" y="76955"/>
                      </a:cubicBezTo>
                      <a:lnTo>
                        <a:pt x="403132" y="76955"/>
                      </a:lnTo>
                      <a:cubicBezTo>
                        <a:pt x="414630" y="76854"/>
                        <a:pt x="424716" y="70702"/>
                        <a:pt x="437525" y="53657"/>
                      </a:cubicBezTo>
                      <a:lnTo>
                        <a:pt x="437525" y="53657"/>
                      </a:lnTo>
                      <a:cubicBezTo>
                        <a:pt x="442164" y="47202"/>
                        <a:pt x="446904" y="43873"/>
                        <a:pt x="451947" y="43873"/>
                      </a:cubicBezTo>
                      <a:lnTo>
                        <a:pt x="451947" y="43873"/>
                      </a:lnTo>
                      <a:cubicBezTo>
                        <a:pt x="469194" y="45386"/>
                        <a:pt x="476053" y="77762"/>
                        <a:pt x="486945" y="91781"/>
                      </a:cubicBezTo>
                      <a:lnTo>
                        <a:pt x="486945" y="91781"/>
                      </a:lnTo>
                      <a:cubicBezTo>
                        <a:pt x="488458" y="93597"/>
                        <a:pt x="489971" y="94403"/>
                        <a:pt x="492392" y="94403"/>
                      </a:cubicBezTo>
                      <a:lnTo>
                        <a:pt x="492392" y="94403"/>
                      </a:lnTo>
                      <a:cubicBezTo>
                        <a:pt x="507823" y="95311"/>
                        <a:pt x="544535" y="52144"/>
                        <a:pt x="549478" y="37015"/>
                      </a:cubicBezTo>
                      <a:lnTo>
                        <a:pt x="549478" y="37015"/>
                      </a:lnTo>
                      <a:cubicBezTo>
                        <a:pt x="553008" y="27938"/>
                        <a:pt x="563598" y="25215"/>
                        <a:pt x="574692" y="25114"/>
                      </a:cubicBezTo>
                      <a:lnTo>
                        <a:pt x="574692" y="25114"/>
                      </a:lnTo>
                      <a:cubicBezTo>
                        <a:pt x="593855" y="25517"/>
                        <a:pt x="618061" y="33485"/>
                        <a:pt x="618969" y="50127"/>
                      </a:cubicBezTo>
                      <a:lnTo>
                        <a:pt x="618969" y="50127"/>
                      </a:lnTo>
                      <a:cubicBezTo>
                        <a:pt x="619574" y="66768"/>
                        <a:pt x="621995" y="70298"/>
                        <a:pt x="633594" y="70803"/>
                      </a:cubicBezTo>
                      <a:lnTo>
                        <a:pt x="633594" y="70803"/>
                      </a:lnTo>
                      <a:cubicBezTo>
                        <a:pt x="636317" y="70803"/>
                        <a:pt x="639544" y="70399"/>
                        <a:pt x="643377" y="69895"/>
                      </a:cubicBezTo>
                      <a:lnTo>
                        <a:pt x="643377" y="69895"/>
                      </a:lnTo>
                      <a:cubicBezTo>
                        <a:pt x="650639" y="68180"/>
                        <a:pt x="650134" y="67172"/>
                        <a:pt x="650538" y="64247"/>
                      </a:cubicBezTo>
                      <a:lnTo>
                        <a:pt x="650538" y="64247"/>
                      </a:lnTo>
                      <a:cubicBezTo>
                        <a:pt x="650538" y="62230"/>
                        <a:pt x="649933" y="59406"/>
                        <a:pt x="649832" y="56178"/>
                      </a:cubicBezTo>
                      <a:lnTo>
                        <a:pt x="649832" y="56178"/>
                      </a:lnTo>
                      <a:cubicBezTo>
                        <a:pt x="649731" y="51539"/>
                        <a:pt x="652152" y="45689"/>
                        <a:pt x="659817" y="42461"/>
                      </a:cubicBezTo>
                      <a:lnTo>
                        <a:pt x="659817" y="42461"/>
                      </a:lnTo>
                      <a:cubicBezTo>
                        <a:pt x="662439" y="41150"/>
                        <a:pt x="664860" y="40646"/>
                        <a:pt x="667079" y="40646"/>
                      </a:cubicBezTo>
                      <a:lnTo>
                        <a:pt x="667079" y="40646"/>
                      </a:lnTo>
                      <a:cubicBezTo>
                        <a:pt x="682006" y="41554"/>
                        <a:pt x="688562" y="60616"/>
                        <a:pt x="694512" y="59204"/>
                      </a:cubicBezTo>
                      <a:lnTo>
                        <a:pt x="694512" y="59204"/>
                      </a:lnTo>
                      <a:cubicBezTo>
                        <a:pt x="695319" y="59204"/>
                        <a:pt x="696328" y="59002"/>
                        <a:pt x="697639" y="58195"/>
                      </a:cubicBezTo>
                      <a:lnTo>
                        <a:pt x="697639" y="58195"/>
                      </a:lnTo>
                      <a:cubicBezTo>
                        <a:pt x="700362" y="56380"/>
                        <a:pt x="701169" y="54363"/>
                        <a:pt x="701169" y="51539"/>
                      </a:cubicBezTo>
                      <a:lnTo>
                        <a:pt x="701169" y="51539"/>
                      </a:lnTo>
                      <a:cubicBezTo>
                        <a:pt x="701371" y="42562"/>
                        <a:pt x="690276" y="27333"/>
                        <a:pt x="686141" y="16541"/>
                      </a:cubicBezTo>
                      <a:lnTo>
                        <a:pt x="686141" y="16541"/>
                      </a:lnTo>
                      <a:cubicBezTo>
                        <a:pt x="685536" y="15028"/>
                        <a:pt x="685233" y="13616"/>
                        <a:pt x="685233" y="12305"/>
                      </a:cubicBezTo>
                      <a:lnTo>
                        <a:pt x="685233" y="12305"/>
                      </a:lnTo>
                      <a:cubicBezTo>
                        <a:pt x="685838" y="2723"/>
                        <a:pt x="696731" y="101"/>
                        <a:pt x="705203" y="0"/>
                      </a:cubicBezTo>
                      <a:lnTo>
                        <a:pt x="705203" y="0"/>
                      </a:lnTo>
                      <a:cubicBezTo>
                        <a:pt x="711255" y="101"/>
                        <a:pt x="717104" y="1210"/>
                        <a:pt x="720433" y="5144"/>
                      </a:cubicBezTo>
                      <a:lnTo>
                        <a:pt x="720433" y="5144"/>
                      </a:lnTo>
                      <a:cubicBezTo>
                        <a:pt x="724265" y="10388"/>
                        <a:pt x="731023" y="21987"/>
                        <a:pt x="743025" y="21886"/>
                      </a:cubicBezTo>
                      <a:lnTo>
                        <a:pt x="743025" y="21886"/>
                      </a:lnTo>
                      <a:cubicBezTo>
                        <a:pt x="747967" y="21886"/>
                        <a:pt x="753918" y="20172"/>
                        <a:pt x="761583" y="15028"/>
                      </a:cubicBezTo>
                      <a:lnTo>
                        <a:pt x="761583" y="15028"/>
                      </a:lnTo>
                      <a:cubicBezTo>
                        <a:pt x="774090" y="6152"/>
                        <a:pt x="789218" y="2118"/>
                        <a:pt x="805457" y="2118"/>
                      </a:cubicBezTo>
                      <a:lnTo>
                        <a:pt x="805457" y="2118"/>
                      </a:lnTo>
                      <a:cubicBezTo>
                        <a:pt x="826234" y="2118"/>
                        <a:pt x="849027" y="8976"/>
                        <a:pt x="871721" y="21685"/>
                      </a:cubicBezTo>
                      <a:lnTo>
                        <a:pt x="871721" y="21685"/>
                      </a:lnTo>
                      <a:cubicBezTo>
                        <a:pt x="888362" y="31064"/>
                        <a:pt x="907828" y="34998"/>
                        <a:pt x="927294" y="34998"/>
                      </a:cubicBezTo>
                      <a:lnTo>
                        <a:pt x="927294" y="34998"/>
                      </a:lnTo>
                      <a:cubicBezTo>
                        <a:pt x="952609" y="34998"/>
                        <a:pt x="977925" y="28543"/>
                        <a:pt x="997189" y="19869"/>
                      </a:cubicBezTo>
                      <a:lnTo>
                        <a:pt x="997189" y="19869"/>
                      </a:lnTo>
                      <a:cubicBezTo>
                        <a:pt x="999206" y="19062"/>
                        <a:pt x="1000618" y="17448"/>
                        <a:pt x="1003341" y="15734"/>
                      </a:cubicBezTo>
                      <a:lnTo>
                        <a:pt x="1003341" y="15734"/>
                      </a:lnTo>
                      <a:lnTo>
                        <a:pt x="1007577" y="17549"/>
                      </a:lnTo>
                      <a:lnTo>
                        <a:pt x="1008081" y="20071"/>
                      </a:lnTo>
                      <a:cubicBezTo>
                        <a:pt x="1013124" y="60818"/>
                        <a:pt x="1049232" y="101464"/>
                        <a:pt x="1092198" y="132629"/>
                      </a:cubicBezTo>
                      <a:lnTo>
                        <a:pt x="1092198" y="132629"/>
                      </a:lnTo>
                      <a:lnTo>
                        <a:pt x="1090584" y="134848"/>
                      </a:lnTo>
                      <a:lnTo>
                        <a:pt x="1088869" y="137167"/>
                      </a:lnTo>
                      <a:cubicBezTo>
                        <a:pt x="1046105" y="106002"/>
                        <a:pt x="1009393" y="65558"/>
                        <a:pt x="1002837" y="22996"/>
                      </a:cubicBezTo>
                      <a:lnTo>
                        <a:pt x="1002837" y="22996"/>
                      </a:lnTo>
                      <a:cubicBezTo>
                        <a:pt x="1001929" y="23702"/>
                        <a:pt x="1000820" y="24408"/>
                        <a:pt x="999407" y="25013"/>
                      </a:cubicBezTo>
                      <a:lnTo>
                        <a:pt x="999407" y="25013"/>
                      </a:lnTo>
                      <a:cubicBezTo>
                        <a:pt x="979438" y="33989"/>
                        <a:pt x="953416" y="40545"/>
                        <a:pt x="927193" y="40545"/>
                      </a:cubicBezTo>
                      <a:lnTo>
                        <a:pt x="927193" y="40545"/>
                      </a:lnTo>
                      <a:cubicBezTo>
                        <a:pt x="907021" y="40545"/>
                        <a:pt x="886648" y="36511"/>
                        <a:pt x="868796" y="26526"/>
                      </a:cubicBezTo>
                      <a:lnTo>
                        <a:pt x="868796" y="26526"/>
                      </a:lnTo>
                      <a:cubicBezTo>
                        <a:pt x="846808" y="14019"/>
                        <a:pt x="824821" y="7463"/>
                        <a:pt x="805255" y="7463"/>
                      </a:cubicBezTo>
                      <a:lnTo>
                        <a:pt x="805255" y="7463"/>
                      </a:lnTo>
                      <a:cubicBezTo>
                        <a:pt x="789924" y="7463"/>
                        <a:pt x="776006" y="11397"/>
                        <a:pt x="764407" y="19466"/>
                      </a:cubicBezTo>
                      <a:lnTo>
                        <a:pt x="764407" y="19466"/>
                      </a:lnTo>
                      <a:cubicBezTo>
                        <a:pt x="756137" y="25114"/>
                        <a:pt x="749077" y="27333"/>
                        <a:pt x="742723" y="27333"/>
                      </a:cubicBezTo>
                      <a:lnTo>
                        <a:pt x="742723" y="27333"/>
                      </a:lnTo>
                      <a:cubicBezTo>
                        <a:pt x="726787" y="27232"/>
                        <a:pt x="719021" y="12809"/>
                        <a:pt x="715692" y="8371"/>
                      </a:cubicBezTo>
                      <a:lnTo>
                        <a:pt x="715692" y="8371"/>
                      </a:lnTo>
                      <a:cubicBezTo>
                        <a:pt x="714987" y="7262"/>
                        <a:pt x="710044" y="5345"/>
                        <a:pt x="704901" y="5446"/>
                      </a:cubicBezTo>
                      <a:lnTo>
                        <a:pt x="704901" y="5446"/>
                      </a:lnTo>
                      <a:cubicBezTo>
                        <a:pt x="697034" y="5446"/>
                        <a:pt x="690579" y="8674"/>
                        <a:pt x="690579" y="12103"/>
                      </a:cubicBezTo>
                      <a:lnTo>
                        <a:pt x="690579" y="12103"/>
                      </a:lnTo>
                      <a:cubicBezTo>
                        <a:pt x="690579" y="12708"/>
                        <a:pt x="690680" y="13212"/>
                        <a:pt x="691083" y="14322"/>
                      </a:cubicBezTo>
                      <a:lnTo>
                        <a:pt x="691083" y="14322"/>
                      </a:lnTo>
                      <a:cubicBezTo>
                        <a:pt x="694613" y="24105"/>
                        <a:pt x="706313" y="38931"/>
                        <a:pt x="706514" y="51337"/>
                      </a:cubicBezTo>
                      <a:lnTo>
                        <a:pt x="706514" y="51337"/>
                      </a:lnTo>
                      <a:cubicBezTo>
                        <a:pt x="706615" y="55573"/>
                        <a:pt x="704699" y="59910"/>
                        <a:pt x="700362" y="62633"/>
                      </a:cubicBezTo>
                      <a:lnTo>
                        <a:pt x="700362" y="62633"/>
                      </a:lnTo>
                      <a:cubicBezTo>
                        <a:pt x="698345" y="63843"/>
                        <a:pt x="696227" y="64448"/>
                        <a:pt x="694310" y="64448"/>
                      </a:cubicBezTo>
                      <a:lnTo>
                        <a:pt x="694310" y="64448"/>
                      </a:lnTo>
                      <a:cubicBezTo>
                        <a:pt x="681804" y="63238"/>
                        <a:pt x="676660" y="45084"/>
                        <a:pt x="666877" y="45991"/>
                      </a:cubicBezTo>
                      <a:lnTo>
                        <a:pt x="666877" y="45991"/>
                      </a:lnTo>
                      <a:cubicBezTo>
                        <a:pt x="665566" y="45991"/>
                        <a:pt x="663952" y="46294"/>
                        <a:pt x="661935" y="47202"/>
                      </a:cubicBezTo>
                      <a:lnTo>
                        <a:pt x="661935" y="47202"/>
                      </a:lnTo>
                      <a:cubicBezTo>
                        <a:pt x="655783" y="50227"/>
                        <a:pt x="655379" y="52547"/>
                        <a:pt x="655177" y="55875"/>
                      </a:cubicBezTo>
                      <a:lnTo>
                        <a:pt x="655177" y="55875"/>
                      </a:lnTo>
                      <a:cubicBezTo>
                        <a:pt x="655177" y="58296"/>
                        <a:pt x="655783" y="60918"/>
                        <a:pt x="655783" y="63944"/>
                      </a:cubicBezTo>
                      <a:lnTo>
                        <a:pt x="655783" y="63944"/>
                      </a:lnTo>
                      <a:cubicBezTo>
                        <a:pt x="656287" y="68785"/>
                        <a:pt x="652454" y="74030"/>
                        <a:pt x="643982" y="75039"/>
                      </a:cubicBezTo>
                      <a:lnTo>
                        <a:pt x="643982" y="75039"/>
                      </a:lnTo>
                      <a:cubicBezTo>
                        <a:pt x="639948" y="75644"/>
                        <a:pt x="636418" y="76047"/>
                        <a:pt x="633291" y="76047"/>
                      </a:cubicBezTo>
                      <a:lnTo>
                        <a:pt x="633291" y="76047"/>
                      </a:lnTo>
                      <a:cubicBezTo>
                        <a:pt x="618969" y="75946"/>
                        <a:pt x="613119" y="66768"/>
                        <a:pt x="613018" y="49824"/>
                      </a:cubicBezTo>
                      <a:lnTo>
                        <a:pt x="613018" y="49824"/>
                      </a:lnTo>
                      <a:cubicBezTo>
                        <a:pt x="613018" y="40041"/>
                        <a:pt x="592342" y="30459"/>
                        <a:pt x="574390" y="30459"/>
                      </a:cubicBezTo>
                      <a:lnTo>
                        <a:pt x="574390" y="30459"/>
                      </a:lnTo>
                      <a:cubicBezTo>
                        <a:pt x="564001" y="30459"/>
                        <a:pt x="556033" y="33485"/>
                        <a:pt x="554420" y="38629"/>
                      </a:cubicBezTo>
                      <a:lnTo>
                        <a:pt x="554420" y="38629"/>
                      </a:lnTo>
                      <a:cubicBezTo>
                        <a:pt x="547561" y="56178"/>
                        <a:pt x="513774" y="98841"/>
                        <a:pt x="492089" y="99850"/>
                      </a:cubicBezTo>
                      <a:lnTo>
                        <a:pt x="492089" y="99850"/>
                      </a:lnTo>
                      <a:cubicBezTo>
                        <a:pt x="488155" y="99850"/>
                        <a:pt x="484424" y="98135"/>
                        <a:pt x="482104" y="94807"/>
                      </a:cubicBezTo>
                      <a:lnTo>
                        <a:pt x="482104" y="94807"/>
                      </a:lnTo>
                      <a:cubicBezTo>
                        <a:pt x="471413" y="78972"/>
                        <a:pt x="460722" y="47807"/>
                        <a:pt x="451645" y="49320"/>
                      </a:cubicBezTo>
                      <a:lnTo>
                        <a:pt x="451645" y="49320"/>
                      </a:lnTo>
                      <a:cubicBezTo>
                        <a:pt x="449224" y="49219"/>
                        <a:pt x="445896" y="50933"/>
                        <a:pt x="441660" y="56783"/>
                      </a:cubicBezTo>
                      <a:lnTo>
                        <a:pt x="441660" y="56783"/>
                      </a:lnTo>
                      <a:cubicBezTo>
                        <a:pt x="428548" y="74232"/>
                        <a:pt x="416647" y="82200"/>
                        <a:pt x="402829" y="82200"/>
                      </a:cubicBezTo>
                      <a:lnTo>
                        <a:pt x="402829" y="82200"/>
                      </a:lnTo>
                      <a:cubicBezTo>
                        <a:pt x="394458" y="82200"/>
                        <a:pt x="385784" y="79476"/>
                        <a:pt x="375900" y="74837"/>
                      </a:cubicBezTo>
                      <a:lnTo>
                        <a:pt x="375900" y="74837"/>
                      </a:lnTo>
                      <a:cubicBezTo>
                        <a:pt x="366621" y="70500"/>
                        <a:pt x="360468" y="66365"/>
                        <a:pt x="356031" y="62835"/>
                      </a:cubicBezTo>
                      <a:lnTo>
                        <a:pt x="356031" y="62835"/>
                      </a:lnTo>
                      <a:cubicBezTo>
                        <a:pt x="342617" y="74635"/>
                        <a:pt x="332127" y="83107"/>
                        <a:pt x="325370" y="84620"/>
                      </a:cubicBezTo>
                      <a:lnTo>
                        <a:pt x="325370" y="84620"/>
                      </a:lnTo>
                      <a:cubicBezTo>
                        <a:pt x="300155" y="88957"/>
                        <a:pt x="260114" y="86032"/>
                        <a:pt x="257492" y="104187"/>
                      </a:cubicBezTo>
                      <a:lnTo>
                        <a:pt x="257492" y="104187"/>
                      </a:lnTo>
                      <a:cubicBezTo>
                        <a:pt x="251945" y="127687"/>
                        <a:pt x="224612" y="144530"/>
                        <a:pt x="200103" y="152095"/>
                      </a:cubicBezTo>
                      <a:lnTo>
                        <a:pt x="200103" y="152095"/>
                      </a:lnTo>
                      <a:cubicBezTo>
                        <a:pt x="176200" y="158953"/>
                        <a:pt x="127788" y="176906"/>
                        <a:pt x="122140" y="193850"/>
                      </a:cubicBezTo>
                      <a:lnTo>
                        <a:pt x="122140" y="193850"/>
                      </a:lnTo>
                      <a:cubicBezTo>
                        <a:pt x="118408" y="203936"/>
                        <a:pt x="110238" y="253962"/>
                        <a:pt x="110238" y="297129"/>
                      </a:cubicBezTo>
                      <a:lnTo>
                        <a:pt x="110238" y="297129"/>
                      </a:lnTo>
                      <a:cubicBezTo>
                        <a:pt x="110037" y="330211"/>
                        <a:pt x="115685" y="359561"/>
                        <a:pt x="127990" y="364099"/>
                      </a:cubicBezTo>
                      <a:lnTo>
                        <a:pt x="127990" y="364099"/>
                      </a:lnTo>
                      <a:cubicBezTo>
                        <a:pt x="158247" y="377009"/>
                        <a:pt x="176301" y="394659"/>
                        <a:pt x="176301" y="420076"/>
                      </a:cubicBezTo>
                      <a:lnTo>
                        <a:pt x="176301" y="420076"/>
                      </a:lnTo>
                      <a:cubicBezTo>
                        <a:pt x="176301" y="423303"/>
                        <a:pt x="176099" y="426531"/>
                        <a:pt x="175494" y="430061"/>
                      </a:cubicBezTo>
                      <a:lnTo>
                        <a:pt x="175494" y="430061"/>
                      </a:lnTo>
                      <a:cubicBezTo>
                        <a:pt x="173174" y="444483"/>
                        <a:pt x="161172" y="447812"/>
                        <a:pt x="150279" y="447509"/>
                      </a:cubicBezTo>
                      <a:lnTo>
                        <a:pt x="150279" y="447509"/>
                      </a:lnTo>
                      <a:cubicBezTo>
                        <a:pt x="143320" y="447509"/>
                        <a:pt x="136058" y="446501"/>
                        <a:pt x="130309" y="446501"/>
                      </a:cubicBezTo>
                      <a:lnTo>
                        <a:pt x="130309" y="446501"/>
                      </a:lnTo>
                      <a:cubicBezTo>
                        <a:pt x="124258" y="446501"/>
                        <a:pt x="120829" y="447610"/>
                        <a:pt x="119719" y="450132"/>
                      </a:cubicBezTo>
                      <a:lnTo>
                        <a:pt x="119719" y="450132"/>
                      </a:lnTo>
                      <a:cubicBezTo>
                        <a:pt x="113264" y="462739"/>
                        <a:pt x="96623" y="489467"/>
                        <a:pt x="96723" y="507621"/>
                      </a:cubicBezTo>
                      <a:lnTo>
                        <a:pt x="96723" y="507621"/>
                      </a:lnTo>
                      <a:cubicBezTo>
                        <a:pt x="96723" y="510445"/>
                        <a:pt x="97228" y="513067"/>
                        <a:pt x="98135" y="515488"/>
                      </a:cubicBezTo>
                      <a:lnTo>
                        <a:pt x="98135" y="515488"/>
                      </a:lnTo>
                      <a:cubicBezTo>
                        <a:pt x="102674" y="527994"/>
                        <a:pt x="111852" y="542922"/>
                        <a:pt x="111953" y="556840"/>
                      </a:cubicBezTo>
                      <a:lnTo>
                        <a:pt x="111953" y="556840"/>
                      </a:lnTo>
                      <a:cubicBezTo>
                        <a:pt x="112054" y="564102"/>
                        <a:pt x="109028" y="571162"/>
                        <a:pt x="101968" y="576709"/>
                      </a:cubicBezTo>
                      <a:lnTo>
                        <a:pt x="101968" y="576709"/>
                      </a:lnTo>
                      <a:cubicBezTo>
                        <a:pt x="79880" y="591939"/>
                        <a:pt x="50127" y="575196"/>
                        <a:pt x="34998" y="602327"/>
                      </a:cubicBezTo>
                      <a:lnTo>
                        <a:pt x="34998" y="602327"/>
                      </a:lnTo>
                      <a:cubicBezTo>
                        <a:pt x="29148" y="612413"/>
                        <a:pt x="18659" y="625323"/>
                        <a:pt x="6858" y="638939"/>
                      </a:cubicBezTo>
                      <a:lnTo>
                        <a:pt x="6858" y="638939"/>
                      </a:lnTo>
                      <a:cubicBezTo>
                        <a:pt x="17045" y="641561"/>
                        <a:pt x="26828" y="643377"/>
                        <a:pt x="35300" y="643377"/>
                      </a:cubicBezTo>
                      <a:lnTo>
                        <a:pt x="35300" y="643377"/>
                      </a:lnTo>
                      <a:cubicBezTo>
                        <a:pt x="79477" y="643074"/>
                        <a:pt x="91882" y="657900"/>
                        <a:pt x="98438" y="678879"/>
                      </a:cubicBezTo>
                      <a:lnTo>
                        <a:pt x="98438" y="678879"/>
                      </a:lnTo>
                      <a:cubicBezTo>
                        <a:pt x="99245" y="681400"/>
                        <a:pt x="99447" y="684124"/>
                        <a:pt x="99447" y="687250"/>
                      </a:cubicBezTo>
                      <a:lnTo>
                        <a:pt x="99447" y="687250"/>
                      </a:lnTo>
                      <a:cubicBezTo>
                        <a:pt x="99447" y="703892"/>
                        <a:pt x="90369" y="729510"/>
                        <a:pt x="90369" y="745143"/>
                      </a:cubicBezTo>
                      <a:lnTo>
                        <a:pt x="90369" y="745143"/>
                      </a:lnTo>
                      <a:cubicBezTo>
                        <a:pt x="90874" y="753817"/>
                        <a:pt x="92185" y="757246"/>
                        <a:pt x="99144" y="757549"/>
                      </a:cubicBezTo>
                      <a:lnTo>
                        <a:pt x="99144" y="757549"/>
                      </a:lnTo>
                      <a:cubicBezTo>
                        <a:pt x="126779" y="757347"/>
                        <a:pt x="139992" y="757549"/>
                        <a:pt x="139992" y="740201"/>
                      </a:cubicBezTo>
                      <a:lnTo>
                        <a:pt x="139992" y="740201"/>
                      </a:lnTo>
                      <a:cubicBezTo>
                        <a:pt x="141606" y="724265"/>
                        <a:pt x="169846" y="719121"/>
                        <a:pt x="199398" y="718516"/>
                      </a:cubicBezTo>
                      <a:lnTo>
                        <a:pt x="199398" y="718516"/>
                      </a:lnTo>
                      <a:cubicBezTo>
                        <a:pt x="220981" y="718516"/>
                        <a:pt x="243674" y="722147"/>
                        <a:pt x="258602" y="731124"/>
                      </a:cubicBezTo>
                      <a:lnTo>
                        <a:pt x="258602" y="731124"/>
                      </a:lnTo>
                      <a:cubicBezTo>
                        <a:pt x="293498" y="752707"/>
                        <a:pt x="280992" y="783772"/>
                        <a:pt x="301971" y="791336"/>
                      </a:cubicBezTo>
                      <a:lnTo>
                        <a:pt x="301971" y="791336"/>
                      </a:lnTo>
                      <a:cubicBezTo>
                        <a:pt x="327689" y="803843"/>
                        <a:pt x="317906" y="843984"/>
                        <a:pt x="338683" y="848321"/>
                      </a:cubicBezTo>
                      <a:lnTo>
                        <a:pt x="338683" y="848321"/>
                      </a:lnTo>
                      <a:cubicBezTo>
                        <a:pt x="362587" y="855281"/>
                        <a:pt x="393046" y="872124"/>
                        <a:pt x="410293" y="889371"/>
                      </a:cubicBezTo>
                      <a:lnTo>
                        <a:pt x="410293" y="889371"/>
                      </a:lnTo>
                      <a:cubicBezTo>
                        <a:pt x="420378" y="899658"/>
                        <a:pt x="435407" y="918922"/>
                        <a:pt x="435507" y="938085"/>
                      </a:cubicBezTo>
                      <a:lnTo>
                        <a:pt x="435507" y="938085"/>
                      </a:lnTo>
                      <a:cubicBezTo>
                        <a:pt x="435709" y="951500"/>
                        <a:pt x="427237" y="964208"/>
                        <a:pt x="405855" y="971268"/>
                      </a:cubicBezTo>
                      <a:lnTo>
                        <a:pt x="405855" y="971268"/>
                      </a:lnTo>
                      <a:cubicBezTo>
                        <a:pt x="373883" y="981757"/>
                        <a:pt x="362183" y="993961"/>
                        <a:pt x="362587" y="1001223"/>
                      </a:cubicBezTo>
                      <a:lnTo>
                        <a:pt x="362587" y="1001223"/>
                      </a:lnTo>
                      <a:cubicBezTo>
                        <a:pt x="362486" y="1005358"/>
                        <a:pt x="365713" y="1009594"/>
                        <a:pt x="372572" y="1013124"/>
                      </a:cubicBezTo>
                      <a:lnTo>
                        <a:pt x="372572" y="1013124"/>
                      </a:lnTo>
                      <a:cubicBezTo>
                        <a:pt x="386490" y="1020285"/>
                        <a:pt x="396576" y="1038944"/>
                        <a:pt x="396677" y="1056695"/>
                      </a:cubicBezTo>
                      <a:lnTo>
                        <a:pt x="396677" y="1056695"/>
                      </a:lnTo>
                      <a:cubicBezTo>
                        <a:pt x="396677" y="1067487"/>
                        <a:pt x="392743" y="1078077"/>
                        <a:pt x="383061" y="1085137"/>
                      </a:cubicBezTo>
                      <a:lnTo>
                        <a:pt x="383061" y="1085137"/>
                      </a:lnTo>
                      <a:cubicBezTo>
                        <a:pt x="377312" y="1089171"/>
                        <a:pt x="375597" y="1092702"/>
                        <a:pt x="375597" y="1096030"/>
                      </a:cubicBezTo>
                      <a:lnTo>
                        <a:pt x="375597" y="1096030"/>
                      </a:lnTo>
                      <a:cubicBezTo>
                        <a:pt x="374992" y="1105914"/>
                        <a:pt x="394054" y="1119631"/>
                        <a:pt x="407166" y="1134860"/>
                      </a:cubicBezTo>
                      <a:lnTo>
                        <a:pt x="407166" y="1134860"/>
                      </a:lnTo>
                      <a:cubicBezTo>
                        <a:pt x="417857" y="1147468"/>
                        <a:pt x="420681" y="1149686"/>
                        <a:pt x="427338" y="1149686"/>
                      </a:cubicBezTo>
                      <a:lnTo>
                        <a:pt x="427338" y="1149686"/>
                      </a:lnTo>
                      <a:cubicBezTo>
                        <a:pt x="431675" y="1149787"/>
                        <a:pt x="438130" y="1148476"/>
                        <a:pt x="448417" y="1147266"/>
                      </a:cubicBezTo>
                      <a:lnTo>
                        <a:pt x="448417" y="1147266"/>
                      </a:lnTo>
                      <a:cubicBezTo>
                        <a:pt x="452653" y="1146762"/>
                        <a:pt x="456284" y="1146358"/>
                        <a:pt x="459411" y="1146358"/>
                      </a:cubicBezTo>
                      <a:lnTo>
                        <a:pt x="459411" y="1146358"/>
                      </a:lnTo>
                      <a:cubicBezTo>
                        <a:pt x="472018" y="1146459"/>
                        <a:pt x="475145" y="1153822"/>
                        <a:pt x="475145" y="1164614"/>
                      </a:cubicBezTo>
                      <a:lnTo>
                        <a:pt x="475145" y="1164614"/>
                      </a:lnTo>
                      <a:cubicBezTo>
                        <a:pt x="475145" y="1168144"/>
                        <a:pt x="475044" y="1172077"/>
                        <a:pt x="475044" y="1176918"/>
                      </a:cubicBezTo>
                      <a:lnTo>
                        <a:pt x="475044" y="1176918"/>
                      </a:lnTo>
                      <a:cubicBezTo>
                        <a:pt x="474842" y="1197796"/>
                        <a:pt x="457999" y="1204755"/>
                        <a:pt x="459310" y="1208790"/>
                      </a:cubicBezTo>
                      <a:lnTo>
                        <a:pt x="459310" y="1208790"/>
                      </a:lnTo>
                      <a:cubicBezTo>
                        <a:pt x="459310" y="1209596"/>
                        <a:pt x="459613" y="1210605"/>
                        <a:pt x="461125" y="1212522"/>
                      </a:cubicBezTo>
                      <a:lnTo>
                        <a:pt x="461125" y="1212522"/>
                      </a:lnTo>
                      <a:cubicBezTo>
                        <a:pt x="468387" y="1222809"/>
                        <a:pt x="486340" y="1213329"/>
                        <a:pt x="499754" y="1224120"/>
                      </a:cubicBezTo>
                      <a:lnTo>
                        <a:pt x="499754" y="1224120"/>
                      </a:lnTo>
                      <a:cubicBezTo>
                        <a:pt x="509134" y="1232996"/>
                        <a:pt x="515589" y="1243384"/>
                        <a:pt x="521842" y="1242981"/>
                      </a:cubicBezTo>
                      <a:lnTo>
                        <a:pt x="521842" y="1242981"/>
                      </a:lnTo>
                      <a:cubicBezTo>
                        <a:pt x="522851" y="1242981"/>
                        <a:pt x="524263" y="1242678"/>
                        <a:pt x="525877" y="1242073"/>
                      </a:cubicBezTo>
                      <a:lnTo>
                        <a:pt x="525877" y="1242073"/>
                      </a:lnTo>
                      <a:cubicBezTo>
                        <a:pt x="535257" y="1238241"/>
                        <a:pt x="539190" y="1226440"/>
                        <a:pt x="558454" y="1226339"/>
                      </a:cubicBezTo>
                      <a:lnTo>
                        <a:pt x="558454" y="1226339"/>
                      </a:lnTo>
                      <a:cubicBezTo>
                        <a:pt x="560068" y="1226339"/>
                        <a:pt x="561984" y="1226339"/>
                        <a:pt x="563900" y="1226742"/>
                      </a:cubicBezTo>
                      <a:lnTo>
                        <a:pt x="563900" y="1226742"/>
                      </a:lnTo>
                      <a:cubicBezTo>
                        <a:pt x="587098" y="1229063"/>
                        <a:pt x="612615" y="1237635"/>
                        <a:pt x="625323" y="1256093"/>
                      </a:cubicBezTo>
                      <a:lnTo>
                        <a:pt x="625323" y="1256093"/>
                      </a:lnTo>
                      <a:cubicBezTo>
                        <a:pt x="636317" y="1272734"/>
                        <a:pt x="691688" y="1330930"/>
                        <a:pt x="720332" y="1330324"/>
                      </a:cubicBezTo>
                      <a:lnTo>
                        <a:pt x="720332" y="1330324"/>
                      </a:lnTo>
                      <a:cubicBezTo>
                        <a:pt x="720332" y="1330324"/>
                        <a:pt x="720433" y="1330324"/>
                        <a:pt x="720635" y="1330324"/>
                      </a:cubicBezTo>
                      <a:lnTo>
                        <a:pt x="720635" y="1330324"/>
                      </a:lnTo>
                      <a:cubicBezTo>
                        <a:pt x="720735" y="1330223"/>
                        <a:pt x="720937" y="1330223"/>
                        <a:pt x="721139" y="1330324"/>
                      </a:cubicBezTo>
                      <a:lnTo>
                        <a:pt x="721139" y="1330324"/>
                      </a:lnTo>
                      <a:cubicBezTo>
                        <a:pt x="750791" y="1329517"/>
                        <a:pt x="755229" y="1307933"/>
                        <a:pt x="776409" y="1299260"/>
                      </a:cubicBezTo>
                      <a:lnTo>
                        <a:pt x="776409" y="1299260"/>
                      </a:lnTo>
                      <a:cubicBezTo>
                        <a:pt x="780645" y="1297545"/>
                        <a:pt x="784276" y="1296738"/>
                        <a:pt x="787605" y="1296738"/>
                      </a:cubicBezTo>
                      <a:lnTo>
                        <a:pt x="787605" y="1296738"/>
                      </a:lnTo>
                      <a:cubicBezTo>
                        <a:pt x="800514" y="1297041"/>
                        <a:pt x="804852" y="1306925"/>
                        <a:pt x="813727" y="1308841"/>
                      </a:cubicBezTo>
                      <a:lnTo>
                        <a:pt x="813727" y="1308841"/>
                      </a:lnTo>
                      <a:cubicBezTo>
                        <a:pt x="814433" y="1308942"/>
                        <a:pt x="815442" y="1309043"/>
                        <a:pt x="816652" y="1309043"/>
                      </a:cubicBezTo>
                      <a:lnTo>
                        <a:pt x="816652" y="1309043"/>
                      </a:lnTo>
                      <a:cubicBezTo>
                        <a:pt x="828251" y="1309245"/>
                        <a:pt x="849027" y="1295427"/>
                        <a:pt x="856390" y="1288872"/>
                      </a:cubicBezTo>
                      <a:lnTo>
                        <a:pt x="856390" y="1288872"/>
                      </a:lnTo>
                      <a:cubicBezTo>
                        <a:pt x="866577" y="1280500"/>
                        <a:pt x="890682" y="1280803"/>
                        <a:pt x="890985" y="1281408"/>
                      </a:cubicBezTo>
                      <a:lnTo>
                        <a:pt x="890985" y="1281408"/>
                      </a:lnTo>
                      <a:lnTo>
                        <a:pt x="914989" y="1258109"/>
                      </a:lnTo>
                      <a:cubicBezTo>
                        <a:pt x="914989" y="1257706"/>
                        <a:pt x="914989" y="1258009"/>
                        <a:pt x="915796" y="1256597"/>
                      </a:cubicBezTo>
                      <a:lnTo>
                        <a:pt x="915796" y="1256597"/>
                      </a:lnTo>
                      <a:cubicBezTo>
                        <a:pt x="916804" y="1254479"/>
                        <a:pt x="918216" y="1249739"/>
                        <a:pt x="918216" y="1240157"/>
                      </a:cubicBezTo>
                      <a:lnTo>
                        <a:pt x="918216" y="1240157"/>
                      </a:lnTo>
                      <a:cubicBezTo>
                        <a:pt x="918216" y="1238442"/>
                        <a:pt x="918216" y="1236727"/>
                        <a:pt x="918116" y="1234912"/>
                      </a:cubicBezTo>
                      <a:lnTo>
                        <a:pt x="918116" y="1234912"/>
                      </a:lnTo>
                      <a:cubicBezTo>
                        <a:pt x="918116" y="1233399"/>
                        <a:pt x="918015" y="1231886"/>
                        <a:pt x="918015" y="1230474"/>
                      </a:cubicBezTo>
                      <a:lnTo>
                        <a:pt x="918015" y="1230474"/>
                      </a:lnTo>
                      <a:cubicBezTo>
                        <a:pt x="917712" y="1208588"/>
                        <a:pt x="927899" y="1203948"/>
                        <a:pt x="947869" y="1194670"/>
                      </a:cubicBezTo>
                      <a:lnTo>
                        <a:pt x="947869" y="1194670"/>
                      </a:lnTo>
                      <a:cubicBezTo>
                        <a:pt x="967940" y="1184685"/>
                        <a:pt x="972277" y="1163303"/>
                        <a:pt x="975504" y="1140710"/>
                      </a:cubicBezTo>
                      <a:lnTo>
                        <a:pt x="975504" y="1140710"/>
                      </a:lnTo>
                      <a:cubicBezTo>
                        <a:pt x="975605" y="1139701"/>
                        <a:pt x="975605" y="1138794"/>
                        <a:pt x="975605" y="1137685"/>
                      </a:cubicBezTo>
                      <a:lnTo>
                        <a:pt x="975605" y="1137685"/>
                      </a:lnTo>
                      <a:cubicBezTo>
                        <a:pt x="976109" y="1124977"/>
                        <a:pt x="961485" y="1115193"/>
                        <a:pt x="961182" y="1097341"/>
                      </a:cubicBezTo>
                      <a:lnTo>
                        <a:pt x="961182" y="1097341"/>
                      </a:lnTo>
                      <a:cubicBezTo>
                        <a:pt x="961182" y="1090180"/>
                        <a:pt x="963804" y="1082112"/>
                        <a:pt x="970562" y="1072530"/>
                      </a:cubicBezTo>
                      <a:lnTo>
                        <a:pt x="970562" y="1072530"/>
                      </a:lnTo>
                      <a:cubicBezTo>
                        <a:pt x="994566" y="1037431"/>
                        <a:pt x="1017058" y="1029262"/>
                        <a:pt x="1028253" y="1019176"/>
                      </a:cubicBezTo>
                      <a:lnTo>
                        <a:pt x="1028253" y="1019176"/>
                      </a:lnTo>
                      <a:cubicBezTo>
                        <a:pt x="1040457" y="1008283"/>
                        <a:pt x="1063251" y="989927"/>
                        <a:pt x="1064058" y="969352"/>
                      </a:cubicBezTo>
                      <a:lnTo>
                        <a:pt x="1064058" y="969352"/>
                      </a:lnTo>
                      <a:cubicBezTo>
                        <a:pt x="1064058" y="968343"/>
                        <a:pt x="1064058" y="967335"/>
                        <a:pt x="1064058" y="966326"/>
                      </a:cubicBezTo>
                      <a:lnTo>
                        <a:pt x="1064058" y="966326"/>
                      </a:lnTo>
                      <a:cubicBezTo>
                        <a:pt x="1064058" y="951096"/>
                        <a:pt x="1059116" y="930017"/>
                        <a:pt x="1059015" y="916300"/>
                      </a:cubicBezTo>
                      <a:lnTo>
                        <a:pt x="1059015" y="916300"/>
                      </a:lnTo>
                      <a:cubicBezTo>
                        <a:pt x="1059116" y="910349"/>
                        <a:pt x="1059721" y="904903"/>
                        <a:pt x="1064360" y="902180"/>
                      </a:cubicBezTo>
                      <a:lnTo>
                        <a:pt x="1064360" y="902180"/>
                      </a:lnTo>
                      <a:cubicBezTo>
                        <a:pt x="1067689" y="900364"/>
                        <a:pt x="1070715" y="898851"/>
                        <a:pt x="1074144" y="898851"/>
                      </a:cubicBezTo>
                      <a:lnTo>
                        <a:pt x="1074144" y="898851"/>
                      </a:lnTo>
                      <a:cubicBezTo>
                        <a:pt x="1081305" y="899053"/>
                        <a:pt x="1085843" y="905105"/>
                        <a:pt x="1090987" y="917611"/>
                      </a:cubicBezTo>
                      <a:lnTo>
                        <a:pt x="1090987" y="917611"/>
                      </a:lnTo>
                      <a:cubicBezTo>
                        <a:pt x="1096736" y="931631"/>
                        <a:pt x="1106116" y="943229"/>
                        <a:pt x="1117816" y="943028"/>
                      </a:cubicBezTo>
                      <a:lnTo>
                        <a:pt x="1117816" y="943028"/>
                      </a:lnTo>
                      <a:cubicBezTo>
                        <a:pt x="1121144" y="943028"/>
                        <a:pt x="1124876" y="942120"/>
                        <a:pt x="1129212" y="939901"/>
                      </a:cubicBezTo>
                      <a:lnTo>
                        <a:pt x="1129212" y="939901"/>
                      </a:lnTo>
                      <a:cubicBezTo>
                        <a:pt x="1148376" y="930017"/>
                        <a:pt x="1160176" y="902785"/>
                        <a:pt x="1160176" y="876461"/>
                      </a:cubicBezTo>
                      <a:lnTo>
                        <a:pt x="1160176" y="876461"/>
                      </a:lnTo>
                      <a:cubicBezTo>
                        <a:pt x="1160176" y="869098"/>
                        <a:pt x="1160277" y="863047"/>
                        <a:pt x="1160277" y="857701"/>
                      </a:cubicBezTo>
                      <a:lnTo>
                        <a:pt x="1160277" y="857701"/>
                      </a:lnTo>
                      <a:cubicBezTo>
                        <a:pt x="1160277" y="843379"/>
                        <a:pt x="1158764" y="833798"/>
                        <a:pt x="1146459" y="812012"/>
                      </a:cubicBezTo>
                      <a:lnTo>
                        <a:pt x="1146459" y="812012"/>
                      </a:lnTo>
                      <a:cubicBezTo>
                        <a:pt x="1135062" y="792042"/>
                        <a:pt x="1127599" y="773787"/>
                        <a:pt x="1127599" y="757851"/>
                      </a:cubicBezTo>
                      <a:lnTo>
                        <a:pt x="1127599" y="757851"/>
                      </a:lnTo>
                      <a:cubicBezTo>
                        <a:pt x="1127599" y="749379"/>
                        <a:pt x="1129616" y="741310"/>
                        <a:pt x="1134760" y="734553"/>
                      </a:cubicBezTo>
                      <a:lnTo>
                        <a:pt x="1134760" y="734553"/>
                      </a:lnTo>
                      <a:cubicBezTo>
                        <a:pt x="1146258" y="718617"/>
                        <a:pt x="1165017" y="712566"/>
                        <a:pt x="1165017" y="686342"/>
                      </a:cubicBezTo>
                      <a:lnTo>
                        <a:pt x="1165017" y="686342"/>
                      </a:lnTo>
                      <a:cubicBezTo>
                        <a:pt x="1165017" y="680190"/>
                        <a:pt x="1163807" y="672626"/>
                        <a:pt x="1161286" y="663548"/>
                      </a:cubicBezTo>
                      <a:lnTo>
                        <a:pt x="1161286" y="663548"/>
                      </a:lnTo>
                      <a:cubicBezTo>
                        <a:pt x="1147569" y="615741"/>
                        <a:pt x="1120236" y="601621"/>
                        <a:pt x="1107528" y="599705"/>
                      </a:cubicBezTo>
                      <a:lnTo>
                        <a:pt x="1107528" y="599705"/>
                      </a:lnTo>
                      <a:cubicBezTo>
                        <a:pt x="1095627" y="597183"/>
                        <a:pt x="1079086" y="575701"/>
                        <a:pt x="1078683" y="554218"/>
                      </a:cubicBezTo>
                      <a:lnTo>
                        <a:pt x="1078683" y="554218"/>
                      </a:lnTo>
                      <a:cubicBezTo>
                        <a:pt x="1078582" y="543426"/>
                        <a:pt x="1083423" y="532533"/>
                        <a:pt x="1095627" y="525473"/>
                      </a:cubicBezTo>
                      <a:lnTo>
                        <a:pt x="1095627" y="525473"/>
                      </a:lnTo>
                      <a:cubicBezTo>
                        <a:pt x="1132541" y="504293"/>
                        <a:pt x="1163605" y="523758"/>
                        <a:pt x="1178734" y="480389"/>
                      </a:cubicBezTo>
                      <a:lnTo>
                        <a:pt x="1178734" y="480389"/>
                      </a:lnTo>
                      <a:cubicBezTo>
                        <a:pt x="1187610" y="455780"/>
                        <a:pt x="1193661" y="413419"/>
                        <a:pt x="1193560" y="369243"/>
                      </a:cubicBezTo>
                      <a:lnTo>
                        <a:pt x="1193560" y="369243"/>
                      </a:lnTo>
                      <a:cubicBezTo>
                        <a:pt x="1193560" y="334044"/>
                        <a:pt x="1189728" y="297533"/>
                        <a:pt x="1180852" y="267376"/>
                      </a:cubicBezTo>
                      <a:lnTo>
                        <a:pt x="1180852" y="267376"/>
                      </a:lnTo>
                      <a:cubicBezTo>
                        <a:pt x="1160479" y="198792"/>
                        <a:pt x="1132036" y="168333"/>
                        <a:pt x="1089071" y="137167"/>
                      </a:cubicBezTo>
                      <a:lnTo>
                        <a:pt x="1089071" y="137167"/>
                      </a:lnTo>
                      <a:lnTo>
                        <a:pt x="1090785" y="134848"/>
                      </a:lnTo>
                      <a:lnTo>
                        <a:pt x="1092399" y="132629"/>
                      </a:lnTo>
                      <a:cubicBezTo>
                        <a:pt x="1135869" y="163996"/>
                        <a:pt x="1165623" y="196271"/>
                        <a:pt x="1186298" y="265762"/>
                      </a:cubicBezTo>
                      <a:lnTo>
                        <a:pt x="1186298" y="265762"/>
                      </a:lnTo>
                      <a:cubicBezTo>
                        <a:pt x="1195477" y="296726"/>
                        <a:pt x="1199309" y="333640"/>
                        <a:pt x="1199309" y="369243"/>
                      </a:cubicBezTo>
                      <a:lnTo>
                        <a:pt x="1199309" y="369243"/>
                      </a:lnTo>
                      <a:cubicBezTo>
                        <a:pt x="1199309" y="414024"/>
                        <a:pt x="1193359" y="456587"/>
                        <a:pt x="1184180" y="482406"/>
                      </a:cubicBezTo>
                      <a:lnTo>
                        <a:pt x="1184180" y="482406"/>
                      </a:lnTo>
                      <a:cubicBezTo>
                        <a:pt x="1166934" y="529810"/>
                        <a:pt x="1131028" y="510445"/>
                        <a:pt x="1098652" y="530314"/>
                      </a:cubicBezTo>
                      <a:lnTo>
                        <a:pt x="1098652" y="530314"/>
                      </a:lnTo>
                      <a:cubicBezTo>
                        <a:pt x="1087961" y="536668"/>
                        <a:pt x="1084432" y="544939"/>
                        <a:pt x="1084331" y="554319"/>
                      </a:cubicBezTo>
                      <a:lnTo>
                        <a:pt x="1084331" y="554319"/>
                      </a:lnTo>
                      <a:cubicBezTo>
                        <a:pt x="1083826" y="572776"/>
                        <a:pt x="1101678" y="593855"/>
                        <a:pt x="1108537" y="594359"/>
                      </a:cubicBezTo>
                      <a:lnTo>
                        <a:pt x="1108537" y="594359"/>
                      </a:lnTo>
                      <a:cubicBezTo>
                        <a:pt x="1123766" y="596679"/>
                        <a:pt x="1152713" y="612816"/>
                        <a:pt x="1166934" y="662136"/>
                      </a:cubicBezTo>
                      <a:lnTo>
                        <a:pt x="1166934" y="662136"/>
                      </a:lnTo>
                      <a:cubicBezTo>
                        <a:pt x="1169657" y="671617"/>
                        <a:pt x="1170867" y="679686"/>
                        <a:pt x="1170867" y="686544"/>
                      </a:cubicBezTo>
                      <a:lnTo>
                        <a:pt x="1170867" y="686544"/>
                      </a:lnTo>
                      <a:cubicBezTo>
                        <a:pt x="1170867" y="716096"/>
                        <a:pt x="1148981" y="724265"/>
                        <a:pt x="1139601" y="737982"/>
                      </a:cubicBezTo>
                      <a:lnTo>
                        <a:pt x="1139601" y="737982"/>
                      </a:lnTo>
                      <a:cubicBezTo>
                        <a:pt x="1135466" y="743832"/>
                        <a:pt x="1133550" y="750489"/>
                        <a:pt x="1133550" y="758053"/>
                      </a:cubicBezTo>
                      <a:lnTo>
                        <a:pt x="1133550" y="758053"/>
                      </a:lnTo>
                      <a:cubicBezTo>
                        <a:pt x="1133550" y="772274"/>
                        <a:pt x="1140509" y="789924"/>
                        <a:pt x="1151704" y="809390"/>
                      </a:cubicBezTo>
                      <a:lnTo>
                        <a:pt x="1151704" y="809390"/>
                      </a:lnTo>
                      <a:cubicBezTo>
                        <a:pt x="1164412" y="831478"/>
                        <a:pt x="1166329" y="843177"/>
                        <a:pt x="1166329" y="857903"/>
                      </a:cubicBezTo>
                      <a:lnTo>
                        <a:pt x="1166329" y="857903"/>
                      </a:lnTo>
                      <a:cubicBezTo>
                        <a:pt x="1166329" y="863349"/>
                        <a:pt x="1166127" y="869300"/>
                        <a:pt x="1166127" y="876662"/>
                      </a:cubicBezTo>
                      <a:lnTo>
                        <a:pt x="1166127" y="876662"/>
                      </a:lnTo>
                      <a:cubicBezTo>
                        <a:pt x="1166127" y="904399"/>
                        <a:pt x="1154125" y="933345"/>
                        <a:pt x="1132238" y="945045"/>
                      </a:cubicBezTo>
                      <a:lnTo>
                        <a:pt x="1132238" y="945045"/>
                      </a:lnTo>
                      <a:cubicBezTo>
                        <a:pt x="1127296" y="947465"/>
                        <a:pt x="1122758" y="948776"/>
                        <a:pt x="1118219" y="948776"/>
                      </a:cubicBezTo>
                      <a:lnTo>
                        <a:pt x="1118219" y="948776"/>
                      </a:lnTo>
                      <a:cubicBezTo>
                        <a:pt x="1102485" y="948676"/>
                        <a:pt x="1092298" y="934455"/>
                        <a:pt x="1086247" y="919931"/>
                      </a:cubicBezTo>
                      <a:lnTo>
                        <a:pt x="1086247" y="919931"/>
                      </a:lnTo>
                      <a:cubicBezTo>
                        <a:pt x="1081204" y="907324"/>
                        <a:pt x="1077472" y="904399"/>
                        <a:pt x="1074547" y="904701"/>
                      </a:cubicBezTo>
                      <a:lnTo>
                        <a:pt x="1074547" y="904701"/>
                      </a:lnTo>
                      <a:cubicBezTo>
                        <a:pt x="1072934" y="904600"/>
                        <a:pt x="1070614" y="905508"/>
                        <a:pt x="1067386" y="907324"/>
                      </a:cubicBezTo>
                      <a:lnTo>
                        <a:pt x="1067386" y="907324"/>
                      </a:lnTo>
                      <a:cubicBezTo>
                        <a:pt x="1066277" y="907525"/>
                        <a:pt x="1064865" y="910753"/>
                        <a:pt x="1064966" y="916502"/>
                      </a:cubicBezTo>
                      <a:lnTo>
                        <a:pt x="1064966" y="916502"/>
                      </a:lnTo>
                      <a:cubicBezTo>
                        <a:pt x="1064966" y="929109"/>
                        <a:pt x="1070009" y="950188"/>
                        <a:pt x="1070009" y="966527"/>
                      </a:cubicBezTo>
                      <a:lnTo>
                        <a:pt x="1070009" y="966527"/>
                      </a:lnTo>
                      <a:cubicBezTo>
                        <a:pt x="1070009" y="967536"/>
                        <a:pt x="1070009" y="968746"/>
                        <a:pt x="1069908" y="969755"/>
                      </a:cubicBezTo>
                      <a:lnTo>
                        <a:pt x="1069908" y="969755"/>
                      </a:lnTo>
                      <a:cubicBezTo>
                        <a:pt x="1068697" y="994365"/>
                        <a:pt x="1043987" y="1012721"/>
                        <a:pt x="1032287" y="1023513"/>
                      </a:cubicBezTo>
                      <a:lnTo>
                        <a:pt x="1032287" y="1023513"/>
                      </a:lnTo>
                      <a:cubicBezTo>
                        <a:pt x="1019680" y="1034910"/>
                        <a:pt x="999105" y="1041869"/>
                        <a:pt x="975504" y="1076060"/>
                      </a:cubicBezTo>
                      <a:lnTo>
                        <a:pt x="975504" y="1076060"/>
                      </a:lnTo>
                      <a:cubicBezTo>
                        <a:pt x="969150" y="1084935"/>
                        <a:pt x="967133" y="1091996"/>
                        <a:pt x="967133" y="1097745"/>
                      </a:cubicBezTo>
                      <a:lnTo>
                        <a:pt x="967133" y="1097745"/>
                      </a:lnTo>
                      <a:cubicBezTo>
                        <a:pt x="966628" y="1112167"/>
                        <a:pt x="981152" y="1121446"/>
                        <a:pt x="981556" y="1138088"/>
                      </a:cubicBezTo>
                      <a:lnTo>
                        <a:pt x="981556" y="1138088"/>
                      </a:lnTo>
                      <a:cubicBezTo>
                        <a:pt x="981556" y="1139197"/>
                        <a:pt x="981455" y="1140509"/>
                        <a:pt x="981354" y="1141820"/>
                      </a:cubicBezTo>
                      <a:lnTo>
                        <a:pt x="981354" y="1141820"/>
                      </a:lnTo>
                      <a:cubicBezTo>
                        <a:pt x="978126" y="1164311"/>
                        <a:pt x="973689" y="1188517"/>
                        <a:pt x="950693" y="1199914"/>
                      </a:cubicBezTo>
                      <a:lnTo>
                        <a:pt x="950693" y="1199914"/>
                      </a:lnTo>
                      <a:cubicBezTo>
                        <a:pt x="929916" y="1210605"/>
                        <a:pt x="924470" y="1211110"/>
                        <a:pt x="924066" y="1230878"/>
                      </a:cubicBezTo>
                      <a:lnTo>
                        <a:pt x="924066" y="1230878"/>
                      </a:lnTo>
                      <a:cubicBezTo>
                        <a:pt x="924066" y="1232088"/>
                        <a:pt x="924066" y="1233500"/>
                        <a:pt x="924167" y="1235215"/>
                      </a:cubicBezTo>
                      <a:lnTo>
                        <a:pt x="924167" y="1235215"/>
                      </a:lnTo>
                      <a:cubicBezTo>
                        <a:pt x="924167" y="1236929"/>
                        <a:pt x="924268" y="1238846"/>
                        <a:pt x="924268" y="1240560"/>
                      </a:cubicBezTo>
                      <a:lnTo>
                        <a:pt x="924268" y="1240560"/>
                      </a:lnTo>
                      <a:cubicBezTo>
                        <a:pt x="924268" y="1250545"/>
                        <a:pt x="922856" y="1256194"/>
                        <a:pt x="921141" y="1259522"/>
                      </a:cubicBezTo>
                      <a:lnTo>
                        <a:pt x="921141" y="1259522"/>
                      </a:lnTo>
                      <a:cubicBezTo>
                        <a:pt x="919528" y="1262850"/>
                        <a:pt x="917208" y="1263858"/>
                        <a:pt x="917914" y="1263253"/>
                      </a:cubicBezTo>
                      <a:lnTo>
                        <a:pt x="917914" y="1263253"/>
                      </a:lnTo>
                      <a:lnTo>
                        <a:pt x="893304" y="1286753"/>
                      </a:lnTo>
                      <a:cubicBezTo>
                        <a:pt x="893203" y="1286753"/>
                        <a:pt x="867283" y="1287157"/>
                        <a:pt x="860525" y="1293612"/>
                      </a:cubicBezTo>
                      <a:lnTo>
                        <a:pt x="860525" y="1293612"/>
                      </a:lnTo>
                      <a:cubicBezTo>
                        <a:pt x="852154" y="1300571"/>
                        <a:pt x="832083" y="1314893"/>
                        <a:pt x="817055" y="1314994"/>
                      </a:cubicBezTo>
                      <a:lnTo>
                        <a:pt x="817055" y="1314994"/>
                      </a:lnTo>
                      <a:cubicBezTo>
                        <a:pt x="815744" y="1314994"/>
                        <a:pt x="814231" y="1314994"/>
                        <a:pt x="812719" y="1314691"/>
                      </a:cubicBezTo>
                      <a:lnTo>
                        <a:pt x="812719" y="1314691"/>
                      </a:lnTo>
                      <a:cubicBezTo>
                        <a:pt x="800817" y="1311161"/>
                        <a:pt x="796985" y="1302285"/>
                        <a:pt x="787907" y="1302790"/>
                      </a:cubicBezTo>
                      <a:lnTo>
                        <a:pt x="787907" y="1302790"/>
                      </a:lnTo>
                      <a:cubicBezTo>
                        <a:pt x="785487" y="1302790"/>
                        <a:pt x="782562" y="1303294"/>
                        <a:pt x="778729" y="1304807"/>
                      </a:cubicBezTo>
                      <a:lnTo>
                        <a:pt x="778729" y="1304807"/>
                      </a:lnTo>
                      <a:cubicBezTo>
                        <a:pt x="760978" y="1311161"/>
                        <a:pt x="754523" y="1335064"/>
                        <a:pt x="720735" y="1336174"/>
                      </a:cubicBezTo>
                      <a:lnTo>
                        <a:pt x="720735" y="1336174"/>
                      </a:lnTo>
                      <a:lnTo>
                        <a:pt x="720635" y="1336376"/>
                      </a:lnTo>
                      <a:cubicBezTo>
                        <a:pt x="686242" y="1335266"/>
                        <a:pt x="633291" y="1276668"/>
                        <a:pt x="620785" y="1259118"/>
                      </a:cubicBezTo>
                      <a:lnTo>
                        <a:pt x="620785" y="1259118"/>
                      </a:lnTo>
                      <a:close/>
                    </a:path>
                  </a:pathLst>
                </a:custGeom>
                <a:solidFill>
                  <a:srgbClr val="ABDEF6"/>
                </a:solidFill>
                <a:ln w="10085" cap="flat">
                  <a:solidFill>
                    <a:srgbClr val="FFFFFF"/>
                  </a:solidFill>
                  <a:prstDash val="solid"/>
                  <a:miter/>
                </a:ln>
              </p:spPr>
              <p:txBody>
                <a:bodyPr rtlCol="0" anchor="ctr"/>
                <a:lstStyle/>
                <a:p>
                  <a:endParaRPr lang="fr-FR" sz="900"/>
                </a:p>
              </p:txBody>
            </p:sp>
          </p:grpSp>
          <p:grpSp>
            <p:nvGrpSpPr>
              <p:cNvPr id="30" name="Graphique 17">
                <a:extLst>
                  <a:ext uri="{FF2B5EF4-FFF2-40B4-BE49-F238E27FC236}">
                    <a16:creationId xmlns:a16="http://schemas.microsoft.com/office/drawing/2014/main" id="{B5838815-9FFA-A362-F583-A40EB4208475}"/>
                  </a:ext>
                </a:extLst>
              </p:cNvPr>
              <p:cNvGrpSpPr/>
              <p:nvPr/>
            </p:nvGrpSpPr>
            <p:grpSpPr>
              <a:xfrm>
                <a:off x="3083599" y="7778729"/>
                <a:ext cx="1511366" cy="1816261"/>
                <a:chOff x="3083599" y="7778729"/>
                <a:chExt cx="1511366" cy="1816261"/>
              </a:xfrm>
              <a:solidFill>
                <a:srgbClr val="ABDEF6"/>
              </a:solidFill>
            </p:grpSpPr>
            <p:sp>
              <p:nvSpPr>
                <p:cNvPr id="31" name="Forme libre : forme 30">
                  <a:extLst>
                    <a:ext uri="{FF2B5EF4-FFF2-40B4-BE49-F238E27FC236}">
                      <a16:creationId xmlns:a16="http://schemas.microsoft.com/office/drawing/2014/main" id="{8D774A4D-18E4-9C12-9BF0-55B773A2AD32}"/>
                    </a:ext>
                  </a:extLst>
                </p:cNvPr>
                <p:cNvSpPr/>
                <p:nvPr/>
              </p:nvSpPr>
              <p:spPr>
                <a:xfrm>
                  <a:off x="3086471" y="7778931"/>
                  <a:ext cx="1505750" cy="1813282"/>
                </a:xfrm>
                <a:custGeom>
                  <a:avLst/>
                  <a:gdLst>
                    <a:gd name="connsiteX0" fmla="*/ 1492660 w 1505750"/>
                    <a:gd name="connsiteY0" fmla="*/ 709036 h 1813282"/>
                    <a:gd name="connsiteX1" fmla="*/ 1504763 w 1505750"/>
                    <a:gd name="connsiteY1" fmla="*/ 677870 h 1813282"/>
                    <a:gd name="connsiteX2" fmla="*/ 1471883 w 1505750"/>
                    <a:gd name="connsiteY2" fmla="*/ 638132 h 1813282"/>
                    <a:gd name="connsiteX3" fmla="*/ 1466739 w 1505750"/>
                    <a:gd name="connsiteY3" fmla="*/ 581046 h 1813282"/>
                    <a:gd name="connsiteX4" fmla="*/ 1413082 w 1505750"/>
                    <a:gd name="connsiteY4" fmla="*/ 593149 h 1813282"/>
                    <a:gd name="connsiteX5" fmla="*/ 1362956 w 1505750"/>
                    <a:gd name="connsiteY5" fmla="*/ 546351 h 1813282"/>
                    <a:gd name="connsiteX6" fmla="*/ 1317972 w 1505750"/>
                    <a:gd name="connsiteY6" fmla="*/ 475447 h 1813282"/>
                    <a:gd name="connsiteX7" fmla="*/ 1317972 w 1505750"/>
                    <a:gd name="connsiteY7" fmla="*/ 399299 h 1813282"/>
                    <a:gd name="connsiteX8" fmla="*/ 1274704 w 1505750"/>
                    <a:gd name="connsiteY8" fmla="*/ 328395 h 1813282"/>
                    <a:gd name="connsiteX9" fmla="*/ 1234966 w 1505750"/>
                    <a:gd name="connsiteY9" fmla="*/ 276453 h 1813282"/>
                    <a:gd name="connsiteX10" fmla="*/ 1191698 w 1505750"/>
                    <a:gd name="connsiteY10" fmla="*/ 200305 h 1813282"/>
                    <a:gd name="connsiteX11" fmla="*/ 1141470 w 1505750"/>
                    <a:gd name="connsiteY11" fmla="*/ 165711 h 1813282"/>
                    <a:gd name="connsiteX12" fmla="*/ 1125938 w 1505750"/>
                    <a:gd name="connsiteY12" fmla="*/ 214123 h 1813282"/>
                    <a:gd name="connsiteX13" fmla="*/ 1077526 w 1505750"/>
                    <a:gd name="connsiteY13" fmla="*/ 245187 h 1813282"/>
                    <a:gd name="connsiteX14" fmla="*/ 966783 w 1505750"/>
                    <a:gd name="connsiteY14" fmla="*/ 202020 h 1813282"/>
                    <a:gd name="connsiteX15" fmla="*/ 959824 w 1505750"/>
                    <a:gd name="connsiteY15" fmla="*/ 117198 h 1813282"/>
                    <a:gd name="connsiteX16" fmla="*/ 906167 w 1505750"/>
                    <a:gd name="connsiteY16" fmla="*/ 91277 h 1813282"/>
                    <a:gd name="connsiteX17" fmla="*/ 883675 w 1505750"/>
                    <a:gd name="connsiteY17" fmla="*/ 70500 h 1813282"/>
                    <a:gd name="connsiteX18" fmla="*/ 854225 w 1505750"/>
                    <a:gd name="connsiteY18" fmla="*/ 30661 h 1813282"/>
                    <a:gd name="connsiteX19" fmla="*/ 843837 w 1505750"/>
                    <a:gd name="connsiteY19" fmla="*/ 30661 h 1813282"/>
                    <a:gd name="connsiteX20" fmla="*/ 843635 w 1505750"/>
                    <a:gd name="connsiteY20" fmla="*/ 0 h 1813282"/>
                    <a:gd name="connsiteX21" fmla="*/ 790381 w 1505750"/>
                    <a:gd name="connsiteY21" fmla="*/ 56582 h 1813282"/>
                    <a:gd name="connsiteX22" fmla="*/ 743281 w 1505750"/>
                    <a:gd name="connsiteY22" fmla="*/ 113667 h 1813282"/>
                    <a:gd name="connsiteX23" fmla="*/ 706064 w 1505750"/>
                    <a:gd name="connsiteY23" fmla="*/ 68987 h 1813282"/>
                    <a:gd name="connsiteX24" fmla="*/ 584529 w 1505750"/>
                    <a:gd name="connsiteY24" fmla="*/ 78871 h 1813282"/>
                    <a:gd name="connsiteX25" fmla="*/ 517559 w 1505750"/>
                    <a:gd name="connsiteY25" fmla="*/ 81292 h 1813282"/>
                    <a:gd name="connsiteX26" fmla="*/ 480342 w 1505750"/>
                    <a:gd name="connsiteY26" fmla="*/ 118509 h 1813282"/>
                    <a:gd name="connsiteX27" fmla="*/ 368692 w 1505750"/>
                    <a:gd name="connsiteY27" fmla="*/ 160668 h 1813282"/>
                    <a:gd name="connsiteX28" fmla="*/ 276910 w 1505750"/>
                    <a:gd name="connsiteY28" fmla="*/ 121030 h 1813282"/>
                    <a:gd name="connsiteX29" fmla="*/ 257041 w 1505750"/>
                    <a:gd name="connsiteY29" fmla="*/ 155726 h 1813282"/>
                    <a:gd name="connsiteX30" fmla="*/ 309185 w 1505750"/>
                    <a:gd name="connsiteY30" fmla="*/ 259912 h 1813282"/>
                    <a:gd name="connsiteX31" fmla="*/ 363750 w 1505750"/>
                    <a:gd name="connsiteY31" fmla="*/ 311955 h 1813282"/>
                    <a:gd name="connsiteX32" fmla="*/ 366271 w 1505750"/>
                    <a:gd name="connsiteY32" fmla="*/ 369041 h 1813282"/>
                    <a:gd name="connsiteX33" fmla="*/ 408430 w 1505750"/>
                    <a:gd name="connsiteY33" fmla="*/ 498040 h 1813282"/>
                    <a:gd name="connsiteX34" fmla="*/ 400967 w 1505750"/>
                    <a:gd name="connsiteY34" fmla="*/ 592242 h 1813282"/>
                    <a:gd name="connsiteX35" fmla="*/ 423256 w 1505750"/>
                    <a:gd name="connsiteY35" fmla="*/ 669096 h 1813282"/>
                    <a:gd name="connsiteX36" fmla="*/ 388460 w 1505750"/>
                    <a:gd name="connsiteY36" fmla="*/ 726182 h 1813282"/>
                    <a:gd name="connsiteX37" fmla="*/ 237172 w 1505750"/>
                    <a:gd name="connsiteY37" fmla="*/ 738587 h 1813282"/>
                    <a:gd name="connsiteX38" fmla="*/ 155275 w 1505750"/>
                    <a:gd name="connsiteY38" fmla="*/ 708834 h 1813282"/>
                    <a:gd name="connsiteX39" fmla="*/ 121689 w 1505750"/>
                    <a:gd name="connsiteY39" fmla="*/ 725274 h 1813282"/>
                    <a:gd name="connsiteX40" fmla="*/ 108073 w 1505750"/>
                    <a:gd name="connsiteY40" fmla="*/ 762591 h 1813282"/>
                    <a:gd name="connsiteX41" fmla="*/ 52601 w 1505750"/>
                    <a:gd name="connsiteY41" fmla="*/ 823006 h 1813282"/>
                    <a:gd name="connsiteX42" fmla="*/ 71865 w 1505750"/>
                    <a:gd name="connsiteY42" fmla="*/ 890581 h 1813282"/>
                    <a:gd name="connsiteX43" fmla="*/ 120176 w 1505750"/>
                    <a:gd name="connsiteY43" fmla="*/ 941313 h 1813282"/>
                    <a:gd name="connsiteX44" fmla="*/ 117756 w 1505750"/>
                    <a:gd name="connsiteY44" fmla="*/ 1061940 h 1813282"/>
                    <a:gd name="connsiteX45" fmla="*/ 35657 w 1505750"/>
                    <a:gd name="connsiteY45" fmla="*/ 1168245 h 1813282"/>
                    <a:gd name="connsiteX46" fmla="*/ 13972 w 1505750"/>
                    <a:gd name="connsiteY46" fmla="*/ 1272129 h 1813282"/>
                    <a:gd name="connsiteX47" fmla="*/ 71865 w 1505750"/>
                    <a:gd name="connsiteY47" fmla="*/ 1291393 h 1813282"/>
                    <a:gd name="connsiteX48" fmla="*/ 81446 w 1505750"/>
                    <a:gd name="connsiteY48" fmla="*/ 1313078 h 1813282"/>
                    <a:gd name="connsiteX49" fmla="*/ 115234 w 1505750"/>
                    <a:gd name="connsiteY49" fmla="*/ 1325181 h 1813282"/>
                    <a:gd name="connsiteX50" fmla="*/ 175548 w 1505750"/>
                    <a:gd name="connsiteY50" fmla="*/ 1392756 h 1813282"/>
                    <a:gd name="connsiteX51" fmla="*/ 267329 w 1505750"/>
                    <a:gd name="connsiteY51" fmla="*/ 1445908 h 1813282"/>
                    <a:gd name="connsiteX52" fmla="*/ 318061 w 1505750"/>
                    <a:gd name="connsiteY52" fmla="*/ 1607685 h 1813282"/>
                    <a:gd name="connsiteX53" fmla="*/ 356690 w 1505750"/>
                    <a:gd name="connsiteY53" fmla="*/ 1617368 h 1813282"/>
                    <a:gd name="connsiteX54" fmla="*/ 405001 w 1505750"/>
                    <a:gd name="connsiteY54" fmla="*/ 1612627 h 1813282"/>
                    <a:gd name="connsiteX55" fmla="*/ 455733 w 1505750"/>
                    <a:gd name="connsiteY55" fmla="*/ 1641574 h 1813282"/>
                    <a:gd name="connsiteX56" fmla="*/ 494361 w 1505750"/>
                    <a:gd name="connsiteY56" fmla="*/ 1697147 h 1813282"/>
                    <a:gd name="connsiteX57" fmla="*/ 501623 w 1505750"/>
                    <a:gd name="connsiteY57" fmla="*/ 1738196 h 1813282"/>
                    <a:gd name="connsiteX58" fmla="*/ 549935 w 1505750"/>
                    <a:gd name="connsiteY58" fmla="*/ 1757460 h 1813282"/>
                    <a:gd name="connsiteX59" fmla="*/ 605407 w 1505750"/>
                    <a:gd name="connsiteY59" fmla="*/ 1800930 h 1813282"/>
                    <a:gd name="connsiteX60" fmla="*/ 665720 w 1505750"/>
                    <a:gd name="connsiteY60" fmla="*/ 1803351 h 1813282"/>
                    <a:gd name="connsiteX61" fmla="*/ 714032 w 1505750"/>
                    <a:gd name="connsiteY61" fmla="*/ 1803351 h 1813282"/>
                    <a:gd name="connsiteX62" fmla="*/ 747819 w 1505750"/>
                    <a:gd name="connsiteY62" fmla="*/ 1757460 h 1813282"/>
                    <a:gd name="connsiteX63" fmla="*/ 812974 w 1505750"/>
                    <a:gd name="connsiteY63" fmla="*/ 1711570 h 1813282"/>
                    <a:gd name="connsiteX64" fmla="*/ 875708 w 1505750"/>
                    <a:gd name="connsiteY64" fmla="*/ 1670419 h 1813282"/>
                    <a:gd name="connsiteX65" fmla="*/ 902233 w 1505750"/>
                    <a:gd name="connsiteY65" fmla="*/ 1605164 h 1813282"/>
                    <a:gd name="connsiteX66" fmla="*/ 974650 w 1505750"/>
                    <a:gd name="connsiteY66" fmla="*/ 1506222 h 1813282"/>
                    <a:gd name="connsiteX67" fmla="*/ 1068751 w 1505750"/>
                    <a:gd name="connsiteY67" fmla="*/ 1438646 h 1813282"/>
                    <a:gd name="connsiteX68" fmla="*/ 1088015 w 1505750"/>
                    <a:gd name="connsiteY68" fmla="*/ 1368651 h 1813282"/>
                    <a:gd name="connsiteX69" fmla="*/ 1177275 w 1505750"/>
                    <a:gd name="connsiteY69" fmla="*/ 1260026 h 1813282"/>
                    <a:gd name="connsiteX70" fmla="*/ 1244850 w 1505750"/>
                    <a:gd name="connsiteY70" fmla="*/ 1233500 h 1813282"/>
                    <a:gd name="connsiteX71" fmla="*/ 1240009 w 1505750"/>
                    <a:gd name="connsiteY71" fmla="*/ 1175506 h 1813282"/>
                    <a:gd name="connsiteX72" fmla="*/ 1261693 w 1505750"/>
                    <a:gd name="connsiteY72" fmla="*/ 1107931 h 1813282"/>
                    <a:gd name="connsiteX73" fmla="*/ 1317166 w 1505750"/>
                    <a:gd name="connsiteY73" fmla="*/ 1088667 h 1813282"/>
                    <a:gd name="connsiteX74" fmla="*/ 1271275 w 1505750"/>
                    <a:gd name="connsiteY74" fmla="*/ 1025832 h 1813282"/>
                    <a:gd name="connsiteX75" fmla="*/ 1264013 w 1505750"/>
                    <a:gd name="connsiteY75" fmla="*/ 852053 h 1813282"/>
                    <a:gd name="connsiteX76" fmla="*/ 1343692 w 1505750"/>
                    <a:gd name="connsiteY76" fmla="*/ 808583 h 1813282"/>
                    <a:gd name="connsiteX77" fmla="*/ 1399264 w 1505750"/>
                    <a:gd name="connsiteY77" fmla="*/ 762692 h 1813282"/>
                    <a:gd name="connsiteX78" fmla="*/ 1469260 w 1505750"/>
                    <a:gd name="connsiteY78" fmla="*/ 741008 h 1813282"/>
                    <a:gd name="connsiteX79" fmla="*/ 1500426 w 1505750"/>
                    <a:gd name="connsiteY79" fmla="*/ 718315 h 1813282"/>
                    <a:gd name="connsiteX80" fmla="*/ 1492660 w 1505750"/>
                    <a:gd name="connsiteY80" fmla="*/ 709036 h 1813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1505750" h="1813282">
                      <a:moveTo>
                        <a:pt x="1492660" y="709036"/>
                      </a:moveTo>
                      <a:cubicBezTo>
                        <a:pt x="1492660" y="709036"/>
                        <a:pt x="1510007" y="689973"/>
                        <a:pt x="1504763" y="677870"/>
                      </a:cubicBezTo>
                      <a:cubicBezTo>
                        <a:pt x="1499619" y="665767"/>
                        <a:pt x="1463209" y="662338"/>
                        <a:pt x="1471883" y="638132"/>
                      </a:cubicBezTo>
                      <a:cubicBezTo>
                        <a:pt x="1480557" y="613926"/>
                        <a:pt x="1484086" y="575802"/>
                        <a:pt x="1466739" y="581046"/>
                      </a:cubicBezTo>
                      <a:cubicBezTo>
                        <a:pt x="1449391" y="586291"/>
                        <a:pt x="1421756" y="607068"/>
                        <a:pt x="1413082" y="593149"/>
                      </a:cubicBezTo>
                      <a:cubicBezTo>
                        <a:pt x="1404408" y="579332"/>
                        <a:pt x="1395735" y="556840"/>
                        <a:pt x="1362956" y="546351"/>
                      </a:cubicBezTo>
                      <a:cubicBezTo>
                        <a:pt x="1330076" y="535962"/>
                        <a:pt x="1304155" y="501368"/>
                        <a:pt x="1317972" y="475447"/>
                      </a:cubicBezTo>
                      <a:cubicBezTo>
                        <a:pt x="1331790" y="449527"/>
                        <a:pt x="1338749" y="432179"/>
                        <a:pt x="1317972" y="399299"/>
                      </a:cubicBezTo>
                      <a:cubicBezTo>
                        <a:pt x="1297196" y="366419"/>
                        <a:pt x="1278133" y="361275"/>
                        <a:pt x="1274704" y="328395"/>
                      </a:cubicBezTo>
                      <a:cubicBezTo>
                        <a:pt x="1271174" y="295515"/>
                        <a:pt x="1247069" y="305904"/>
                        <a:pt x="1234966" y="276453"/>
                      </a:cubicBezTo>
                      <a:cubicBezTo>
                        <a:pt x="1222863" y="247103"/>
                        <a:pt x="1209045" y="210693"/>
                        <a:pt x="1191698" y="200305"/>
                      </a:cubicBezTo>
                      <a:cubicBezTo>
                        <a:pt x="1174350" y="189917"/>
                        <a:pt x="1153674" y="151893"/>
                        <a:pt x="1141470" y="165711"/>
                      </a:cubicBezTo>
                      <a:cubicBezTo>
                        <a:pt x="1129367" y="179528"/>
                        <a:pt x="1144899" y="207264"/>
                        <a:pt x="1125938" y="214123"/>
                      </a:cubicBezTo>
                      <a:cubicBezTo>
                        <a:pt x="1106876" y="221082"/>
                        <a:pt x="1113835" y="238329"/>
                        <a:pt x="1077526" y="245187"/>
                      </a:cubicBezTo>
                      <a:cubicBezTo>
                        <a:pt x="1041216" y="252146"/>
                        <a:pt x="970212" y="240043"/>
                        <a:pt x="966783" y="202020"/>
                      </a:cubicBezTo>
                      <a:cubicBezTo>
                        <a:pt x="963354" y="163996"/>
                        <a:pt x="982315" y="120627"/>
                        <a:pt x="959824" y="117198"/>
                      </a:cubicBezTo>
                      <a:cubicBezTo>
                        <a:pt x="937332" y="113768"/>
                        <a:pt x="911412" y="110238"/>
                        <a:pt x="906167" y="91277"/>
                      </a:cubicBezTo>
                      <a:cubicBezTo>
                        <a:pt x="901023" y="72215"/>
                        <a:pt x="883675" y="70500"/>
                        <a:pt x="883675" y="70500"/>
                      </a:cubicBezTo>
                      <a:cubicBezTo>
                        <a:pt x="883675" y="70500"/>
                        <a:pt x="864613" y="30661"/>
                        <a:pt x="854225" y="30661"/>
                      </a:cubicBezTo>
                      <a:cubicBezTo>
                        <a:pt x="843837" y="30661"/>
                        <a:pt x="843837" y="30661"/>
                        <a:pt x="843837" y="30661"/>
                      </a:cubicBezTo>
                      <a:cubicBezTo>
                        <a:pt x="843837" y="30661"/>
                        <a:pt x="843433" y="17650"/>
                        <a:pt x="843635" y="0"/>
                      </a:cubicBezTo>
                      <a:cubicBezTo>
                        <a:pt x="798853" y="3127"/>
                        <a:pt x="790381" y="28845"/>
                        <a:pt x="790381" y="56582"/>
                      </a:cubicBezTo>
                      <a:cubicBezTo>
                        <a:pt x="790381" y="91277"/>
                        <a:pt x="790381" y="96320"/>
                        <a:pt x="743281" y="113667"/>
                      </a:cubicBezTo>
                      <a:cubicBezTo>
                        <a:pt x="696179" y="131015"/>
                        <a:pt x="715948" y="78972"/>
                        <a:pt x="706064" y="68987"/>
                      </a:cubicBezTo>
                      <a:cubicBezTo>
                        <a:pt x="696179" y="59103"/>
                        <a:pt x="636572" y="66466"/>
                        <a:pt x="584529" y="78871"/>
                      </a:cubicBezTo>
                      <a:cubicBezTo>
                        <a:pt x="532385" y="91277"/>
                        <a:pt x="549834" y="93698"/>
                        <a:pt x="517559" y="81292"/>
                      </a:cubicBezTo>
                      <a:cubicBezTo>
                        <a:pt x="485284" y="68886"/>
                        <a:pt x="477921" y="91176"/>
                        <a:pt x="480342" y="118509"/>
                      </a:cubicBezTo>
                      <a:cubicBezTo>
                        <a:pt x="482864" y="145841"/>
                        <a:pt x="443125" y="158146"/>
                        <a:pt x="368692" y="160668"/>
                      </a:cubicBezTo>
                      <a:cubicBezTo>
                        <a:pt x="294258" y="163189"/>
                        <a:pt x="304243" y="135857"/>
                        <a:pt x="276910" y="121030"/>
                      </a:cubicBezTo>
                      <a:cubicBezTo>
                        <a:pt x="249578" y="106204"/>
                        <a:pt x="239694" y="133436"/>
                        <a:pt x="257041" y="155726"/>
                      </a:cubicBezTo>
                      <a:cubicBezTo>
                        <a:pt x="274490" y="178015"/>
                        <a:pt x="304142" y="222696"/>
                        <a:pt x="309185" y="259912"/>
                      </a:cubicBezTo>
                      <a:cubicBezTo>
                        <a:pt x="314127" y="297129"/>
                        <a:pt x="348923" y="292086"/>
                        <a:pt x="363750" y="311955"/>
                      </a:cubicBezTo>
                      <a:cubicBezTo>
                        <a:pt x="378576" y="331825"/>
                        <a:pt x="361228" y="346752"/>
                        <a:pt x="366271" y="369041"/>
                      </a:cubicBezTo>
                      <a:cubicBezTo>
                        <a:pt x="371213" y="391331"/>
                        <a:pt x="403387" y="453359"/>
                        <a:pt x="408430" y="498040"/>
                      </a:cubicBezTo>
                      <a:cubicBezTo>
                        <a:pt x="413372" y="542720"/>
                        <a:pt x="413372" y="565010"/>
                        <a:pt x="400967" y="592242"/>
                      </a:cubicBezTo>
                      <a:cubicBezTo>
                        <a:pt x="388561" y="619473"/>
                        <a:pt x="396024" y="669096"/>
                        <a:pt x="423256" y="669096"/>
                      </a:cubicBezTo>
                      <a:cubicBezTo>
                        <a:pt x="450589" y="669096"/>
                        <a:pt x="457952" y="701371"/>
                        <a:pt x="388460" y="726182"/>
                      </a:cubicBezTo>
                      <a:cubicBezTo>
                        <a:pt x="318968" y="750993"/>
                        <a:pt x="271868" y="736167"/>
                        <a:pt x="237172" y="738587"/>
                      </a:cubicBezTo>
                      <a:cubicBezTo>
                        <a:pt x="202477" y="741008"/>
                        <a:pt x="180086" y="711254"/>
                        <a:pt x="155275" y="708834"/>
                      </a:cubicBezTo>
                      <a:cubicBezTo>
                        <a:pt x="140550" y="707321"/>
                        <a:pt x="129052" y="717004"/>
                        <a:pt x="121689" y="725274"/>
                      </a:cubicBezTo>
                      <a:cubicBezTo>
                        <a:pt x="118159" y="738688"/>
                        <a:pt x="113721" y="752203"/>
                        <a:pt x="108073" y="762591"/>
                      </a:cubicBezTo>
                      <a:cubicBezTo>
                        <a:pt x="91230" y="793959"/>
                        <a:pt x="64603" y="798800"/>
                        <a:pt x="52601" y="823006"/>
                      </a:cubicBezTo>
                      <a:cubicBezTo>
                        <a:pt x="40599" y="847111"/>
                        <a:pt x="55022" y="880899"/>
                        <a:pt x="71865" y="890581"/>
                      </a:cubicBezTo>
                      <a:cubicBezTo>
                        <a:pt x="88708" y="900163"/>
                        <a:pt x="103232" y="912266"/>
                        <a:pt x="120176" y="941313"/>
                      </a:cubicBezTo>
                      <a:cubicBezTo>
                        <a:pt x="137120" y="970259"/>
                        <a:pt x="139440" y="1011309"/>
                        <a:pt x="117756" y="1061940"/>
                      </a:cubicBezTo>
                      <a:cubicBezTo>
                        <a:pt x="96071" y="1112672"/>
                        <a:pt x="98391" y="1129616"/>
                        <a:pt x="35657" y="1168245"/>
                      </a:cubicBezTo>
                      <a:cubicBezTo>
                        <a:pt x="-27077" y="1206874"/>
                        <a:pt x="11552" y="1255185"/>
                        <a:pt x="13972" y="1272129"/>
                      </a:cubicBezTo>
                      <a:cubicBezTo>
                        <a:pt x="16393" y="1289073"/>
                        <a:pt x="71865" y="1291393"/>
                        <a:pt x="71865" y="1291393"/>
                      </a:cubicBezTo>
                      <a:lnTo>
                        <a:pt x="81446" y="1313078"/>
                      </a:lnTo>
                      <a:cubicBezTo>
                        <a:pt x="81446" y="1313078"/>
                        <a:pt x="95970" y="1320340"/>
                        <a:pt x="115234" y="1325181"/>
                      </a:cubicBezTo>
                      <a:cubicBezTo>
                        <a:pt x="134498" y="1330022"/>
                        <a:pt x="153863" y="1358867"/>
                        <a:pt x="175548" y="1392756"/>
                      </a:cubicBezTo>
                      <a:cubicBezTo>
                        <a:pt x="197232" y="1426544"/>
                        <a:pt x="243123" y="1424123"/>
                        <a:pt x="267329" y="1445908"/>
                      </a:cubicBezTo>
                      <a:cubicBezTo>
                        <a:pt x="291434" y="1467593"/>
                        <a:pt x="318061" y="1607685"/>
                        <a:pt x="318061" y="1607685"/>
                      </a:cubicBezTo>
                      <a:cubicBezTo>
                        <a:pt x="318061" y="1607685"/>
                        <a:pt x="344586" y="1626949"/>
                        <a:pt x="356690" y="1617368"/>
                      </a:cubicBezTo>
                      <a:cubicBezTo>
                        <a:pt x="368793" y="1607685"/>
                        <a:pt x="400160" y="1598104"/>
                        <a:pt x="405001" y="1612627"/>
                      </a:cubicBezTo>
                      <a:cubicBezTo>
                        <a:pt x="409842" y="1627050"/>
                        <a:pt x="424265" y="1639153"/>
                        <a:pt x="455733" y="1641574"/>
                      </a:cubicBezTo>
                      <a:cubicBezTo>
                        <a:pt x="487100" y="1643995"/>
                        <a:pt x="499203" y="1677782"/>
                        <a:pt x="494361" y="1697147"/>
                      </a:cubicBezTo>
                      <a:cubicBezTo>
                        <a:pt x="489520" y="1716411"/>
                        <a:pt x="491941" y="1718932"/>
                        <a:pt x="501623" y="1738196"/>
                      </a:cubicBezTo>
                      <a:cubicBezTo>
                        <a:pt x="511306" y="1757460"/>
                        <a:pt x="523308" y="1762301"/>
                        <a:pt x="549935" y="1757460"/>
                      </a:cubicBezTo>
                      <a:cubicBezTo>
                        <a:pt x="576460" y="1752519"/>
                        <a:pt x="595825" y="1788827"/>
                        <a:pt x="605407" y="1800930"/>
                      </a:cubicBezTo>
                      <a:cubicBezTo>
                        <a:pt x="615089" y="1813034"/>
                        <a:pt x="651298" y="1820194"/>
                        <a:pt x="665720" y="1803351"/>
                      </a:cubicBezTo>
                      <a:cubicBezTo>
                        <a:pt x="680143" y="1786508"/>
                        <a:pt x="694667" y="1803351"/>
                        <a:pt x="714032" y="1803351"/>
                      </a:cubicBezTo>
                      <a:cubicBezTo>
                        <a:pt x="733396" y="1803351"/>
                        <a:pt x="742978" y="1781667"/>
                        <a:pt x="747819" y="1757460"/>
                      </a:cubicBezTo>
                      <a:cubicBezTo>
                        <a:pt x="752660" y="1733254"/>
                        <a:pt x="791289" y="1711570"/>
                        <a:pt x="812974" y="1711570"/>
                      </a:cubicBezTo>
                      <a:cubicBezTo>
                        <a:pt x="834658" y="1711570"/>
                        <a:pt x="841920" y="1699467"/>
                        <a:pt x="875708" y="1670419"/>
                      </a:cubicBezTo>
                      <a:cubicBezTo>
                        <a:pt x="909495" y="1641473"/>
                        <a:pt x="907075" y="1639053"/>
                        <a:pt x="902233" y="1605164"/>
                      </a:cubicBezTo>
                      <a:cubicBezTo>
                        <a:pt x="897392" y="1571376"/>
                        <a:pt x="936021" y="1530327"/>
                        <a:pt x="974650" y="1506222"/>
                      </a:cubicBezTo>
                      <a:cubicBezTo>
                        <a:pt x="1013279" y="1482116"/>
                        <a:pt x="1047066" y="1465172"/>
                        <a:pt x="1068751" y="1438646"/>
                      </a:cubicBezTo>
                      <a:cubicBezTo>
                        <a:pt x="1090436" y="1412121"/>
                        <a:pt x="1073592" y="1392756"/>
                        <a:pt x="1088015" y="1368651"/>
                      </a:cubicBezTo>
                      <a:cubicBezTo>
                        <a:pt x="1102438" y="1344546"/>
                        <a:pt x="1160431" y="1289073"/>
                        <a:pt x="1177275" y="1260026"/>
                      </a:cubicBezTo>
                      <a:cubicBezTo>
                        <a:pt x="1194118" y="1231080"/>
                        <a:pt x="1225586" y="1247923"/>
                        <a:pt x="1244850" y="1233500"/>
                      </a:cubicBezTo>
                      <a:cubicBezTo>
                        <a:pt x="1264215" y="1219077"/>
                        <a:pt x="1247271" y="1194871"/>
                        <a:pt x="1240009" y="1175506"/>
                      </a:cubicBezTo>
                      <a:cubicBezTo>
                        <a:pt x="1232747" y="1156242"/>
                        <a:pt x="1254432" y="1122455"/>
                        <a:pt x="1261693" y="1107931"/>
                      </a:cubicBezTo>
                      <a:cubicBezTo>
                        <a:pt x="1268955" y="1093508"/>
                        <a:pt x="1312425" y="1117513"/>
                        <a:pt x="1317166" y="1088667"/>
                      </a:cubicBezTo>
                      <a:cubicBezTo>
                        <a:pt x="1322007" y="1059721"/>
                        <a:pt x="1305164" y="1040356"/>
                        <a:pt x="1271275" y="1025832"/>
                      </a:cubicBezTo>
                      <a:cubicBezTo>
                        <a:pt x="1237487" y="1011309"/>
                        <a:pt x="1256752" y="871317"/>
                        <a:pt x="1264013" y="852053"/>
                      </a:cubicBezTo>
                      <a:cubicBezTo>
                        <a:pt x="1271174" y="832789"/>
                        <a:pt x="1319586" y="815845"/>
                        <a:pt x="1343692" y="808583"/>
                      </a:cubicBezTo>
                      <a:cubicBezTo>
                        <a:pt x="1367797" y="801321"/>
                        <a:pt x="1394423" y="784478"/>
                        <a:pt x="1399264" y="762692"/>
                      </a:cubicBezTo>
                      <a:cubicBezTo>
                        <a:pt x="1404106" y="741008"/>
                        <a:pt x="1445155" y="745849"/>
                        <a:pt x="1469260" y="741008"/>
                      </a:cubicBezTo>
                      <a:cubicBezTo>
                        <a:pt x="1474908" y="739898"/>
                        <a:pt x="1486507" y="730821"/>
                        <a:pt x="1500426" y="718315"/>
                      </a:cubicBezTo>
                      <a:cubicBezTo>
                        <a:pt x="1494475" y="712868"/>
                        <a:pt x="1492660" y="709036"/>
                        <a:pt x="1492660" y="709036"/>
                      </a:cubicBezTo>
                      <a:close/>
                    </a:path>
                  </a:pathLst>
                </a:custGeom>
                <a:solidFill>
                  <a:schemeClr val="bg1">
                    <a:lumMod val="75000"/>
                  </a:schemeClr>
                </a:solidFill>
                <a:ln w="10085" cap="flat">
                  <a:solidFill>
                    <a:srgbClr val="FFFFFF"/>
                  </a:solidFill>
                  <a:prstDash val="solid"/>
                  <a:miter/>
                </a:ln>
              </p:spPr>
              <p:txBody>
                <a:bodyPr rtlCol="0" anchor="ctr"/>
                <a:lstStyle/>
                <a:p>
                  <a:endParaRPr lang="fr-FR" sz="900"/>
                </a:p>
              </p:txBody>
            </p:sp>
            <p:sp>
              <p:nvSpPr>
                <p:cNvPr id="32" name="Forme libre : forme 31">
                  <a:extLst>
                    <a:ext uri="{FF2B5EF4-FFF2-40B4-BE49-F238E27FC236}">
                      <a16:creationId xmlns:a16="http://schemas.microsoft.com/office/drawing/2014/main" id="{3FB244F8-7D8E-39C9-19BE-C1BEA31441B6}"/>
                    </a:ext>
                  </a:extLst>
                </p:cNvPr>
                <p:cNvSpPr/>
                <p:nvPr/>
              </p:nvSpPr>
              <p:spPr>
                <a:xfrm>
                  <a:off x="3083599" y="7778729"/>
                  <a:ext cx="1511366" cy="1816261"/>
                </a:xfrm>
                <a:custGeom>
                  <a:avLst/>
                  <a:gdLst>
                    <a:gd name="connsiteX0" fmla="*/ 606060 w 1511366"/>
                    <a:gd name="connsiteY0" fmla="*/ 1802746 h 1816261"/>
                    <a:gd name="connsiteX1" fmla="*/ 557547 w 1511366"/>
                    <a:gd name="connsiteY1" fmla="*/ 1759781 h 1816261"/>
                    <a:gd name="connsiteX2" fmla="*/ 557547 w 1511366"/>
                    <a:gd name="connsiteY2" fmla="*/ 1759781 h 1816261"/>
                    <a:gd name="connsiteX3" fmla="*/ 553109 w 1511366"/>
                    <a:gd name="connsiteY3" fmla="*/ 1760285 h 1816261"/>
                    <a:gd name="connsiteX4" fmla="*/ 553109 w 1511366"/>
                    <a:gd name="connsiteY4" fmla="*/ 1760285 h 1816261"/>
                    <a:gd name="connsiteX5" fmla="*/ 536165 w 1511366"/>
                    <a:gd name="connsiteY5" fmla="*/ 1761999 h 1816261"/>
                    <a:gd name="connsiteX6" fmla="*/ 536165 w 1511366"/>
                    <a:gd name="connsiteY6" fmla="*/ 1761999 h 1816261"/>
                    <a:gd name="connsiteX7" fmla="*/ 501873 w 1511366"/>
                    <a:gd name="connsiteY7" fmla="*/ 1739407 h 1816261"/>
                    <a:gd name="connsiteX8" fmla="*/ 501873 w 1511366"/>
                    <a:gd name="connsiteY8" fmla="*/ 1739407 h 1816261"/>
                    <a:gd name="connsiteX9" fmla="*/ 491888 w 1511366"/>
                    <a:gd name="connsiteY9" fmla="*/ 1711973 h 1816261"/>
                    <a:gd name="connsiteX10" fmla="*/ 491888 w 1511366"/>
                    <a:gd name="connsiteY10" fmla="*/ 1711973 h 1816261"/>
                    <a:gd name="connsiteX11" fmla="*/ 494410 w 1511366"/>
                    <a:gd name="connsiteY11" fmla="*/ 1696542 h 1816261"/>
                    <a:gd name="connsiteX12" fmla="*/ 494410 w 1511366"/>
                    <a:gd name="connsiteY12" fmla="*/ 1696542 h 1816261"/>
                    <a:gd name="connsiteX13" fmla="*/ 495317 w 1511366"/>
                    <a:gd name="connsiteY13" fmla="*/ 1688070 h 1816261"/>
                    <a:gd name="connsiteX14" fmla="*/ 495317 w 1511366"/>
                    <a:gd name="connsiteY14" fmla="*/ 1688070 h 1816261"/>
                    <a:gd name="connsiteX15" fmla="*/ 458302 w 1511366"/>
                    <a:gd name="connsiteY15" fmla="*/ 1644398 h 1816261"/>
                    <a:gd name="connsiteX16" fmla="*/ 458302 w 1511366"/>
                    <a:gd name="connsiteY16" fmla="*/ 1644398 h 1816261"/>
                    <a:gd name="connsiteX17" fmla="*/ 405150 w 1511366"/>
                    <a:gd name="connsiteY17" fmla="*/ 1613535 h 1816261"/>
                    <a:gd name="connsiteX18" fmla="*/ 405150 w 1511366"/>
                    <a:gd name="connsiteY18" fmla="*/ 1613535 h 1816261"/>
                    <a:gd name="connsiteX19" fmla="*/ 393954 w 1511366"/>
                    <a:gd name="connsiteY19" fmla="*/ 1607887 h 1816261"/>
                    <a:gd name="connsiteX20" fmla="*/ 393954 w 1511366"/>
                    <a:gd name="connsiteY20" fmla="*/ 1607887 h 1816261"/>
                    <a:gd name="connsiteX21" fmla="*/ 361276 w 1511366"/>
                    <a:gd name="connsiteY21" fmla="*/ 1619587 h 1816261"/>
                    <a:gd name="connsiteX22" fmla="*/ 361276 w 1511366"/>
                    <a:gd name="connsiteY22" fmla="*/ 1619587 h 1816261"/>
                    <a:gd name="connsiteX23" fmla="*/ 350989 w 1511366"/>
                    <a:gd name="connsiteY23" fmla="*/ 1622815 h 1816261"/>
                    <a:gd name="connsiteX24" fmla="*/ 350989 w 1511366"/>
                    <a:gd name="connsiteY24" fmla="*/ 1622815 h 1816261"/>
                    <a:gd name="connsiteX25" fmla="*/ 318210 w 1511366"/>
                    <a:gd name="connsiteY25" fmla="*/ 1608291 h 1816261"/>
                    <a:gd name="connsiteX26" fmla="*/ 318210 w 1511366"/>
                    <a:gd name="connsiteY26" fmla="*/ 1608291 h 1816261"/>
                    <a:gd name="connsiteX27" fmla="*/ 268386 w 1511366"/>
                    <a:gd name="connsiteY27" fmla="*/ 1448127 h 1816261"/>
                    <a:gd name="connsiteX28" fmla="*/ 268386 w 1511366"/>
                    <a:gd name="connsiteY28" fmla="*/ 1448127 h 1816261"/>
                    <a:gd name="connsiteX29" fmla="*/ 176100 w 1511366"/>
                    <a:gd name="connsiteY29" fmla="*/ 1394370 h 1816261"/>
                    <a:gd name="connsiteX30" fmla="*/ 176100 w 1511366"/>
                    <a:gd name="connsiteY30" fmla="*/ 1394370 h 1816261"/>
                    <a:gd name="connsiteX31" fmla="*/ 117400 w 1511366"/>
                    <a:gd name="connsiteY31" fmla="*/ 1328005 h 1816261"/>
                    <a:gd name="connsiteX32" fmla="*/ 117400 w 1511366"/>
                    <a:gd name="connsiteY32" fmla="*/ 1328005 h 1816261"/>
                    <a:gd name="connsiteX33" fmla="*/ 81797 w 1511366"/>
                    <a:gd name="connsiteY33" fmla="*/ 1314389 h 1816261"/>
                    <a:gd name="connsiteX34" fmla="*/ 81797 w 1511366"/>
                    <a:gd name="connsiteY34" fmla="*/ 1314389 h 1816261"/>
                    <a:gd name="connsiteX35" fmla="*/ 74636 w 1511366"/>
                    <a:gd name="connsiteY35" fmla="*/ 1294318 h 1816261"/>
                    <a:gd name="connsiteX36" fmla="*/ 14020 w 1511366"/>
                    <a:gd name="connsiteY36" fmla="*/ 1272734 h 1816261"/>
                    <a:gd name="connsiteX37" fmla="*/ 14020 w 1511366"/>
                    <a:gd name="connsiteY37" fmla="*/ 1272734 h 1816261"/>
                    <a:gd name="connsiteX38" fmla="*/ 1 w 1511366"/>
                    <a:gd name="connsiteY38" fmla="*/ 1221801 h 1816261"/>
                    <a:gd name="connsiteX39" fmla="*/ 1 w 1511366"/>
                    <a:gd name="connsiteY39" fmla="*/ 1221801 h 1816261"/>
                    <a:gd name="connsiteX40" fmla="*/ 37016 w 1511366"/>
                    <a:gd name="connsiteY40" fmla="*/ 1166127 h 1816261"/>
                    <a:gd name="connsiteX41" fmla="*/ 37016 w 1511366"/>
                    <a:gd name="connsiteY41" fmla="*/ 1166127 h 1816261"/>
                    <a:gd name="connsiteX42" fmla="*/ 118005 w 1511366"/>
                    <a:gd name="connsiteY42" fmla="*/ 1061032 h 1816261"/>
                    <a:gd name="connsiteX43" fmla="*/ 118005 w 1511366"/>
                    <a:gd name="connsiteY43" fmla="*/ 1061032 h 1816261"/>
                    <a:gd name="connsiteX44" fmla="*/ 133437 w 1511366"/>
                    <a:gd name="connsiteY44" fmla="*/ 993760 h 1816261"/>
                    <a:gd name="connsiteX45" fmla="*/ 133437 w 1511366"/>
                    <a:gd name="connsiteY45" fmla="*/ 993760 h 1816261"/>
                    <a:gd name="connsiteX46" fmla="*/ 120527 w 1511366"/>
                    <a:gd name="connsiteY46" fmla="*/ 942927 h 1816261"/>
                    <a:gd name="connsiteX47" fmla="*/ 120527 w 1511366"/>
                    <a:gd name="connsiteY47" fmla="*/ 942927 h 1816261"/>
                    <a:gd name="connsiteX48" fmla="*/ 73325 w 1511366"/>
                    <a:gd name="connsiteY48" fmla="*/ 893304 h 1816261"/>
                    <a:gd name="connsiteX49" fmla="*/ 73325 w 1511366"/>
                    <a:gd name="connsiteY49" fmla="*/ 893304 h 1816261"/>
                    <a:gd name="connsiteX50" fmla="*/ 48110 w 1511366"/>
                    <a:gd name="connsiteY50" fmla="*/ 843279 h 1816261"/>
                    <a:gd name="connsiteX51" fmla="*/ 48110 w 1511366"/>
                    <a:gd name="connsiteY51" fmla="*/ 843279 h 1816261"/>
                    <a:gd name="connsiteX52" fmla="*/ 52952 w 1511366"/>
                    <a:gd name="connsiteY52" fmla="*/ 822098 h 1816261"/>
                    <a:gd name="connsiteX53" fmla="*/ 52952 w 1511366"/>
                    <a:gd name="connsiteY53" fmla="*/ 822098 h 1816261"/>
                    <a:gd name="connsiteX54" fmla="*/ 108424 w 1511366"/>
                    <a:gd name="connsiteY54" fmla="*/ 761583 h 1816261"/>
                    <a:gd name="connsiteX55" fmla="*/ 108424 w 1511366"/>
                    <a:gd name="connsiteY55" fmla="*/ 761583 h 1816261"/>
                    <a:gd name="connsiteX56" fmla="*/ 122443 w 1511366"/>
                    <a:gd name="connsiteY56" fmla="*/ 723761 h 1816261"/>
                    <a:gd name="connsiteX57" fmla="*/ 122443 w 1511366"/>
                    <a:gd name="connsiteY57" fmla="*/ 723761 h 1816261"/>
                    <a:gd name="connsiteX58" fmla="*/ 155121 w 1511366"/>
                    <a:gd name="connsiteY58" fmla="*/ 706212 h 1816261"/>
                    <a:gd name="connsiteX59" fmla="*/ 155121 w 1511366"/>
                    <a:gd name="connsiteY59" fmla="*/ 706212 h 1816261"/>
                    <a:gd name="connsiteX60" fmla="*/ 158450 w 1511366"/>
                    <a:gd name="connsiteY60" fmla="*/ 706413 h 1816261"/>
                    <a:gd name="connsiteX61" fmla="*/ 158450 w 1511366"/>
                    <a:gd name="connsiteY61" fmla="*/ 706413 h 1816261"/>
                    <a:gd name="connsiteX62" fmla="*/ 236010 w 1511366"/>
                    <a:gd name="connsiteY62" fmla="*/ 736268 h 1816261"/>
                    <a:gd name="connsiteX63" fmla="*/ 236010 w 1511366"/>
                    <a:gd name="connsiteY63" fmla="*/ 736268 h 1816261"/>
                    <a:gd name="connsiteX64" fmla="*/ 239843 w 1511366"/>
                    <a:gd name="connsiteY64" fmla="*/ 736268 h 1816261"/>
                    <a:gd name="connsiteX65" fmla="*/ 239843 w 1511366"/>
                    <a:gd name="connsiteY65" fmla="*/ 736268 h 1816261"/>
                    <a:gd name="connsiteX66" fmla="*/ 248819 w 1511366"/>
                    <a:gd name="connsiteY66" fmla="*/ 735763 h 1816261"/>
                    <a:gd name="connsiteX67" fmla="*/ 248819 w 1511366"/>
                    <a:gd name="connsiteY67" fmla="*/ 735763 h 1816261"/>
                    <a:gd name="connsiteX68" fmla="*/ 306712 w 1511366"/>
                    <a:gd name="connsiteY68" fmla="*/ 738285 h 1816261"/>
                    <a:gd name="connsiteX69" fmla="*/ 306712 w 1511366"/>
                    <a:gd name="connsiteY69" fmla="*/ 738285 h 1816261"/>
                    <a:gd name="connsiteX70" fmla="*/ 390525 w 1511366"/>
                    <a:gd name="connsiteY70" fmla="*/ 723862 h 1816261"/>
                    <a:gd name="connsiteX71" fmla="*/ 390525 w 1511366"/>
                    <a:gd name="connsiteY71" fmla="*/ 723862 h 1816261"/>
                    <a:gd name="connsiteX72" fmla="*/ 443073 w 1511366"/>
                    <a:gd name="connsiteY72" fmla="*/ 684023 h 1816261"/>
                    <a:gd name="connsiteX73" fmla="*/ 443073 w 1511366"/>
                    <a:gd name="connsiteY73" fmla="*/ 684023 h 1816261"/>
                    <a:gd name="connsiteX74" fmla="*/ 426229 w 1511366"/>
                    <a:gd name="connsiteY74" fmla="*/ 672323 h 1816261"/>
                    <a:gd name="connsiteX75" fmla="*/ 426229 w 1511366"/>
                    <a:gd name="connsiteY75" fmla="*/ 672323 h 1816261"/>
                    <a:gd name="connsiteX76" fmla="*/ 395266 w 1511366"/>
                    <a:gd name="connsiteY76" fmla="*/ 622499 h 1816261"/>
                    <a:gd name="connsiteX77" fmla="*/ 395266 w 1511366"/>
                    <a:gd name="connsiteY77" fmla="*/ 622499 h 1816261"/>
                    <a:gd name="connsiteX78" fmla="*/ 401317 w 1511366"/>
                    <a:gd name="connsiteY78" fmla="*/ 591435 h 1816261"/>
                    <a:gd name="connsiteX79" fmla="*/ 401317 w 1511366"/>
                    <a:gd name="connsiteY79" fmla="*/ 591435 h 1816261"/>
                    <a:gd name="connsiteX80" fmla="*/ 411504 w 1511366"/>
                    <a:gd name="connsiteY80" fmla="*/ 541812 h 1816261"/>
                    <a:gd name="connsiteX81" fmla="*/ 411504 w 1511366"/>
                    <a:gd name="connsiteY81" fmla="*/ 541812 h 1816261"/>
                    <a:gd name="connsiteX82" fmla="*/ 408478 w 1511366"/>
                    <a:gd name="connsiteY82" fmla="*/ 498746 h 1816261"/>
                    <a:gd name="connsiteX83" fmla="*/ 408478 w 1511366"/>
                    <a:gd name="connsiteY83" fmla="*/ 498746 h 1816261"/>
                    <a:gd name="connsiteX84" fmla="*/ 366319 w 1511366"/>
                    <a:gd name="connsiteY84" fmla="*/ 370050 h 1816261"/>
                    <a:gd name="connsiteX85" fmla="*/ 366319 w 1511366"/>
                    <a:gd name="connsiteY85" fmla="*/ 370050 h 1816261"/>
                    <a:gd name="connsiteX86" fmla="*/ 365311 w 1511366"/>
                    <a:gd name="connsiteY86" fmla="*/ 360771 h 1816261"/>
                    <a:gd name="connsiteX87" fmla="*/ 365311 w 1511366"/>
                    <a:gd name="connsiteY87" fmla="*/ 360771 h 1816261"/>
                    <a:gd name="connsiteX88" fmla="*/ 369950 w 1511366"/>
                    <a:gd name="connsiteY88" fmla="*/ 329909 h 1816261"/>
                    <a:gd name="connsiteX89" fmla="*/ 369950 w 1511366"/>
                    <a:gd name="connsiteY89" fmla="*/ 329909 h 1816261"/>
                    <a:gd name="connsiteX90" fmla="*/ 364302 w 1511366"/>
                    <a:gd name="connsiteY90" fmla="*/ 313973 h 1816261"/>
                    <a:gd name="connsiteX91" fmla="*/ 364302 w 1511366"/>
                    <a:gd name="connsiteY91" fmla="*/ 313973 h 1816261"/>
                    <a:gd name="connsiteX92" fmla="*/ 309233 w 1511366"/>
                    <a:gd name="connsiteY92" fmla="*/ 260518 h 1816261"/>
                    <a:gd name="connsiteX93" fmla="*/ 309233 w 1511366"/>
                    <a:gd name="connsiteY93" fmla="*/ 260518 h 1816261"/>
                    <a:gd name="connsiteX94" fmla="*/ 257695 w 1511366"/>
                    <a:gd name="connsiteY94" fmla="*/ 157642 h 1816261"/>
                    <a:gd name="connsiteX95" fmla="*/ 257695 w 1511366"/>
                    <a:gd name="connsiteY95" fmla="*/ 157642 h 1816261"/>
                    <a:gd name="connsiteX96" fmla="*/ 248416 w 1511366"/>
                    <a:gd name="connsiteY96" fmla="*/ 133335 h 1816261"/>
                    <a:gd name="connsiteX97" fmla="*/ 248416 w 1511366"/>
                    <a:gd name="connsiteY97" fmla="*/ 133335 h 1816261"/>
                    <a:gd name="connsiteX98" fmla="*/ 265561 w 1511366"/>
                    <a:gd name="connsiteY98" fmla="*/ 114172 h 1816261"/>
                    <a:gd name="connsiteX99" fmla="*/ 265561 w 1511366"/>
                    <a:gd name="connsiteY99" fmla="*/ 114172 h 1816261"/>
                    <a:gd name="connsiteX100" fmla="*/ 280993 w 1511366"/>
                    <a:gd name="connsiteY100" fmla="*/ 118812 h 1816261"/>
                    <a:gd name="connsiteX101" fmla="*/ 280993 w 1511366"/>
                    <a:gd name="connsiteY101" fmla="*/ 118812 h 1816261"/>
                    <a:gd name="connsiteX102" fmla="*/ 362285 w 1511366"/>
                    <a:gd name="connsiteY102" fmla="*/ 158247 h 1816261"/>
                    <a:gd name="connsiteX103" fmla="*/ 362285 w 1511366"/>
                    <a:gd name="connsiteY103" fmla="*/ 158247 h 1816261"/>
                    <a:gd name="connsiteX104" fmla="*/ 371463 w 1511366"/>
                    <a:gd name="connsiteY104" fmla="*/ 158146 h 1816261"/>
                    <a:gd name="connsiteX105" fmla="*/ 371463 w 1511366"/>
                    <a:gd name="connsiteY105" fmla="*/ 158146 h 1816261"/>
                    <a:gd name="connsiteX106" fmla="*/ 480491 w 1511366"/>
                    <a:gd name="connsiteY106" fmla="*/ 121131 h 1816261"/>
                    <a:gd name="connsiteX107" fmla="*/ 480491 w 1511366"/>
                    <a:gd name="connsiteY107" fmla="*/ 121131 h 1816261"/>
                    <a:gd name="connsiteX108" fmla="*/ 480491 w 1511366"/>
                    <a:gd name="connsiteY108" fmla="*/ 119013 h 1816261"/>
                    <a:gd name="connsiteX109" fmla="*/ 480491 w 1511366"/>
                    <a:gd name="connsiteY109" fmla="*/ 119013 h 1816261"/>
                    <a:gd name="connsiteX110" fmla="*/ 479886 w 1511366"/>
                    <a:gd name="connsiteY110" fmla="*/ 109432 h 1816261"/>
                    <a:gd name="connsiteX111" fmla="*/ 479886 w 1511366"/>
                    <a:gd name="connsiteY111" fmla="*/ 109432 h 1816261"/>
                    <a:gd name="connsiteX112" fmla="*/ 504193 w 1511366"/>
                    <a:gd name="connsiteY112" fmla="*/ 75140 h 1816261"/>
                    <a:gd name="connsiteX113" fmla="*/ 504193 w 1511366"/>
                    <a:gd name="connsiteY113" fmla="*/ 75140 h 1816261"/>
                    <a:gd name="connsiteX114" fmla="*/ 521339 w 1511366"/>
                    <a:gd name="connsiteY114" fmla="*/ 78871 h 1816261"/>
                    <a:gd name="connsiteX115" fmla="*/ 521339 w 1511366"/>
                    <a:gd name="connsiteY115" fmla="*/ 78871 h 1816261"/>
                    <a:gd name="connsiteX116" fmla="*/ 544637 w 1511366"/>
                    <a:gd name="connsiteY116" fmla="*/ 86738 h 1816261"/>
                    <a:gd name="connsiteX117" fmla="*/ 544637 w 1511366"/>
                    <a:gd name="connsiteY117" fmla="*/ 86738 h 1816261"/>
                    <a:gd name="connsiteX118" fmla="*/ 586695 w 1511366"/>
                    <a:gd name="connsiteY118" fmla="*/ 76249 h 1816261"/>
                    <a:gd name="connsiteX119" fmla="*/ 586695 w 1511366"/>
                    <a:gd name="connsiteY119" fmla="*/ 76249 h 1816261"/>
                    <a:gd name="connsiteX120" fmla="*/ 685738 w 1511366"/>
                    <a:gd name="connsiteY120" fmla="*/ 61625 h 1816261"/>
                    <a:gd name="connsiteX121" fmla="*/ 685738 w 1511366"/>
                    <a:gd name="connsiteY121" fmla="*/ 61625 h 1816261"/>
                    <a:gd name="connsiteX122" fmla="*/ 710953 w 1511366"/>
                    <a:gd name="connsiteY122" fmla="*/ 66970 h 1816261"/>
                    <a:gd name="connsiteX123" fmla="*/ 710953 w 1511366"/>
                    <a:gd name="connsiteY123" fmla="*/ 66970 h 1816261"/>
                    <a:gd name="connsiteX124" fmla="*/ 730015 w 1511366"/>
                    <a:gd name="connsiteY124" fmla="*/ 114273 h 1816261"/>
                    <a:gd name="connsiteX125" fmla="*/ 730015 w 1511366"/>
                    <a:gd name="connsiteY125" fmla="*/ 114273 h 1816261"/>
                    <a:gd name="connsiteX126" fmla="*/ 745245 w 1511366"/>
                    <a:gd name="connsiteY126" fmla="*/ 110944 h 1816261"/>
                    <a:gd name="connsiteX127" fmla="*/ 745245 w 1511366"/>
                    <a:gd name="connsiteY127" fmla="*/ 110944 h 1816261"/>
                    <a:gd name="connsiteX128" fmla="*/ 790631 w 1511366"/>
                    <a:gd name="connsiteY128" fmla="*/ 56481 h 1816261"/>
                    <a:gd name="connsiteX129" fmla="*/ 790631 w 1511366"/>
                    <a:gd name="connsiteY129" fmla="*/ 56481 h 1816261"/>
                    <a:gd name="connsiteX130" fmla="*/ 849432 w 1511366"/>
                    <a:gd name="connsiteY130" fmla="*/ 0 h 1816261"/>
                    <a:gd name="connsiteX131" fmla="*/ 849432 w 1511366"/>
                    <a:gd name="connsiteY131" fmla="*/ 0 h 1816261"/>
                    <a:gd name="connsiteX132" fmla="*/ 849331 w 1511366"/>
                    <a:gd name="connsiteY132" fmla="*/ 11700 h 1816261"/>
                    <a:gd name="connsiteX133" fmla="*/ 849331 w 1511366"/>
                    <a:gd name="connsiteY133" fmla="*/ 11700 h 1816261"/>
                    <a:gd name="connsiteX134" fmla="*/ 848524 w 1511366"/>
                    <a:gd name="connsiteY134" fmla="*/ 27837 h 1816261"/>
                    <a:gd name="connsiteX135" fmla="*/ 848524 w 1511366"/>
                    <a:gd name="connsiteY135" fmla="*/ 27837 h 1816261"/>
                    <a:gd name="connsiteX136" fmla="*/ 857198 w 1511366"/>
                    <a:gd name="connsiteY136" fmla="*/ 27837 h 1816261"/>
                    <a:gd name="connsiteX137" fmla="*/ 857198 w 1511366"/>
                    <a:gd name="connsiteY137" fmla="*/ 27837 h 1816261"/>
                    <a:gd name="connsiteX138" fmla="*/ 887052 w 1511366"/>
                    <a:gd name="connsiteY138" fmla="*/ 67777 h 1816261"/>
                    <a:gd name="connsiteX139" fmla="*/ 887052 w 1511366"/>
                    <a:gd name="connsiteY139" fmla="*/ 67777 h 1816261"/>
                    <a:gd name="connsiteX140" fmla="*/ 911863 w 1511366"/>
                    <a:gd name="connsiteY140" fmla="*/ 90470 h 1816261"/>
                    <a:gd name="connsiteX141" fmla="*/ 911863 w 1511366"/>
                    <a:gd name="connsiteY141" fmla="*/ 90470 h 1816261"/>
                    <a:gd name="connsiteX142" fmla="*/ 963200 w 1511366"/>
                    <a:gd name="connsiteY142" fmla="*/ 114475 h 1816261"/>
                    <a:gd name="connsiteX143" fmla="*/ 963200 w 1511366"/>
                    <a:gd name="connsiteY143" fmla="*/ 114475 h 1816261"/>
                    <a:gd name="connsiteX144" fmla="*/ 976715 w 1511366"/>
                    <a:gd name="connsiteY144" fmla="*/ 136361 h 1816261"/>
                    <a:gd name="connsiteX145" fmla="*/ 976715 w 1511366"/>
                    <a:gd name="connsiteY145" fmla="*/ 136361 h 1816261"/>
                    <a:gd name="connsiteX146" fmla="*/ 971975 w 1511366"/>
                    <a:gd name="connsiteY146" fmla="*/ 191934 h 1816261"/>
                    <a:gd name="connsiteX147" fmla="*/ 971975 w 1511366"/>
                    <a:gd name="connsiteY147" fmla="*/ 191934 h 1816261"/>
                    <a:gd name="connsiteX148" fmla="*/ 972479 w 1511366"/>
                    <a:gd name="connsiteY148" fmla="*/ 201818 h 1816261"/>
                    <a:gd name="connsiteX149" fmla="*/ 972479 w 1511366"/>
                    <a:gd name="connsiteY149" fmla="*/ 201818 h 1816261"/>
                    <a:gd name="connsiteX150" fmla="*/ 1058411 w 1511366"/>
                    <a:gd name="connsiteY150" fmla="*/ 244380 h 1816261"/>
                    <a:gd name="connsiteX151" fmla="*/ 1058411 w 1511366"/>
                    <a:gd name="connsiteY151" fmla="*/ 244380 h 1816261"/>
                    <a:gd name="connsiteX152" fmla="*/ 1079793 w 1511366"/>
                    <a:gd name="connsiteY152" fmla="*/ 242666 h 1816261"/>
                    <a:gd name="connsiteX153" fmla="*/ 1079793 w 1511366"/>
                    <a:gd name="connsiteY153" fmla="*/ 242666 h 1816261"/>
                    <a:gd name="connsiteX154" fmla="*/ 1127801 w 1511366"/>
                    <a:gd name="connsiteY154" fmla="*/ 211601 h 1816261"/>
                    <a:gd name="connsiteX155" fmla="*/ 1127801 w 1511366"/>
                    <a:gd name="connsiteY155" fmla="*/ 211601 h 1816261"/>
                    <a:gd name="connsiteX156" fmla="*/ 1136274 w 1511366"/>
                    <a:gd name="connsiteY156" fmla="*/ 192539 h 1816261"/>
                    <a:gd name="connsiteX157" fmla="*/ 1136274 w 1511366"/>
                    <a:gd name="connsiteY157" fmla="*/ 192539 h 1816261"/>
                    <a:gd name="connsiteX158" fmla="*/ 1136274 w 1511366"/>
                    <a:gd name="connsiteY158" fmla="*/ 186185 h 1816261"/>
                    <a:gd name="connsiteX159" fmla="*/ 1136274 w 1511366"/>
                    <a:gd name="connsiteY159" fmla="*/ 186185 h 1816261"/>
                    <a:gd name="connsiteX160" fmla="*/ 1142224 w 1511366"/>
                    <a:gd name="connsiteY160" fmla="*/ 164097 h 1816261"/>
                    <a:gd name="connsiteX161" fmla="*/ 1142224 w 1511366"/>
                    <a:gd name="connsiteY161" fmla="*/ 164097 h 1816261"/>
                    <a:gd name="connsiteX162" fmla="*/ 1150394 w 1511366"/>
                    <a:gd name="connsiteY162" fmla="*/ 159962 h 1816261"/>
                    <a:gd name="connsiteX163" fmla="*/ 1150394 w 1511366"/>
                    <a:gd name="connsiteY163" fmla="*/ 159962 h 1816261"/>
                    <a:gd name="connsiteX164" fmla="*/ 1195982 w 1511366"/>
                    <a:gd name="connsiteY164" fmla="*/ 197985 h 1816261"/>
                    <a:gd name="connsiteX165" fmla="*/ 1195982 w 1511366"/>
                    <a:gd name="connsiteY165" fmla="*/ 197985 h 1816261"/>
                    <a:gd name="connsiteX166" fmla="*/ 1240460 w 1511366"/>
                    <a:gd name="connsiteY166" fmla="*/ 275445 h 1816261"/>
                    <a:gd name="connsiteX167" fmla="*/ 1240460 w 1511366"/>
                    <a:gd name="connsiteY167" fmla="*/ 275445 h 1816261"/>
                    <a:gd name="connsiteX168" fmla="*/ 1280501 w 1511366"/>
                    <a:gd name="connsiteY168" fmla="*/ 328194 h 1816261"/>
                    <a:gd name="connsiteX169" fmla="*/ 1280501 w 1511366"/>
                    <a:gd name="connsiteY169" fmla="*/ 328194 h 1816261"/>
                    <a:gd name="connsiteX170" fmla="*/ 1323366 w 1511366"/>
                    <a:gd name="connsiteY170" fmla="*/ 397887 h 1816261"/>
                    <a:gd name="connsiteX171" fmla="*/ 1323366 w 1511366"/>
                    <a:gd name="connsiteY171" fmla="*/ 397887 h 1816261"/>
                    <a:gd name="connsiteX172" fmla="*/ 1336780 w 1511366"/>
                    <a:gd name="connsiteY172" fmla="*/ 436617 h 1816261"/>
                    <a:gd name="connsiteX173" fmla="*/ 1336780 w 1511366"/>
                    <a:gd name="connsiteY173" fmla="*/ 436617 h 1816261"/>
                    <a:gd name="connsiteX174" fmla="*/ 1323366 w 1511366"/>
                    <a:gd name="connsiteY174" fmla="*/ 476860 h 1816261"/>
                    <a:gd name="connsiteX175" fmla="*/ 1323366 w 1511366"/>
                    <a:gd name="connsiteY175" fmla="*/ 476860 h 1816261"/>
                    <a:gd name="connsiteX176" fmla="*/ 1319937 w 1511366"/>
                    <a:gd name="connsiteY176" fmla="*/ 490980 h 1816261"/>
                    <a:gd name="connsiteX177" fmla="*/ 1319937 w 1511366"/>
                    <a:gd name="connsiteY177" fmla="*/ 490980 h 1816261"/>
                    <a:gd name="connsiteX178" fmla="*/ 1366836 w 1511366"/>
                    <a:gd name="connsiteY178" fmla="*/ 543830 h 1816261"/>
                    <a:gd name="connsiteX179" fmla="*/ 1366836 w 1511366"/>
                    <a:gd name="connsiteY179" fmla="*/ 543830 h 1816261"/>
                    <a:gd name="connsiteX180" fmla="*/ 1418476 w 1511366"/>
                    <a:gd name="connsiteY180" fmla="*/ 591838 h 1816261"/>
                    <a:gd name="connsiteX181" fmla="*/ 1418476 w 1511366"/>
                    <a:gd name="connsiteY181" fmla="*/ 591838 h 1816261"/>
                    <a:gd name="connsiteX182" fmla="*/ 1425334 w 1511366"/>
                    <a:gd name="connsiteY182" fmla="*/ 595166 h 1816261"/>
                    <a:gd name="connsiteX183" fmla="*/ 1425334 w 1511366"/>
                    <a:gd name="connsiteY183" fmla="*/ 595166 h 1816261"/>
                    <a:gd name="connsiteX184" fmla="*/ 1468603 w 1511366"/>
                    <a:gd name="connsiteY184" fmla="*/ 578525 h 1816261"/>
                    <a:gd name="connsiteX185" fmla="*/ 1468603 w 1511366"/>
                    <a:gd name="connsiteY185" fmla="*/ 578525 h 1816261"/>
                    <a:gd name="connsiteX186" fmla="*/ 1472637 w 1511366"/>
                    <a:gd name="connsiteY186" fmla="*/ 577819 h 1816261"/>
                    <a:gd name="connsiteX187" fmla="*/ 1472637 w 1511366"/>
                    <a:gd name="connsiteY187" fmla="*/ 577819 h 1816261"/>
                    <a:gd name="connsiteX188" fmla="*/ 1484740 w 1511366"/>
                    <a:gd name="connsiteY188" fmla="*/ 599806 h 1816261"/>
                    <a:gd name="connsiteX189" fmla="*/ 1484740 w 1511366"/>
                    <a:gd name="connsiteY189" fmla="*/ 599806 h 1816261"/>
                    <a:gd name="connsiteX190" fmla="*/ 1477377 w 1511366"/>
                    <a:gd name="connsiteY190" fmla="*/ 639242 h 1816261"/>
                    <a:gd name="connsiteX191" fmla="*/ 1477377 w 1511366"/>
                    <a:gd name="connsiteY191" fmla="*/ 639242 h 1816261"/>
                    <a:gd name="connsiteX192" fmla="*/ 1476167 w 1511366"/>
                    <a:gd name="connsiteY192" fmla="*/ 645192 h 1816261"/>
                    <a:gd name="connsiteX193" fmla="*/ 1476167 w 1511366"/>
                    <a:gd name="connsiteY193" fmla="*/ 645192 h 1816261"/>
                    <a:gd name="connsiteX194" fmla="*/ 1510257 w 1511366"/>
                    <a:gd name="connsiteY194" fmla="*/ 676963 h 1816261"/>
                    <a:gd name="connsiteX195" fmla="*/ 1510257 w 1511366"/>
                    <a:gd name="connsiteY195" fmla="*/ 676963 h 1816261"/>
                    <a:gd name="connsiteX196" fmla="*/ 1511367 w 1511366"/>
                    <a:gd name="connsiteY196" fmla="*/ 683014 h 1816261"/>
                    <a:gd name="connsiteX197" fmla="*/ 1511367 w 1511366"/>
                    <a:gd name="connsiteY197" fmla="*/ 683014 h 1816261"/>
                    <a:gd name="connsiteX198" fmla="*/ 1499062 w 1511366"/>
                    <a:gd name="connsiteY198" fmla="*/ 709338 h 1816261"/>
                    <a:gd name="connsiteX199" fmla="*/ 1499062 w 1511366"/>
                    <a:gd name="connsiteY199" fmla="*/ 709338 h 1816261"/>
                    <a:gd name="connsiteX200" fmla="*/ 1505618 w 1511366"/>
                    <a:gd name="connsiteY200" fmla="*/ 716399 h 1816261"/>
                    <a:gd name="connsiteX201" fmla="*/ 1505618 w 1511366"/>
                    <a:gd name="connsiteY201" fmla="*/ 716399 h 1816261"/>
                    <a:gd name="connsiteX202" fmla="*/ 1505618 w 1511366"/>
                    <a:gd name="connsiteY202" fmla="*/ 720635 h 1816261"/>
                    <a:gd name="connsiteX203" fmla="*/ 1473141 w 1511366"/>
                    <a:gd name="connsiteY203" fmla="*/ 744034 h 1816261"/>
                    <a:gd name="connsiteX204" fmla="*/ 1473141 w 1511366"/>
                    <a:gd name="connsiteY204" fmla="*/ 744034 h 1816261"/>
                    <a:gd name="connsiteX205" fmla="*/ 1405263 w 1511366"/>
                    <a:gd name="connsiteY205" fmla="*/ 763600 h 1816261"/>
                    <a:gd name="connsiteX206" fmla="*/ 1405263 w 1511366"/>
                    <a:gd name="connsiteY206" fmla="*/ 763600 h 1816261"/>
                    <a:gd name="connsiteX207" fmla="*/ 1347875 w 1511366"/>
                    <a:gd name="connsiteY207" fmla="*/ 811508 h 1816261"/>
                    <a:gd name="connsiteX208" fmla="*/ 1347875 w 1511366"/>
                    <a:gd name="connsiteY208" fmla="*/ 811508 h 1816261"/>
                    <a:gd name="connsiteX209" fmla="*/ 1269911 w 1511366"/>
                    <a:gd name="connsiteY209" fmla="*/ 853364 h 1816261"/>
                    <a:gd name="connsiteX210" fmla="*/ 1269911 w 1511366"/>
                    <a:gd name="connsiteY210" fmla="*/ 853364 h 1816261"/>
                    <a:gd name="connsiteX211" fmla="*/ 1258010 w 1511366"/>
                    <a:gd name="connsiteY211" fmla="*/ 956644 h 1816261"/>
                    <a:gd name="connsiteX212" fmla="*/ 1258010 w 1511366"/>
                    <a:gd name="connsiteY212" fmla="*/ 956644 h 1816261"/>
                    <a:gd name="connsiteX213" fmla="*/ 1275660 w 1511366"/>
                    <a:gd name="connsiteY213" fmla="*/ 1023714 h 1816261"/>
                    <a:gd name="connsiteX214" fmla="*/ 1275660 w 1511366"/>
                    <a:gd name="connsiteY214" fmla="*/ 1023714 h 1816261"/>
                    <a:gd name="connsiteX215" fmla="*/ 1323971 w 1511366"/>
                    <a:gd name="connsiteY215" fmla="*/ 1079490 h 1816261"/>
                    <a:gd name="connsiteX216" fmla="*/ 1323971 w 1511366"/>
                    <a:gd name="connsiteY216" fmla="*/ 1079490 h 1816261"/>
                    <a:gd name="connsiteX217" fmla="*/ 1323164 w 1511366"/>
                    <a:gd name="connsiteY217" fmla="*/ 1089474 h 1816261"/>
                    <a:gd name="connsiteX218" fmla="*/ 1323164 w 1511366"/>
                    <a:gd name="connsiteY218" fmla="*/ 1089474 h 1816261"/>
                    <a:gd name="connsiteX219" fmla="*/ 1297950 w 1511366"/>
                    <a:gd name="connsiteY219" fmla="*/ 1106923 h 1816261"/>
                    <a:gd name="connsiteX220" fmla="*/ 1297950 w 1511366"/>
                    <a:gd name="connsiteY220" fmla="*/ 1106923 h 1816261"/>
                    <a:gd name="connsiteX221" fmla="*/ 1277980 w 1511366"/>
                    <a:gd name="connsiteY221" fmla="*/ 1106015 h 1816261"/>
                    <a:gd name="connsiteX222" fmla="*/ 1277980 w 1511366"/>
                    <a:gd name="connsiteY222" fmla="*/ 1106015 h 1816261"/>
                    <a:gd name="connsiteX223" fmla="*/ 1267289 w 1511366"/>
                    <a:gd name="connsiteY223" fmla="*/ 1109646 h 1816261"/>
                    <a:gd name="connsiteX224" fmla="*/ 1267289 w 1511366"/>
                    <a:gd name="connsiteY224" fmla="*/ 1109646 h 1816261"/>
                    <a:gd name="connsiteX225" fmla="*/ 1244394 w 1511366"/>
                    <a:gd name="connsiteY225" fmla="*/ 1167035 h 1816261"/>
                    <a:gd name="connsiteX226" fmla="*/ 1244394 w 1511366"/>
                    <a:gd name="connsiteY226" fmla="*/ 1167035 h 1816261"/>
                    <a:gd name="connsiteX227" fmla="*/ 1245705 w 1511366"/>
                    <a:gd name="connsiteY227" fmla="*/ 1174902 h 1816261"/>
                    <a:gd name="connsiteX228" fmla="*/ 1245705 w 1511366"/>
                    <a:gd name="connsiteY228" fmla="*/ 1174902 h 1816261"/>
                    <a:gd name="connsiteX229" fmla="*/ 1259523 w 1511366"/>
                    <a:gd name="connsiteY229" fmla="*/ 1216254 h 1816261"/>
                    <a:gd name="connsiteX230" fmla="*/ 1259523 w 1511366"/>
                    <a:gd name="connsiteY230" fmla="*/ 1216254 h 1816261"/>
                    <a:gd name="connsiteX231" fmla="*/ 1249538 w 1511366"/>
                    <a:gd name="connsiteY231" fmla="*/ 1235921 h 1816261"/>
                    <a:gd name="connsiteX232" fmla="*/ 1249538 w 1511366"/>
                    <a:gd name="connsiteY232" fmla="*/ 1235921 h 1816261"/>
                    <a:gd name="connsiteX233" fmla="*/ 1182669 w 1511366"/>
                    <a:gd name="connsiteY233" fmla="*/ 1261741 h 1816261"/>
                    <a:gd name="connsiteX234" fmla="*/ 1182669 w 1511366"/>
                    <a:gd name="connsiteY234" fmla="*/ 1261741 h 1816261"/>
                    <a:gd name="connsiteX235" fmla="*/ 1093308 w 1511366"/>
                    <a:gd name="connsiteY235" fmla="*/ 1370366 h 1816261"/>
                    <a:gd name="connsiteX236" fmla="*/ 1093308 w 1511366"/>
                    <a:gd name="connsiteY236" fmla="*/ 1370366 h 1816261"/>
                    <a:gd name="connsiteX237" fmla="*/ 1073842 w 1511366"/>
                    <a:gd name="connsiteY237" fmla="*/ 1440765 h 1816261"/>
                    <a:gd name="connsiteX238" fmla="*/ 1073842 w 1511366"/>
                    <a:gd name="connsiteY238" fmla="*/ 1440765 h 1816261"/>
                    <a:gd name="connsiteX239" fmla="*/ 978934 w 1511366"/>
                    <a:gd name="connsiteY239" fmla="*/ 1508945 h 1816261"/>
                    <a:gd name="connsiteX240" fmla="*/ 978934 w 1511366"/>
                    <a:gd name="connsiteY240" fmla="*/ 1508945 h 1816261"/>
                    <a:gd name="connsiteX241" fmla="*/ 907425 w 1511366"/>
                    <a:gd name="connsiteY241" fmla="*/ 1599617 h 1816261"/>
                    <a:gd name="connsiteX242" fmla="*/ 907425 w 1511366"/>
                    <a:gd name="connsiteY242" fmla="*/ 1599617 h 1816261"/>
                    <a:gd name="connsiteX243" fmla="*/ 907728 w 1511366"/>
                    <a:gd name="connsiteY243" fmla="*/ 1605164 h 1816261"/>
                    <a:gd name="connsiteX244" fmla="*/ 907728 w 1511366"/>
                    <a:gd name="connsiteY244" fmla="*/ 1605164 h 1816261"/>
                    <a:gd name="connsiteX245" fmla="*/ 910552 w 1511366"/>
                    <a:gd name="connsiteY245" fmla="*/ 1629774 h 1816261"/>
                    <a:gd name="connsiteX246" fmla="*/ 910552 w 1511366"/>
                    <a:gd name="connsiteY246" fmla="*/ 1629774 h 1816261"/>
                    <a:gd name="connsiteX247" fmla="*/ 880294 w 1511366"/>
                    <a:gd name="connsiteY247" fmla="*/ 1672739 h 1816261"/>
                    <a:gd name="connsiteX248" fmla="*/ 880294 w 1511366"/>
                    <a:gd name="connsiteY248" fmla="*/ 1672739 h 1816261"/>
                    <a:gd name="connsiteX249" fmla="*/ 815644 w 1511366"/>
                    <a:gd name="connsiteY249" fmla="*/ 1714596 h 1816261"/>
                    <a:gd name="connsiteX250" fmla="*/ 815644 w 1511366"/>
                    <a:gd name="connsiteY250" fmla="*/ 1714596 h 1816261"/>
                    <a:gd name="connsiteX251" fmla="*/ 753213 w 1511366"/>
                    <a:gd name="connsiteY251" fmla="*/ 1758268 h 1816261"/>
                    <a:gd name="connsiteX252" fmla="*/ 753213 w 1511366"/>
                    <a:gd name="connsiteY252" fmla="*/ 1758268 h 1816261"/>
                    <a:gd name="connsiteX253" fmla="*/ 716702 w 1511366"/>
                    <a:gd name="connsiteY253" fmla="*/ 1806276 h 1816261"/>
                    <a:gd name="connsiteX254" fmla="*/ 716702 w 1511366"/>
                    <a:gd name="connsiteY254" fmla="*/ 1806276 h 1816261"/>
                    <a:gd name="connsiteX255" fmla="*/ 683015 w 1511366"/>
                    <a:gd name="connsiteY255" fmla="*/ 1798712 h 1816261"/>
                    <a:gd name="connsiteX256" fmla="*/ 683015 w 1511366"/>
                    <a:gd name="connsiteY256" fmla="*/ 1798712 h 1816261"/>
                    <a:gd name="connsiteX257" fmla="*/ 670509 w 1511366"/>
                    <a:gd name="connsiteY257" fmla="*/ 1805368 h 1816261"/>
                    <a:gd name="connsiteX258" fmla="*/ 670509 w 1511366"/>
                    <a:gd name="connsiteY258" fmla="*/ 1805368 h 1816261"/>
                    <a:gd name="connsiteX259" fmla="*/ 642067 w 1511366"/>
                    <a:gd name="connsiteY259" fmla="*/ 1816261 h 1816261"/>
                    <a:gd name="connsiteX260" fmla="*/ 642067 w 1511366"/>
                    <a:gd name="connsiteY260" fmla="*/ 1816261 h 1816261"/>
                    <a:gd name="connsiteX261" fmla="*/ 606060 w 1511366"/>
                    <a:gd name="connsiteY261" fmla="*/ 1802746 h 1816261"/>
                    <a:gd name="connsiteX262" fmla="*/ 606060 w 1511366"/>
                    <a:gd name="connsiteY262" fmla="*/ 1802746 h 1816261"/>
                    <a:gd name="connsiteX263" fmla="*/ 610397 w 1511366"/>
                    <a:gd name="connsiteY263" fmla="*/ 1799216 h 1816261"/>
                    <a:gd name="connsiteX264" fmla="*/ 642268 w 1511366"/>
                    <a:gd name="connsiteY264" fmla="*/ 1810512 h 1816261"/>
                    <a:gd name="connsiteX265" fmla="*/ 642268 w 1511366"/>
                    <a:gd name="connsiteY265" fmla="*/ 1810512 h 1816261"/>
                    <a:gd name="connsiteX266" fmla="*/ 666474 w 1511366"/>
                    <a:gd name="connsiteY266" fmla="*/ 1801637 h 1816261"/>
                    <a:gd name="connsiteX267" fmla="*/ 666474 w 1511366"/>
                    <a:gd name="connsiteY267" fmla="*/ 1801637 h 1816261"/>
                    <a:gd name="connsiteX268" fmla="*/ 683217 w 1511366"/>
                    <a:gd name="connsiteY268" fmla="*/ 1793064 h 1816261"/>
                    <a:gd name="connsiteX269" fmla="*/ 683217 w 1511366"/>
                    <a:gd name="connsiteY269" fmla="*/ 1793064 h 1816261"/>
                    <a:gd name="connsiteX270" fmla="*/ 716904 w 1511366"/>
                    <a:gd name="connsiteY270" fmla="*/ 1800628 h 1816261"/>
                    <a:gd name="connsiteX271" fmla="*/ 716904 w 1511366"/>
                    <a:gd name="connsiteY271" fmla="*/ 1800628 h 1816261"/>
                    <a:gd name="connsiteX272" fmla="*/ 747968 w 1511366"/>
                    <a:gd name="connsiteY272" fmla="*/ 1757057 h 1816261"/>
                    <a:gd name="connsiteX273" fmla="*/ 747968 w 1511366"/>
                    <a:gd name="connsiteY273" fmla="*/ 1757057 h 1816261"/>
                    <a:gd name="connsiteX274" fmla="*/ 815947 w 1511366"/>
                    <a:gd name="connsiteY274" fmla="*/ 1708948 h 1816261"/>
                    <a:gd name="connsiteX275" fmla="*/ 815947 w 1511366"/>
                    <a:gd name="connsiteY275" fmla="*/ 1708948 h 1816261"/>
                    <a:gd name="connsiteX276" fmla="*/ 876865 w 1511366"/>
                    <a:gd name="connsiteY276" fmla="*/ 1668604 h 1816261"/>
                    <a:gd name="connsiteX277" fmla="*/ 876865 w 1511366"/>
                    <a:gd name="connsiteY277" fmla="*/ 1668604 h 1816261"/>
                    <a:gd name="connsiteX278" fmla="*/ 905206 w 1511366"/>
                    <a:gd name="connsiteY278" fmla="*/ 1629673 h 1816261"/>
                    <a:gd name="connsiteX279" fmla="*/ 905206 w 1511366"/>
                    <a:gd name="connsiteY279" fmla="*/ 1629673 h 1816261"/>
                    <a:gd name="connsiteX280" fmla="*/ 902483 w 1511366"/>
                    <a:gd name="connsiteY280" fmla="*/ 1605769 h 1816261"/>
                    <a:gd name="connsiteX281" fmla="*/ 902483 w 1511366"/>
                    <a:gd name="connsiteY281" fmla="*/ 1605769 h 1816261"/>
                    <a:gd name="connsiteX282" fmla="*/ 902080 w 1511366"/>
                    <a:gd name="connsiteY282" fmla="*/ 1599516 h 1816261"/>
                    <a:gd name="connsiteX283" fmla="*/ 902080 w 1511366"/>
                    <a:gd name="connsiteY283" fmla="*/ 1599516 h 1816261"/>
                    <a:gd name="connsiteX284" fmla="*/ 976312 w 1511366"/>
                    <a:gd name="connsiteY284" fmla="*/ 1504205 h 1816261"/>
                    <a:gd name="connsiteX285" fmla="*/ 976312 w 1511366"/>
                    <a:gd name="connsiteY285" fmla="*/ 1504205 h 1816261"/>
                    <a:gd name="connsiteX286" fmla="*/ 1069707 w 1511366"/>
                    <a:gd name="connsiteY286" fmla="*/ 1437235 h 1816261"/>
                    <a:gd name="connsiteX287" fmla="*/ 1069707 w 1511366"/>
                    <a:gd name="connsiteY287" fmla="*/ 1437235 h 1816261"/>
                    <a:gd name="connsiteX288" fmla="*/ 1088870 w 1511366"/>
                    <a:gd name="connsiteY288" fmla="*/ 1367441 h 1816261"/>
                    <a:gd name="connsiteX289" fmla="*/ 1088870 w 1511366"/>
                    <a:gd name="connsiteY289" fmla="*/ 1367441 h 1816261"/>
                    <a:gd name="connsiteX290" fmla="*/ 1178130 w 1511366"/>
                    <a:gd name="connsiteY290" fmla="*/ 1258816 h 1816261"/>
                    <a:gd name="connsiteX291" fmla="*/ 1178130 w 1511366"/>
                    <a:gd name="connsiteY291" fmla="*/ 1258816 h 1816261"/>
                    <a:gd name="connsiteX292" fmla="*/ 1246411 w 1511366"/>
                    <a:gd name="connsiteY292" fmla="*/ 1231584 h 1816261"/>
                    <a:gd name="connsiteX293" fmla="*/ 1246411 w 1511366"/>
                    <a:gd name="connsiteY293" fmla="*/ 1231584 h 1816261"/>
                    <a:gd name="connsiteX294" fmla="*/ 1254177 w 1511366"/>
                    <a:gd name="connsiteY294" fmla="*/ 1216254 h 1816261"/>
                    <a:gd name="connsiteX295" fmla="*/ 1254177 w 1511366"/>
                    <a:gd name="connsiteY295" fmla="*/ 1216254 h 1816261"/>
                    <a:gd name="connsiteX296" fmla="*/ 1240662 w 1511366"/>
                    <a:gd name="connsiteY296" fmla="*/ 1176818 h 1816261"/>
                    <a:gd name="connsiteX297" fmla="*/ 1240662 w 1511366"/>
                    <a:gd name="connsiteY297" fmla="*/ 1176818 h 1816261"/>
                    <a:gd name="connsiteX298" fmla="*/ 1239048 w 1511366"/>
                    <a:gd name="connsiteY298" fmla="*/ 1166934 h 1816261"/>
                    <a:gd name="connsiteX299" fmla="*/ 1239048 w 1511366"/>
                    <a:gd name="connsiteY299" fmla="*/ 1166934 h 1816261"/>
                    <a:gd name="connsiteX300" fmla="*/ 1262548 w 1511366"/>
                    <a:gd name="connsiteY300" fmla="*/ 1107024 h 1816261"/>
                    <a:gd name="connsiteX301" fmla="*/ 1262548 w 1511366"/>
                    <a:gd name="connsiteY301" fmla="*/ 1107024 h 1816261"/>
                    <a:gd name="connsiteX302" fmla="*/ 1278081 w 1511366"/>
                    <a:gd name="connsiteY302" fmla="*/ 1100266 h 1816261"/>
                    <a:gd name="connsiteX303" fmla="*/ 1278081 w 1511366"/>
                    <a:gd name="connsiteY303" fmla="*/ 1100266 h 1816261"/>
                    <a:gd name="connsiteX304" fmla="*/ 1298051 w 1511366"/>
                    <a:gd name="connsiteY304" fmla="*/ 1101275 h 1816261"/>
                    <a:gd name="connsiteX305" fmla="*/ 1298051 w 1511366"/>
                    <a:gd name="connsiteY305" fmla="*/ 1101275 h 1816261"/>
                    <a:gd name="connsiteX306" fmla="*/ 1317718 w 1511366"/>
                    <a:gd name="connsiteY306" fmla="*/ 1088466 h 1816261"/>
                    <a:gd name="connsiteX307" fmla="*/ 1317718 w 1511366"/>
                    <a:gd name="connsiteY307" fmla="*/ 1088466 h 1816261"/>
                    <a:gd name="connsiteX308" fmla="*/ 1318424 w 1511366"/>
                    <a:gd name="connsiteY308" fmla="*/ 1079389 h 1816261"/>
                    <a:gd name="connsiteX309" fmla="*/ 1318424 w 1511366"/>
                    <a:gd name="connsiteY309" fmla="*/ 1079389 h 1816261"/>
                    <a:gd name="connsiteX310" fmla="*/ 1273542 w 1511366"/>
                    <a:gd name="connsiteY310" fmla="*/ 1028657 h 1816261"/>
                    <a:gd name="connsiteX311" fmla="*/ 1273542 w 1511366"/>
                    <a:gd name="connsiteY311" fmla="*/ 1028657 h 1816261"/>
                    <a:gd name="connsiteX312" fmla="*/ 1252563 w 1511366"/>
                    <a:gd name="connsiteY312" fmla="*/ 956543 h 1816261"/>
                    <a:gd name="connsiteX313" fmla="*/ 1252563 w 1511366"/>
                    <a:gd name="connsiteY313" fmla="*/ 956543 h 1816261"/>
                    <a:gd name="connsiteX314" fmla="*/ 1264868 w 1511366"/>
                    <a:gd name="connsiteY314" fmla="*/ 851347 h 1816261"/>
                    <a:gd name="connsiteX315" fmla="*/ 1264868 w 1511366"/>
                    <a:gd name="connsiteY315" fmla="*/ 851347 h 1816261"/>
                    <a:gd name="connsiteX316" fmla="*/ 1346362 w 1511366"/>
                    <a:gd name="connsiteY316" fmla="*/ 806163 h 1816261"/>
                    <a:gd name="connsiteX317" fmla="*/ 1346362 w 1511366"/>
                    <a:gd name="connsiteY317" fmla="*/ 806163 h 1816261"/>
                    <a:gd name="connsiteX318" fmla="*/ 1400019 w 1511366"/>
                    <a:gd name="connsiteY318" fmla="*/ 762289 h 1816261"/>
                    <a:gd name="connsiteX319" fmla="*/ 1400019 w 1511366"/>
                    <a:gd name="connsiteY319" fmla="*/ 762289 h 1816261"/>
                    <a:gd name="connsiteX320" fmla="*/ 1472233 w 1511366"/>
                    <a:gd name="connsiteY320" fmla="*/ 738486 h 1816261"/>
                    <a:gd name="connsiteX321" fmla="*/ 1472233 w 1511366"/>
                    <a:gd name="connsiteY321" fmla="*/ 738486 h 1816261"/>
                    <a:gd name="connsiteX322" fmla="*/ 1499869 w 1511366"/>
                    <a:gd name="connsiteY322" fmla="*/ 718517 h 1816261"/>
                    <a:gd name="connsiteX323" fmla="*/ 1499869 w 1511366"/>
                    <a:gd name="connsiteY323" fmla="*/ 718517 h 1816261"/>
                    <a:gd name="connsiteX324" fmla="*/ 1493212 w 1511366"/>
                    <a:gd name="connsiteY324" fmla="*/ 710347 h 1816261"/>
                    <a:gd name="connsiteX325" fmla="*/ 1493212 w 1511366"/>
                    <a:gd name="connsiteY325" fmla="*/ 710347 h 1816261"/>
                    <a:gd name="connsiteX326" fmla="*/ 1495734 w 1511366"/>
                    <a:gd name="connsiteY326" fmla="*/ 709137 h 1816261"/>
                    <a:gd name="connsiteX327" fmla="*/ 1493716 w 1511366"/>
                    <a:gd name="connsiteY327" fmla="*/ 707321 h 1816261"/>
                    <a:gd name="connsiteX328" fmla="*/ 1506122 w 1511366"/>
                    <a:gd name="connsiteY328" fmla="*/ 683014 h 1816261"/>
                    <a:gd name="connsiteX329" fmla="*/ 1506122 w 1511366"/>
                    <a:gd name="connsiteY329" fmla="*/ 683014 h 1816261"/>
                    <a:gd name="connsiteX330" fmla="*/ 1505315 w 1511366"/>
                    <a:gd name="connsiteY330" fmla="*/ 679081 h 1816261"/>
                    <a:gd name="connsiteX331" fmla="*/ 1505315 w 1511366"/>
                    <a:gd name="connsiteY331" fmla="*/ 679081 h 1816261"/>
                    <a:gd name="connsiteX332" fmla="*/ 1470822 w 1511366"/>
                    <a:gd name="connsiteY332" fmla="*/ 645192 h 1816261"/>
                    <a:gd name="connsiteX333" fmla="*/ 1470822 w 1511366"/>
                    <a:gd name="connsiteY333" fmla="*/ 645192 h 1816261"/>
                    <a:gd name="connsiteX334" fmla="*/ 1472435 w 1511366"/>
                    <a:gd name="connsiteY334" fmla="*/ 637325 h 1816261"/>
                    <a:gd name="connsiteX335" fmla="*/ 1472435 w 1511366"/>
                    <a:gd name="connsiteY335" fmla="*/ 637325 h 1816261"/>
                    <a:gd name="connsiteX336" fmla="*/ 1479294 w 1511366"/>
                    <a:gd name="connsiteY336" fmla="*/ 599907 h 1816261"/>
                    <a:gd name="connsiteX337" fmla="*/ 1479294 w 1511366"/>
                    <a:gd name="connsiteY337" fmla="*/ 599907 h 1816261"/>
                    <a:gd name="connsiteX338" fmla="*/ 1472738 w 1511366"/>
                    <a:gd name="connsiteY338" fmla="*/ 583366 h 1816261"/>
                    <a:gd name="connsiteX339" fmla="*/ 1472738 w 1511366"/>
                    <a:gd name="connsiteY339" fmla="*/ 583366 h 1816261"/>
                    <a:gd name="connsiteX340" fmla="*/ 1470519 w 1511366"/>
                    <a:gd name="connsiteY340" fmla="*/ 583870 h 1816261"/>
                    <a:gd name="connsiteX341" fmla="*/ 1470519 w 1511366"/>
                    <a:gd name="connsiteY341" fmla="*/ 583870 h 1816261"/>
                    <a:gd name="connsiteX342" fmla="*/ 1425334 w 1511366"/>
                    <a:gd name="connsiteY342" fmla="*/ 600815 h 1816261"/>
                    <a:gd name="connsiteX343" fmla="*/ 1425334 w 1511366"/>
                    <a:gd name="connsiteY343" fmla="*/ 600815 h 1816261"/>
                    <a:gd name="connsiteX344" fmla="*/ 1413736 w 1511366"/>
                    <a:gd name="connsiteY344" fmla="*/ 594864 h 1816261"/>
                    <a:gd name="connsiteX345" fmla="*/ 1413736 w 1511366"/>
                    <a:gd name="connsiteY345" fmla="*/ 594864 h 1816261"/>
                    <a:gd name="connsiteX346" fmla="*/ 1365021 w 1511366"/>
                    <a:gd name="connsiteY346" fmla="*/ 549276 h 1816261"/>
                    <a:gd name="connsiteX347" fmla="*/ 1365021 w 1511366"/>
                    <a:gd name="connsiteY347" fmla="*/ 549276 h 1816261"/>
                    <a:gd name="connsiteX348" fmla="*/ 1314289 w 1511366"/>
                    <a:gd name="connsiteY348" fmla="*/ 491080 h 1816261"/>
                    <a:gd name="connsiteX349" fmla="*/ 1314289 w 1511366"/>
                    <a:gd name="connsiteY349" fmla="*/ 491080 h 1816261"/>
                    <a:gd name="connsiteX350" fmla="*/ 1318525 w 1511366"/>
                    <a:gd name="connsiteY350" fmla="*/ 474338 h 1816261"/>
                    <a:gd name="connsiteX351" fmla="*/ 1318525 w 1511366"/>
                    <a:gd name="connsiteY351" fmla="*/ 474338 h 1816261"/>
                    <a:gd name="connsiteX352" fmla="*/ 1331233 w 1511366"/>
                    <a:gd name="connsiteY352" fmla="*/ 436718 h 1816261"/>
                    <a:gd name="connsiteX353" fmla="*/ 1331233 w 1511366"/>
                    <a:gd name="connsiteY353" fmla="*/ 436718 h 1816261"/>
                    <a:gd name="connsiteX354" fmla="*/ 1318525 w 1511366"/>
                    <a:gd name="connsiteY354" fmla="*/ 400913 h 1816261"/>
                    <a:gd name="connsiteX355" fmla="*/ 1318525 w 1511366"/>
                    <a:gd name="connsiteY355" fmla="*/ 400913 h 1816261"/>
                    <a:gd name="connsiteX356" fmla="*/ 1274853 w 1511366"/>
                    <a:gd name="connsiteY356" fmla="*/ 328799 h 1816261"/>
                    <a:gd name="connsiteX357" fmla="*/ 1274853 w 1511366"/>
                    <a:gd name="connsiteY357" fmla="*/ 328799 h 1816261"/>
                    <a:gd name="connsiteX358" fmla="*/ 1235317 w 1511366"/>
                    <a:gd name="connsiteY358" fmla="*/ 277664 h 1816261"/>
                    <a:gd name="connsiteX359" fmla="*/ 1235317 w 1511366"/>
                    <a:gd name="connsiteY359" fmla="*/ 277664 h 1816261"/>
                    <a:gd name="connsiteX360" fmla="*/ 1193158 w 1511366"/>
                    <a:gd name="connsiteY360" fmla="*/ 202827 h 1816261"/>
                    <a:gd name="connsiteX361" fmla="*/ 1193158 w 1511366"/>
                    <a:gd name="connsiteY361" fmla="*/ 202827 h 1816261"/>
                    <a:gd name="connsiteX362" fmla="*/ 1150394 w 1511366"/>
                    <a:gd name="connsiteY362" fmla="*/ 165610 h 1816261"/>
                    <a:gd name="connsiteX363" fmla="*/ 1150394 w 1511366"/>
                    <a:gd name="connsiteY363" fmla="*/ 165610 h 1816261"/>
                    <a:gd name="connsiteX364" fmla="*/ 1146460 w 1511366"/>
                    <a:gd name="connsiteY364" fmla="*/ 167627 h 1816261"/>
                    <a:gd name="connsiteX365" fmla="*/ 1146460 w 1511366"/>
                    <a:gd name="connsiteY365" fmla="*/ 167627 h 1816261"/>
                    <a:gd name="connsiteX366" fmla="*/ 1141922 w 1511366"/>
                    <a:gd name="connsiteY366" fmla="*/ 186185 h 1816261"/>
                    <a:gd name="connsiteX367" fmla="*/ 1141922 w 1511366"/>
                    <a:gd name="connsiteY367" fmla="*/ 186185 h 1816261"/>
                    <a:gd name="connsiteX368" fmla="*/ 1141922 w 1511366"/>
                    <a:gd name="connsiteY368" fmla="*/ 192539 h 1816261"/>
                    <a:gd name="connsiteX369" fmla="*/ 1141922 w 1511366"/>
                    <a:gd name="connsiteY369" fmla="*/ 192539 h 1816261"/>
                    <a:gd name="connsiteX370" fmla="*/ 1129818 w 1511366"/>
                    <a:gd name="connsiteY370" fmla="*/ 216947 h 1816261"/>
                    <a:gd name="connsiteX371" fmla="*/ 1129818 w 1511366"/>
                    <a:gd name="connsiteY371" fmla="*/ 216947 h 1816261"/>
                    <a:gd name="connsiteX372" fmla="*/ 1081003 w 1511366"/>
                    <a:gd name="connsiteY372" fmla="*/ 248112 h 1816261"/>
                    <a:gd name="connsiteX373" fmla="*/ 1081003 w 1511366"/>
                    <a:gd name="connsiteY373" fmla="*/ 248112 h 1816261"/>
                    <a:gd name="connsiteX374" fmla="*/ 1058411 w 1511366"/>
                    <a:gd name="connsiteY374" fmla="*/ 250028 h 1816261"/>
                    <a:gd name="connsiteX375" fmla="*/ 1058411 w 1511366"/>
                    <a:gd name="connsiteY375" fmla="*/ 250028 h 1816261"/>
                    <a:gd name="connsiteX376" fmla="*/ 966932 w 1511366"/>
                    <a:gd name="connsiteY376" fmla="*/ 202423 h 1816261"/>
                    <a:gd name="connsiteX377" fmla="*/ 966932 w 1511366"/>
                    <a:gd name="connsiteY377" fmla="*/ 202423 h 1816261"/>
                    <a:gd name="connsiteX378" fmla="*/ 966327 w 1511366"/>
                    <a:gd name="connsiteY378" fmla="*/ 192035 h 1816261"/>
                    <a:gd name="connsiteX379" fmla="*/ 966327 w 1511366"/>
                    <a:gd name="connsiteY379" fmla="*/ 192035 h 1816261"/>
                    <a:gd name="connsiteX380" fmla="*/ 970966 w 1511366"/>
                    <a:gd name="connsiteY380" fmla="*/ 136462 h 1816261"/>
                    <a:gd name="connsiteX381" fmla="*/ 970966 w 1511366"/>
                    <a:gd name="connsiteY381" fmla="*/ 136462 h 1816261"/>
                    <a:gd name="connsiteX382" fmla="*/ 962292 w 1511366"/>
                    <a:gd name="connsiteY382" fmla="*/ 120022 h 1816261"/>
                    <a:gd name="connsiteX383" fmla="*/ 962292 w 1511366"/>
                    <a:gd name="connsiteY383" fmla="*/ 120022 h 1816261"/>
                    <a:gd name="connsiteX384" fmla="*/ 906417 w 1511366"/>
                    <a:gd name="connsiteY384" fmla="*/ 92084 h 1816261"/>
                    <a:gd name="connsiteX385" fmla="*/ 906417 w 1511366"/>
                    <a:gd name="connsiteY385" fmla="*/ 92084 h 1816261"/>
                    <a:gd name="connsiteX386" fmla="*/ 884026 w 1511366"/>
                    <a:gd name="connsiteY386" fmla="*/ 71812 h 1816261"/>
                    <a:gd name="connsiteX387" fmla="*/ 884026 w 1511366"/>
                    <a:gd name="connsiteY387" fmla="*/ 71812 h 1816261"/>
                    <a:gd name="connsiteX388" fmla="*/ 857097 w 1511366"/>
                    <a:gd name="connsiteY388" fmla="*/ 33586 h 1816261"/>
                    <a:gd name="connsiteX389" fmla="*/ 857097 w 1511366"/>
                    <a:gd name="connsiteY389" fmla="*/ 33586 h 1816261"/>
                    <a:gd name="connsiteX390" fmla="*/ 843885 w 1511366"/>
                    <a:gd name="connsiteY390" fmla="*/ 30964 h 1816261"/>
                    <a:gd name="connsiteX391" fmla="*/ 843885 w 1511366"/>
                    <a:gd name="connsiteY391" fmla="*/ 30964 h 1816261"/>
                    <a:gd name="connsiteX392" fmla="*/ 843683 w 1511366"/>
                    <a:gd name="connsiteY392" fmla="*/ 11902 h 1816261"/>
                    <a:gd name="connsiteX393" fmla="*/ 843683 w 1511366"/>
                    <a:gd name="connsiteY393" fmla="*/ 11902 h 1816261"/>
                    <a:gd name="connsiteX394" fmla="*/ 846709 w 1511366"/>
                    <a:gd name="connsiteY394" fmla="*/ 3026 h 1816261"/>
                    <a:gd name="connsiteX395" fmla="*/ 846709 w 1511366"/>
                    <a:gd name="connsiteY395" fmla="*/ 3026 h 1816261"/>
                    <a:gd name="connsiteX396" fmla="*/ 795977 w 1511366"/>
                    <a:gd name="connsiteY396" fmla="*/ 56783 h 1816261"/>
                    <a:gd name="connsiteX397" fmla="*/ 795977 w 1511366"/>
                    <a:gd name="connsiteY397" fmla="*/ 56783 h 1816261"/>
                    <a:gd name="connsiteX398" fmla="*/ 747060 w 1511366"/>
                    <a:gd name="connsiteY398" fmla="*/ 116492 h 1816261"/>
                    <a:gd name="connsiteX399" fmla="*/ 747060 w 1511366"/>
                    <a:gd name="connsiteY399" fmla="*/ 116492 h 1816261"/>
                    <a:gd name="connsiteX400" fmla="*/ 729914 w 1511366"/>
                    <a:gd name="connsiteY400" fmla="*/ 120123 h 1816261"/>
                    <a:gd name="connsiteX401" fmla="*/ 729914 w 1511366"/>
                    <a:gd name="connsiteY401" fmla="*/ 120123 h 1816261"/>
                    <a:gd name="connsiteX402" fmla="*/ 707019 w 1511366"/>
                    <a:gd name="connsiteY402" fmla="*/ 71206 h 1816261"/>
                    <a:gd name="connsiteX403" fmla="*/ 707019 w 1511366"/>
                    <a:gd name="connsiteY403" fmla="*/ 71206 h 1816261"/>
                    <a:gd name="connsiteX404" fmla="*/ 685738 w 1511366"/>
                    <a:gd name="connsiteY404" fmla="*/ 67273 h 1816261"/>
                    <a:gd name="connsiteX405" fmla="*/ 685738 w 1511366"/>
                    <a:gd name="connsiteY405" fmla="*/ 67273 h 1816261"/>
                    <a:gd name="connsiteX406" fmla="*/ 588006 w 1511366"/>
                    <a:gd name="connsiteY406" fmla="*/ 81796 h 1816261"/>
                    <a:gd name="connsiteX407" fmla="*/ 588006 w 1511366"/>
                    <a:gd name="connsiteY407" fmla="*/ 81796 h 1816261"/>
                    <a:gd name="connsiteX408" fmla="*/ 544738 w 1511366"/>
                    <a:gd name="connsiteY408" fmla="*/ 92487 h 1816261"/>
                    <a:gd name="connsiteX409" fmla="*/ 544738 w 1511366"/>
                    <a:gd name="connsiteY409" fmla="*/ 92487 h 1816261"/>
                    <a:gd name="connsiteX410" fmla="*/ 519523 w 1511366"/>
                    <a:gd name="connsiteY410" fmla="*/ 84116 h 1816261"/>
                    <a:gd name="connsiteX411" fmla="*/ 519523 w 1511366"/>
                    <a:gd name="connsiteY411" fmla="*/ 84116 h 1816261"/>
                    <a:gd name="connsiteX412" fmla="*/ 504294 w 1511366"/>
                    <a:gd name="connsiteY412" fmla="*/ 80788 h 1816261"/>
                    <a:gd name="connsiteX413" fmla="*/ 504294 w 1511366"/>
                    <a:gd name="connsiteY413" fmla="*/ 80788 h 1816261"/>
                    <a:gd name="connsiteX414" fmla="*/ 485635 w 1511366"/>
                    <a:gd name="connsiteY414" fmla="*/ 109432 h 1816261"/>
                    <a:gd name="connsiteX415" fmla="*/ 485635 w 1511366"/>
                    <a:gd name="connsiteY415" fmla="*/ 109432 h 1816261"/>
                    <a:gd name="connsiteX416" fmla="*/ 486139 w 1511366"/>
                    <a:gd name="connsiteY416" fmla="*/ 118610 h 1816261"/>
                    <a:gd name="connsiteX417" fmla="*/ 486139 w 1511366"/>
                    <a:gd name="connsiteY417" fmla="*/ 118610 h 1816261"/>
                    <a:gd name="connsiteX418" fmla="*/ 486240 w 1511366"/>
                    <a:gd name="connsiteY418" fmla="*/ 121131 h 1816261"/>
                    <a:gd name="connsiteX419" fmla="*/ 486240 w 1511366"/>
                    <a:gd name="connsiteY419" fmla="*/ 121131 h 1816261"/>
                    <a:gd name="connsiteX420" fmla="*/ 371766 w 1511366"/>
                    <a:gd name="connsiteY420" fmla="*/ 163795 h 1816261"/>
                    <a:gd name="connsiteX421" fmla="*/ 371766 w 1511366"/>
                    <a:gd name="connsiteY421" fmla="*/ 163795 h 1816261"/>
                    <a:gd name="connsiteX422" fmla="*/ 362487 w 1511366"/>
                    <a:gd name="connsiteY422" fmla="*/ 163895 h 1816261"/>
                    <a:gd name="connsiteX423" fmla="*/ 362487 w 1511366"/>
                    <a:gd name="connsiteY423" fmla="*/ 163895 h 1816261"/>
                    <a:gd name="connsiteX424" fmla="*/ 278572 w 1511366"/>
                    <a:gd name="connsiteY424" fmla="*/ 123653 h 1816261"/>
                    <a:gd name="connsiteX425" fmla="*/ 278572 w 1511366"/>
                    <a:gd name="connsiteY425" fmla="*/ 123653 h 1816261"/>
                    <a:gd name="connsiteX426" fmla="*/ 265763 w 1511366"/>
                    <a:gd name="connsiteY426" fmla="*/ 119719 h 1816261"/>
                    <a:gd name="connsiteX427" fmla="*/ 265763 w 1511366"/>
                    <a:gd name="connsiteY427" fmla="*/ 119719 h 1816261"/>
                    <a:gd name="connsiteX428" fmla="*/ 254064 w 1511366"/>
                    <a:gd name="connsiteY428" fmla="*/ 133335 h 1816261"/>
                    <a:gd name="connsiteX429" fmla="*/ 254064 w 1511366"/>
                    <a:gd name="connsiteY429" fmla="*/ 133335 h 1816261"/>
                    <a:gd name="connsiteX430" fmla="*/ 262233 w 1511366"/>
                    <a:gd name="connsiteY430" fmla="*/ 154213 h 1816261"/>
                    <a:gd name="connsiteX431" fmla="*/ 262233 w 1511366"/>
                    <a:gd name="connsiteY431" fmla="*/ 154213 h 1816261"/>
                    <a:gd name="connsiteX432" fmla="*/ 314881 w 1511366"/>
                    <a:gd name="connsiteY432" fmla="*/ 259711 h 1816261"/>
                    <a:gd name="connsiteX433" fmla="*/ 314881 w 1511366"/>
                    <a:gd name="connsiteY433" fmla="*/ 259711 h 1816261"/>
                    <a:gd name="connsiteX434" fmla="*/ 368942 w 1511366"/>
                    <a:gd name="connsiteY434" fmla="*/ 310443 h 1816261"/>
                    <a:gd name="connsiteX435" fmla="*/ 368942 w 1511366"/>
                    <a:gd name="connsiteY435" fmla="*/ 310443 h 1816261"/>
                    <a:gd name="connsiteX436" fmla="*/ 375598 w 1511366"/>
                    <a:gd name="connsiteY436" fmla="*/ 329808 h 1816261"/>
                    <a:gd name="connsiteX437" fmla="*/ 375598 w 1511366"/>
                    <a:gd name="connsiteY437" fmla="*/ 329808 h 1816261"/>
                    <a:gd name="connsiteX438" fmla="*/ 370959 w 1511366"/>
                    <a:gd name="connsiteY438" fmla="*/ 360670 h 1816261"/>
                    <a:gd name="connsiteX439" fmla="*/ 370959 w 1511366"/>
                    <a:gd name="connsiteY439" fmla="*/ 360670 h 1816261"/>
                    <a:gd name="connsiteX440" fmla="*/ 371866 w 1511366"/>
                    <a:gd name="connsiteY440" fmla="*/ 368739 h 1816261"/>
                    <a:gd name="connsiteX441" fmla="*/ 371866 w 1511366"/>
                    <a:gd name="connsiteY441" fmla="*/ 368739 h 1816261"/>
                    <a:gd name="connsiteX442" fmla="*/ 414025 w 1511366"/>
                    <a:gd name="connsiteY442" fmla="*/ 497939 h 1816261"/>
                    <a:gd name="connsiteX443" fmla="*/ 414025 w 1511366"/>
                    <a:gd name="connsiteY443" fmla="*/ 497939 h 1816261"/>
                    <a:gd name="connsiteX444" fmla="*/ 417051 w 1511366"/>
                    <a:gd name="connsiteY444" fmla="*/ 541712 h 1816261"/>
                    <a:gd name="connsiteX445" fmla="*/ 417051 w 1511366"/>
                    <a:gd name="connsiteY445" fmla="*/ 541712 h 1816261"/>
                    <a:gd name="connsiteX446" fmla="*/ 406259 w 1511366"/>
                    <a:gd name="connsiteY446" fmla="*/ 593755 h 1816261"/>
                    <a:gd name="connsiteX447" fmla="*/ 406259 w 1511366"/>
                    <a:gd name="connsiteY447" fmla="*/ 593755 h 1816261"/>
                    <a:gd name="connsiteX448" fmla="*/ 400611 w 1511366"/>
                    <a:gd name="connsiteY448" fmla="*/ 622398 h 1816261"/>
                    <a:gd name="connsiteX449" fmla="*/ 400611 w 1511366"/>
                    <a:gd name="connsiteY449" fmla="*/ 622398 h 1816261"/>
                    <a:gd name="connsiteX450" fmla="*/ 426027 w 1511366"/>
                    <a:gd name="connsiteY450" fmla="*/ 666675 h 1816261"/>
                    <a:gd name="connsiteX451" fmla="*/ 426027 w 1511366"/>
                    <a:gd name="connsiteY451" fmla="*/ 666675 h 1816261"/>
                    <a:gd name="connsiteX452" fmla="*/ 448418 w 1511366"/>
                    <a:gd name="connsiteY452" fmla="*/ 683922 h 1816261"/>
                    <a:gd name="connsiteX453" fmla="*/ 448418 w 1511366"/>
                    <a:gd name="connsiteY453" fmla="*/ 683922 h 1816261"/>
                    <a:gd name="connsiteX454" fmla="*/ 392240 w 1511366"/>
                    <a:gd name="connsiteY454" fmla="*/ 729107 h 1816261"/>
                    <a:gd name="connsiteX455" fmla="*/ 392240 w 1511366"/>
                    <a:gd name="connsiteY455" fmla="*/ 729107 h 1816261"/>
                    <a:gd name="connsiteX456" fmla="*/ 306510 w 1511366"/>
                    <a:gd name="connsiteY456" fmla="*/ 743933 h 1816261"/>
                    <a:gd name="connsiteX457" fmla="*/ 306510 w 1511366"/>
                    <a:gd name="connsiteY457" fmla="*/ 743933 h 1816261"/>
                    <a:gd name="connsiteX458" fmla="*/ 248617 w 1511366"/>
                    <a:gd name="connsiteY458" fmla="*/ 741411 h 1816261"/>
                    <a:gd name="connsiteX459" fmla="*/ 248617 w 1511366"/>
                    <a:gd name="connsiteY459" fmla="*/ 741411 h 1816261"/>
                    <a:gd name="connsiteX460" fmla="*/ 240145 w 1511366"/>
                    <a:gd name="connsiteY460" fmla="*/ 741815 h 1816261"/>
                    <a:gd name="connsiteX461" fmla="*/ 240145 w 1511366"/>
                    <a:gd name="connsiteY461" fmla="*/ 741815 h 1816261"/>
                    <a:gd name="connsiteX462" fmla="*/ 235909 w 1511366"/>
                    <a:gd name="connsiteY462" fmla="*/ 741916 h 1816261"/>
                    <a:gd name="connsiteX463" fmla="*/ 235909 w 1511366"/>
                    <a:gd name="connsiteY463" fmla="*/ 741916 h 1816261"/>
                    <a:gd name="connsiteX464" fmla="*/ 157744 w 1511366"/>
                    <a:gd name="connsiteY464" fmla="*/ 711961 h 1816261"/>
                    <a:gd name="connsiteX465" fmla="*/ 157744 w 1511366"/>
                    <a:gd name="connsiteY465" fmla="*/ 711961 h 1816261"/>
                    <a:gd name="connsiteX466" fmla="*/ 155021 w 1511366"/>
                    <a:gd name="connsiteY466" fmla="*/ 711759 h 1816261"/>
                    <a:gd name="connsiteX467" fmla="*/ 155021 w 1511366"/>
                    <a:gd name="connsiteY467" fmla="*/ 711759 h 1816261"/>
                    <a:gd name="connsiteX468" fmla="*/ 127184 w 1511366"/>
                    <a:gd name="connsiteY468" fmla="*/ 726384 h 1816261"/>
                    <a:gd name="connsiteX469" fmla="*/ 127184 w 1511366"/>
                    <a:gd name="connsiteY469" fmla="*/ 726384 h 1816261"/>
                    <a:gd name="connsiteX470" fmla="*/ 113265 w 1511366"/>
                    <a:gd name="connsiteY470" fmla="*/ 764206 h 1816261"/>
                    <a:gd name="connsiteX471" fmla="*/ 113265 w 1511366"/>
                    <a:gd name="connsiteY471" fmla="*/ 764206 h 1816261"/>
                    <a:gd name="connsiteX472" fmla="*/ 57793 w 1511366"/>
                    <a:gd name="connsiteY472" fmla="*/ 824620 h 1816261"/>
                    <a:gd name="connsiteX473" fmla="*/ 57793 w 1511366"/>
                    <a:gd name="connsiteY473" fmla="*/ 824620 h 1816261"/>
                    <a:gd name="connsiteX474" fmla="*/ 53557 w 1511366"/>
                    <a:gd name="connsiteY474" fmla="*/ 843279 h 1816261"/>
                    <a:gd name="connsiteX475" fmla="*/ 53557 w 1511366"/>
                    <a:gd name="connsiteY475" fmla="*/ 843279 h 1816261"/>
                    <a:gd name="connsiteX476" fmla="*/ 76048 w 1511366"/>
                    <a:gd name="connsiteY476" fmla="*/ 888564 h 1816261"/>
                    <a:gd name="connsiteX477" fmla="*/ 76048 w 1511366"/>
                    <a:gd name="connsiteY477" fmla="*/ 888564 h 1816261"/>
                    <a:gd name="connsiteX478" fmla="*/ 125368 w 1511366"/>
                    <a:gd name="connsiteY478" fmla="*/ 940305 h 1816261"/>
                    <a:gd name="connsiteX479" fmla="*/ 125368 w 1511366"/>
                    <a:gd name="connsiteY479" fmla="*/ 940305 h 1816261"/>
                    <a:gd name="connsiteX480" fmla="*/ 138984 w 1511366"/>
                    <a:gd name="connsiteY480" fmla="*/ 993961 h 1816261"/>
                    <a:gd name="connsiteX481" fmla="*/ 138984 w 1511366"/>
                    <a:gd name="connsiteY481" fmla="*/ 993961 h 1816261"/>
                    <a:gd name="connsiteX482" fmla="*/ 123149 w 1511366"/>
                    <a:gd name="connsiteY482" fmla="*/ 1063554 h 1816261"/>
                    <a:gd name="connsiteX483" fmla="*/ 123149 w 1511366"/>
                    <a:gd name="connsiteY483" fmla="*/ 1063554 h 1816261"/>
                    <a:gd name="connsiteX484" fmla="*/ 39941 w 1511366"/>
                    <a:gd name="connsiteY484" fmla="*/ 1171069 h 1816261"/>
                    <a:gd name="connsiteX485" fmla="*/ 39941 w 1511366"/>
                    <a:gd name="connsiteY485" fmla="*/ 1171069 h 1816261"/>
                    <a:gd name="connsiteX486" fmla="*/ 5447 w 1511366"/>
                    <a:gd name="connsiteY486" fmla="*/ 1222103 h 1816261"/>
                    <a:gd name="connsiteX487" fmla="*/ 5447 w 1511366"/>
                    <a:gd name="connsiteY487" fmla="*/ 1222103 h 1816261"/>
                    <a:gd name="connsiteX488" fmla="*/ 19467 w 1511366"/>
                    <a:gd name="connsiteY488" fmla="*/ 1272230 h 1816261"/>
                    <a:gd name="connsiteX489" fmla="*/ 19467 w 1511366"/>
                    <a:gd name="connsiteY489" fmla="*/ 1272230 h 1816261"/>
                    <a:gd name="connsiteX490" fmla="*/ 77259 w 1511366"/>
                    <a:gd name="connsiteY490" fmla="*/ 1290788 h 1816261"/>
                    <a:gd name="connsiteX491" fmla="*/ 77259 w 1511366"/>
                    <a:gd name="connsiteY491" fmla="*/ 1290788 h 1816261"/>
                    <a:gd name="connsiteX492" fmla="*/ 85630 w 1511366"/>
                    <a:gd name="connsiteY492" fmla="*/ 1311161 h 1816261"/>
                    <a:gd name="connsiteX493" fmla="*/ 118812 w 1511366"/>
                    <a:gd name="connsiteY493" fmla="*/ 1322962 h 1816261"/>
                    <a:gd name="connsiteX494" fmla="*/ 118812 w 1511366"/>
                    <a:gd name="connsiteY494" fmla="*/ 1322962 h 1816261"/>
                    <a:gd name="connsiteX495" fmla="*/ 180840 w 1511366"/>
                    <a:gd name="connsiteY495" fmla="*/ 1391748 h 1816261"/>
                    <a:gd name="connsiteX496" fmla="*/ 180840 w 1511366"/>
                    <a:gd name="connsiteY496" fmla="*/ 1391748 h 1816261"/>
                    <a:gd name="connsiteX497" fmla="*/ 272218 w 1511366"/>
                    <a:gd name="connsiteY497" fmla="*/ 1444194 h 1816261"/>
                    <a:gd name="connsiteX498" fmla="*/ 272218 w 1511366"/>
                    <a:gd name="connsiteY498" fmla="*/ 1444194 h 1816261"/>
                    <a:gd name="connsiteX499" fmla="*/ 322647 w 1511366"/>
                    <a:gd name="connsiteY499" fmla="*/ 1605769 h 1816261"/>
                    <a:gd name="connsiteX500" fmla="*/ 322647 w 1511366"/>
                    <a:gd name="connsiteY500" fmla="*/ 1605769 h 1816261"/>
                    <a:gd name="connsiteX501" fmla="*/ 351089 w 1511366"/>
                    <a:gd name="connsiteY501" fmla="*/ 1617570 h 1816261"/>
                    <a:gd name="connsiteX502" fmla="*/ 351089 w 1511366"/>
                    <a:gd name="connsiteY502" fmla="*/ 1617570 h 1816261"/>
                    <a:gd name="connsiteX503" fmla="*/ 357948 w 1511366"/>
                    <a:gd name="connsiteY503" fmla="*/ 1615653 h 1816261"/>
                    <a:gd name="connsiteX504" fmla="*/ 357948 w 1511366"/>
                    <a:gd name="connsiteY504" fmla="*/ 1615653 h 1816261"/>
                    <a:gd name="connsiteX505" fmla="*/ 394055 w 1511366"/>
                    <a:gd name="connsiteY505" fmla="*/ 1602743 h 1816261"/>
                    <a:gd name="connsiteX506" fmla="*/ 394055 w 1511366"/>
                    <a:gd name="connsiteY506" fmla="*/ 1602743 h 1816261"/>
                    <a:gd name="connsiteX507" fmla="*/ 410596 w 1511366"/>
                    <a:gd name="connsiteY507" fmla="*/ 1612124 h 1816261"/>
                    <a:gd name="connsiteX508" fmla="*/ 410596 w 1511366"/>
                    <a:gd name="connsiteY508" fmla="*/ 1612124 h 1816261"/>
                    <a:gd name="connsiteX509" fmla="*/ 458807 w 1511366"/>
                    <a:gd name="connsiteY509" fmla="*/ 1639154 h 1816261"/>
                    <a:gd name="connsiteX510" fmla="*/ 458807 w 1511366"/>
                    <a:gd name="connsiteY510" fmla="*/ 1639154 h 1816261"/>
                    <a:gd name="connsiteX511" fmla="*/ 501066 w 1511366"/>
                    <a:gd name="connsiteY511" fmla="*/ 1688373 h 1816261"/>
                    <a:gd name="connsiteX512" fmla="*/ 501066 w 1511366"/>
                    <a:gd name="connsiteY512" fmla="*/ 1688373 h 1816261"/>
                    <a:gd name="connsiteX513" fmla="*/ 499957 w 1511366"/>
                    <a:gd name="connsiteY513" fmla="*/ 1698156 h 1816261"/>
                    <a:gd name="connsiteX514" fmla="*/ 499957 w 1511366"/>
                    <a:gd name="connsiteY514" fmla="*/ 1698156 h 1816261"/>
                    <a:gd name="connsiteX515" fmla="*/ 497637 w 1511366"/>
                    <a:gd name="connsiteY515" fmla="*/ 1712377 h 1816261"/>
                    <a:gd name="connsiteX516" fmla="*/ 497637 w 1511366"/>
                    <a:gd name="connsiteY516" fmla="*/ 1712377 h 1816261"/>
                    <a:gd name="connsiteX517" fmla="*/ 507017 w 1511366"/>
                    <a:gd name="connsiteY517" fmla="*/ 1737390 h 1816261"/>
                    <a:gd name="connsiteX518" fmla="*/ 507017 w 1511366"/>
                    <a:gd name="connsiteY518" fmla="*/ 1737390 h 1816261"/>
                    <a:gd name="connsiteX519" fmla="*/ 536266 w 1511366"/>
                    <a:gd name="connsiteY519" fmla="*/ 1756754 h 1816261"/>
                    <a:gd name="connsiteX520" fmla="*/ 536266 w 1511366"/>
                    <a:gd name="connsiteY520" fmla="*/ 1756754 h 1816261"/>
                    <a:gd name="connsiteX521" fmla="*/ 552302 w 1511366"/>
                    <a:gd name="connsiteY521" fmla="*/ 1755141 h 1816261"/>
                    <a:gd name="connsiteX522" fmla="*/ 552302 w 1511366"/>
                    <a:gd name="connsiteY522" fmla="*/ 1755141 h 1816261"/>
                    <a:gd name="connsiteX523" fmla="*/ 557648 w 1511366"/>
                    <a:gd name="connsiteY523" fmla="*/ 1754435 h 1816261"/>
                    <a:gd name="connsiteX524" fmla="*/ 557648 w 1511366"/>
                    <a:gd name="connsiteY524" fmla="*/ 1754435 h 1816261"/>
                    <a:gd name="connsiteX525" fmla="*/ 610397 w 1511366"/>
                    <a:gd name="connsiteY525" fmla="*/ 1799216 h 1816261"/>
                    <a:gd name="connsiteX526" fmla="*/ 610397 w 1511366"/>
                    <a:gd name="connsiteY526" fmla="*/ 1799216 h 1816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Lst>
                  <a:rect l="l" t="t" r="r" b="b"/>
                  <a:pathLst>
                    <a:path w="1511366" h="1816261">
                      <a:moveTo>
                        <a:pt x="606060" y="1802746"/>
                      </a:moveTo>
                      <a:cubicBezTo>
                        <a:pt x="596781" y="1790744"/>
                        <a:pt x="579030" y="1759377"/>
                        <a:pt x="557547" y="1759781"/>
                      </a:cubicBezTo>
                      <a:lnTo>
                        <a:pt x="557547" y="1759781"/>
                      </a:lnTo>
                      <a:cubicBezTo>
                        <a:pt x="556236" y="1759781"/>
                        <a:pt x="554824" y="1759982"/>
                        <a:pt x="553109" y="1760285"/>
                      </a:cubicBezTo>
                      <a:lnTo>
                        <a:pt x="553109" y="1760285"/>
                      </a:lnTo>
                      <a:cubicBezTo>
                        <a:pt x="546755" y="1761192"/>
                        <a:pt x="541208" y="1761999"/>
                        <a:pt x="536165" y="1761999"/>
                      </a:cubicBezTo>
                      <a:lnTo>
                        <a:pt x="536165" y="1761999"/>
                      </a:lnTo>
                      <a:cubicBezTo>
                        <a:pt x="519826" y="1762100"/>
                        <a:pt x="509337" y="1754637"/>
                        <a:pt x="501873" y="1739407"/>
                      </a:cubicBezTo>
                      <a:lnTo>
                        <a:pt x="501873" y="1739407"/>
                      </a:lnTo>
                      <a:cubicBezTo>
                        <a:pt x="495519" y="1726598"/>
                        <a:pt x="491888" y="1720849"/>
                        <a:pt x="491888" y="1711973"/>
                      </a:cubicBezTo>
                      <a:lnTo>
                        <a:pt x="491888" y="1711973"/>
                      </a:lnTo>
                      <a:cubicBezTo>
                        <a:pt x="491888" y="1707637"/>
                        <a:pt x="492796" y="1702795"/>
                        <a:pt x="494410" y="1696542"/>
                      </a:cubicBezTo>
                      <a:lnTo>
                        <a:pt x="494410" y="1696542"/>
                      </a:lnTo>
                      <a:cubicBezTo>
                        <a:pt x="495015" y="1693819"/>
                        <a:pt x="495317" y="1690894"/>
                        <a:pt x="495317" y="1688070"/>
                      </a:cubicBezTo>
                      <a:lnTo>
                        <a:pt x="495317" y="1688070"/>
                      </a:lnTo>
                      <a:cubicBezTo>
                        <a:pt x="495317" y="1669815"/>
                        <a:pt x="483315" y="1646113"/>
                        <a:pt x="458302" y="1644398"/>
                      </a:cubicBezTo>
                      <a:lnTo>
                        <a:pt x="458302" y="1644398"/>
                      </a:lnTo>
                      <a:cubicBezTo>
                        <a:pt x="426330" y="1641978"/>
                        <a:pt x="410394" y="1629269"/>
                        <a:pt x="405150" y="1613535"/>
                      </a:cubicBezTo>
                      <a:lnTo>
                        <a:pt x="405150" y="1613535"/>
                      </a:lnTo>
                      <a:cubicBezTo>
                        <a:pt x="403939" y="1609501"/>
                        <a:pt x="400208" y="1607887"/>
                        <a:pt x="393954" y="1607887"/>
                      </a:cubicBezTo>
                      <a:lnTo>
                        <a:pt x="393954" y="1607887"/>
                      </a:lnTo>
                      <a:cubicBezTo>
                        <a:pt x="383465" y="1607786"/>
                        <a:pt x="368336" y="1613838"/>
                        <a:pt x="361276" y="1619587"/>
                      </a:cubicBezTo>
                      <a:lnTo>
                        <a:pt x="361276" y="1619587"/>
                      </a:lnTo>
                      <a:cubicBezTo>
                        <a:pt x="358251" y="1621907"/>
                        <a:pt x="354620" y="1622815"/>
                        <a:pt x="350989" y="1622815"/>
                      </a:cubicBezTo>
                      <a:lnTo>
                        <a:pt x="350989" y="1622815"/>
                      </a:lnTo>
                      <a:cubicBezTo>
                        <a:pt x="336364" y="1622613"/>
                        <a:pt x="319622" y="1610005"/>
                        <a:pt x="318210" y="1608291"/>
                      </a:cubicBezTo>
                      <a:lnTo>
                        <a:pt x="318210" y="1608291"/>
                      </a:lnTo>
                      <a:cubicBezTo>
                        <a:pt x="318008" y="1608190"/>
                        <a:pt x="290978" y="1467593"/>
                        <a:pt x="268386" y="1448127"/>
                      </a:cubicBezTo>
                      <a:lnTo>
                        <a:pt x="268386" y="1448127"/>
                      </a:lnTo>
                      <a:cubicBezTo>
                        <a:pt x="245793" y="1427149"/>
                        <a:pt x="199297" y="1429670"/>
                        <a:pt x="176100" y="1394370"/>
                      </a:cubicBezTo>
                      <a:lnTo>
                        <a:pt x="176100" y="1394370"/>
                      </a:lnTo>
                      <a:cubicBezTo>
                        <a:pt x="154516" y="1360582"/>
                        <a:pt x="134849" y="1332039"/>
                        <a:pt x="117400" y="1328005"/>
                      </a:cubicBezTo>
                      <a:lnTo>
                        <a:pt x="117400" y="1328005"/>
                      </a:lnTo>
                      <a:cubicBezTo>
                        <a:pt x="97834" y="1323063"/>
                        <a:pt x="83108" y="1315801"/>
                        <a:pt x="81797" y="1314389"/>
                      </a:cubicBezTo>
                      <a:lnTo>
                        <a:pt x="81797" y="1314389"/>
                      </a:lnTo>
                      <a:lnTo>
                        <a:pt x="74636" y="1294318"/>
                      </a:lnTo>
                      <a:cubicBezTo>
                        <a:pt x="74435" y="1293511"/>
                        <a:pt x="19164" y="1293915"/>
                        <a:pt x="14020" y="1272734"/>
                      </a:cubicBezTo>
                      <a:lnTo>
                        <a:pt x="14020" y="1272734"/>
                      </a:lnTo>
                      <a:cubicBezTo>
                        <a:pt x="13012" y="1264464"/>
                        <a:pt x="1" y="1244393"/>
                        <a:pt x="1" y="1221801"/>
                      </a:cubicBezTo>
                      <a:lnTo>
                        <a:pt x="1" y="1221801"/>
                      </a:lnTo>
                      <a:cubicBezTo>
                        <a:pt x="-100" y="1203545"/>
                        <a:pt x="8776" y="1183374"/>
                        <a:pt x="37016" y="1166127"/>
                      </a:cubicBezTo>
                      <a:lnTo>
                        <a:pt x="37016" y="1166127"/>
                      </a:lnTo>
                      <a:cubicBezTo>
                        <a:pt x="99347" y="1127498"/>
                        <a:pt x="95917" y="1112369"/>
                        <a:pt x="118005" y="1061032"/>
                      </a:cubicBezTo>
                      <a:lnTo>
                        <a:pt x="118005" y="1061032"/>
                      </a:lnTo>
                      <a:cubicBezTo>
                        <a:pt x="128696" y="1036019"/>
                        <a:pt x="133437" y="1013427"/>
                        <a:pt x="133437" y="993760"/>
                      </a:cubicBezTo>
                      <a:lnTo>
                        <a:pt x="133437" y="993760"/>
                      </a:lnTo>
                      <a:cubicBezTo>
                        <a:pt x="133437" y="973891"/>
                        <a:pt x="128696" y="956946"/>
                        <a:pt x="120527" y="942927"/>
                      </a:cubicBezTo>
                      <a:lnTo>
                        <a:pt x="120527" y="942927"/>
                      </a:lnTo>
                      <a:cubicBezTo>
                        <a:pt x="103784" y="914283"/>
                        <a:pt x="89866" y="902684"/>
                        <a:pt x="73325" y="893304"/>
                      </a:cubicBezTo>
                      <a:lnTo>
                        <a:pt x="73325" y="893304"/>
                      </a:lnTo>
                      <a:cubicBezTo>
                        <a:pt x="59507" y="885135"/>
                        <a:pt x="48211" y="864055"/>
                        <a:pt x="48110" y="843279"/>
                      </a:cubicBezTo>
                      <a:lnTo>
                        <a:pt x="48110" y="843279"/>
                      </a:lnTo>
                      <a:cubicBezTo>
                        <a:pt x="48110" y="835916"/>
                        <a:pt x="49623" y="828755"/>
                        <a:pt x="52952" y="822098"/>
                      </a:cubicBezTo>
                      <a:lnTo>
                        <a:pt x="52952" y="822098"/>
                      </a:lnTo>
                      <a:cubicBezTo>
                        <a:pt x="66063" y="796581"/>
                        <a:pt x="92387" y="791942"/>
                        <a:pt x="108424" y="761583"/>
                      </a:cubicBezTo>
                      <a:lnTo>
                        <a:pt x="108424" y="761583"/>
                      </a:lnTo>
                      <a:cubicBezTo>
                        <a:pt x="113870" y="751598"/>
                        <a:pt x="118308" y="738184"/>
                        <a:pt x="122443" y="723761"/>
                      </a:cubicBezTo>
                      <a:lnTo>
                        <a:pt x="122443" y="723761"/>
                      </a:lnTo>
                      <a:cubicBezTo>
                        <a:pt x="129402" y="715693"/>
                        <a:pt x="140598" y="706212"/>
                        <a:pt x="155121" y="706212"/>
                      </a:cubicBezTo>
                      <a:lnTo>
                        <a:pt x="155121" y="706212"/>
                      </a:lnTo>
                      <a:cubicBezTo>
                        <a:pt x="156332" y="706212"/>
                        <a:pt x="157441" y="706313"/>
                        <a:pt x="158450" y="706413"/>
                      </a:cubicBezTo>
                      <a:lnTo>
                        <a:pt x="158450" y="706413"/>
                      </a:lnTo>
                      <a:cubicBezTo>
                        <a:pt x="183967" y="709238"/>
                        <a:pt x="205046" y="736570"/>
                        <a:pt x="236010" y="736268"/>
                      </a:cubicBezTo>
                      <a:lnTo>
                        <a:pt x="236010" y="736268"/>
                      </a:lnTo>
                      <a:cubicBezTo>
                        <a:pt x="237321" y="736268"/>
                        <a:pt x="238531" y="736268"/>
                        <a:pt x="239843" y="736268"/>
                      </a:cubicBezTo>
                      <a:lnTo>
                        <a:pt x="239843" y="736268"/>
                      </a:lnTo>
                      <a:cubicBezTo>
                        <a:pt x="242767" y="735864"/>
                        <a:pt x="245692" y="735763"/>
                        <a:pt x="248819" y="735763"/>
                      </a:cubicBezTo>
                      <a:lnTo>
                        <a:pt x="248819" y="735763"/>
                      </a:lnTo>
                      <a:cubicBezTo>
                        <a:pt x="265461" y="735763"/>
                        <a:pt x="284321" y="738285"/>
                        <a:pt x="306712" y="738285"/>
                      </a:cubicBezTo>
                      <a:lnTo>
                        <a:pt x="306712" y="738285"/>
                      </a:lnTo>
                      <a:cubicBezTo>
                        <a:pt x="330414" y="738285"/>
                        <a:pt x="357948" y="735562"/>
                        <a:pt x="390525" y="723862"/>
                      </a:cubicBezTo>
                      <a:lnTo>
                        <a:pt x="390525" y="723862"/>
                      </a:lnTo>
                      <a:cubicBezTo>
                        <a:pt x="430062" y="709843"/>
                        <a:pt x="443476" y="693201"/>
                        <a:pt x="443073" y="684023"/>
                      </a:cubicBezTo>
                      <a:lnTo>
                        <a:pt x="443073" y="684023"/>
                      </a:lnTo>
                      <a:cubicBezTo>
                        <a:pt x="442972" y="677366"/>
                        <a:pt x="437021" y="672424"/>
                        <a:pt x="426229" y="672323"/>
                      </a:cubicBezTo>
                      <a:lnTo>
                        <a:pt x="426229" y="672323"/>
                      </a:lnTo>
                      <a:cubicBezTo>
                        <a:pt x="404545" y="671819"/>
                        <a:pt x="395266" y="646403"/>
                        <a:pt x="395266" y="622499"/>
                      </a:cubicBezTo>
                      <a:lnTo>
                        <a:pt x="395266" y="622499"/>
                      </a:lnTo>
                      <a:cubicBezTo>
                        <a:pt x="395266" y="611506"/>
                        <a:pt x="397182" y="600512"/>
                        <a:pt x="401317" y="591435"/>
                      </a:cubicBezTo>
                      <a:lnTo>
                        <a:pt x="401317" y="591435"/>
                      </a:lnTo>
                      <a:cubicBezTo>
                        <a:pt x="408680" y="574995"/>
                        <a:pt x="411504" y="560774"/>
                        <a:pt x="411504" y="541812"/>
                      </a:cubicBezTo>
                      <a:lnTo>
                        <a:pt x="411504" y="541812"/>
                      </a:lnTo>
                      <a:cubicBezTo>
                        <a:pt x="411504" y="529810"/>
                        <a:pt x="410394" y="515892"/>
                        <a:pt x="408478" y="498746"/>
                      </a:cubicBezTo>
                      <a:lnTo>
                        <a:pt x="408478" y="498746"/>
                      </a:lnTo>
                      <a:cubicBezTo>
                        <a:pt x="403637" y="454772"/>
                        <a:pt x="371564" y="393046"/>
                        <a:pt x="366319" y="370050"/>
                      </a:cubicBezTo>
                      <a:lnTo>
                        <a:pt x="366319" y="370050"/>
                      </a:lnTo>
                      <a:cubicBezTo>
                        <a:pt x="365512" y="366722"/>
                        <a:pt x="365311" y="363595"/>
                        <a:pt x="365311" y="360771"/>
                      </a:cubicBezTo>
                      <a:lnTo>
                        <a:pt x="365311" y="360771"/>
                      </a:lnTo>
                      <a:cubicBezTo>
                        <a:pt x="365412" y="348567"/>
                        <a:pt x="369950" y="338885"/>
                        <a:pt x="369950" y="329909"/>
                      </a:cubicBezTo>
                      <a:lnTo>
                        <a:pt x="369950" y="329909"/>
                      </a:lnTo>
                      <a:cubicBezTo>
                        <a:pt x="369849" y="324765"/>
                        <a:pt x="368740" y="319823"/>
                        <a:pt x="364302" y="313973"/>
                      </a:cubicBezTo>
                      <a:lnTo>
                        <a:pt x="364302" y="313973"/>
                      </a:lnTo>
                      <a:cubicBezTo>
                        <a:pt x="351695" y="295617"/>
                        <a:pt x="314781" y="299954"/>
                        <a:pt x="309233" y="260518"/>
                      </a:cubicBezTo>
                      <a:lnTo>
                        <a:pt x="309233" y="260518"/>
                      </a:lnTo>
                      <a:cubicBezTo>
                        <a:pt x="304493" y="224310"/>
                        <a:pt x="274941" y="179730"/>
                        <a:pt x="257695" y="157642"/>
                      </a:cubicBezTo>
                      <a:lnTo>
                        <a:pt x="257695" y="157642"/>
                      </a:lnTo>
                      <a:cubicBezTo>
                        <a:pt x="251340" y="149573"/>
                        <a:pt x="248416" y="140899"/>
                        <a:pt x="248416" y="133335"/>
                      </a:cubicBezTo>
                      <a:lnTo>
                        <a:pt x="248416" y="133335"/>
                      </a:lnTo>
                      <a:cubicBezTo>
                        <a:pt x="248416" y="123048"/>
                        <a:pt x="254568" y="114172"/>
                        <a:pt x="265561" y="114172"/>
                      </a:cubicBezTo>
                      <a:lnTo>
                        <a:pt x="265561" y="114172"/>
                      </a:lnTo>
                      <a:cubicBezTo>
                        <a:pt x="270201" y="114172"/>
                        <a:pt x="275345" y="115685"/>
                        <a:pt x="280993" y="118812"/>
                      </a:cubicBezTo>
                      <a:lnTo>
                        <a:pt x="280993" y="118812"/>
                      </a:lnTo>
                      <a:cubicBezTo>
                        <a:pt x="309233" y="134546"/>
                        <a:pt x="298643" y="157844"/>
                        <a:pt x="362285" y="158247"/>
                      </a:cubicBezTo>
                      <a:lnTo>
                        <a:pt x="362285" y="158247"/>
                      </a:lnTo>
                      <a:cubicBezTo>
                        <a:pt x="365109" y="158247"/>
                        <a:pt x="368236" y="158247"/>
                        <a:pt x="371463" y="158146"/>
                      </a:cubicBezTo>
                      <a:lnTo>
                        <a:pt x="371463" y="158146"/>
                      </a:lnTo>
                      <a:cubicBezTo>
                        <a:pt x="443779" y="155928"/>
                        <a:pt x="481096" y="143118"/>
                        <a:pt x="480491" y="121131"/>
                      </a:cubicBezTo>
                      <a:lnTo>
                        <a:pt x="480491" y="121131"/>
                      </a:lnTo>
                      <a:cubicBezTo>
                        <a:pt x="480491" y="120425"/>
                        <a:pt x="480491" y="119618"/>
                        <a:pt x="480491" y="119013"/>
                      </a:cubicBezTo>
                      <a:lnTo>
                        <a:pt x="480491" y="119013"/>
                      </a:lnTo>
                      <a:cubicBezTo>
                        <a:pt x="480088" y="115685"/>
                        <a:pt x="479886" y="112458"/>
                        <a:pt x="479886" y="109432"/>
                      </a:cubicBezTo>
                      <a:lnTo>
                        <a:pt x="479886" y="109432"/>
                      </a:lnTo>
                      <a:cubicBezTo>
                        <a:pt x="479886" y="91479"/>
                        <a:pt x="485938" y="75140"/>
                        <a:pt x="504193" y="75140"/>
                      </a:cubicBezTo>
                      <a:lnTo>
                        <a:pt x="504193" y="75140"/>
                      </a:lnTo>
                      <a:cubicBezTo>
                        <a:pt x="509236" y="75140"/>
                        <a:pt x="514884" y="76451"/>
                        <a:pt x="521339" y="78871"/>
                      </a:cubicBezTo>
                      <a:lnTo>
                        <a:pt x="521339" y="78871"/>
                      </a:lnTo>
                      <a:cubicBezTo>
                        <a:pt x="535862" y="84520"/>
                        <a:pt x="540401" y="86940"/>
                        <a:pt x="544637" y="86738"/>
                      </a:cubicBezTo>
                      <a:lnTo>
                        <a:pt x="544637" y="86738"/>
                      </a:lnTo>
                      <a:cubicBezTo>
                        <a:pt x="549882" y="86839"/>
                        <a:pt x="558051" y="83108"/>
                        <a:pt x="586695" y="76249"/>
                      </a:cubicBezTo>
                      <a:lnTo>
                        <a:pt x="586695" y="76249"/>
                      </a:lnTo>
                      <a:cubicBezTo>
                        <a:pt x="622096" y="67777"/>
                        <a:pt x="660826" y="61625"/>
                        <a:pt x="685738" y="61625"/>
                      </a:cubicBezTo>
                      <a:lnTo>
                        <a:pt x="685738" y="61625"/>
                      </a:lnTo>
                      <a:cubicBezTo>
                        <a:pt x="697640" y="61726"/>
                        <a:pt x="706313" y="62633"/>
                        <a:pt x="710953" y="66970"/>
                      </a:cubicBezTo>
                      <a:lnTo>
                        <a:pt x="710953" y="66970"/>
                      </a:lnTo>
                      <a:cubicBezTo>
                        <a:pt x="720534" y="79779"/>
                        <a:pt x="708028" y="115584"/>
                        <a:pt x="730015" y="114273"/>
                      </a:cubicBezTo>
                      <a:lnTo>
                        <a:pt x="730015" y="114273"/>
                      </a:lnTo>
                      <a:cubicBezTo>
                        <a:pt x="733747" y="114273"/>
                        <a:pt x="738790" y="113365"/>
                        <a:pt x="745245" y="110944"/>
                      </a:cubicBezTo>
                      <a:lnTo>
                        <a:pt x="745245" y="110944"/>
                      </a:lnTo>
                      <a:cubicBezTo>
                        <a:pt x="792447" y="92689"/>
                        <a:pt x="789925" y="91479"/>
                        <a:pt x="790631" y="56481"/>
                      </a:cubicBezTo>
                      <a:lnTo>
                        <a:pt x="790631" y="56481"/>
                      </a:lnTo>
                      <a:cubicBezTo>
                        <a:pt x="790127" y="28342"/>
                        <a:pt x="800415" y="0"/>
                        <a:pt x="849432" y="0"/>
                      </a:cubicBezTo>
                      <a:lnTo>
                        <a:pt x="849432" y="0"/>
                      </a:lnTo>
                      <a:cubicBezTo>
                        <a:pt x="849331" y="4135"/>
                        <a:pt x="849331" y="7968"/>
                        <a:pt x="849331" y="11700"/>
                      </a:cubicBezTo>
                      <a:lnTo>
                        <a:pt x="849331" y="11700"/>
                      </a:lnTo>
                      <a:cubicBezTo>
                        <a:pt x="849331" y="19869"/>
                        <a:pt x="849533" y="26123"/>
                        <a:pt x="848524" y="27837"/>
                      </a:cubicBezTo>
                      <a:lnTo>
                        <a:pt x="848524" y="27837"/>
                      </a:lnTo>
                      <a:cubicBezTo>
                        <a:pt x="849936" y="27837"/>
                        <a:pt x="852457" y="27837"/>
                        <a:pt x="857198" y="27837"/>
                      </a:cubicBezTo>
                      <a:lnTo>
                        <a:pt x="857198" y="27837"/>
                      </a:lnTo>
                      <a:cubicBezTo>
                        <a:pt x="871318" y="29350"/>
                        <a:pt x="887254" y="66466"/>
                        <a:pt x="887052" y="67777"/>
                      </a:cubicBezTo>
                      <a:lnTo>
                        <a:pt x="887052" y="67777"/>
                      </a:lnTo>
                      <a:cubicBezTo>
                        <a:pt x="888363" y="67777"/>
                        <a:pt x="906316" y="70298"/>
                        <a:pt x="911863" y="90470"/>
                      </a:cubicBezTo>
                      <a:lnTo>
                        <a:pt x="911863" y="90470"/>
                      </a:lnTo>
                      <a:cubicBezTo>
                        <a:pt x="915897" y="107112"/>
                        <a:pt x="940507" y="111146"/>
                        <a:pt x="963200" y="114475"/>
                      </a:cubicBezTo>
                      <a:lnTo>
                        <a:pt x="963200" y="114475"/>
                      </a:lnTo>
                      <a:cubicBezTo>
                        <a:pt x="973690" y="115987"/>
                        <a:pt x="976917" y="125670"/>
                        <a:pt x="976715" y="136361"/>
                      </a:cubicBezTo>
                      <a:lnTo>
                        <a:pt x="976715" y="136361"/>
                      </a:lnTo>
                      <a:cubicBezTo>
                        <a:pt x="976615" y="151389"/>
                        <a:pt x="971975" y="171863"/>
                        <a:pt x="971975" y="191934"/>
                      </a:cubicBezTo>
                      <a:lnTo>
                        <a:pt x="971975" y="191934"/>
                      </a:lnTo>
                      <a:cubicBezTo>
                        <a:pt x="971975" y="195262"/>
                        <a:pt x="972076" y="198490"/>
                        <a:pt x="972479" y="201818"/>
                      </a:cubicBezTo>
                      <a:lnTo>
                        <a:pt x="972479" y="201818"/>
                      </a:lnTo>
                      <a:cubicBezTo>
                        <a:pt x="974194" y="230059"/>
                        <a:pt x="1021395" y="244582"/>
                        <a:pt x="1058411" y="244380"/>
                      </a:cubicBezTo>
                      <a:lnTo>
                        <a:pt x="1058411" y="244380"/>
                      </a:lnTo>
                      <a:cubicBezTo>
                        <a:pt x="1066278" y="244380"/>
                        <a:pt x="1073640" y="243775"/>
                        <a:pt x="1079793" y="242666"/>
                      </a:cubicBezTo>
                      <a:lnTo>
                        <a:pt x="1079793" y="242666"/>
                      </a:lnTo>
                      <a:cubicBezTo>
                        <a:pt x="1115093" y="236009"/>
                        <a:pt x="1106520" y="220174"/>
                        <a:pt x="1127801" y="211601"/>
                      </a:cubicBezTo>
                      <a:lnTo>
                        <a:pt x="1127801" y="211601"/>
                      </a:lnTo>
                      <a:cubicBezTo>
                        <a:pt x="1135467" y="208777"/>
                        <a:pt x="1136173" y="202121"/>
                        <a:pt x="1136274" y="192539"/>
                      </a:cubicBezTo>
                      <a:lnTo>
                        <a:pt x="1136274" y="192539"/>
                      </a:lnTo>
                      <a:cubicBezTo>
                        <a:pt x="1136274" y="190522"/>
                        <a:pt x="1136274" y="188404"/>
                        <a:pt x="1136274" y="186185"/>
                      </a:cubicBezTo>
                      <a:lnTo>
                        <a:pt x="1136274" y="186185"/>
                      </a:lnTo>
                      <a:cubicBezTo>
                        <a:pt x="1136374" y="178621"/>
                        <a:pt x="1136778" y="170350"/>
                        <a:pt x="1142224" y="164097"/>
                      </a:cubicBezTo>
                      <a:lnTo>
                        <a:pt x="1142224" y="164097"/>
                      </a:lnTo>
                      <a:cubicBezTo>
                        <a:pt x="1144443" y="161374"/>
                        <a:pt x="1147368" y="159962"/>
                        <a:pt x="1150394" y="159962"/>
                      </a:cubicBezTo>
                      <a:lnTo>
                        <a:pt x="1150394" y="159962"/>
                      </a:lnTo>
                      <a:cubicBezTo>
                        <a:pt x="1165926" y="160970"/>
                        <a:pt x="1181861" y="190118"/>
                        <a:pt x="1195982" y="197985"/>
                      </a:cubicBezTo>
                      <a:lnTo>
                        <a:pt x="1195982" y="197985"/>
                      </a:lnTo>
                      <a:cubicBezTo>
                        <a:pt x="1214741" y="209584"/>
                        <a:pt x="1228055" y="246095"/>
                        <a:pt x="1240460" y="275445"/>
                      </a:cubicBezTo>
                      <a:lnTo>
                        <a:pt x="1240460" y="275445"/>
                      </a:lnTo>
                      <a:cubicBezTo>
                        <a:pt x="1250849" y="302778"/>
                        <a:pt x="1276063" y="292994"/>
                        <a:pt x="1280501" y="328194"/>
                      </a:cubicBezTo>
                      <a:lnTo>
                        <a:pt x="1280501" y="328194"/>
                      </a:lnTo>
                      <a:cubicBezTo>
                        <a:pt x="1283527" y="359561"/>
                        <a:pt x="1301782" y="364301"/>
                        <a:pt x="1323366" y="397887"/>
                      </a:cubicBezTo>
                      <a:lnTo>
                        <a:pt x="1323366" y="397887"/>
                      </a:lnTo>
                      <a:cubicBezTo>
                        <a:pt x="1332746" y="412915"/>
                        <a:pt x="1336780" y="425119"/>
                        <a:pt x="1336780" y="436617"/>
                      </a:cubicBezTo>
                      <a:lnTo>
                        <a:pt x="1336780" y="436617"/>
                      </a:lnTo>
                      <a:cubicBezTo>
                        <a:pt x="1336780" y="450434"/>
                        <a:pt x="1330930" y="462538"/>
                        <a:pt x="1323366" y="476860"/>
                      </a:cubicBezTo>
                      <a:lnTo>
                        <a:pt x="1323366" y="476860"/>
                      </a:lnTo>
                      <a:cubicBezTo>
                        <a:pt x="1320946" y="481297"/>
                        <a:pt x="1319937" y="486037"/>
                        <a:pt x="1319937" y="490980"/>
                      </a:cubicBezTo>
                      <a:lnTo>
                        <a:pt x="1319937" y="490980"/>
                      </a:lnTo>
                      <a:cubicBezTo>
                        <a:pt x="1319735" y="511958"/>
                        <a:pt x="1341016" y="535761"/>
                        <a:pt x="1366836" y="543830"/>
                      </a:cubicBezTo>
                      <a:lnTo>
                        <a:pt x="1366836" y="543830"/>
                      </a:lnTo>
                      <a:cubicBezTo>
                        <a:pt x="1400725" y="554621"/>
                        <a:pt x="1410205" y="578424"/>
                        <a:pt x="1418476" y="591838"/>
                      </a:cubicBezTo>
                      <a:lnTo>
                        <a:pt x="1418476" y="591838"/>
                      </a:lnTo>
                      <a:cubicBezTo>
                        <a:pt x="1419989" y="594259"/>
                        <a:pt x="1421905" y="595066"/>
                        <a:pt x="1425334" y="595166"/>
                      </a:cubicBezTo>
                      <a:lnTo>
                        <a:pt x="1425334" y="595166"/>
                      </a:lnTo>
                      <a:cubicBezTo>
                        <a:pt x="1436025" y="595368"/>
                        <a:pt x="1455289" y="582761"/>
                        <a:pt x="1468603" y="578525"/>
                      </a:cubicBezTo>
                      <a:lnTo>
                        <a:pt x="1468603" y="578525"/>
                      </a:lnTo>
                      <a:cubicBezTo>
                        <a:pt x="1470014" y="577920"/>
                        <a:pt x="1471326" y="577819"/>
                        <a:pt x="1472637" y="577819"/>
                      </a:cubicBezTo>
                      <a:lnTo>
                        <a:pt x="1472637" y="577819"/>
                      </a:lnTo>
                      <a:cubicBezTo>
                        <a:pt x="1482420" y="578323"/>
                        <a:pt x="1484740" y="588712"/>
                        <a:pt x="1484740" y="599806"/>
                      </a:cubicBezTo>
                      <a:lnTo>
                        <a:pt x="1484740" y="599806"/>
                      </a:lnTo>
                      <a:cubicBezTo>
                        <a:pt x="1484740" y="611909"/>
                        <a:pt x="1481815" y="627038"/>
                        <a:pt x="1477377" y="639242"/>
                      </a:cubicBezTo>
                      <a:lnTo>
                        <a:pt x="1477377" y="639242"/>
                      </a:lnTo>
                      <a:cubicBezTo>
                        <a:pt x="1476570" y="641461"/>
                        <a:pt x="1476167" y="643377"/>
                        <a:pt x="1476167" y="645192"/>
                      </a:cubicBezTo>
                      <a:lnTo>
                        <a:pt x="1476167" y="645192"/>
                      </a:lnTo>
                      <a:cubicBezTo>
                        <a:pt x="1475259" y="660119"/>
                        <a:pt x="1503197" y="663851"/>
                        <a:pt x="1510257" y="676963"/>
                      </a:cubicBezTo>
                      <a:lnTo>
                        <a:pt x="1510257" y="676963"/>
                      </a:lnTo>
                      <a:cubicBezTo>
                        <a:pt x="1511064" y="678778"/>
                        <a:pt x="1511367" y="680896"/>
                        <a:pt x="1511367" y="683014"/>
                      </a:cubicBezTo>
                      <a:lnTo>
                        <a:pt x="1511367" y="683014"/>
                      </a:lnTo>
                      <a:cubicBezTo>
                        <a:pt x="1511165" y="693907"/>
                        <a:pt x="1502491" y="705102"/>
                        <a:pt x="1499062" y="709338"/>
                      </a:cubicBezTo>
                      <a:lnTo>
                        <a:pt x="1499062" y="709338"/>
                      </a:lnTo>
                      <a:cubicBezTo>
                        <a:pt x="1500070" y="710750"/>
                        <a:pt x="1501987" y="713171"/>
                        <a:pt x="1505618" y="716399"/>
                      </a:cubicBezTo>
                      <a:lnTo>
                        <a:pt x="1505618" y="716399"/>
                      </a:lnTo>
                      <a:lnTo>
                        <a:pt x="1505618" y="720635"/>
                      </a:lnTo>
                      <a:cubicBezTo>
                        <a:pt x="1491396" y="733242"/>
                        <a:pt x="1480302" y="742420"/>
                        <a:pt x="1473141" y="744034"/>
                      </a:cubicBezTo>
                      <a:lnTo>
                        <a:pt x="1473141" y="744034"/>
                      </a:lnTo>
                      <a:cubicBezTo>
                        <a:pt x="1448027" y="748472"/>
                        <a:pt x="1408087" y="745446"/>
                        <a:pt x="1405263" y="763600"/>
                      </a:cubicBezTo>
                      <a:lnTo>
                        <a:pt x="1405263" y="763600"/>
                      </a:lnTo>
                      <a:cubicBezTo>
                        <a:pt x="1399817" y="787100"/>
                        <a:pt x="1372383" y="804044"/>
                        <a:pt x="1347875" y="811508"/>
                      </a:cubicBezTo>
                      <a:lnTo>
                        <a:pt x="1347875" y="811508"/>
                      </a:lnTo>
                      <a:cubicBezTo>
                        <a:pt x="1323971" y="818367"/>
                        <a:pt x="1275559" y="836319"/>
                        <a:pt x="1269911" y="853364"/>
                      </a:cubicBezTo>
                      <a:lnTo>
                        <a:pt x="1269911" y="853364"/>
                      </a:lnTo>
                      <a:cubicBezTo>
                        <a:pt x="1265977" y="863349"/>
                        <a:pt x="1258010" y="913274"/>
                        <a:pt x="1258010" y="956644"/>
                      </a:cubicBezTo>
                      <a:lnTo>
                        <a:pt x="1258010" y="956644"/>
                      </a:lnTo>
                      <a:cubicBezTo>
                        <a:pt x="1257808" y="989725"/>
                        <a:pt x="1263456" y="1019075"/>
                        <a:pt x="1275660" y="1023714"/>
                      </a:cubicBezTo>
                      <a:lnTo>
                        <a:pt x="1275660" y="1023714"/>
                      </a:lnTo>
                      <a:cubicBezTo>
                        <a:pt x="1305918" y="1036524"/>
                        <a:pt x="1323971" y="1054174"/>
                        <a:pt x="1323971" y="1079490"/>
                      </a:cubicBezTo>
                      <a:lnTo>
                        <a:pt x="1323971" y="1079490"/>
                      </a:lnTo>
                      <a:cubicBezTo>
                        <a:pt x="1323971" y="1082717"/>
                        <a:pt x="1323770" y="1086045"/>
                        <a:pt x="1323164" y="1089474"/>
                      </a:cubicBezTo>
                      <a:lnTo>
                        <a:pt x="1323164" y="1089474"/>
                      </a:lnTo>
                      <a:cubicBezTo>
                        <a:pt x="1320845" y="1103897"/>
                        <a:pt x="1308742" y="1107226"/>
                        <a:pt x="1297950" y="1106923"/>
                      </a:cubicBezTo>
                      <a:lnTo>
                        <a:pt x="1297950" y="1106923"/>
                      </a:lnTo>
                      <a:cubicBezTo>
                        <a:pt x="1290991" y="1106923"/>
                        <a:pt x="1283729" y="1106015"/>
                        <a:pt x="1277980" y="1106015"/>
                      </a:cubicBezTo>
                      <a:lnTo>
                        <a:pt x="1277980" y="1106015"/>
                      </a:lnTo>
                      <a:cubicBezTo>
                        <a:pt x="1271928" y="1106015"/>
                        <a:pt x="1268499" y="1107125"/>
                        <a:pt x="1267289" y="1109646"/>
                      </a:cubicBezTo>
                      <a:lnTo>
                        <a:pt x="1267289" y="1109646"/>
                      </a:lnTo>
                      <a:cubicBezTo>
                        <a:pt x="1260834" y="1122153"/>
                        <a:pt x="1244293" y="1148779"/>
                        <a:pt x="1244394" y="1167035"/>
                      </a:cubicBezTo>
                      <a:lnTo>
                        <a:pt x="1244394" y="1167035"/>
                      </a:lnTo>
                      <a:cubicBezTo>
                        <a:pt x="1244394" y="1169959"/>
                        <a:pt x="1244797" y="1172481"/>
                        <a:pt x="1245705" y="1174902"/>
                      </a:cubicBezTo>
                      <a:lnTo>
                        <a:pt x="1245705" y="1174902"/>
                      </a:lnTo>
                      <a:cubicBezTo>
                        <a:pt x="1250143" y="1187307"/>
                        <a:pt x="1259422" y="1202133"/>
                        <a:pt x="1259523" y="1216254"/>
                      </a:cubicBezTo>
                      <a:lnTo>
                        <a:pt x="1259523" y="1216254"/>
                      </a:lnTo>
                      <a:cubicBezTo>
                        <a:pt x="1259624" y="1223516"/>
                        <a:pt x="1256800" y="1230676"/>
                        <a:pt x="1249538" y="1235921"/>
                      </a:cubicBezTo>
                      <a:lnTo>
                        <a:pt x="1249538" y="1235921"/>
                      </a:lnTo>
                      <a:cubicBezTo>
                        <a:pt x="1227450" y="1251252"/>
                        <a:pt x="1197797" y="1234509"/>
                        <a:pt x="1182669" y="1261741"/>
                      </a:cubicBezTo>
                      <a:lnTo>
                        <a:pt x="1182669" y="1261741"/>
                      </a:lnTo>
                      <a:cubicBezTo>
                        <a:pt x="1165422" y="1291393"/>
                        <a:pt x="1107226" y="1346865"/>
                        <a:pt x="1093308" y="1370366"/>
                      </a:cubicBezTo>
                      <a:lnTo>
                        <a:pt x="1093308" y="1370366"/>
                      </a:lnTo>
                      <a:cubicBezTo>
                        <a:pt x="1079389" y="1392353"/>
                        <a:pt x="1096434" y="1412625"/>
                        <a:pt x="1073842" y="1440765"/>
                      </a:cubicBezTo>
                      <a:lnTo>
                        <a:pt x="1073842" y="1440765"/>
                      </a:lnTo>
                      <a:cubicBezTo>
                        <a:pt x="1051451" y="1467997"/>
                        <a:pt x="1017462" y="1484840"/>
                        <a:pt x="978934" y="1508945"/>
                      </a:cubicBezTo>
                      <a:lnTo>
                        <a:pt x="978934" y="1508945"/>
                      </a:lnTo>
                      <a:cubicBezTo>
                        <a:pt x="942827" y="1531235"/>
                        <a:pt x="907022" y="1569057"/>
                        <a:pt x="907425" y="1599617"/>
                      </a:cubicBezTo>
                      <a:lnTo>
                        <a:pt x="907425" y="1599617"/>
                      </a:lnTo>
                      <a:cubicBezTo>
                        <a:pt x="907425" y="1601433"/>
                        <a:pt x="907526" y="1603248"/>
                        <a:pt x="907728" y="1605164"/>
                      </a:cubicBezTo>
                      <a:lnTo>
                        <a:pt x="907728" y="1605164"/>
                      </a:lnTo>
                      <a:cubicBezTo>
                        <a:pt x="909241" y="1615452"/>
                        <a:pt x="910552" y="1623016"/>
                        <a:pt x="910552" y="1629774"/>
                      </a:cubicBezTo>
                      <a:lnTo>
                        <a:pt x="910552" y="1629774"/>
                      </a:lnTo>
                      <a:cubicBezTo>
                        <a:pt x="910552" y="1644600"/>
                        <a:pt x="903391" y="1653072"/>
                        <a:pt x="880294" y="1672739"/>
                      </a:cubicBezTo>
                      <a:lnTo>
                        <a:pt x="880294" y="1672739"/>
                      </a:lnTo>
                      <a:cubicBezTo>
                        <a:pt x="846809" y="1701383"/>
                        <a:pt x="838942" y="1714495"/>
                        <a:pt x="815644" y="1714596"/>
                      </a:cubicBezTo>
                      <a:lnTo>
                        <a:pt x="815644" y="1714596"/>
                      </a:lnTo>
                      <a:cubicBezTo>
                        <a:pt x="795372" y="1714293"/>
                        <a:pt x="757045" y="1736280"/>
                        <a:pt x="753213" y="1758268"/>
                      </a:cubicBezTo>
                      <a:lnTo>
                        <a:pt x="753213" y="1758268"/>
                      </a:lnTo>
                      <a:cubicBezTo>
                        <a:pt x="748271" y="1782474"/>
                        <a:pt x="738588" y="1805973"/>
                        <a:pt x="716702" y="1806276"/>
                      </a:cubicBezTo>
                      <a:lnTo>
                        <a:pt x="716702" y="1806276"/>
                      </a:lnTo>
                      <a:cubicBezTo>
                        <a:pt x="702683" y="1806175"/>
                        <a:pt x="691689" y="1798510"/>
                        <a:pt x="683015" y="1798712"/>
                      </a:cubicBezTo>
                      <a:lnTo>
                        <a:pt x="683015" y="1798712"/>
                      </a:lnTo>
                      <a:cubicBezTo>
                        <a:pt x="678779" y="1798712"/>
                        <a:pt x="674947" y="1800023"/>
                        <a:pt x="670509" y="1805368"/>
                      </a:cubicBezTo>
                      <a:lnTo>
                        <a:pt x="670509" y="1805368"/>
                      </a:lnTo>
                      <a:cubicBezTo>
                        <a:pt x="663549" y="1813135"/>
                        <a:pt x="652758" y="1816261"/>
                        <a:pt x="642067" y="1816261"/>
                      </a:cubicBezTo>
                      <a:lnTo>
                        <a:pt x="642067" y="1816261"/>
                      </a:lnTo>
                      <a:cubicBezTo>
                        <a:pt x="627644" y="1816059"/>
                        <a:pt x="612717" y="1810915"/>
                        <a:pt x="606060" y="1802746"/>
                      </a:cubicBezTo>
                      <a:lnTo>
                        <a:pt x="606060" y="1802746"/>
                      </a:lnTo>
                      <a:close/>
                      <a:moveTo>
                        <a:pt x="610397" y="1799216"/>
                      </a:moveTo>
                      <a:cubicBezTo>
                        <a:pt x="614835" y="1805167"/>
                        <a:pt x="628955" y="1810613"/>
                        <a:pt x="642268" y="1810512"/>
                      </a:cubicBezTo>
                      <a:lnTo>
                        <a:pt x="642268" y="1810512"/>
                      </a:lnTo>
                      <a:cubicBezTo>
                        <a:pt x="652051" y="1810512"/>
                        <a:pt x="661230" y="1807588"/>
                        <a:pt x="666474" y="1801637"/>
                      </a:cubicBezTo>
                      <a:lnTo>
                        <a:pt x="666474" y="1801637"/>
                      </a:lnTo>
                      <a:cubicBezTo>
                        <a:pt x="671618" y="1795585"/>
                        <a:pt x="677468" y="1792963"/>
                        <a:pt x="683217" y="1793064"/>
                      </a:cubicBezTo>
                      <a:lnTo>
                        <a:pt x="683217" y="1793064"/>
                      </a:lnTo>
                      <a:cubicBezTo>
                        <a:pt x="694614" y="1793265"/>
                        <a:pt x="705103" y="1800830"/>
                        <a:pt x="716904" y="1800628"/>
                      </a:cubicBezTo>
                      <a:lnTo>
                        <a:pt x="716904" y="1800628"/>
                      </a:lnTo>
                      <a:cubicBezTo>
                        <a:pt x="733646" y="1801031"/>
                        <a:pt x="743228" y="1781163"/>
                        <a:pt x="747968" y="1757057"/>
                      </a:cubicBezTo>
                      <a:lnTo>
                        <a:pt x="747968" y="1757057"/>
                      </a:lnTo>
                      <a:cubicBezTo>
                        <a:pt x="753818" y="1730531"/>
                        <a:pt x="792749" y="1709351"/>
                        <a:pt x="815947" y="1708948"/>
                      </a:cubicBezTo>
                      <a:lnTo>
                        <a:pt x="815947" y="1708948"/>
                      </a:lnTo>
                      <a:cubicBezTo>
                        <a:pt x="836118" y="1709048"/>
                        <a:pt x="842674" y="1697954"/>
                        <a:pt x="876865" y="1668604"/>
                      </a:cubicBezTo>
                      <a:lnTo>
                        <a:pt x="876865" y="1668604"/>
                      </a:lnTo>
                      <a:cubicBezTo>
                        <a:pt x="900164" y="1648432"/>
                        <a:pt x="905206" y="1642079"/>
                        <a:pt x="905206" y="1629673"/>
                      </a:cubicBezTo>
                      <a:lnTo>
                        <a:pt x="905206" y="1629673"/>
                      </a:lnTo>
                      <a:cubicBezTo>
                        <a:pt x="905206" y="1623722"/>
                        <a:pt x="903895" y="1616158"/>
                        <a:pt x="902483" y="1605769"/>
                      </a:cubicBezTo>
                      <a:lnTo>
                        <a:pt x="902483" y="1605769"/>
                      </a:lnTo>
                      <a:cubicBezTo>
                        <a:pt x="902281" y="1603752"/>
                        <a:pt x="902080" y="1601634"/>
                        <a:pt x="902080" y="1599516"/>
                      </a:cubicBezTo>
                      <a:lnTo>
                        <a:pt x="902080" y="1599516"/>
                      </a:lnTo>
                      <a:cubicBezTo>
                        <a:pt x="902281" y="1564922"/>
                        <a:pt x="939398" y="1527100"/>
                        <a:pt x="976312" y="1504205"/>
                      </a:cubicBezTo>
                      <a:lnTo>
                        <a:pt x="976312" y="1504205"/>
                      </a:lnTo>
                      <a:cubicBezTo>
                        <a:pt x="1015042" y="1479999"/>
                        <a:pt x="1048627" y="1463055"/>
                        <a:pt x="1069707" y="1437235"/>
                      </a:cubicBezTo>
                      <a:lnTo>
                        <a:pt x="1069707" y="1437235"/>
                      </a:lnTo>
                      <a:cubicBezTo>
                        <a:pt x="1090585" y="1412323"/>
                        <a:pt x="1073741" y="1393865"/>
                        <a:pt x="1088870" y="1367441"/>
                      </a:cubicBezTo>
                      <a:lnTo>
                        <a:pt x="1088870" y="1367441"/>
                      </a:lnTo>
                      <a:cubicBezTo>
                        <a:pt x="1103696" y="1342730"/>
                        <a:pt x="1161589" y="1287258"/>
                        <a:pt x="1178130" y="1258816"/>
                      </a:cubicBezTo>
                      <a:lnTo>
                        <a:pt x="1178130" y="1258816"/>
                      </a:lnTo>
                      <a:cubicBezTo>
                        <a:pt x="1196688" y="1227953"/>
                        <a:pt x="1229971" y="1245099"/>
                        <a:pt x="1246411" y="1231584"/>
                      </a:cubicBezTo>
                      <a:lnTo>
                        <a:pt x="1246411" y="1231584"/>
                      </a:lnTo>
                      <a:cubicBezTo>
                        <a:pt x="1252362" y="1226945"/>
                        <a:pt x="1254177" y="1222204"/>
                        <a:pt x="1254177" y="1216254"/>
                      </a:cubicBezTo>
                      <a:lnTo>
                        <a:pt x="1254177" y="1216254"/>
                      </a:lnTo>
                      <a:cubicBezTo>
                        <a:pt x="1254278" y="1204655"/>
                        <a:pt x="1245604" y="1189829"/>
                        <a:pt x="1240662" y="1176818"/>
                      </a:cubicBezTo>
                      <a:lnTo>
                        <a:pt x="1240662" y="1176818"/>
                      </a:lnTo>
                      <a:cubicBezTo>
                        <a:pt x="1239553" y="1173691"/>
                        <a:pt x="1239048" y="1170363"/>
                        <a:pt x="1239048" y="1166934"/>
                      </a:cubicBezTo>
                      <a:lnTo>
                        <a:pt x="1239048" y="1166934"/>
                      </a:lnTo>
                      <a:cubicBezTo>
                        <a:pt x="1239149" y="1145955"/>
                        <a:pt x="1256396" y="1119228"/>
                        <a:pt x="1262548" y="1107024"/>
                      </a:cubicBezTo>
                      <a:lnTo>
                        <a:pt x="1262548" y="1107024"/>
                      </a:lnTo>
                      <a:cubicBezTo>
                        <a:pt x="1265574" y="1101275"/>
                        <a:pt x="1271827" y="1100266"/>
                        <a:pt x="1278081" y="1100266"/>
                      </a:cubicBezTo>
                      <a:lnTo>
                        <a:pt x="1278081" y="1100266"/>
                      </a:lnTo>
                      <a:cubicBezTo>
                        <a:pt x="1284233" y="1100266"/>
                        <a:pt x="1291495" y="1101275"/>
                        <a:pt x="1298051" y="1101275"/>
                      </a:cubicBezTo>
                      <a:lnTo>
                        <a:pt x="1298051" y="1101275"/>
                      </a:lnTo>
                      <a:cubicBezTo>
                        <a:pt x="1308641" y="1100972"/>
                        <a:pt x="1315701" y="1099358"/>
                        <a:pt x="1317718" y="1088466"/>
                      </a:cubicBezTo>
                      <a:lnTo>
                        <a:pt x="1317718" y="1088466"/>
                      </a:lnTo>
                      <a:cubicBezTo>
                        <a:pt x="1318323" y="1085339"/>
                        <a:pt x="1318424" y="1082414"/>
                        <a:pt x="1318424" y="1079389"/>
                      </a:cubicBezTo>
                      <a:lnTo>
                        <a:pt x="1318424" y="1079389"/>
                      </a:lnTo>
                      <a:cubicBezTo>
                        <a:pt x="1318424" y="1057099"/>
                        <a:pt x="1303094" y="1041466"/>
                        <a:pt x="1273542" y="1028657"/>
                      </a:cubicBezTo>
                      <a:lnTo>
                        <a:pt x="1273542" y="1028657"/>
                      </a:lnTo>
                      <a:cubicBezTo>
                        <a:pt x="1256396" y="1020487"/>
                        <a:pt x="1252765" y="990129"/>
                        <a:pt x="1252563" y="956543"/>
                      </a:cubicBezTo>
                      <a:lnTo>
                        <a:pt x="1252563" y="956543"/>
                      </a:lnTo>
                      <a:cubicBezTo>
                        <a:pt x="1252563" y="912266"/>
                        <a:pt x="1260329" y="863047"/>
                        <a:pt x="1264868" y="851347"/>
                      </a:cubicBezTo>
                      <a:lnTo>
                        <a:pt x="1264868" y="851347"/>
                      </a:lnTo>
                      <a:cubicBezTo>
                        <a:pt x="1273744" y="829562"/>
                        <a:pt x="1321954" y="813727"/>
                        <a:pt x="1346362" y="806163"/>
                      </a:cubicBezTo>
                      <a:lnTo>
                        <a:pt x="1346362" y="806163"/>
                      </a:lnTo>
                      <a:cubicBezTo>
                        <a:pt x="1369963" y="799203"/>
                        <a:pt x="1395783" y="782259"/>
                        <a:pt x="1400019" y="762289"/>
                      </a:cubicBezTo>
                      <a:lnTo>
                        <a:pt x="1400019" y="762289"/>
                      </a:lnTo>
                      <a:cubicBezTo>
                        <a:pt x="1406877" y="737075"/>
                        <a:pt x="1449036" y="743731"/>
                        <a:pt x="1472233" y="738486"/>
                      </a:cubicBezTo>
                      <a:lnTo>
                        <a:pt x="1472233" y="738486"/>
                      </a:lnTo>
                      <a:cubicBezTo>
                        <a:pt x="1475965" y="737982"/>
                        <a:pt x="1487060" y="729813"/>
                        <a:pt x="1499869" y="718517"/>
                      </a:cubicBezTo>
                      <a:lnTo>
                        <a:pt x="1499869" y="718517"/>
                      </a:lnTo>
                      <a:cubicBezTo>
                        <a:pt x="1495028" y="713877"/>
                        <a:pt x="1493313" y="710650"/>
                        <a:pt x="1493212" y="710347"/>
                      </a:cubicBezTo>
                      <a:lnTo>
                        <a:pt x="1493212" y="710347"/>
                      </a:lnTo>
                      <a:lnTo>
                        <a:pt x="1495734" y="709137"/>
                      </a:lnTo>
                      <a:lnTo>
                        <a:pt x="1493716" y="707321"/>
                      </a:lnTo>
                      <a:cubicBezTo>
                        <a:pt x="1493716" y="707221"/>
                        <a:pt x="1506324" y="692898"/>
                        <a:pt x="1506122" y="683014"/>
                      </a:cubicBezTo>
                      <a:lnTo>
                        <a:pt x="1506122" y="683014"/>
                      </a:lnTo>
                      <a:cubicBezTo>
                        <a:pt x="1506122" y="681501"/>
                        <a:pt x="1505819" y="680190"/>
                        <a:pt x="1505315" y="679081"/>
                      </a:cubicBezTo>
                      <a:lnTo>
                        <a:pt x="1505315" y="679081"/>
                      </a:lnTo>
                      <a:cubicBezTo>
                        <a:pt x="1503096" y="670306"/>
                        <a:pt x="1471729" y="666272"/>
                        <a:pt x="1470822" y="645192"/>
                      </a:cubicBezTo>
                      <a:lnTo>
                        <a:pt x="1470822" y="645192"/>
                      </a:lnTo>
                      <a:cubicBezTo>
                        <a:pt x="1470822" y="642671"/>
                        <a:pt x="1471326" y="640049"/>
                        <a:pt x="1472435" y="637325"/>
                      </a:cubicBezTo>
                      <a:lnTo>
                        <a:pt x="1472435" y="637325"/>
                      </a:lnTo>
                      <a:cubicBezTo>
                        <a:pt x="1476470" y="625828"/>
                        <a:pt x="1479394" y="611102"/>
                        <a:pt x="1479294" y="599907"/>
                      </a:cubicBezTo>
                      <a:lnTo>
                        <a:pt x="1479294" y="599907"/>
                      </a:lnTo>
                      <a:cubicBezTo>
                        <a:pt x="1479294" y="588812"/>
                        <a:pt x="1476369" y="583366"/>
                        <a:pt x="1472738" y="583366"/>
                      </a:cubicBezTo>
                      <a:lnTo>
                        <a:pt x="1472738" y="583366"/>
                      </a:lnTo>
                      <a:cubicBezTo>
                        <a:pt x="1472132" y="583366"/>
                        <a:pt x="1471427" y="583467"/>
                        <a:pt x="1470519" y="583870"/>
                      </a:cubicBezTo>
                      <a:lnTo>
                        <a:pt x="1470519" y="583870"/>
                      </a:lnTo>
                      <a:cubicBezTo>
                        <a:pt x="1458012" y="587501"/>
                        <a:pt x="1439152" y="600613"/>
                        <a:pt x="1425334" y="600815"/>
                      </a:cubicBezTo>
                      <a:lnTo>
                        <a:pt x="1425334" y="600815"/>
                      </a:lnTo>
                      <a:cubicBezTo>
                        <a:pt x="1420795" y="600815"/>
                        <a:pt x="1416257" y="598999"/>
                        <a:pt x="1413736" y="594864"/>
                      </a:cubicBezTo>
                      <a:lnTo>
                        <a:pt x="1413736" y="594864"/>
                      </a:lnTo>
                      <a:cubicBezTo>
                        <a:pt x="1404759" y="580542"/>
                        <a:pt x="1396791" y="559462"/>
                        <a:pt x="1365021" y="549276"/>
                      </a:cubicBezTo>
                      <a:lnTo>
                        <a:pt x="1365021" y="549276"/>
                      </a:lnTo>
                      <a:cubicBezTo>
                        <a:pt x="1337386" y="540400"/>
                        <a:pt x="1314491" y="515589"/>
                        <a:pt x="1314289" y="491080"/>
                      </a:cubicBezTo>
                      <a:lnTo>
                        <a:pt x="1314289" y="491080"/>
                      </a:lnTo>
                      <a:cubicBezTo>
                        <a:pt x="1314289" y="485332"/>
                        <a:pt x="1315499" y="479583"/>
                        <a:pt x="1318525" y="474338"/>
                      </a:cubicBezTo>
                      <a:lnTo>
                        <a:pt x="1318525" y="474338"/>
                      </a:lnTo>
                      <a:cubicBezTo>
                        <a:pt x="1325988" y="460117"/>
                        <a:pt x="1331233" y="449023"/>
                        <a:pt x="1331233" y="436718"/>
                      </a:cubicBezTo>
                      <a:lnTo>
                        <a:pt x="1331233" y="436718"/>
                      </a:lnTo>
                      <a:cubicBezTo>
                        <a:pt x="1331233" y="426632"/>
                        <a:pt x="1327703" y="415537"/>
                        <a:pt x="1318525" y="400913"/>
                      </a:cubicBezTo>
                      <a:lnTo>
                        <a:pt x="1318525" y="400913"/>
                      </a:lnTo>
                      <a:cubicBezTo>
                        <a:pt x="1298454" y="368840"/>
                        <a:pt x="1278585" y="363192"/>
                        <a:pt x="1274853" y="328799"/>
                      </a:cubicBezTo>
                      <a:lnTo>
                        <a:pt x="1274853" y="328799"/>
                      </a:lnTo>
                      <a:cubicBezTo>
                        <a:pt x="1272332" y="298239"/>
                        <a:pt x="1249033" y="308930"/>
                        <a:pt x="1235317" y="277664"/>
                      </a:cubicBezTo>
                      <a:lnTo>
                        <a:pt x="1235317" y="277664"/>
                      </a:lnTo>
                      <a:cubicBezTo>
                        <a:pt x="1223315" y="248213"/>
                        <a:pt x="1208992" y="211904"/>
                        <a:pt x="1193158" y="202827"/>
                      </a:cubicBezTo>
                      <a:lnTo>
                        <a:pt x="1193158" y="202827"/>
                      </a:lnTo>
                      <a:cubicBezTo>
                        <a:pt x="1177928" y="193043"/>
                        <a:pt x="1159471" y="164702"/>
                        <a:pt x="1150394" y="165610"/>
                      </a:cubicBezTo>
                      <a:lnTo>
                        <a:pt x="1150394" y="165610"/>
                      </a:lnTo>
                      <a:cubicBezTo>
                        <a:pt x="1148881" y="165711"/>
                        <a:pt x="1147872" y="166114"/>
                        <a:pt x="1146460" y="167627"/>
                      </a:cubicBezTo>
                      <a:lnTo>
                        <a:pt x="1146460" y="167627"/>
                      </a:lnTo>
                      <a:cubicBezTo>
                        <a:pt x="1142527" y="172166"/>
                        <a:pt x="1141922" y="178721"/>
                        <a:pt x="1141922" y="186185"/>
                      </a:cubicBezTo>
                      <a:lnTo>
                        <a:pt x="1141922" y="186185"/>
                      </a:lnTo>
                      <a:cubicBezTo>
                        <a:pt x="1141922" y="188202"/>
                        <a:pt x="1141922" y="190421"/>
                        <a:pt x="1141922" y="192539"/>
                      </a:cubicBezTo>
                      <a:lnTo>
                        <a:pt x="1141922" y="192539"/>
                      </a:lnTo>
                      <a:cubicBezTo>
                        <a:pt x="1142023" y="201919"/>
                        <a:pt x="1141014" y="212711"/>
                        <a:pt x="1129818" y="216947"/>
                      </a:cubicBezTo>
                      <a:lnTo>
                        <a:pt x="1129818" y="216947"/>
                      </a:lnTo>
                      <a:cubicBezTo>
                        <a:pt x="1113076" y="222192"/>
                        <a:pt x="1118522" y="240850"/>
                        <a:pt x="1081003" y="248112"/>
                      </a:cubicBezTo>
                      <a:lnTo>
                        <a:pt x="1081003" y="248112"/>
                      </a:lnTo>
                      <a:cubicBezTo>
                        <a:pt x="1074246" y="249423"/>
                        <a:pt x="1066681" y="250028"/>
                        <a:pt x="1058411" y="250028"/>
                      </a:cubicBezTo>
                      <a:lnTo>
                        <a:pt x="1058411" y="250028"/>
                      </a:lnTo>
                      <a:cubicBezTo>
                        <a:pt x="1020690" y="249827"/>
                        <a:pt x="970664" y="236715"/>
                        <a:pt x="966932" y="202423"/>
                      </a:cubicBezTo>
                      <a:lnTo>
                        <a:pt x="966932" y="202423"/>
                      </a:lnTo>
                      <a:cubicBezTo>
                        <a:pt x="966629" y="198893"/>
                        <a:pt x="966327" y="195464"/>
                        <a:pt x="966327" y="192035"/>
                      </a:cubicBezTo>
                      <a:lnTo>
                        <a:pt x="966327" y="192035"/>
                      </a:lnTo>
                      <a:cubicBezTo>
                        <a:pt x="966428" y="171157"/>
                        <a:pt x="970966" y="150280"/>
                        <a:pt x="970966" y="136462"/>
                      </a:cubicBezTo>
                      <a:lnTo>
                        <a:pt x="970966" y="136462"/>
                      </a:lnTo>
                      <a:cubicBezTo>
                        <a:pt x="970765" y="125973"/>
                        <a:pt x="968748" y="121131"/>
                        <a:pt x="962292" y="120022"/>
                      </a:cubicBezTo>
                      <a:lnTo>
                        <a:pt x="962292" y="120022"/>
                      </a:lnTo>
                      <a:cubicBezTo>
                        <a:pt x="940103" y="116492"/>
                        <a:pt x="912670" y="113567"/>
                        <a:pt x="906417" y="92084"/>
                      </a:cubicBezTo>
                      <a:lnTo>
                        <a:pt x="906417" y="92084"/>
                      </a:lnTo>
                      <a:cubicBezTo>
                        <a:pt x="901676" y="74837"/>
                        <a:pt x="886346" y="73425"/>
                        <a:pt x="884026" y="71812"/>
                      </a:cubicBezTo>
                      <a:lnTo>
                        <a:pt x="884026" y="71812"/>
                      </a:lnTo>
                      <a:cubicBezTo>
                        <a:pt x="883925" y="71812"/>
                        <a:pt x="863249" y="31972"/>
                        <a:pt x="857097" y="33586"/>
                      </a:cubicBezTo>
                      <a:lnTo>
                        <a:pt x="857097" y="33586"/>
                      </a:lnTo>
                      <a:cubicBezTo>
                        <a:pt x="846809" y="33586"/>
                        <a:pt x="846809" y="33586"/>
                        <a:pt x="843885" y="30964"/>
                      </a:cubicBezTo>
                      <a:lnTo>
                        <a:pt x="843885" y="30964"/>
                      </a:lnTo>
                      <a:cubicBezTo>
                        <a:pt x="843885" y="30964"/>
                        <a:pt x="843683" y="23399"/>
                        <a:pt x="843683" y="11902"/>
                      </a:cubicBezTo>
                      <a:lnTo>
                        <a:pt x="843683" y="11902"/>
                      </a:lnTo>
                      <a:cubicBezTo>
                        <a:pt x="843683" y="8371"/>
                        <a:pt x="843683" y="4337"/>
                        <a:pt x="846709" y="3026"/>
                      </a:cubicBezTo>
                      <a:lnTo>
                        <a:pt x="846709" y="3026"/>
                      </a:lnTo>
                      <a:cubicBezTo>
                        <a:pt x="803239" y="6455"/>
                        <a:pt x="796380" y="29451"/>
                        <a:pt x="795977" y="56783"/>
                      </a:cubicBezTo>
                      <a:lnTo>
                        <a:pt x="795977" y="56783"/>
                      </a:lnTo>
                      <a:cubicBezTo>
                        <a:pt x="796784" y="91378"/>
                        <a:pt x="794262" y="99850"/>
                        <a:pt x="747060" y="116492"/>
                      </a:cubicBezTo>
                      <a:lnTo>
                        <a:pt x="747060" y="116492"/>
                      </a:lnTo>
                      <a:cubicBezTo>
                        <a:pt x="740202" y="119013"/>
                        <a:pt x="734554" y="120123"/>
                        <a:pt x="729914" y="120123"/>
                      </a:cubicBezTo>
                      <a:lnTo>
                        <a:pt x="729914" y="120123"/>
                      </a:lnTo>
                      <a:cubicBezTo>
                        <a:pt x="699959" y="118912"/>
                        <a:pt x="714180" y="75341"/>
                        <a:pt x="707019" y="71206"/>
                      </a:cubicBezTo>
                      <a:lnTo>
                        <a:pt x="707019" y="71206"/>
                      </a:lnTo>
                      <a:cubicBezTo>
                        <a:pt x="705305" y="69189"/>
                        <a:pt x="697035" y="67172"/>
                        <a:pt x="685738" y="67273"/>
                      </a:cubicBezTo>
                      <a:lnTo>
                        <a:pt x="685738" y="67273"/>
                      </a:lnTo>
                      <a:cubicBezTo>
                        <a:pt x="661633" y="67273"/>
                        <a:pt x="623105" y="73324"/>
                        <a:pt x="588006" y="81796"/>
                      </a:cubicBezTo>
                      <a:lnTo>
                        <a:pt x="588006" y="81796"/>
                      </a:lnTo>
                      <a:cubicBezTo>
                        <a:pt x="559463" y="88554"/>
                        <a:pt x="552302" y="92386"/>
                        <a:pt x="544738" y="92487"/>
                      </a:cubicBezTo>
                      <a:lnTo>
                        <a:pt x="544738" y="92487"/>
                      </a:lnTo>
                      <a:cubicBezTo>
                        <a:pt x="538283" y="92386"/>
                        <a:pt x="533845" y="89562"/>
                        <a:pt x="519523" y="84116"/>
                      </a:cubicBezTo>
                      <a:lnTo>
                        <a:pt x="519523" y="84116"/>
                      </a:lnTo>
                      <a:cubicBezTo>
                        <a:pt x="513472" y="81796"/>
                        <a:pt x="508328" y="80788"/>
                        <a:pt x="504294" y="80788"/>
                      </a:cubicBezTo>
                      <a:lnTo>
                        <a:pt x="504294" y="80788"/>
                      </a:lnTo>
                      <a:cubicBezTo>
                        <a:pt x="490577" y="80788"/>
                        <a:pt x="485837" y="91882"/>
                        <a:pt x="485635" y="109432"/>
                      </a:cubicBezTo>
                      <a:lnTo>
                        <a:pt x="485635" y="109432"/>
                      </a:lnTo>
                      <a:cubicBezTo>
                        <a:pt x="485635" y="112357"/>
                        <a:pt x="485736" y="115282"/>
                        <a:pt x="486139" y="118610"/>
                      </a:cubicBezTo>
                      <a:lnTo>
                        <a:pt x="486139" y="118610"/>
                      </a:lnTo>
                      <a:cubicBezTo>
                        <a:pt x="486240" y="119417"/>
                        <a:pt x="486240" y="120224"/>
                        <a:pt x="486240" y="121131"/>
                      </a:cubicBezTo>
                      <a:lnTo>
                        <a:pt x="486240" y="121131"/>
                      </a:lnTo>
                      <a:cubicBezTo>
                        <a:pt x="485231" y="150380"/>
                        <a:pt x="443879" y="161071"/>
                        <a:pt x="371766" y="163795"/>
                      </a:cubicBezTo>
                      <a:lnTo>
                        <a:pt x="371766" y="163795"/>
                      </a:lnTo>
                      <a:cubicBezTo>
                        <a:pt x="368538" y="163795"/>
                        <a:pt x="365311" y="163895"/>
                        <a:pt x="362487" y="163895"/>
                      </a:cubicBezTo>
                      <a:lnTo>
                        <a:pt x="362487" y="163895"/>
                      </a:lnTo>
                      <a:cubicBezTo>
                        <a:pt x="297130" y="164097"/>
                        <a:pt x="302577" y="136260"/>
                        <a:pt x="278572" y="123653"/>
                      </a:cubicBezTo>
                      <a:lnTo>
                        <a:pt x="278572" y="123653"/>
                      </a:lnTo>
                      <a:cubicBezTo>
                        <a:pt x="273428" y="120930"/>
                        <a:pt x="269092" y="119719"/>
                        <a:pt x="265763" y="119719"/>
                      </a:cubicBezTo>
                      <a:lnTo>
                        <a:pt x="265763" y="119719"/>
                      </a:lnTo>
                      <a:cubicBezTo>
                        <a:pt x="258098" y="119820"/>
                        <a:pt x="254265" y="124863"/>
                        <a:pt x="254064" y="133335"/>
                      </a:cubicBezTo>
                      <a:lnTo>
                        <a:pt x="254064" y="133335"/>
                      </a:lnTo>
                      <a:cubicBezTo>
                        <a:pt x="254064" y="139387"/>
                        <a:pt x="256585" y="146951"/>
                        <a:pt x="262233" y="154213"/>
                      </a:cubicBezTo>
                      <a:lnTo>
                        <a:pt x="262233" y="154213"/>
                      </a:lnTo>
                      <a:cubicBezTo>
                        <a:pt x="279783" y="176805"/>
                        <a:pt x="309838" y="221486"/>
                        <a:pt x="314881" y="259711"/>
                      </a:cubicBezTo>
                      <a:lnTo>
                        <a:pt x="314881" y="259711"/>
                      </a:lnTo>
                      <a:cubicBezTo>
                        <a:pt x="319218" y="294709"/>
                        <a:pt x="351796" y="289061"/>
                        <a:pt x="368942" y="310443"/>
                      </a:cubicBezTo>
                      <a:lnTo>
                        <a:pt x="368942" y="310443"/>
                      </a:lnTo>
                      <a:cubicBezTo>
                        <a:pt x="373884" y="317099"/>
                        <a:pt x="375598" y="323655"/>
                        <a:pt x="375598" y="329808"/>
                      </a:cubicBezTo>
                      <a:lnTo>
                        <a:pt x="375598" y="329808"/>
                      </a:lnTo>
                      <a:cubicBezTo>
                        <a:pt x="375497" y="340600"/>
                        <a:pt x="370858" y="349979"/>
                        <a:pt x="370959" y="360670"/>
                      </a:cubicBezTo>
                      <a:lnTo>
                        <a:pt x="370959" y="360670"/>
                      </a:lnTo>
                      <a:cubicBezTo>
                        <a:pt x="370959" y="363192"/>
                        <a:pt x="371060" y="365814"/>
                        <a:pt x="371866" y="368739"/>
                      </a:cubicBezTo>
                      <a:lnTo>
                        <a:pt x="371866" y="368739"/>
                      </a:lnTo>
                      <a:cubicBezTo>
                        <a:pt x="376405" y="390323"/>
                        <a:pt x="408882" y="452452"/>
                        <a:pt x="414025" y="497939"/>
                      </a:cubicBezTo>
                      <a:lnTo>
                        <a:pt x="414025" y="497939"/>
                      </a:lnTo>
                      <a:cubicBezTo>
                        <a:pt x="415942" y="515387"/>
                        <a:pt x="417051" y="529306"/>
                        <a:pt x="417051" y="541712"/>
                      </a:cubicBezTo>
                      <a:lnTo>
                        <a:pt x="417051" y="541712"/>
                      </a:lnTo>
                      <a:cubicBezTo>
                        <a:pt x="417051" y="561177"/>
                        <a:pt x="414126" y="576508"/>
                        <a:pt x="406259" y="593755"/>
                      </a:cubicBezTo>
                      <a:lnTo>
                        <a:pt x="406259" y="593755"/>
                      </a:lnTo>
                      <a:cubicBezTo>
                        <a:pt x="402628" y="601823"/>
                        <a:pt x="400611" y="612111"/>
                        <a:pt x="400611" y="622398"/>
                      </a:cubicBezTo>
                      <a:lnTo>
                        <a:pt x="400611" y="622398"/>
                      </a:lnTo>
                      <a:cubicBezTo>
                        <a:pt x="400712" y="645495"/>
                        <a:pt x="409991" y="666675"/>
                        <a:pt x="426027" y="666675"/>
                      </a:cubicBezTo>
                      <a:lnTo>
                        <a:pt x="426027" y="666675"/>
                      </a:lnTo>
                      <a:cubicBezTo>
                        <a:pt x="438433" y="666675"/>
                        <a:pt x="448418" y="673332"/>
                        <a:pt x="448418" y="683922"/>
                      </a:cubicBezTo>
                      <a:lnTo>
                        <a:pt x="448418" y="683922"/>
                      </a:lnTo>
                      <a:cubicBezTo>
                        <a:pt x="448015" y="697941"/>
                        <a:pt x="432382" y="714482"/>
                        <a:pt x="392240" y="729107"/>
                      </a:cubicBezTo>
                      <a:lnTo>
                        <a:pt x="392240" y="729107"/>
                      </a:lnTo>
                      <a:cubicBezTo>
                        <a:pt x="359057" y="741008"/>
                        <a:pt x="330716" y="743933"/>
                        <a:pt x="306510" y="743933"/>
                      </a:cubicBezTo>
                      <a:lnTo>
                        <a:pt x="306510" y="743933"/>
                      </a:lnTo>
                      <a:cubicBezTo>
                        <a:pt x="283817" y="743933"/>
                        <a:pt x="264654" y="741411"/>
                        <a:pt x="248617" y="741411"/>
                      </a:cubicBezTo>
                      <a:lnTo>
                        <a:pt x="248617" y="741411"/>
                      </a:lnTo>
                      <a:cubicBezTo>
                        <a:pt x="245793" y="741411"/>
                        <a:pt x="242868" y="741512"/>
                        <a:pt x="240145" y="741815"/>
                      </a:cubicBezTo>
                      <a:lnTo>
                        <a:pt x="240145" y="741815"/>
                      </a:lnTo>
                      <a:cubicBezTo>
                        <a:pt x="238632" y="741916"/>
                        <a:pt x="237321" y="741916"/>
                        <a:pt x="235909" y="741916"/>
                      </a:cubicBezTo>
                      <a:lnTo>
                        <a:pt x="235909" y="741916"/>
                      </a:lnTo>
                      <a:cubicBezTo>
                        <a:pt x="201920" y="741613"/>
                        <a:pt x="179731" y="713675"/>
                        <a:pt x="157744" y="711961"/>
                      </a:cubicBezTo>
                      <a:lnTo>
                        <a:pt x="157744" y="711961"/>
                      </a:lnTo>
                      <a:cubicBezTo>
                        <a:pt x="156735" y="711860"/>
                        <a:pt x="155827" y="711759"/>
                        <a:pt x="155021" y="711759"/>
                      </a:cubicBezTo>
                      <a:lnTo>
                        <a:pt x="155021" y="711759"/>
                      </a:lnTo>
                      <a:cubicBezTo>
                        <a:pt x="143119" y="711759"/>
                        <a:pt x="133134" y="719928"/>
                        <a:pt x="127184" y="726384"/>
                      </a:cubicBezTo>
                      <a:lnTo>
                        <a:pt x="127184" y="726384"/>
                      </a:lnTo>
                      <a:cubicBezTo>
                        <a:pt x="123553" y="739899"/>
                        <a:pt x="119014" y="753515"/>
                        <a:pt x="113265" y="764206"/>
                      </a:cubicBezTo>
                      <a:lnTo>
                        <a:pt x="113265" y="764206"/>
                      </a:lnTo>
                      <a:cubicBezTo>
                        <a:pt x="95615" y="796581"/>
                        <a:pt x="68786" y="801826"/>
                        <a:pt x="57793" y="824620"/>
                      </a:cubicBezTo>
                      <a:lnTo>
                        <a:pt x="57793" y="824620"/>
                      </a:lnTo>
                      <a:cubicBezTo>
                        <a:pt x="54969" y="830369"/>
                        <a:pt x="53557" y="836723"/>
                        <a:pt x="53557" y="843279"/>
                      </a:cubicBezTo>
                      <a:lnTo>
                        <a:pt x="53557" y="843279"/>
                      </a:lnTo>
                      <a:cubicBezTo>
                        <a:pt x="53557" y="862139"/>
                        <a:pt x="64550" y="882109"/>
                        <a:pt x="76048" y="888564"/>
                      </a:cubicBezTo>
                      <a:lnTo>
                        <a:pt x="76048" y="888564"/>
                      </a:lnTo>
                      <a:cubicBezTo>
                        <a:pt x="93194" y="898347"/>
                        <a:pt x="108323" y="910955"/>
                        <a:pt x="125368" y="940305"/>
                      </a:cubicBezTo>
                      <a:lnTo>
                        <a:pt x="125368" y="940305"/>
                      </a:lnTo>
                      <a:cubicBezTo>
                        <a:pt x="134042" y="955232"/>
                        <a:pt x="138984" y="973184"/>
                        <a:pt x="138984" y="993961"/>
                      </a:cubicBezTo>
                      <a:lnTo>
                        <a:pt x="138984" y="993961"/>
                      </a:lnTo>
                      <a:cubicBezTo>
                        <a:pt x="138984" y="1014537"/>
                        <a:pt x="134042" y="1037835"/>
                        <a:pt x="123149" y="1063554"/>
                      </a:cubicBezTo>
                      <a:lnTo>
                        <a:pt x="123149" y="1063554"/>
                      </a:lnTo>
                      <a:cubicBezTo>
                        <a:pt x="101666" y="1113579"/>
                        <a:pt x="103078" y="1132440"/>
                        <a:pt x="39941" y="1171069"/>
                      </a:cubicBezTo>
                      <a:lnTo>
                        <a:pt x="39941" y="1171069"/>
                      </a:lnTo>
                      <a:cubicBezTo>
                        <a:pt x="12810" y="1187912"/>
                        <a:pt x="5548" y="1205663"/>
                        <a:pt x="5447" y="1222103"/>
                      </a:cubicBezTo>
                      <a:lnTo>
                        <a:pt x="5447" y="1222103"/>
                      </a:lnTo>
                      <a:cubicBezTo>
                        <a:pt x="5447" y="1242981"/>
                        <a:pt x="17752" y="1261438"/>
                        <a:pt x="19467" y="1272230"/>
                      </a:cubicBezTo>
                      <a:lnTo>
                        <a:pt x="19467" y="1272230"/>
                      </a:lnTo>
                      <a:cubicBezTo>
                        <a:pt x="19265" y="1284938"/>
                        <a:pt x="74535" y="1289174"/>
                        <a:pt x="77259" y="1290788"/>
                      </a:cubicBezTo>
                      <a:lnTo>
                        <a:pt x="77259" y="1290788"/>
                      </a:lnTo>
                      <a:lnTo>
                        <a:pt x="85630" y="1311161"/>
                      </a:lnTo>
                      <a:cubicBezTo>
                        <a:pt x="85630" y="1311061"/>
                        <a:pt x="99851" y="1318323"/>
                        <a:pt x="118812" y="1322962"/>
                      </a:cubicBezTo>
                      <a:lnTo>
                        <a:pt x="118812" y="1322962"/>
                      </a:lnTo>
                      <a:cubicBezTo>
                        <a:pt x="139993" y="1328610"/>
                        <a:pt x="158954" y="1357960"/>
                        <a:pt x="180840" y="1391748"/>
                      </a:cubicBezTo>
                      <a:lnTo>
                        <a:pt x="180840" y="1391748"/>
                      </a:lnTo>
                      <a:cubicBezTo>
                        <a:pt x="201214" y="1424123"/>
                        <a:pt x="246297" y="1421703"/>
                        <a:pt x="272218" y="1444194"/>
                      </a:cubicBezTo>
                      <a:lnTo>
                        <a:pt x="272218" y="1444194"/>
                      </a:lnTo>
                      <a:cubicBezTo>
                        <a:pt x="297735" y="1467997"/>
                        <a:pt x="323152" y="1605467"/>
                        <a:pt x="322647" y="1605769"/>
                      </a:cubicBezTo>
                      <a:lnTo>
                        <a:pt x="322647" y="1605769"/>
                      </a:lnTo>
                      <a:cubicBezTo>
                        <a:pt x="322950" y="1605870"/>
                        <a:pt x="339693" y="1617772"/>
                        <a:pt x="351089" y="1617570"/>
                      </a:cubicBezTo>
                      <a:lnTo>
                        <a:pt x="351089" y="1617570"/>
                      </a:lnTo>
                      <a:cubicBezTo>
                        <a:pt x="353813" y="1617570"/>
                        <a:pt x="356132" y="1616965"/>
                        <a:pt x="357948" y="1615653"/>
                      </a:cubicBezTo>
                      <a:lnTo>
                        <a:pt x="357948" y="1615653"/>
                      </a:lnTo>
                      <a:cubicBezTo>
                        <a:pt x="366218" y="1608997"/>
                        <a:pt x="381650" y="1602844"/>
                        <a:pt x="394055" y="1602743"/>
                      </a:cubicBezTo>
                      <a:lnTo>
                        <a:pt x="394055" y="1602743"/>
                      </a:lnTo>
                      <a:cubicBezTo>
                        <a:pt x="401015" y="1602643"/>
                        <a:pt x="408175" y="1605063"/>
                        <a:pt x="410596" y="1612124"/>
                      </a:cubicBezTo>
                      <a:lnTo>
                        <a:pt x="410596" y="1612124"/>
                      </a:lnTo>
                      <a:cubicBezTo>
                        <a:pt x="415135" y="1625235"/>
                        <a:pt x="428045" y="1636632"/>
                        <a:pt x="458807" y="1639154"/>
                      </a:cubicBezTo>
                      <a:lnTo>
                        <a:pt x="458807" y="1639154"/>
                      </a:lnTo>
                      <a:cubicBezTo>
                        <a:pt x="487652" y="1641473"/>
                        <a:pt x="501066" y="1668100"/>
                        <a:pt x="501066" y="1688373"/>
                      </a:cubicBezTo>
                      <a:lnTo>
                        <a:pt x="501066" y="1688373"/>
                      </a:lnTo>
                      <a:cubicBezTo>
                        <a:pt x="501066" y="1691802"/>
                        <a:pt x="500663" y="1694928"/>
                        <a:pt x="499957" y="1698156"/>
                      </a:cubicBezTo>
                      <a:lnTo>
                        <a:pt x="499957" y="1698156"/>
                      </a:lnTo>
                      <a:cubicBezTo>
                        <a:pt x="498343" y="1704510"/>
                        <a:pt x="497637" y="1708847"/>
                        <a:pt x="497637" y="1712377"/>
                      </a:cubicBezTo>
                      <a:lnTo>
                        <a:pt x="497637" y="1712377"/>
                      </a:lnTo>
                      <a:cubicBezTo>
                        <a:pt x="497637" y="1719235"/>
                        <a:pt x="500360" y="1724177"/>
                        <a:pt x="507017" y="1737390"/>
                      </a:cubicBezTo>
                      <a:lnTo>
                        <a:pt x="507017" y="1737390"/>
                      </a:lnTo>
                      <a:cubicBezTo>
                        <a:pt x="514380" y="1751510"/>
                        <a:pt x="521440" y="1756654"/>
                        <a:pt x="536266" y="1756754"/>
                      </a:cubicBezTo>
                      <a:lnTo>
                        <a:pt x="536266" y="1756754"/>
                      </a:lnTo>
                      <a:cubicBezTo>
                        <a:pt x="540704" y="1756754"/>
                        <a:pt x="546150" y="1756048"/>
                        <a:pt x="552302" y="1755141"/>
                      </a:cubicBezTo>
                      <a:lnTo>
                        <a:pt x="552302" y="1755141"/>
                      </a:lnTo>
                      <a:cubicBezTo>
                        <a:pt x="554017" y="1754838"/>
                        <a:pt x="555832" y="1754435"/>
                        <a:pt x="557648" y="1754435"/>
                      </a:cubicBezTo>
                      <a:lnTo>
                        <a:pt x="557648" y="1754435"/>
                      </a:lnTo>
                      <a:cubicBezTo>
                        <a:pt x="584174" y="1754637"/>
                        <a:pt x="601421" y="1788424"/>
                        <a:pt x="610397" y="1799216"/>
                      </a:cubicBezTo>
                      <a:lnTo>
                        <a:pt x="610397" y="1799216"/>
                      </a:lnTo>
                      <a:close/>
                    </a:path>
                  </a:pathLst>
                </a:custGeom>
                <a:solidFill>
                  <a:srgbClr val="ABDEF6"/>
                </a:solidFill>
                <a:ln w="10085" cap="flat">
                  <a:solidFill>
                    <a:srgbClr val="FFFFFF"/>
                  </a:solidFill>
                  <a:prstDash val="solid"/>
                  <a:miter/>
                </a:ln>
              </p:spPr>
              <p:txBody>
                <a:bodyPr rtlCol="0" anchor="ctr"/>
                <a:lstStyle/>
                <a:p>
                  <a:endParaRPr lang="fr-FR" sz="900"/>
                </a:p>
              </p:txBody>
            </p:sp>
          </p:grpSp>
          <p:sp>
            <p:nvSpPr>
              <p:cNvPr id="33" name="Forme libre : forme 32">
                <a:extLst>
                  <a:ext uri="{FF2B5EF4-FFF2-40B4-BE49-F238E27FC236}">
                    <a16:creationId xmlns:a16="http://schemas.microsoft.com/office/drawing/2014/main" id="{994F4FD1-0AE4-2F90-358D-69B2410342FA}"/>
                  </a:ext>
                </a:extLst>
              </p:cNvPr>
              <p:cNvSpPr/>
              <p:nvPr/>
            </p:nvSpPr>
            <p:spPr>
              <a:xfrm>
                <a:off x="2392675" y="6586827"/>
                <a:ext cx="2033977" cy="1943309"/>
              </a:xfrm>
              <a:custGeom>
                <a:avLst/>
                <a:gdLst>
                  <a:gd name="connsiteX0" fmla="*/ 2006423 w 2033977"/>
                  <a:gd name="connsiteY0" fmla="*/ 425377 h 1943309"/>
                  <a:gd name="connsiteX1" fmla="*/ 2015198 w 2033977"/>
                  <a:gd name="connsiteY1" fmla="*/ 330873 h 1943309"/>
                  <a:gd name="connsiteX2" fmla="*/ 1994018 w 2033977"/>
                  <a:gd name="connsiteY2" fmla="*/ 347313 h 1943309"/>
                  <a:gd name="connsiteX3" fmla="*/ 1929973 w 2033977"/>
                  <a:gd name="connsiteY3" fmla="*/ 278225 h 1943309"/>
                  <a:gd name="connsiteX4" fmla="*/ 1871071 w 2033977"/>
                  <a:gd name="connsiteY4" fmla="*/ 283369 h 1943309"/>
                  <a:gd name="connsiteX5" fmla="*/ 1817313 w 2033977"/>
                  <a:gd name="connsiteY5" fmla="*/ 255229 h 1943309"/>
                  <a:gd name="connsiteX6" fmla="*/ 1789174 w 2033977"/>
                  <a:gd name="connsiteY6" fmla="*/ 214180 h 1943309"/>
                  <a:gd name="connsiteX7" fmla="*/ 1750747 w 2033977"/>
                  <a:gd name="connsiteY7" fmla="*/ 183519 h 1943309"/>
                  <a:gd name="connsiteX8" fmla="*/ 1709698 w 2033977"/>
                  <a:gd name="connsiteY8" fmla="*/ 70860 h 1943309"/>
                  <a:gd name="connsiteX9" fmla="*/ 1620034 w 2033977"/>
                  <a:gd name="connsiteY9" fmla="*/ 104143 h 1943309"/>
                  <a:gd name="connsiteX10" fmla="*/ 1553467 w 2033977"/>
                  <a:gd name="connsiteY10" fmla="*/ 139948 h 1943309"/>
                  <a:gd name="connsiteX11" fmla="*/ 1504753 w 2033977"/>
                  <a:gd name="connsiteY11" fmla="*/ 98999 h 1943309"/>
                  <a:gd name="connsiteX12" fmla="*/ 1458660 w 2033977"/>
                  <a:gd name="connsiteY12" fmla="*/ 70759 h 1943309"/>
                  <a:gd name="connsiteX13" fmla="*/ 1427899 w 2033977"/>
                  <a:gd name="connsiteY13" fmla="*/ 1671 h 1943309"/>
                  <a:gd name="connsiteX14" fmla="*/ 1374141 w 2033977"/>
                  <a:gd name="connsiteY14" fmla="*/ 27289 h 1943309"/>
                  <a:gd name="connsiteX15" fmla="*/ 1289622 w 2033977"/>
                  <a:gd name="connsiteY15" fmla="*/ 22145 h 1943309"/>
                  <a:gd name="connsiteX16" fmla="*/ 1199958 w 2033977"/>
                  <a:gd name="connsiteY16" fmla="*/ 57950 h 1943309"/>
                  <a:gd name="connsiteX17" fmla="*/ 1105252 w 2033977"/>
                  <a:gd name="connsiteY17" fmla="*/ 70759 h 1943309"/>
                  <a:gd name="connsiteX18" fmla="*/ 1005301 w 2033977"/>
                  <a:gd name="connsiteY18" fmla="*/ 19523 h 1943309"/>
                  <a:gd name="connsiteX19" fmla="*/ 923303 w 2033977"/>
                  <a:gd name="connsiteY19" fmla="*/ 17001 h 1943309"/>
                  <a:gd name="connsiteX20" fmla="*/ 908275 w 2033977"/>
                  <a:gd name="connsiteY20" fmla="*/ 14782 h 1943309"/>
                  <a:gd name="connsiteX21" fmla="*/ 908376 w 2033977"/>
                  <a:gd name="connsiteY21" fmla="*/ 14782 h 1943309"/>
                  <a:gd name="connsiteX22" fmla="*/ 893651 w 2033977"/>
                  <a:gd name="connsiteY22" fmla="*/ 38081 h 1943309"/>
                  <a:gd name="connsiteX23" fmla="*/ 902526 w 2033977"/>
                  <a:gd name="connsiteY23" fmla="*/ 136720 h 1943309"/>
                  <a:gd name="connsiteX24" fmla="*/ 888104 w 2033977"/>
                  <a:gd name="connsiteY24" fmla="*/ 196630 h 1943309"/>
                  <a:gd name="connsiteX25" fmla="*/ 886994 w 2033977"/>
                  <a:gd name="connsiteY25" fmla="*/ 243227 h 1943309"/>
                  <a:gd name="connsiteX26" fmla="*/ 877009 w 2033977"/>
                  <a:gd name="connsiteY26" fmla="*/ 310903 h 1943309"/>
                  <a:gd name="connsiteX27" fmla="*/ 883666 w 2033977"/>
                  <a:gd name="connsiteY27" fmla="*/ 369704 h 1943309"/>
                  <a:gd name="connsiteX28" fmla="*/ 892541 w 2033977"/>
                  <a:gd name="connsiteY28" fmla="*/ 457350 h 1943309"/>
                  <a:gd name="connsiteX29" fmla="*/ 835960 w 2033977"/>
                  <a:gd name="connsiteY29" fmla="*/ 476210 h 1943309"/>
                  <a:gd name="connsiteX30" fmla="*/ 821537 w 2033977"/>
                  <a:gd name="connsiteY30" fmla="*/ 511713 h 1943309"/>
                  <a:gd name="connsiteX31" fmla="*/ 801567 w 2033977"/>
                  <a:gd name="connsiteY31" fmla="*/ 578279 h 1943309"/>
                  <a:gd name="connsiteX32" fmla="*/ 735000 w 2033977"/>
                  <a:gd name="connsiteY32" fmla="*/ 637080 h 1943309"/>
                  <a:gd name="connsiteX33" fmla="*/ 636260 w 2033977"/>
                  <a:gd name="connsiteY33" fmla="*/ 617110 h 1943309"/>
                  <a:gd name="connsiteX34" fmla="*/ 531972 w 2033977"/>
                  <a:gd name="connsiteY34" fmla="*/ 709194 h 1943309"/>
                  <a:gd name="connsiteX35" fmla="*/ 434341 w 2033977"/>
                  <a:gd name="connsiteY35" fmla="*/ 700318 h 1943309"/>
                  <a:gd name="connsiteX36" fmla="*/ 382197 w 2033977"/>
                  <a:gd name="connsiteY36" fmla="*/ 708084 h 1943309"/>
                  <a:gd name="connsiteX37" fmla="*/ 301107 w 2033977"/>
                  <a:gd name="connsiteY37" fmla="*/ 710303 h 1943309"/>
                  <a:gd name="connsiteX38" fmla="*/ 260057 w 2033977"/>
                  <a:gd name="connsiteY38" fmla="*/ 813481 h 1943309"/>
                  <a:gd name="connsiteX39" fmla="*/ 216789 w 2033977"/>
                  <a:gd name="connsiteY39" fmla="*/ 882267 h 1943309"/>
                  <a:gd name="connsiteX40" fmla="*/ 165755 w 2033977"/>
                  <a:gd name="connsiteY40" fmla="*/ 850093 h 1943309"/>
                  <a:gd name="connsiteX41" fmla="*/ 99087 w 2033977"/>
                  <a:gd name="connsiteY41" fmla="*/ 892454 h 1943309"/>
                  <a:gd name="connsiteX42" fmla="*/ 84765 w 2033977"/>
                  <a:gd name="connsiteY42" fmla="*/ 924022 h 1943309"/>
                  <a:gd name="connsiteX43" fmla="*/ 5389 w 2033977"/>
                  <a:gd name="connsiteY43" fmla="*/ 951355 h 1943309"/>
                  <a:gd name="connsiteX44" fmla="*/ 37664 w 2033977"/>
                  <a:gd name="connsiteY44" fmla="*/ 996035 h 1943309"/>
                  <a:gd name="connsiteX45" fmla="*/ 52591 w 2033977"/>
                  <a:gd name="connsiteY45" fmla="*/ 1028310 h 1943309"/>
                  <a:gd name="connsiteX46" fmla="*/ 447 w 2033977"/>
                  <a:gd name="connsiteY46" fmla="*/ 1033252 h 1943309"/>
                  <a:gd name="connsiteX47" fmla="*/ 52591 w 2033977"/>
                  <a:gd name="connsiteY47" fmla="*/ 1063005 h 1943309"/>
                  <a:gd name="connsiteX48" fmla="*/ 109677 w 2033977"/>
                  <a:gd name="connsiteY48" fmla="*/ 1045658 h 1943309"/>
                  <a:gd name="connsiteX49" fmla="*/ 144372 w 2033977"/>
                  <a:gd name="connsiteY49" fmla="*/ 1065527 h 1943309"/>
                  <a:gd name="connsiteX50" fmla="*/ 208922 w 2033977"/>
                  <a:gd name="connsiteY50" fmla="*/ 1028310 h 1943309"/>
                  <a:gd name="connsiteX51" fmla="*/ 273371 w 2033977"/>
                  <a:gd name="connsiteY51" fmla="*/ 1018426 h 1943309"/>
                  <a:gd name="connsiteX52" fmla="*/ 310587 w 2033977"/>
                  <a:gd name="connsiteY52" fmla="*/ 1020947 h 1943309"/>
                  <a:gd name="connsiteX53" fmla="*/ 382500 w 2033977"/>
                  <a:gd name="connsiteY53" fmla="*/ 1045759 h 1943309"/>
                  <a:gd name="connsiteX54" fmla="*/ 449470 w 2033977"/>
                  <a:gd name="connsiteY54" fmla="*/ 1092960 h 1943309"/>
                  <a:gd name="connsiteX55" fmla="*/ 474281 w 2033977"/>
                  <a:gd name="connsiteY55" fmla="*/ 1125134 h 1943309"/>
                  <a:gd name="connsiteX56" fmla="*/ 427079 w 2033977"/>
                  <a:gd name="connsiteY56" fmla="*/ 1122613 h 1943309"/>
                  <a:gd name="connsiteX57" fmla="*/ 310487 w 2033977"/>
                  <a:gd name="connsiteY57" fmla="*/ 1050701 h 1943309"/>
                  <a:gd name="connsiteX58" fmla="*/ 221126 w 2033977"/>
                  <a:gd name="connsiteY58" fmla="*/ 1085396 h 1943309"/>
                  <a:gd name="connsiteX59" fmla="*/ 196315 w 2033977"/>
                  <a:gd name="connsiteY59" fmla="*/ 1147424 h 1943309"/>
                  <a:gd name="connsiteX60" fmla="*/ 186431 w 2033977"/>
                  <a:gd name="connsiteY60" fmla="*/ 1184641 h 1943309"/>
                  <a:gd name="connsiteX61" fmla="*/ 275791 w 2033977"/>
                  <a:gd name="connsiteY61" fmla="*/ 1211974 h 1943309"/>
                  <a:gd name="connsiteX62" fmla="*/ 273270 w 2033977"/>
                  <a:gd name="connsiteY62" fmla="*/ 1318682 h 1943309"/>
                  <a:gd name="connsiteX63" fmla="*/ 228589 w 2033977"/>
                  <a:gd name="connsiteY63" fmla="*/ 1398058 h 1943309"/>
                  <a:gd name="connsiteX64" fmla="*/ 290617 w 2033977"/>
                  <a:gd name="connsiteY64" fmla="*/ 1536940 h 1943309"/>
                  <a:gd name="connsiteX65" fmla="*/ 372515 w 2033977"/>
                  <a:gd name="connsiteY65" fmla="*/ 1688328 h 1943309"/>
                  <a:gd name="connsiteX66" fmla="*/ 444427 w 2033977"/>
                  <a:gd name="connsiteY66" fmla="*/ 1777588 h 1943309"/>
                  <a:gd name="connsiteX67" fmla="*/ 568483 w 2033977"/>
                  <a:gd name="connsiteY67" fmla="*/ 1819747 h 1943309"/>
                  <a:gd name="connsiteX68" fmla="*/ 620627 w 2033977"/>
                  <a:gd name="connsiteY68" fmla="*/ 1889239 h 1943309"/>
                  <a:gd name="connsiteX69" fmla="*/ 734698 w 2033977"/>
                  <a:gd name="connsiteY69" fmla="*/ 1941282 h 1943309"/>
                  <a:gd name="connsiteX70" fmla="*/ 806711 w 2033977"/>
                  <a:gd name="connsiteY70" fmla="*/ 1928876 h 1943309"/>
                  <a:gd name="connsiteX71" fmla="*/ 848870 w 2033977"/>
                  <a:gd name="connsiteY71" fmla="*/ 1901544 h 1943309"/>
                  <a:gd name="connsiteX72" fmla="*/ 930767 w 2033977"/>
                  <a:gd name="connsiteY72" fmla="*/ 1931297 h 1943309"/>
                  <a:gd name="connsiteX73" fmla="*/ 1082055 w 2033977"/>
                  <a:gd name="connsiteY73" fmla="*/ 1918891 h 1943309"/>
                  <a:gd name="connsiteX74" fmla="*/ 1116851 w 2033977"/>
                  <a:gd name="connsiteY74" fmla="*/ 1861805 h 1943309"/>
                  <a:gd name="connsiteX75" fmla="*/ 1094561 w 2033977"/>
                  <a:gd name="connsiteY75" fmla="*/ 1784951 h 1943309"/>
                  <a:gd name="connsiteX76" fmla="*/ 1102025 w 2033977"/>
                  <a:gd name="connsiteY76" fmla="*/ 1690749 h 1943309"/>
                  <a:gd name="connsiteX77" fmla="*/ 1059866 w 2033977"/>
                  <a:gd name="connsiteY77" fmla="*/ 1561751 h 1943309"/>
                  <a:gd name="connsiteX78" fmla="*/ 1057344 w 2033977"/>
                  <a:gd name="connsiteY78" fmla="*/ 1504665 h 1943309"/>
                  <a:gd name="connsiteX79" fmla="*/ 1002780 w 2033977"/>
                  <a:gd name="connsiteY79" fmla="*/ 1452622 h 1943309"/>
                  <a:gd name="connsiteX80" fmla="*/ 950636 w 2033977"/>
                  <a:gd name="connsiteY80" fmla="*/ 1348435 h 1943309"/>
                  <a:gd name="connsiteX81" fmla="*/ 970505 w 2033977"/>
                  <a:gd name="connsiteY81" fmla="*/ 1313740 h 1943309"/>
                  <a:gd name="connsiteX82" fmla="*/ 1062286 w 2033977"/>
                  <a:gd name="connsiteY82" fmla="*/ 1353377 h 1943309"/>
                  <a:gd name="connsiteX83" fmla="*/ 1173937 w 2033977"/>
                  <a:gd name="connsiteY83" fmla="*/ 1311218 h 1943309"/>
                  <a:gd name="connsiteX84" fmla="*/ 1211154 w 2033977"/>
                  <a:gd name="connsiteY84" fmla="*/ 1274002 h 1943309"/>
                  <a:gd name="connsiteX85" fmla="*/ 1278124 w 2033977"/>
                  <a:gd name="connsiteY85" fmla="*/ 1271581 h 1943309"/>
                  <a:gd name="connsiteX86" fmla="*/ 1399658 w 2033977"/>
                  <a:gd name="connsiteY86" fmla="*/ 1261697 h 1943309"/>
                  <a:gd name="connsiteX87" fmla="*/ 1436875 w 2033977"/>
                  <a:gd name="connsiteY87" fmla="*/ 1306377 h 1943309"/>
                  <a:gd name="connsiteX88" fmla="*/ 1483976 w 2033977"/>
                  <a:gd name="connsiteY88" fmla="*/ 1249291 h 1943309"/>
                  <a:gd name="connsiteX89" fmla="*/ 1537229 w 2033977"/>
                  <a:gd name="connsiteY89" fmla="*/ 1192710 h 1943309"/>
                  <a:gd name="connsiteX90" fmla="*/ 1551249 w 2033977"/>
                  <a:gd name="connsiteY90" fmla="*/ 1098810 h 1943309"/>
                  <a:gd name="connsiteX91" fmla="*/ 1610049 w 2033977"/>
                  <a:gd name="connsiteY91" fmla="*/ 1013988 h 1943309"/>
                  <a:gd name="connsiteX92" fmla="*/ 1625582 w 2033977"/>
                  <a:gd name="connsiteY92" fmla="*/ 932696 h 1943309"/>
                  <a:gd name="connsiteX93" fmla="*/ 1639399 w 2033977"/>
                  <a:gd name="connsiteY93" fmla="*/ 870466 h 1943309"/>
                  <a:gd name="connsiteX94" fmla="*/ 1684382 w 2033977"/>
                  <a:gd name="connsiteY94" fmla="*/ 835872 h 1943309"/>
                  <a:gd name="connsiteX95" fmla="*/ 1746712 w 2033977"/>
                  <a:gd name="connsiteY95" fmla="*/ 830728 h 1943309"/>
                  <a:gd name="connsiteX96" fmla="*/ 1803798 w 2033977"/>
                  <a:gd name="connsiteY96" fmla="*/ 799563 h 1943309"/>
                  <a:gd name="connsiteX97" fmla="*/ 1867844 w 2033977"/>
                  <a:gd name="connsiteY97" fmla="*/ 768398 h 1943309"/>
                  <a:gd name="connsiteX98" fmla="*/ 1904153 w 2033977"/>
                  <a:gd name="connsiteY98" fmla="*/ 716556 h 1943309"/>
                  <a:gd name="connsiteX99" fmla="*/ 1959524 w 2033977"/>
                  <a:gd name="connsiteY99" fmla="*/ 661185 h 1943309"/>
                  <a:gd name="connsiteX100" fmla="*/ 1969912 w 2033977"/>
                  <a:gd name="connsiteY100" fmla="*/ 598854 h 1943309"/>
                  <a:gd name="connsiteX101" fmla="*/ 2006222 w 2033977"/>
                  <a:gd name="connsiteY101" fmla="*/ 560831 h 1943309"/>
                  <a:gd name="connsiteX102" fmla="*/ 2020039 w 2033977"/>
                  <a:gd name="connsiteY102" fmla="*/ 470865 h 1943309"/>
                  <a:gd name="connsiteX103" fmla="*/ 2006423 w 2033977"/>
                  <a:gd name="connsiteY103" fmla="*/ 425377 h 1943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2033977" h="1943309">
                    <a:moveTo>
                      <a:pt x="2006423" y="425377"/>
                    </a:moveTo>
                    <a:cubicBezTo>
                      <a:pt x="2021956" y="412972"/>
                      <a:pt x="2028915" y="364560"/>
                      <a:pt x="2015198" y="330873"/>
                    </a:cubicBezTo>
                    <a:cubicBezTo>
                      <a:pt x="2011971" y="341766"/>
                      <a:pt x="2004910" y="347313"/>
                      <a:pt x="1994018" y="347313"/>
                    </a:cubicBezTo>
                    <a:cubicBezTo>
                      <a:pt x="1973544" y="347313"/>
                      <a:pt x="1940260" y="296077"/>
                      <a:pt x="1929973" y="278225"/>
                    </a:cubicBezTo>
                    <a:cubicBezTo>
                      <a:pt x="1919786" y="260272"/>
                      <a:pt x="1899211" y="278225"/>
                      <a:pt x="1871071" y="283369"/>
                    </a:cubicBezTo>
                    <a:cubicBezTo>
                      <a:pt x="1842932" y="288512"/>
                      <a:pt x="1817313" y="255229"/>
                      <a:pt x="1817313" y="255229"/>
                    </a:cubicBezTo>
                    <a:cubicBezTo>
                      <a:pt x="1817313" y="255229"/>
                      <a:pt x="1827601" y="216802"/>
                      <a:pt x="1789174" y="214180"/>
                    </a:cubicBezTo>
                    <a:cubicBezTo>
                      <a:pt x="1750747" y="211658"/>
                      <a:pt x="1753369" y="211658"/>
                      <a:pt x="1750747" y="183519"/>
                    </a:cubicBezTo>
                    <a:cubicBezTo>
                      <a:pt x="1748226" y="155379"/>
                      <a:pt x="1745603" y="83669"/>
                      <a:pt x="1709698" y="70860"/>
                    </a:cubicBezTo>
                    <a:cubicBezTo>
                      <a:pt x="1673792" y="58051"/>
                      <a:pt x="1632843" y="81147"/>
                      <a:pt x="1620034" y="104143"/>
                    </a:cubicBezTo>
                    <a:cubicBezTo>
                      <a:pt x="1607225" y="127240"/>
                      <a:pt x="1576463" y="137426"/>
                      <a:pt x="1553467" y="139948"/>
                    </a:cubicBezTo>
                    <a:cubicBezTo>
                      <a:pt x="1530371" y="142469"/>
                      <a:pt x="1504753" y="121995"/>
                      <a:pt x="1504753" y="98999"/>
                    </a:cubicBezTo>
                    <a:cubicBezTo>
                      <a:pt x="1504753" y="75903"/>
                      <a:pt x="1458660" y="70759"/>
                      <a:pt x="1458660" y="70759"/>
                    </a:cubicBezTo>
                    <a:cubicBezTo>
                      <a:pt x="1458660" y="70759"/>
                      <a:pt x="1461182" y="9235"/>
                      <a:pt x="1427899" y="1671"/>
                    </a:cubicBezTo>
                    <a:cubicBezTo>
                      <a:pt x="1394615" y="-5994"/>
                      <a:pt x="1415090" y="14480"/>
                      <a:pt x="1374141" y="27289"/>
                    </a:cubicBezTo>
                    <a:cubicBezTo>
                      <a:pt x="1333092" y="40098"/>
                      <a:pt x="1322905" y="32332"/>
                      <a:pt x="1289622" y="22145"/>
                    </a:cubicBezTo>
                    <a:cubicBezTo>
                      <a:pt x="1256338" y="11958"/>
                      <a:pt x="1225576" y="40098"/>
                      <a:pt x="1199958" y="57950"/>
                    </a:cubicBezTo>
                    <a:cubicBezTo>
                      <a:pt x="1174340" y="75903"/>
                      <a:pt x="1135913" y="70759"/>
                      <a:pt x="1105252" y="70759"/>
                    </a:cubicBezTo>
                    <a:cubicBezTo>
                      <a:pt x="1074490" y="70759"/>
                      <a:pt x="1023254" y="32332"/>
                      <a:pt x="1005301" y="19523"/>
                    </a:cubicBezTo>
                    <a:cubicBezTo>
                      <a:pt x="987348" y="6714"/>
                      <a:pt x="969396" y="17001"/>
                      <a:pt x="923303" y="17001"/>
                    </a:cubicBezTo>
                    <a:cubicBezTo>
                      <a:pt x="917453" y="17001"/>
                      <a:pt x="913217" y="15589"/>
                      <a:pt x="908275" y="14782"/>
                    </a:cubicBezTo>
                    <a:lnTo>
                      <a:pt x="908376" y="14782"/>
                    </a:lnTo>
                    <a:cubicBezTo>
                      <a:pt x="904140" y="24061"/>
                      <a:pt x="899299" y="32735"/>
                      <a:pt x="893651" y="38081"/>
                    </a:cubicBezTo>
                    <a:cubicBezTo>
                      <a:pt x="875900" y="54722"/>
                      <a:pt x="888104" y="124517"/>
                      <a:pt x="902526" y="136720"/>
                    </a:cubicBezTo>
                    <a:cubicBezTo>
                      <a:pt x="916949" y="148924"/>
                      <a:pt x="910292" y="183317"/>
                      <a:pt x="888104" y="196630"/>
                    </a:cubicBezTo>
                    <a:cubicBezTo>
                      <a:pt x="865915" y="209944"/>
                      <a:pt x="871462" y="219929"/>
                      <a:pt x="886994" y="243227"/>
                    </a:cubicBezTo>
                    <a:cubicBezTo>
                      <a:pt x="902526" y="266525"/>
                      <a:pt x="892541" y="298699"/>
                      <a:pt x="877009" y="310903"/>
                    </a:cubicBezTo>
                    <a:cubicBezTo>
                      <a:pt x="861477" y="323107"/>
                      <a:pt x="843726" y="337530"/>
                      <a:pt x="883666" y="369704"/>
                    </a:cubicBezTo>
                    <a:cubicBezTo>
                      <a:pt x="923606" y="401878"/>
                      <a:pt x="901417" y="438489"/>
                      <a:pt x="892541" y="457350"/>
                    </a:cubicBezTo>
                    <a:cubicBezTo>
                      <a:pt x="883666" y="476210"/>
                      <a:pt x="857039" y="457350"/>
                      <a:pt x="835960" y="476210"/>
                    </a:cubicBezTo>
                    <a:cubicBezTo>
                      <a:pt x="814880" y="495071"/>
                      <a:pt x="835960" y="499509"/>
                      <a:pt x="821537" y="511713"/>
                    </a:cubicBezTo>
                    <a:cubicBezTo>
                      <a:pt x="807114" y="523916"/>
                      <a:pt x="800457" y="527245"/>
                      <a:pt x="801567" y="578279"/>
                    </a:cubicBezTo>
                    <a:cubicBezTo>
                      <a:pt x="802676" y="629314"/>
                      <a:pt x="759408" y="645955"/>
                      <a:pt x="735000" y="637080"/>
                    </a:cubicBezTo>
                    <a:cubicBezTo>
                      <a:pt x="710592" y="628204"/>
                      <a:pt x="726125" y="604906"/>
                      <a:pt x="636260" y="617110"/>
                    </a:cubicBezTo>
                    <a:cubicBezTo>
                      <a:pt x="546496" y="629314"/>
                      <a:pt x="561927" y="680348"/>
                      <a:pt x="531972" y="709194"/>
                    </a:cubicBezTo>
                    <a:cubicBezTo>
                      <a:pt x="502017" y="738039"/>
                      <a:pt x="444326" y="709194"/>
                      <a:pt x="434341" y="700318"/>
                    </a:cubicBezTo>
                    <a:cubicBezTo>
                      <a:pt x="424356" y="691442"/>
                      <a:pt x="404386" y="700318"/>
                      <a:pt x="382197" y="708084"/>
                    </a:cubicBezTo>
                    <a:cubicBezTo>
                      <a:pt x="360008" y="715850"/>
                      <a:pt x="314521" y="706975"/>
                      <a:pt x="301107" y="710303"/>
                    </a:cubicBezTo>
                    <a:cubicBezTo>
                      <a:pt x="287793" y="713631"/>
                      <a:pt x="271152" y="764666"/>
                      <a:pt x="260057" y="813481"/>
                    </a:cubicBezTo>
                    <a:cubicBezTo>
                      <a:pt x="248963" y="862297"/>
                      <a:pt x="240087" y="872282"/>
                      <a:pt x="216789" y="882267"/>
                    </a:cubicBezTo>
                    <a:cubicBezTo>
                      <a:pt x="193491" y="892252"/>
                      <a:pt x="191272" y="854531"/>
                      <a:pt x="165755" y="850093"/>
                    </a:cubicBezTo>
                    <a:cubicBezTo>
                      <a:pt x="141750" y="845857"/>
                      <a:pt x="132572" y="876821"/>
                      <a:pt x="99087" y="892454"/>
                    </a:cubicBezTo>
                    <a:cubicBezTo>
                      <a:pt x="91926" y="906574"/>
                      <a:pt x="86480" y="918374"/>
                      <a:pt x="84765" y="924022"/>
                    </a:cubicBezTo>
                    <a:cubicBezTo>
                      <a:pt x="77302" y="948834"/>
                      <a:pt x="10331" y="914138"/>
                      <a:pt x="5389" y="951355"/>
                    </a:cubicBezTo>
                    <a:cubicBezTo>
                      <a:pt x="447" y="988572"/>
                      <a:pt x="20317" y="986050"/>
                      <a:pt x="37664" y="996035"/>
                    </a:cubicBezTo>
                    <a:cubicBezTo>
                      <a:pt x="55012" y="1005920"/>
                      <a:pt x="72359" y="1028310"/>
                      <a:pt x="52591" y="1028310"/>
                    </a:cubicBezTo>
                    <a:cubicBezTo>
                      <a:pt x="32722" y="1028310"/>
                      <a:pt x="-4495" y="1013484"/>
                      <a:pt x="447" y="1033252"/>
                    </a:cubicBezTo>
                    <a:cubicBezTo>
                      <a:pt x="5389" y="1053121"/>
                      <a:pt x="25258" y="1063005"/>
                      <a:pt x="52591" y="1063005"/>
                    </a:cubicBezTo>
                    <a:cubicBezTo>
                      <a:pt x="79823" y="1063005"/>
                      <a:pt x="84866" y="1038194"/>
                      <a:pt x="109677" y="1045658"/>
                    </a:cubicBezTo>
                    <a:cubicBezTo>
                      <a:pt x="134488" y="1053121"/>
                      <a:pt x="109677" y="1070469"/>
                      <a:pt x="144372" y="1065527"/>
                    </a:cubicBezTo>
                    <a:cubicBezTo>
                      <a:pt x="179068" y="1060585"/>
                      <a:pt x="191574" y="1038194"/>
                      <a:pt x="208922" y="1028310"/>
                    </a:cubicBezTo>
                    <a:cubicBezTo>
                      <a:pt x="226270" y="1018426"/>
                      <a:pt x="273371" y="1018426"/>
                      <a:pt x="273371" y="1018426"/>
                    </a:cubicBezTo>
                    <a:cubicBezTo>
                      <a:pt x="273371" y="1018426"/>
                      <a:pt x="288197" y="1016006"/>
                      <a:pt x="310587" y="1020947"/>
                    </a:cubicBezTo>
                    <a:cubicBezTo>
                      <a:pt x="332877" y="1025889"/>
                      <a:pt x="375036" y="1043338"/>
                      <a:pt x="382500" y="1045759"/>
                    </a:cubicBezTo>
                    <a:cubicBezTo>
                      <a:pt x="389963" y="1048280"/>
                      <a:pt x="439585" y="1085497"/>
                      <a:pt x="449470" y="1092960"/>
                    </a:cubicBezTo>
                    <a:cubicBezTo>
                      <a:pt x="459354" y="1100424"/>
                      <a:pt x="489107" y="1115250"/>
                      <a:pt x="474281" y="1125134"/>
                    </a:cubicBezTo>
                    <a:cubicBezTo>
                      <a:pt x="459354" y="1135119"/>
                      <a:pt x="456933" y="1145003"/>
                      <a:pt x="427079" y="1122613"/>
                    </a:cubicBezTo>
                    <a:cubicBezTo>
                      <a:pt x="397326" y="1100323"/>
                      <a:pt x="340240" y="1055643"/>
                      <a:pt x="310487" y="1050701"/>
                    </a:cubicBezTo>
                    <a:cubicBezTo>
                      <a:pt x="280733" y="1045759"/>
                      <a:pt x="226068" y="1045759"/>
                      <a:pt x="221126" y="1085396"/>
                    </a:cubicBezTo>
                    <a:cubicBezTo>
                      <a:pt x="216184" y="1125034"/>
                      <a:pt x="211242" y="1147424"/>
                      <a:pt x="196315" y="1147424"/>
                    </a:cubicBezTo>
                    <a:cubicBezTo>
                      <a:pt x="181388" y="1147424"/>
                      <a:pt x="159098" y="1177177"/>
                      <a:pt x="186431" y="1184641"/>
                    </a:cubicBezTo>
                    <a:cubicBezTo>
                      <a:pt x="213763" y="1192104"/>
                      <a:pt x="258444" y="1187163"/>
                      <a:pt x="275791" y="1211974"/>
                    </a:cubicBezTo>
                    <a:cubicBezTo>
                      <a:pt x="293139" y="1236785"/>
                      <a:pt x="295660" y="1271480"/>
                      <a:pt x="273270" y="1318682"/>
                    </a:cubicBezTo>
                    <a:cubicBezTo>
                      <a:pt x="250879" y="1365783"/>
                      <a:pt x="241096" y="1358420"/>
                      <a:pt x="228589" y="1398058"/>
                    </a:cubicBezTo>
                    <a:cubicBezTo>
                      <a:pt x="216184" y="1437695"/>
                      <a:pt x="238473" y="1484897"/>
                      <a:pt x="290617" y="1536940"/>
                    </a:cubicBezTo>
                    <a:cubicBezTo>
                      <a:pt x="342761" y="1589084"/>
                      <a:pt x="362530" y="1641127"/>
                      <a:pt x="372515" y="1688328"/>
                    </a:cubicBezTo>
                    <a:cubicBezTo>
                      <a:pt x="382399" y="1735430"/>
                      <a:pt x="417094" y="1755299"/>
                      <a:pt x="444427" y="1777588"/>
                    </a:cubicBezTo>
                    <a:cubicBezTo>
                      <a:pt x="471759" y="1799979"/>
                      <a:pt x="551135" y="1797457"/>
                      <a:pt x="568483" y="1819747"/>
                    </a:cubicBezTo>
                    <a:cubicBezTo>
                      <a:pt x="585830" y="1842138"/>
                      <a:pt x="583309" y="1871891"/>
                      <a:pt x="620627" y="1889239"/>
                    </a:cubicBezTo>
                    <a:cubicBezTo>
                      <a:pt x="657843" y="1906586"/>
                      <a:pt x="707365" y="1953587"/>
                      <a:pt x="734698" y="1941282"/>
                    </a:cubicBezTo>
                    <a:cubicBezTo>
                      <a:pt x="762030" y="1928876"/>
                      <a:pt x="806711" y="1928876"/>
                      <a:pt x="806711" y="1928876"/>
                    </a:cubicBezTo>
                    <a:cubicBezTo>
                      <a:pt x="806711" y="1928876"/>
                      <a:pt x="824058" y="1899123"/>
                      <a:pt x="848870" y="1901544"/>
                    </a:cubicBezTo>
                    <a:cubicBezTo>
                      <a:pt x="873681" y="1903964"/>
                      <a:pt x="896071" y="1933717"/>
                      <a:pt x="930767" y="1931297"/>
                    </a:cubicBezTo>
                    <a:cubicBezTo>
                      <a:pt x="965462" y="1928876"/>
                      <a:pt x="1012563" y="1943702"/>
                      <a:pt x="1082055" y="1918891"/>
                    </a:cubicBezTo>
                    <a:cubicBezTo>
                      <a:pt x="1151546" y="1894080"/>
                      <a:pt x="1144083" y="1861805"/>
                      <a:pt x="1116851" y="1861805"/>
                    </a:cubicBezTo>
                    <a:cubicBezTo>
                      <a:pt x="1089518" y="1861805"/>
                      <a:pt x="1082156" y="1812183"/>
                      <a:pt x="1094561" y="1784951"/>
                    </a:cubicBezTo>
                    <a:cubicBezTo>
                      <a:pt x="1106967" y="1757619"/>
                      <a:pt x="1106967" y="1735329"/>
                      <a:pt x="1102025" y="1690749"/>
                    </a:cubicBezTo>
                    <a:cubicBezTo>
                      <a:pt x="1097083" y="1646069"/>
                      <a:pt x="1064808" y="1584041"/>
                      <a:pt x="1059866" y="1561751"/>
                    </a:cubicBezTo>
                    <a:cubicBezTo>
                      <a:pt x="1054924" y="1539360"/>
                      <a:pt x="1072271" y="1524534"/>
                      <a:pt x="1057344" y="1504665"/>
                    </a:cubicBezTo>
                    <a:cubicBezTo>
                      <a:pt x="1042518" y="1484796"/>
                      <a:pt x="1007722" y="1489839"/>
                      <a:pt x="1002780" y="1452622"/>
                    </a:cubicBezTo>
                    <a:cubicBezTo>
                      <a:pt x="997838" y="1415405"/>
                      <a:pt x="968084" y="1370725"/>
                      <a:pt x="950636" y="1348435"/>
                    </a:cubicBezTo>
                    <a:cubicBezTo>
                      <a:pt x="933288" y="1326045"/>
                      <a:pt x="943172" y="1298813"/>
                      <a:pt x="970505" y="1313740"/>
                    </a:cubicBezTo>
                    <a:cubicBezTo>
                      <a:pt x="997838" y="1328566"/>
                      <a:pt x="987853" y="1355899"/>
                      <a:pt x="1062286" y="1353377"/>
                    </a:cubicBezTo>
                    <a:cubicBezTo>
                      <a:pt x="1136720" y="1350856"/>
                      <a:pt x="1176458" y="1338551"/>
                      <a:pt x="1173937" y="1311218"/>
                    </a:cubicBezTo>
                    <a:cubicBezTo>
                      <a:pt x="1171415" y="1283886"/>
                      <a:pt x="1178879" y="1261596"/>
                      <a:pt x="1211154" y="1274002"/>
                    </a:cubicBezTo>
                    <a:cubicBezTo>
                      <a:pt x="1243428" y="1286407"/>
                      <a:pt x="1225980" y="1283986"/>
                      <a:pt x="1278124" y="1271581"/>
                    </a:cubicBezTo>
                    <a:cubicBezTo>
                      <a:pt x="1330268" y="1259175"/>
                      <a:pt x="1389774" y="1251712"/>
                      <a:pt x="1399658" y="1261697"/>
                    </a:cubicBezTo>
                    <a:cubicBezTo>
                      <a:pt x="1409542" y="1271581"/>
                      <a:pt x="1389774" y="1323725"/>
                      <a:pt x="1436875" y="1306377"/>
                    </a:cubicBezTo>
                    <a:cubicBezTo>
                      <a:pt x="1483976" y="1289029"/>
                      <a:pt x="1483976" y="1283986"/>
                      <a:pt x="1483976" y="1249291"/>
                    </a:cubicBezTo>
                    <a:cubicBezTo>
                      <a:pt x="1483976" y="1221555"/>
                      <a:pt x="1492448" y="1195937"/>
                      <a:pt x="1537229" y="1192710"/>
                    </a:cubicBezTo>
                    <a:cubicBezTo>
                      <a:pt x="1537633" y="1161847"/>
                      <a:pt x="1540255" y="1116461"/>
                      <a:pt x="1551249" y="1098810"/>
                    </a:cubicBezTo>
                    <a:cubicBezTo>
                      <a:pt x="1568496" y="1071074"/>
                      <a:pt x="1610049" y="1071074"/>
                      <a:pt x="1610049" y="1013988"/>
                    </a:cubicBezTo>
                    <a:cubicBezTo>
                      <a:pt x="1610049" y="956902"/>
                      <a:pt x="1611764" y="948229"/>
                      <a:pt x="1625582" y="932696"/>
                    </a:cubicBezTo>
                    <a:cubicBezTo>
                      <a:pt x="1639399" y="917164"/>
                      <a:pt x="1639399" y="892958"/>
                      <a:pt x="1639399" y="870466"/>
                    </a:cubicBezTo>
                    <a:cubicBezTo>
                      <a:pt x="1639399" y="847975"/>
                      <a:pt x="1661890" y="825484"/>
                      <a:pt x="1684382" y="835872"/>
                    </a:cubicBezTo>
                    <a:cubicBezTo>
                      <a:pt x="1706873" y="846260"/>
                      <a:pt x="1724221" y="858364"/>
                      <a:pt x="1746712" y="830728"/>
                    </a:cubicBezTo>
                    <a:cubicBezTo>
                      <a:pt x="1769204" y="803093"/>
                      <a:pt x="1743283" y="806522"/>
                      <a:pt x="1803798" y="799563"/>
                    </a:cubicBezTo>
                    <a:cubicBezTo>
                      <a:pt x="1864314" y="792604"/>
                      <a:pt x="1859170" y="802992"/>
                      <a:pt x="1867844" y="768398"/>
                    </a:cubicBezTo>
                    <a:cubicBezTo>
                      <a:pt x="1876518" y="733803"/>
                      <a:pt x="1874702" y="719986"/>
                      <a:pt x="1904153" y="716556"/>
                    </a:cubicBezTo>
                    <a:cubicBezTo>
                      <a:pt x="1933603" y="713127"/>
                      <a:pt x="1949136" y="695780"/>
                      <a:pt x="1959524" y="661185"/>
                    </a:cubicBezTo>
                    <a:cubicBezTo>
                      <a:pt x="1969912" y="626590"/>
                      <a:pt x="1975056" y="616202"/>
                      <a:pt x="1969912" y="598854"/>
                    </a:cubicBezTo>
                    <a:cubicBezTo>
                      <a:pt x="1964668" y="581507"/>
                      <a:pt x="1968198" y="565974"/>
                      <a:pt x="2006222" y="560831"/>
                    </a:cubicBezTo>
                    <a:cubicBezTo>
                      <a:pt x="2044245" y="555687"/>
                      <a:pt x="2037387" y="486498"/>
                      <a:pt x="2020039" y="470865"/>
                    </a:cubicBezTo>
                    <a:cubicBezTo>
                      <a:pt x="2002994" y="454727"/>
                      <a:pt x="1989177" y="439094"/>
                      <a:pt x="2006423" y="425377"/>
                    </a:cubicBezTo>
                    <a:close/>
                  </a:path>
                </a:pathLst>
              </a:custGeom>
              <a:solidFill>
                <a:schemeClr val="bg1">
                  <a:lumMod val="75000"/>
                </a:schemeClr>
              </a:solidFill>
              <a:ln w="10085" cap="flat">
                <a:solidFill>
                  <a:srgbClr val="FFFFFF"/>
                </a:solidFill>
                <a:prstDash val="solid"/>
                <a:miter/>
              </a:ln>
            </p:spPr>
            <p:txBody>
              <a:bodyPr rtlCol="0" anchor="ctr"/>
              <a:lstStyle/>
              <a:p>
                <a:endParaRPr lang="fr-FR" sz="900"/>
              </a:p>
            </p:txBody>
          </p:sp>
          <p:sp>
            <p:nvSpPr>
              <p:cNvPr id="46" name="Forme libre : forme 45">
                <a:extLst>
                  <a:ext uri="{FF2B5EF4-FFF2-40B4-BE49-F238E27FC236}">
                    <a16:creationId xmlns:a16="http://schemas.microsoft.com/office/drawing/2014/main" id="{3A343315-5DA9-8596-F554-4776EB108BD9}"/>
                  </a:ext>
                </a:extLst>
              </p:cNvPr>
              <p:cNvSpPr/>
              <p:nvPr/>
            </p:nvSpPr>
            <p:spPr>
              <a:xfrm>
                <a:off x="2390197" y="6584161"/>
                <a:ext cx="2039057" cy="1948688"/>
              </a:xfrm>
              <a:custGeom>
                <a:avLst/>
                <a:gdLst>
                  <a:gd name="connsiteX0" fmla="*/ 622096 w 2039057"/>
                  <a:gd name="connsiteY0" fmla="*/ 1894023 h 1948688"/>
                  <a:gd name="connsiteX1" fmla="*/ 569044 w 2039057"/>
                  <a:gd name="connsiteY1" fmla="*/ 1823825 h 1948688"/>
                  <a:gd name="connsiteX2" fmla="*/ 569044 w 2039057"/>
                  <a:gd name="connsiteY2" fmla="*/ 1823825 h 1948688"/>
                  <a:gd name="connsiteX3" fmla="*/ 445391 w 2039057"/>
                  <a:gd name="connsiteY3" fmla="*/ 1782070 h 1948688"/>
                  <a:gd name="connsiteX4" fmla="*/ 445391 w 2039057"/>
                  <a:gd name="connsiteY4" fmla="*/ 1782070 h 1948688"/>
                  <a:gd name="connsiteX5" fmla="*/ 372572 w 2039057"/>
                  <a:gd name="connsiteY5" fmla="*/ 1691196 h 1948688"/>
                  <a:gd name="connsiteX6" fmla="*/ 372572 w 2039057"/>
                  <a:gd name="connsiteY6" fmla="*/ 1691196 h 1948688"/>
                  <a:gd name="connsiteX7" fmla="*/ 291380 w 2039057"/>
                  <a:gd name="connsiteY7" fmla="*/ 1541220 h 1948688"/>
                  <a:gd name="connsiteX8" fmla="*/ 291380 w 2039057"/>
                  <a:gd name="connsiteY8" fmla="*/ 1541220 h 1948688"/>
                  <a:gd name="connsiteX9" fmla="*/ 225217 w 2039057"/>
                  <a:gd name="connsiteY9" fmla="*/ 1422509 h 1948688"/>
                  <a:gd name="connsiteX10" fmla="*/ 225217 w 2039057"/>
                  <a:gd name="connsiteY10" fmla="*/ 1422509 h 1948688"/>
                  <a:gd name="connsiteX11" fmla="*/ 228747 w 2039057"/>
                  <a:gd name="connsiteY11" fmla="*/ 1399513 h 1948688"/>
                  <a:gd name="connsiteX12" fmla="*/ 228747 w 2039057"/>
                  <a:gd name="connsiteY12" fmla="*/ 1399513 h 1948688"/>
                  <a:gd name="connsiteX13" fmla="*/ 273428 w 2039057"/>
                  <a:gd name="connsiteY13" fmla="*/ 1319734 h 1948688"/>
                  <a:gd name="connsiteX14" fmla="*/ 273428 w 2039057"/>
                  <a:gd name="connsiteY14" fmla="*/ 1319734 h 1948688"/>
                  <a:gd name="connsiteX15" fmla="*/ 289262 w 2039057"/>
                  <a:gd name="connsiteY15" fmla="*/ 1259118 h 1948688"/>
                  <a:gd name="connsiteX16" fmla="*/ 289262 w 2039057"/>
                  <a:gd name="connsiteY16" fmla="*/ 1259118 h 1948688"/>
                  <a:gd name="connsiteX17" fmla="*/ 276151 w 2039057"/>
                  <a:gd name="connsiteY17" fmla="*/ 1215749 h 1948688"/>
                  <a:gd name="connsiteX18" fmla="*/ 276151 w 2039057"/>
                  <a:gd name="connsiteY18" fmla="*/ 1215749 h 1948688"/>
                  <a:gd name="connsiteX19" fmla="*/ 188404 w 2039057"/>
                  <a:gd name="connsiteY19" fmla="*/ 1189526 h 1948688"/>
                  <a:gd name="connsiteX20" fmla="*/ 188404 w 2039057"/>
                  <a:gd name="connsiteY20" fmla="*/ 1189526 h 1948688"/>
                  <a:gd name="connsiteX21" fmla="*/ 173578 w 2039057"/>
                  <a:gd name="connsiteY21" fmla="*/ 1173389 h 1948688"/>
                  <a:gd name="connsiteX22" fmla="*/ 173578 w 2039057"/>
                  <a:gd name="connsiteY22" fmla="*/ 1173389 h 1948688"/>
                  <a:gd name="connsiteX23" fmla="*/ 199196 w 2039057"/>
                  <a:gd name="connsiteY23" fmla="*/ 1146863 h 1948688"/>
                  <a:gd name="connsiteX24" fmla="*/ 199196 w 2039057"/>
                  <a:gd name="connsiteY24" fmla="*/ 1146863 h 1948688"/>
                  <a:gd name="connsiteX25" fmla="*/ 221284 w 2039057"/>
                  <a:gd name="connsiteY25" fmla="*/ 1087356 h 1948688"/>
                  <a:gd name="connsiteX26" fmla="*/ 221284 w 2039057"/>
                  <a:gd name="connsiteY26" fmla="*/ 1087356 h 1948688"/>
                  <a:gd name="connsiteX27" fmla="*/ 286237 w 2039057"/>
                  <a:gd name="connsiteY27" fmla="*/ 1047820 h 1948688"/>
                  <a:gd name="connsiteX28" fmla="*/ 286237 w 2039057"/>
                  <a:gd name="connsiteY28" fmla="*/ 1047820 h 1948688"/>
                  <a:gd name="connsiteX29" fmla="*/ 313771 w 2039057"/>
                  <a:gd name="connsiteY29" fmla="*/ 1050240 h 1948688"/>
                  <a:gd name="connsiteX30" fmla="*/ 313771 w 2039057"/>
                  <a:gd name="connsiteY30" fmla="*/ 1050240 h 1948688"/>
                  <a:gd name="connsiteX31" fmla="*/ 431574 w 2039057"/>
                  <a:gd name="connsiteY31" fmla="*/ 1122757 h 1948688"/>
                  <a:gd name="connsiteX32" fmla="*/ 431574 w 2039057"/>
                  <a:gd name="connsiteY32" fmla="*/ 1122757 h 1948688"/>
                  <a:gd name="connsiteX33" fmla="*/ 456990 w 2039057"/>
                  <a:gd name="connsiteY33" fmla="*/ 1135667 h 1948688"/>
                  <a:gd name="connsiteX34" fmla="*/ 456990 w 2039057"/>
                  <a:gd name="connsiteY34" fmla="*/ 1135667 h 1948688"/>
                  <a:gd name="connsiteX35" fmla="*/ 475548 w 2039057"/>
                  <a:gd name="connsiteY35" fmla="*/ 1125178 h 1948688"/>
                  <a:gd name="connsiteX36" fmla="*/ 475548 w 2039057"/>
                  <a:gd name="connsiteY36" fmla="*/ 1125178 h 1948688"/>
                  <a:gd name="connsiteX37" fmla="*/ 478372 w 2039057"/>
                  <a:gd name="connsiteY37" fmla="*/ 1121144 h 1948688"/>
                  <a:gd name="connsiteX38" fmla="*/ 478372 w 2039057"/>
                  <a:gd name="connsiteY38" fmla="*/ 1121144 h 1948688"/>
                  <a:gd name="connsiteX39" fmla="*/ 450737 w 2039057"/>
                  <a:gd name="connsiteY39" fmla="*/ 1097341 h 1948688"/>
                  <a:gd name="connsiteX40" fmla="*/ 450737 w 2039057"/>
                  <a:gd name="connsiteY40" fmla="*/ 1097341 h 1948688"/>
                  <a:gd name="connsiteX41" fmla="*/ 384574 w 2039057"/>
                  <a:gd name="connsiteY41" fmla="*/ 1050745 h 1948688"/>
                  <a:gd name="connsiteX42" fmla="*/ 384574 w 2039057"/>
                  <a:gd name="connsiteY42" fmla="*/ 1050745 h 1948688"/>
                  <a:gd name="connsiteX43" fmla="*/ 312863 w 2039057"/>
                  <a:gd name="connsiteY43" fmla="*/ 1025933 h 1948688"/>
                  <a:gd name="connsiteX44" fmla="*/ 312863 w 2039057"/>
                  <a:gd name="connsiteY44" fmla="*/ 1025933 h 1948688"/>
                  <a:gd name="connsiteX45" fmla="*/ 286337 w 2039057"/>
                  <a:gd name="connsiteY45" fmla="*/ 1022908 h 1948688"/>
                  <a:gd name="connsiteX46" fmla="*/ 286337 w 2039057"/>
                  <a:gd name="connsiteY46" fmla="*/ 1022908 h 1948688"/>
                  <a:gd name="connsiteX47" fmla="*/ 276252 w 2039057"/>
                  <a:gd name="connsiteY47" fmla="*/ 1023513 h 1948688"/>
                  <a:gd name="connsiteX48" fmla="*/ 276252 w 2039057"/>
                  <a:gd name="connsiteY48" fmla="*/ 1023513 h 1948688"/>
                  <a:gd name="connsiteX49" fmla="*/ 213114 w 2039057"/>
                  <a:gd name="connsiteY49" fmla="*/ 1032993 h 1948688"/>
                  <a:gd name="connsiteX50" fmla="*/ 213114 w 2039057"/>
                  <a:gd name="connsiteY50" fmla="*/ 1032993 h 1948688"/>
                  <a:gd name="connsiteX51" fmla="*/ 147455 w 2039057"/>
                  <a:gd name="connsiteY51" fmla="*/ 1070614 h 1948688"/>
                  <a:gd name="connsiteX52" fmla="*/ 147455 w 2039057"/>
                  <a:gd name="connsiteY52" fmla="*/ 1070614 h 1948688"/>
                  <a:gd name="connsiteX53" fmla="*/ 136966 w 2039057"/>
                  <a:gd name="connsiteY53" fmla="*/ 1071521 h 1948688"/>
                  <a:gd name="connsiteX54" fmla="*/ 136966 w 2039057"/>
                  <a:gd name="connsiteY54" fmla="*/ 1071521 h 1948688"/>
                  <a:gd name="connsiteX55" fmla="*/ 111550 w 2039057"/>
                  <a:gd name="connsiteY55" fmla="*/ 1050745 h 1948688"/>
                  <a:gd name="connsiteX56" fmla="*/ 111550 w 2039057"/>
                  <a:gd name="connsiteY56" fmla="*/ 1050745 h 1948688"/>
                  <a:gd name="connsiteX57" fmla="*/ 103582 w 2039057"/>
                  <a:gd name="connsiteY57" fmla="*/ 1049433 h 1948688"/>
                  <a:gd name="connsiteX58" fmla="*/ 103582 w 2039057"/>
                  <a:gd name="connsiteY58" fmla="*/ 1049433 h 1948688"/>
                  <a:gd name="connsiteX59" fmla="*/ 55371 w 2039057"/>
                  <a:gd name="connsiteY59" fmla="*/ 1068294 h 1948688"/>
                  <a:gd name="connsiteX60" fmla="*/ 55371 w 2039057"/>
                  <a:gd name="connsiteY60" fmla="*/ 1068294 h 1948688"/>
                  <a:gd name="connsiteX61" fmla="*/ 605 w 2039057"/>
                  <a:gd name="connsiteY61" fmla="*/ 1036524 h 1948688"/>
                  <a:gd name="connsiteX62" fmla="*/ 605 w 2039057"/>
                  <a:gd name="connsiteY62" fmla="*/ 1036524 h 1948688"/>
                  <a:gd name="connsiteX63" fmla="*/ 0 w 2039057"/>
                  <a:gd name="connsiteY63" fmla="*/ 1032388 h 1948688"/>
                  <a:gd name="connsiteX64" fmla="*/ 0 w 2039057"/>
                  <a:gd name="connsiteY64" fmla="*/ 1032388 h 1948688"/>
                  <a:gd name="connsiteX65" fmla="*/ 13717 w 2039057"/>
                  <a:gd name="connsiteY65" fmla="*/ 1022605 h 1948688"/>
                  <a:gd name="connsiteX66" fmla="*/ 13717 w 2039057"/>
                  <a:gd name="connsiteY66" fmla="*/ 1022605 h 1948688"/>
                  <a:gd name="connsiteX67" fmla="*/ 55371 w 2039057"/>
                  <a:gd name="connsiteY67" fmla="*/ 1027950 h 1948688"/>
                  <a:gd name="connsiteX68" fmla="*/ 55371 w 2039057"/>
                  <a:gd name="connsiteY68" fmla="*/ 1027950 h 1948688"/>
                  <a:gd name="connsiteX69" fmla="*/ 61423 w 2039057"/>
                  <a:gd name="connsiteY69" fmla="*/ 1025126 h 1948688"/>
                  <a:gd name="connsiteX70" fmla="*/ 61423 w 2039057"/>
                  <a:gd name="connsiteY70" fmla="*/ 1025126 h 1948688"/>
                  <a:gd name="connsiteX71" fmla="*/ 39133 w 2039057"/>
                  <a:gd name="connsiteY71" fmla="*/ 1000920 h 1948688"/>
                  <a:gd name="connsiteX72" fmla="*/ 39133 w 2039057"/>
                  <a:gd name="connsiteY72" fmla="*/ 1000920 h 1948688"/>
                  <a:gd name="connsiteX73" fmla="*/ 4640 w 2039057"/>
                  <a:gd name="connsiteY73" fmla="*/ 964410 h 1948688"/>
                  <a:gd name="connsiteX74" fmla="*/ 4640 w 2039057"/>
                  <a:gd name="connsiteY74" fmla="*/ 964410 h 1948688"/>
                  <a:gd name="connsiteX75" fmla="*/ 5547 w 2039057"/>
                  <a:gd name="connsiteY75" fmla="*/ 953517 h 1948688"/>
                  <a:gd name="connsiteX76" fmla="*/ 5547 w 2039057"/>
                  <a:gd name="connsiteY76" fmla="*/ 953517 h 1948688"/>
                  <a:gd name="connsiteX77" fmla="*/ 38225 w 2039057"/>
                  <a:gd name="connsiteY77" fmla="*/ 932336 h 1948688"/>
                  <a:gd name="connsiteX78" fmla="*/ 38225 w 2039057"/>
                  <a:gd name="connsiteY78" fmla="*/ 932336 h 1948688"/>
                  <a:gd name="connsiteX79" fmla="*/ 65659 w 2039057"/>
                  <a:gd name="connsiteY79" fmla="*/ 933446 h 1948688"/>
                  <a:gd name="connsiteX80" fmla="*/ 65659 w 2039057"/>
                  <a:gd name="connsiteY80" fmla="*/ 933446 h 1948688"/>
                  <a:gd name="connsiteX81" fmla="*/ 84923 w 2039057"/>
                  <a:gd name="connsiteY81" fmla="*/ 925680 h 1948688"/>
                  <a:gd name="connsiteX82" fmla="*/ 84923 w 2039057"/>
                  <a:gd name="connsiteY82" fmla="*/ 925680 h 1948688"/>
                  <a:gd name="connsiteX83" fmla="*/ 100758 w 2039057"/>
                  <a:gd name="connsiteY83" fmla="*/ 892397 h 1948688"/>
                  <a:gd name="connsiteX84" fmla="*/ 100758 w 2039057"/>
                  <a:gd name="connsiteY84" fmla="*/ 892397 h 1948688"/>
                  <a:gd name="connsiteX85" fmla="*/ 164299 w 2039057"/>
                  <a:gd name="connsiteY85" fmla="*/ 849330 h 1948688"/>
                  <a:gd name="connsiteX86" fmla="*/ 164299 w 2039057"/>
                  <a:gd name="connsiteY86" fmla="*/ 849330 h 1948688"/>
                  <a:gd name="connsiteX87" fmla="*/ 169140 w 2039057"/>
                  <a:gd name="connsiteY87" fmla="*/ 849834 h 1948688"/>
                  <a:gd name="connsiteX88" fmla="*/ 169140 w 2039057"/>
                  <a:gd name="connsiteY88" fmla="*/ 849834 h 1948688"/>
                  <a:gd name="connsiteX89" fmla="*/ 212307 w 2039057"/>
                  <a:gd name="connsiteY89" fmla="*/ 883521 h 1948688"/>
                  <a:gd name="connsiteX90" fmla="*/ 212307 w 2039057"/>
                  <a:gd name="connsiteY90" fmla="*/ 883521 h 1948688"/>
                  <a:gd name="connsiteX91" fmla="*/ 218560 w 2039057"/>
                  <a:gd name="connsiteY91" fmla="*/ 882109 h 1948688"/>
                  <a:gd name="connsiteX92" fmla="*/ 218560 w 2039057"/>
                  <a:gd name="connsiteY92" fmla="*/ 882109 h 1948688"/>
                  <a:gd name="connsiteX93" fmla="*/ 260215 w 2039057"/>
                  <a:gd name="connsiteY93" fmla="*/ 815341 h 1948688"/>
                  <a:gd name="connsiteX94" fmla="*/ 260215 w 2039057"/>
                  <a:gd name="connsiteY94" fmla="*/ 815341 h 1948688"/>
                  <a:gd name="connsiteX95" fmla="*/ 303181 w 2039057"/>
                  <a:gd name="connsiteY95" fmla="*/ 710044 h 1948688"/>
                  <a:gd name="connsiteX96" fmla="*/ 303181 w 2039057"/>
                  <a:gd name="connsiteY96" fmla="*/ 710044 h 1948688"/>
                  <a:gd name="connsiteX97" fmla="*/ 313166 w 2039057"/>
                  <a:gd name="connsiteY97" fmla="*/ 709137 h 1948688"/>
                  <a:gd name="connsiteX98" fmla="*/ 313166 w 2039057"/>
                  <a:gd name="connsiteY98" fmla="*/ 709137 h 1948688"/>
                  <a:gd name="connsiteX99" fmla="*/ 357947 w 2039057"/>
                  <a:gd name="connsiteY99" fmla="*/ 711053 h 1948688"/>
                  <a:gd name="connsiteX100" fmla="*/ 357947 w 2039057"/>
                  <a:gd name="connsiteY100" fmla="*/ 711053 h 1948688"/>
                  <a:gd name="connsiteX101" fmla="*/ 384069 w 2039057"/>
                  <a:gd name="connsiteY101" fmla="*/ 707825 h 1948688"/>
                  <a:gd name="connsiteX102" fmla="*/ 384069 w 2039057"/>
                  <a:gd name="connsiteY102" fmla="*/ 707825 h 1948688"/>
                  <a:gd name="connsiteX103" fmla="*/ 425825 w 2039057"/>
                  <a:gd name="connsiteY103" fmla="*/ 696227 h 1948688"/>
                  <a:gd name="connsiteX104" fmla="*/ 425825 w 2039057"/>
                  <a:gd name="connsiteY104" fmla="*/ 696227 h 1948688"/>
                  <a:gd name="connsiteX105" fmla="*/ 439138 w 2039057"/>
                  <a:gd name="connsiteY105" fmla="*/ 700665 h 1948688"/>
                  <a:gd name="connsiteX106" fmla="*/ 439138 w 2039057"/>
                  <a:gd name="connsiteY106" fmla="*/ 700665 h 1948688"/>
                  <a:gd name="connsiteX107" fmla="*/ 500259 w 2039057"/>
                  <a:gd name="connsiteY107" fmla="*/ 721240 h 1948688"/>
                  <a:gd name="connsiteX108" fmla="*/ 500259 w 2039057"/>
                  <a:gd name="connsiteY108" fmla="*/ 721240 h 1948688"/>
                  <a:gd name="connsiteX109" fmla="*/ 532937 w 2039057"/>
                  <a:gd name="connsiteY109" fmla="*/ 709540 h 1948688"/>
                  <a:gd name="connsiteX110" fmla="*/ 532937 w 2039057"/>
                  <a:gd name="connsiteY110" fmla="*/ 709540 h 1948688"/>
                  <a:gd name="connsiteX111" fmla="*/ 638637 w 2039057"/>
                  <a:gd name="connsiteY111" fmla="*/ 616750 h 1948688"/>
                  <a:gd name="connsiteX112" fmla="*/ 638637 w 2039057"/>
                  <a:gd name="connsiteY112" fmla="*/ 616750 h 1948688"/>
                  <a:gd name="connsiteX113" fmla="*/ 681400 w 2039057"/>
                  <a:gd name="connsiteY113" fmla="*/ 613321 h 1948688"/>
                  <a:gd name="connsiteX114" fmla="*/ 681400 w 2039057"/>
                  <a:gd name="connsiteY114" fmla="*/ 613321 h 1948688"/>
                  <a:gd name="connsiteX115" fmla="*/ 738688 w 2039057"/>
                  <a:gd name="connsiteY115" fmla="*/ 636922 h 1948688"/>
                  <a:gd name="connsiteX116" fmla="*/ 738688 w 2039057"/>
                  <a:gd name="connsiteY116" fmla="*/ 636922 h 1948688"/>
                  <a:gd name="connsiteX117" fmla="*/ 751396 w 2039057"/>
                  <a:gd name="connsiteY117" fmla="*/ 638939 h 1948688"/>
                  <a:gd name="connsiteX118" fmla="*/ 751396 w 2039057"/>
                  <a:gd name="connsiteY118" fmla="*/ 638939 h 1948688"/>
                  <a:gd name="connsiteX119" fmla="*/ 801624 w 2039057"/>
                  <a:gd name="connsiteY119" fmla="*/ 582761 h 1948688"/>
                  <a:gd name="connsiteX120" fmla="*/ 801624 w 2039057"/>
                  <a:gd name="connsiteY120" fmla="*/ 582761 h 1948688"/>
                  <a:gd name="connsiteX121" fmla="*/ 801624 w 2039057"/>
                  <a:gd name="connsiteY121" fmla="*/ 580945 h 1948688"/>
                  <a:gd name="connsiteX122" fmla="*/ 801624 w 2039057"/>
                  <a:gd name="connsiteY122" fmla="*/ 580945 h 1948688"/>
                  <a:gd name="connsiteX123" fmla="*/ 801422 w 2039057"/>
                  <a:gd name="connsiteY123" fmla="*/ 570557 h 1948688"/>
                  <a:gd name="connsiteX124" fmla="*/ 801422 w 2039057"/>
                  <a:gd name="connsiteY124" fmla="*/ 570557 h 1948688"/>
                  <a:gd name="connsiteX125" fmla="*/ 822502 w 2039057"/>
                  <a:gd name="connsiteY125" fmla="*/ 512160 h 1948688"/>
                  <a:gd name="connsiteX126" fmla="*/ 822502 w 2039057"/>
                  <a:gd name="connsiteY126" fmla="*/ 512160 h 1948688"/>
                  <a:gd name="connsiteX127" fmla="*/ 826939 w 2039057"/>
                  <a:gd name="connsiteY127" fmla="*/ 504596 h 1948688"/>
                  <a:gd name="connsiteX128" fmla="*/ 826939 w 2039057"/>
                  <a:gd name="connsiteY128" fmla="*/ 504596 h 1948688"/>
                  <a:gd name="connsiteX129" fmla="*/ 825931 w 2039057"/>
                  <a:gd name="connsiteY129" fmla="*/ 495619 h 1948688"/>
                  <a:gd name="connsiteX130" fmla="*/ 825931 w 2039057"/>
                  <a:gd name="connsiteY130" fmla="*/ 495619 h 1948688"/>
                  <a:gd name="connsiteX131" fmla="*/ 836925 w 2039057"/>
                  <a:gd name="connsiteY131" fmla="*/ 476859 h 1948688"/>
                  <a:gd name="connsiteX132" fmla="*/ 836925 w 2039057"/>
                  <a:gd name="connsiteY132" fmla="*/ 476859 h 1948688"/>
                  <a:gd name="connsiteX133" fmla="*/ 871519 w 2039057"/>
                  <a:gd name="connsiteY133" fmla="*/ 466572 h 1948688"/>
                  <a:gd name="connsiteX134" fmla="*/ 871519 w 2039057"/>
                  <a:gd name="connsiteY134" fmla="*/ 466572 h 1948688"/>
                  <a:gd name="connsiteX135" fmla="*/ 892800 w 2039057"/>
                  <a:gd name="connsiteY135" fmla="*/ 458806 h 1948688"/>
                  <a:gd name="connsiteX136" fmla="*/ 892800 w 2039057"/>
                  <a:gd name="connsiteY136" fmla="*/ 458806 h 1948688"/>
                  <a:gd name="connsiteX137" fmla="*/ 906618 w 2039057"/>
                  <a:gd name="connsiteY137" fmla="*/ 415235 h 1948688"/>
                  <a:gd name="connsiteX138" fmla="*/ 906618 w 2039057"/>
                  <a:gd name="connsiteY138" fmla="*/ 415235 h 1948688"/>
                  <a:gd name="connsiteX139" fmla="*/ 884631 w 2039057"/>
                  <a:gd name="connsiteY139" fmla="*/ 374488 h 1948688"/>
                  <a:gd name="connsiteX140" fmla="*/ 884631 w 2039057"/>
                  <a:gd name="connsiteY140" fmla="*/ 374488 h 1948688"/>
                  <a:gd name="connsiteX141" fmla="*/ 859214 w 2039057"/>
                  <a:gd name="connsiteY141" fmla="*/ 337977 h 1948688"/>
                  <a:gd name="connsiteX142" fmla="*/ 859214 w 2039057"/>
                  <a:gd name="connsiteY142" fmla="*/ 337977 h 1948688"/>
                  <a:gd name="connsiteX143" fmla="*/ 877974 w 2039057"/>
                  <a:gd name="connsiteY143" fmla="*/ 311250 h 1948688"/>
                  <a:gd name="connsiteX144" fmla="*/ 877974 w 2039057"/>
                  <a:gd name="connsiteY144" fmla="*/ 311250 h 1948688"/>
                  <a:gd name="connsiteX145" fmla="*/ 894615 w 2039057"/>
                  <a:gd name="connsiteY145" fmla="*/ 272520 h 1948688"/>
                  <a:gd name="connsiteX146" fmla="*/ 894615 w 2039057"/>
                  <a:gd name="connsiteY146" fmla="*/ 272520 h 1948688"/>
                  <a:gd name="connsiteX147" fmla="*/ 887253 w 2039057"/>
                  <a:gd name="connsiteY147" fmla="*/ 247406 h 1948688"/>
                  <a:gd name="connsiteX148" fmla="*/ 887253 w 2039057"/>
                  <a:gd name="connsiteY148" fmla="*/ 247406 h 1948688"/>
                  <a:gd name="connsiteX149" fmla="*/ 873133 w 2039057"/>
                  <a:gd name="connsiteY149" fmla="*/ 217552 h 1948688"/>
                  <a:gd name="connsiteX150" fmla="*/ 873133 w 2039057"/>
                  <a:gd name="connsiteY150" fmla="*/ 217552 h 1948688"/>
                  <a:gd name="connsiteX151" fmla="*/ 889270 w 2039057"/>
                  <a:gd name="connsiteY151" fmla="*/ 196876 h 1948688"/>
                  <a:gd name="connsiteX152" fmla="*/ 889270 w 2039057"/>
                  <a:gd name="connsiteY152" fmla="*/ 196876 h 1948688"/>
                  <a:gd name="connsiteX153" fmla="*/ 909946 w 2039057"/>
                  <a:gd name="connsiteY153" fmla="*/ 159054 h 1948688"/>
                  <a:gd name="connsiteX154" fmla="*/ 909946 w 2039057"/>
                  <a:gd name="connsiteY154" fmla="*/ 159054 h 1948688"/>
                  <a:gd name="connsiteX155" fmla="*/ 903390 w 2039057"/>
                  <a:gd name="connsiteY155" fmla="*/ 141606 h 1948688"/>
                  <a:gd name="connsiteX156" fmla="*/ 903390 w 2039057"/>
                  <a:gd name="connsiteY156" fmla="*/ 141606 h 1948688"/>
                  <a:gd name="connsiteX157" fmla="*/ 884631 w 2039057"/>
                  <a:gd name="connsiteY157" fmla="*/ 73627 h 1948688"/>
                  <a:gd name="connsiteX158" fmla="*/ 884631 w 2039057"/>
                  <a:gd name="connsiteY158" fmla="*/ 73627 h 1948688"/>
                  <a:gd name="connsiteX159" fmla="*/ 894313 w 2039057"/>
                  <a:gd name="connsiteY159" fmla="*/ 38730 h 1948688"/>
                  <a:gd name="connsiteX160" fmla="*/ 894313 w 2039057"/>
                  <a:gd name="connsiteY160" fmla="*/ 38730 h 1948688"/>
                  <a:gd name="connsiteX161" fmla="*/ 908131 w 2039057"/>
                  <a:gd name="connsiteY161" fmla="*/ 17045 h 1948688"/>
                  <a:gd name="connsiteX162" fmla="*/ 908131 w 2039057"/>
                  <a:gd name="connsiteY162" fmla="*/ 17045 h 1948688"/>
                  <a:gd name="connsiteX163" fmla="*/ 908231 w 2039057"/>
                  <a:gd name="connsiteY163" fmla="*/ 16642 h 1948688"/>
                  <a:gd name="connsiteX164" fmla="*/ 908231 w 2039057"/>
                  <a:gd name="connsiteY164" fmla="*/ 16642 h 1948688"/>
                  <a:gd name="connsiteX165" fmla="*/ 911257 w 2039057"/>
                  <a:gd name="connsiteY165" fmla="*/ 14725 h 1948688"/>
                  <a:gd name="connsiteX166" fmla="*/ 911257 w 2039057"/>
                  <a:gd name="connsiteY166" fmla="*/ 14725 h 1948688"/>
                  <a:gd name="connsiteX167" fmla="*/ 925882 w 2039057"/>
                  <a:gd name="connsiteY167" fmla="*/ 17045 h 1948688"/>
                  <a:gd name="connsiteX168" fmla="*/ 925882 w 2039057"/>
                  <a:gd name="connsiteY168" fmla="*/ 17045 h 1948688"/>
                  <a:gd name="connsiteX169" fmla="*/ 985489 w 2039057"/>
                  <a:gd name="connsiteY169" fmla="*/ 13112 h 1948688"/>
                  <a:gd name="connsiteX170" fmla="*/ 985489 w 2039057"/>
                  <a:gd name="connsiteY170" fmla="*/ 13112 h 1948688"/>
                  <a:gd name="connsiteX171" fmla="*/ 1009393 w 2039057"/>
                  <a:gd name="connsiteY171" fmla="*/ 20071 h 1948688"/>
                  <a:gd name="connsiteX172" fmla="*/ 1009393 w 2039057"/>
                  <a:gd name="connsiteY172" fmla="*/ 20071 h 1948688"/>
                  <a:gd name="connsiteX173" fmla="*/ 1107730 w 2039057"/>
                  <a:gd name="connsiteY173" fmla="*/ 70803 h 1948688"/>
                  <a:gd name="connsiteX174" fmla="*/ 1107730 w 2039057"/>
                  <a:gd name="connsiteY174" fmla="*/ 70803 h 1948688"/>
                  <a:gd name="connsiteX175" fmla="*/ 1143232 w 2039057"/>
                  <a:gd name="connsiteY175" fmla="*/ 71408 h 1948688"/>
                  <a:gd name="connsiteX176" fmla="*/ 1143232 w 2039057"/>
                  <a:gd name="connsiteY176" fmla="*/ 71408 h 1948688"/>
                  <a:gd name="connsiteX177" fmla="*/ 1200822 w 2039057"/>
                  <a:gd name="connsiteY177" fmla="*/ 58498 h 1948688"/>
                  <a:gd name="connsiteX178" fmla="*/ 1200822 w 2039057"/>
                  <a:gd name="connsiteY178" fmla="*/ 58498 h 1948688"/>
                  <a:gd name="connsiteX179" fmla="*/ 1277575 w 2039057"/>
                  <a:gd name="connsiteY179" fmla="*/ 19970 h 1948688"/>
                  <a:gd name="connsiteX180" fmla="*/ 1277575 w 2039057"/>
                  <a:gd name="connsiteY180" fmla="*/ 19970 h 1948688"/>
                  <a:gd name="connsiteX181" fmla="*/ 1292906 w 2039057"/>
                  <a:gd name="connsiteY181" fmla="*/ 22290 h 1948688"/>
                  <a:gd name="connsiteX182" fmla="*/ 1292906 w 2039057"/>
                  <a:gd name="connsiteY182" fmla="*/ 22290 h 1948688"/>
                  <a:gd name="connsiteX183" fmla="*/ 1340814 w 2039057"/>
                  <a:gd name="connsiteY183" fmla="*/ 33888 h 1948688"/>
                  <a:gd name="connsiteX184" fmla="*/ 1340814 w 2039057"/>
                  <a:gd name="connsiteY184" fmla="*/ 33888 h 1948688"/>
                  <a:gd name="connsiteX185" fmla="*/ 1375812 w 2039057"/>
                  <a:gd name="connsiteY185" fmla="*/ 27434 h 1948688"/>
                  <a:gd name="connsiteX186" fmla="*/ 1375812 w 2039057"/>
                  <a:gd name="connsiteY186" fmla="*/ 27434 h 1948688"/>
                  <a:gd name="connsiteX187" fmla="*/ 1418576 w 2039057"/>
                  <a:gd name="connsiteY187" fmla="*/ 0 h 1948688"/>
                  <a:gd name="connsiteX188" fmla="*/ 1418576 w 2039057"/>
                  <a:gd name="connsiteY188" fmla="*/ 0 h 1948688"/>
                  <a:gd name="connsiteX189" fmla="*/ 1430981 w 2039057"/>
                  <a:gd name="connsiteY189" fmla="*/ 1816 h 1948688"/>
                  <a:gd name="connsiteX190" fmla="*/ 1430981 w 2039057"/>
                  <a:gd name="connsiteY190" fmla="*/ 1816 h 1948688"/>
                  <a:gd name="connsiteX191" fmla="*/ 1463861 w 2039057"/>
                  <a:gd name="connsiteY191" fmla="*/ 70601 h 1948688"/>
                  <a:gd name="connsiteX192" fmla="*/ 1463861 w 2039057"/>
                  <a:gd name="connsiteY192" fmla="*/ 70601 h 1948688"/>
                  <a:gd name="connsiteX193" fmla="*/ 1463861 w 2039057"/>
                  <a:gd name="connsiteY193" fmla="*/ 71206 h 1948688"/>
                  <a:gd name="connsiteX194" fmla="*/ 1463861 w 2039057"/>
                  <a:gd name="connsiteY194" fmla="*/ 71206 h 1948688"/>
                  <a:gd name="connsiteX195" fmla="*/ 1509954 w 2039057"/>
                  <a:gd name="connsiteY195" fmla="*/ 101766 h 1948688"/>
                  <a:gd name="connsiteX196" fmla="*/ 1509954 w 2039057"/>
                  <a:gd name="connsiteY196" fmla="*/ 101766 h 1948688"/>
                  <a:gd name="connsiteX197" fmla="*/ 1551911 w 2039057"/>
                  <a:gd name="connsiteY197" fmla="*/ 140093 h 1948688"/>
                  <a:gd name="connsiteX198" fmla="*/ 1551911 w 2039057"/>
                  <a:gd name="connsiteY198" fmla="*/ 140093 h 1948688"/>
                  <a:gd name="connsiteX199" fmla="*/ 1555542 w 2039057"/>
                  <a:gd name="connsiteY199" fmla="*/ 139992 h 1948688"/>
                  <a:gd name="connsiteX200" fmla="*/ 1555542 w 2039057"/>
                  <a:gd name="connsiteY200" fmla="*/ 139992 h 1948688"/>
                  <a:gd name="connsiteX201" fmla="*/ 1619990 w 2039057"/>
                  <a:gd name="connsiteY201" fmla="*/ 105599 h 1948688"/>
                  <a:gd name="connsiteX202" fmla="*/ 1619990 w 2039057"/>
                  <a:gd name="connsiteY202" fmla="*/ 105599 h 1948688"/>
                  <a:gd name="connsiteX203" fmla="*/ 1690289 w 2039057"/>
                  <a:gd name="connsiteY203" fmla="*/ 67071 h 1948688"/>
                  <a:gd name="connsiteX204" fmla="*/ 1690289 w 2039057"/>
                  <a:gd name="connsiteY204" fmla="*/ 67071 h 1948688"/>
                  <a:gd name="connsiteX205" fmla="*/ 1712881 w 2039057"/>
                  <a:gd name="connsiteY205" fmla="*/ 71005 h 1948688"/>
                  <a:gd name="connsiteX206" fmla="*/ 1712881 w 2039057"/>
                  <a:gd name="connsiteY206" fmla="*/ 71005 h 1948688"/>
                  <a:gd name="connsiteX207" fmla="*/ 1755746 w 2039057"/>
                  <a:gd name="connsiteY207" fmla="*/ 186084 h 1948688"/>
                  <a:gd name="connsiteX208" fmla="*/ 1755746 w 2039057"/>
                  <a:gd name="connsiteY208" fmla="*/ 186084 h 1948688"/>
                  <a:gd name="connsiteX209" fmla="*/ 1791551 w 2039057"/>
                  <a:gd name="connsiteY209" fmla="*/ 214224 h 1948688"/>
                  <a:gd name="connsiteX210" fmla="*/ 1791551 w 2039057"/>
                  <a:gd name="connsiteY210" fmla="*/ 214224 h 1948688"/>
                  <a:gd name="connsiteX211" fmla="*/ 1823523 w 2039057"/>
                  <a:gd name="connsiteY211" fmla="*/ 247103 h 1948688"/>
                  <a:gd name="connsiteX212" fmla="*/ 1823523 w 2039057"/>
                  <a:gd name="connsiteY212" fmla="*/ 247103 h 1948688"/>
                  <a:gd name="connsiteX213" fmla="*/ 1822111 w 2039057"/>
                  <a:gd name="connsiteY213" fmla="*/ 256786 h 1948688"/>
                  <a:gd name="connsiteX214" fmla="*/ 1822111 w 2039057"/>
                  <a:gd name="connsiteY214" fmla="*/ 256786 h 1948688"/>
                  <a:gd name="connsiteX215" fmla="*/ 1867296 w 2039057"/>
                  <a:gd name="connsiteY215" fmla="*/ 283816 h 1948688"/>
                  <a:gd name="connsiteX216" fmla="*/ 1867296 w 2039057"/>
                  <a:gd name="connsiteY216" fmla="*/ 283816 h 1948688"/>
                  <a:gd name="connsiteX217" fmla="*/ 1872742 w 2039057"/>
                  <a:gd name="connsiteY217" fmla="*/ 283513 h 1948688"/>
                  <a:gd name="connsiteX218" fmla="*/ 1872742 w 2039057"/>
                  <a:gd name="connsiteY218" fmla="*/ 283513 h 1948688"/>
                  <a:gd name="connsiteX219" fmla="*/ 1919238 w 2039057"/>
                  <a:gd name="connsiteY219" fmla="*/ 270503 h 1948688"/>
                  <a:gd name="connsiteX220" fmla="*/ 1919238 w 2039057"/>
                  <a:gd name="connsiteY220" fmla="*/ 270503 h 1948688"/>
                  <a:gd name="connsiteX221" fmla="*/ 1934568 w 2039057"/>
                  <a:gd name="connsiteY221" fmla="*/ 279782 h 1948688"/>
                  <a:gd name="connsiteX222" fmla="*/ 1934568 w 2039057"/>
                  <a:gd name="connsiteY222" fmla="*/ 279782 h 1948688"/>
                  <a:gd name="connsiteX223" fmla="*/ 1996193 w 2039057"/>
                  <a:gd name="connsiteY223" fmla="*/ 347458 h 1948688"/>
                  <a:gd name="connsiteX224" fmla="*/ 1996193 w 2039057"/>
                  <a:gd name="connsiteY224" fmla="*/ 347458 h 1948688"/>
                  <a:gd name="connsiteX225" fmla="*/ 2014650 w 2039057"/>
                  <a:gd name="connsiteY225" fmla="*/ 333035 h 1948688"/>
                  <a:gd name="connsiteX226" fmla="*/ 2014650 w 2039057"/>
                  <a:gd name="connsiteY226" fmla="*/ 333035 h 1948688"/>
                  <a:gd name="connsiteX227" fmla="*/ 2017272 w 2039057"/>
                  <a:gd name="connsiteY227" fmla="*/ 331119 h 1948688"/>
                  <a:gd name="connsiteX228" fmla="*/ 2017272 w 2039057"/>
                  <a:gd name="connsiteY228" fmla="*/ 331119 h 1948688"/>
                  <a:gd name="connsiteX229" fmla="*/ 2019894 w 2039057"/>
                  <a:gd name="connsiteY229" fmla="*/ 332833 h 1948688"/>
                  <a:gd name="connsiteX230" fmla="*/ 2019894 w 2039057"/>
                  <a:gd name="connsiteY230" fmla="*/ 332833 h 1948688"/>
                  <a:gd name="connsiteX231" fmla="*/ 2027459 w 2039057"/>
                  <a:gd name="connsiteY231" fmla="*/ 374790 h 1948688"/>
                  <a:gd name="connsiteX232" fmla="*/ 2027459 w 2039057"/>
                  <a:gd name="connsiteY232" fmla="*/ 374790 h 1948688"/>
                  <a:gd name="connsiteX233" fmla="*/ 2010313 w 2039057"/>
                  <a:gd name="connsiteY233" fmla="*/ 430464 h 1948688"/>
                  <a:gd name="connsiteX234" fmla="*/ 2010313 w 2039057"/>
                  <a:gd name="connsiteY234" fmla="*/ 430464 h 1948688"/>
                  <a:gd name="connsiteX235" fmla="*/ 2008598 w 2039057"/>
                  <a:gd name="connsiteY235" fmla="*/ 428246 h 1948688"/>
                  <a:gd name="connsiteX236" fmla="*/ 2010212 w 2039057"/>
                  <a:gd name="connsiteY236" fmla="*/ 430464 h 1948688"/>
                  <a:gd name="connsiteX237" fmla="*/ 2003354 w 2039057"/>
                  <a:gd name="connsiteY237" fmla="*/ 442265 h 1948688"/>
                  <a:gd name="connsiteX238" fmla="*/ 2003354 w 2039057"/>
                  <a:gd name="connsiteY238" fmla="*/ 442265 h 1948688"/>
                  <a:gd name="connsiteX239" fmla="*/ 2024232 w 2039057"/>
                  <a:gd name="connsiteY239" fmla="*/ 471211 h 1948688"/>
                  <a:gd name="connsiteX240" fmla="*/ 2024232 w 2039057"/>
                  <a:gd name="connsiteY240" fmla="*/ 471211 h 1948688"/>
                  <a:gd name="connsiteX241" fmla="*/ 2039058 w 2039057"/>
                  <a:gd name="connsiteY241" fmla="*/ 518312 h 1948688"/>
                  <a:gd name="connsiteX242" fmla="*/ 2039058 w 2039057"/>
                  <a:gd name="connsiteY242" fmla="*/ 518312 h 1948688"/>
                  <a:gd name="connsiteX243" fmla="*/ 2008901 w 2039057"/>
                  <a:gd name="connsiteY243" fmla="*/ 566119 h 1948688"/>
                  <a:gd name="connsiteX244" fmla="*/ 2008901 w 2039057"/>
                  <a:gd name="connsiteY244" fmla="*/ 566119 h 1948688"/>
                  <a:gd name="connsiteX245" fmla="*/ 1972995 w 2039057"/>
                  <a:gd name="connsiteY245" fmla="*/ 590023 h 1948688"/>
                  <a:gd name="connsiteX246" fmla="*/ 1972995 w 2039057"/>
                  <a:gd name="connsiteY246" fmla="*/ 590023 h 1948688"/>
                  <a:gd name="connsiteX247" fmla="*/ 1974811 w 2039057"/>
                  <a:gd name="connsiteY247" fmla="*/ 600613 h 1948688"/>
                  <a:gd name="connsiteX248" fmla="*/ 1974811 w 2039057"/>
                  <a:gd name="connsiteY248" fmla="*/ 600613 h 1948688"/>
                  <a:gd name="connsiteX249" fmla="*/ 1977030 w 2039057"/>
                  <a:gd name="connsiteY249" fmla="*/ 614329 h 1948688"/>
                  <a:gd name="connsiteX250" fmla="*/ 1977030 w 2039057"/>
                  <a:gd name="connsiteY250" fmla="*/ 614329 h 1948688"/>
                  <a:gd name="connsiteX251" fmla="*/ 1964422 w 2039057"/>
                  <a:gd name="connsiteY251" fmla="*/ 664456 h 1948688"/>
                  <a:gd name="connsiteX252" fmla="*/ 1964422 w 2039057"/>
                  <a:gd name="connsiteY252" fmla="*/ 664456 h 1948688"/>
                  <a:gd name="connsiteX253" fmla="*/ 1906731 w 2039057"/>
                  <a:gd name="connsiteY253" fmla="*/ 721845 h 1948688"/>
                  <a:gd name="connsiteX254" fmla="*/ 1906731 w 2039057"/>
                  <a:gd name="connsiteY254" fmla="*/ 721845 h 1948688"/>
                  <a:gd name="connsiteX255" fmla="*/ 1872843 w 2039057"/>
                  <a:gd name="connsiteY255" fmla="*/ 771568 h 1948688"/>
                  <a:gd name="connsiteX256" fmla="*/ 1872843 w 2039057"/>
                  <a:gd name="connsiteY256" fmla="*/ 771568 h 1948688"/>
                  <a:gd name="connsiteX257" fmla="*/ 1806478 w 2039057"/>
                  <a:gd name="connsiteY257" fmla="*/ 804851 h 1948688"/>
                  <a:gd name="connsiteX258" fmla="*/ 1806478 w 2039057"/>
                  <a:gd name="connsiteY258" fmla="*/ 804851 h 1948688"/>
                  <a:gd name="connsiteX259" fmla="*/ 1751106 w 2039057"/>
                  <a:gd name="connsiteY259" fmla="*/ 835008 h 1948688"/>
                  <a:gd name="connsiteX260" fmla="*/ 1751106 w 2039057"/>
                  <a:gd name="connsiteY260" fmla="*/ 835008 h 1948688"/>
                  <a:gd name="connsiteX261" fmla="*/ 1720446 w 2039057"/>
                  <a:gd name="connsiteY261" fmla="*/ 852961 h 1948688"/>
                  <a:gd name="connsiteX262" fmla="*/ 1720446 w 2039057"/>
                  <a:gd name="connsiteY262" fmla="*/ 852961 h 1948688"/>
                  <a:gd name="connsiteX263" fmla="*/ 1685448 w 2039057"/>
                  <a:gd name="connsiteY263" fmla="*/ 840959 h 1948688"/>
                  <a:gd name="connsiteX264" fmla="*/ 1685448 w 2039057"/>
                  <a:gd name="connsiteY264" fmla="*/ 840959 h 1948688"/>
                  <a:gd name="connsiteX265" fmla="*/ 1675059 w 2039057"/>
                  <a:gd name="connsiteY265" fmla="*/ 838538 h 1948688"/>
                  <a:gd name="connsiteX266" fmla="*/ 1675059 w 2039057"/>
                  <a:gd name="connsiteY266" fmla="*/ 838538 h 1948688"/>
                  <a:gd name="connsiteX267" fmla="*/ 1644499 w 2039057"/>
                  <a:gd name="connsiteY267" fmla="*/ 873032 h 1948688"/>
                  <a:gd name="connsiteX268" fmla="*/ 1644499 w 2039057"/>
                  <a:gd name="connsiteY268" fmla="*/ 873032 h 1948688"/>
                  <a:gd name="connsiteX269" fmla="*/ 1629975 w 2039057"/>
                  <a:gd name="connsiteY269" fmla="*/ 937178 h 1948688"/>
                  <a:gd name="connsiteX270" fmla="*/ 1629975 w 2039057"/>
                  <a:gd name="connsiteY270" fmla="*/ 937178 h 1948688"/>
                  <a:gd name="connsiteX271" fmla="*/ 1614947 w 2039057"/>
                  <a:gd name="connsiteY271" fmla="*/ 1016654 h 1948688"/>
                  <a:gd name="connsiteX272" fmla="*/ 1614947 w 2039057"/>
                  <a:gd name="connsiteY272" fmla="*/ 1016654 h 1948688"/>
                  <a:gd name="connsiteX273" fmla="*/ 1555743 w 2039057"/>
                  <a:gd name="connsiteY273" fmla="*/ 1102888 h 1948688"/>
                  <a:gd name="connsiteX274" fmla="*/ 1555743 w 2039057"/>
                  <a:gd name="connsiteY274" fmla="*/ 1102888 h 1948688"/>
                  <a:gd name="connsiteX275" fmla="*/ 1539606 w 2039057"/>
                  <a:gd name="connsiteY275" fmla="*/ 1198099 h 1948688"/>
                  <a:gd name="connsiteX276" fmla="*/ 1539606 w 2039057"/>
                  <a:gd name="connsiteY276" fmla="*/ 1198099 h 1948688"/>
                  <a:gd name="connsiteX277" fmla="*/ 1488874 w 2039057"/>
                  <a:gd name="connsiteY277" fmla="*/ 1251857 h 1948688"/>
                  <a:gd name="connsiteX278" fmla="*/ 1488874 w 2039057"/>
                  <a:gd name="connsiteY278" fmla="*/ 1251857 h 1948688"/>
                  <a:gd name="connsiteX279" fmla="*/ 1439958 w 2039057"/>
                  <a:gd name="connsiteY279" fmla="*/ 1311464 h 1948688"/>
                  <a:gd name="connsiteX280" fmla="*/ 1439958 w 2039057"/>
                  <a:gd name="connsiteY280" fmla="*/ 1311464 h 1948688"/>
                  <a:gd name="connsiteX281" fmla="*/ 1422711 w 2039057"/>
                  <a:gd name="connsiteY281" fmla="*/ 1315095 h 1948688"/>
                  <a:gd name="connsiteX282" fmla="*/ 1422711 w 2039057"/>
                  <a:gd name="connsiteY282" fmla="*/ 1315095 h 1948688"/>
                  <a:gd name="connsiteX283" fmla="*/ 1399816 w 2039057"/>
                  <a:gd name="connsiteY283" fmla="*/ 1266178 h 1948688"/>
                  <a:gd name="connsiteX284" fmla="*/ 1399816 w 2039057"/>
                  <a:gd name="connsiteY284" fmla="*/ 1266178 h 1948688"/>
                  <a:gd name="connsiteX285" fmla="*/ 1378434 w 2039057"/>
                  <a:gd name="connsiteY285" fmla="*/ 1262245 h 1948688"/>
                  <a:gd name="connsiteX286" fmla="*/ 1378434 w 2039057"/>
                  <a:gd name="connsiteY286" fmla="*/ 1262245 h 1948688"/>
                  <a:gd name="connsiteX287" fmla="*/ 1280803 w 2039057"/>
                  <a:gd name="connsiteY287" fmla="*/ 1276769 h 1948688"/>
                  <a:gd name="connsiteX288" fmla="*/ 1280803 w 2039057"/>
                  <a:gd name="connsiteY288" fmla="*/ 1276769 h 1948688"/>
                  <a:gd name="connsiteX289" fmla="*/ 1237434 w 2039057"/>
                  <a:gd name="connsiteY289" fmla="*/ 1287560 h 1948688"/>
                  <a:gd name="connsiteX290" fmla="*/ 1237434 w 2039057"/>
                  <a:gd name="connsiteY290" fmla="*/ 1287560 h 1948688"/>
                  <a:gd name="connsiteX291" fmla="*/ 1212219 w 2039057"/>
                  <a:gd name="connsiteY291" fmla="*/ 1279189 h 1948688"/>
                  <a:gd name="connsiteX292" fmla="*/ 1212219 w 2039057"/>
                  <a:gd name="connsiteY292" fmla="*/ 1279189 h 1948688"/>
                  <a:gd name="connsiteX293" fmla="*/ 1196990 w 2039057"/>
                  <a:gd name="connsiteY293" fmla="*/ 1275760 h 1948688"/>
                  <a:gd name="connsiteX294" fmla="*/ 1196990 w 2039057"/>
                  <a:gd name="connsiteY294" fmla="*/ 1275760 h 1948688"/>
                  <a:gd name="connsiteX295" fmla="*/ 1178331 w 2039057"/>
                  <a:gd name="connsiteY295" fmla="*/ 1304404 h 1948688"/>
                  <a:gd name="connsiteX296" fmla="*/ 1178331 w 2039057"/>
                  <a:gd name="connsiteY296" fmla="*/ 1304404 h 1948688"/>
                  <a:gd name="connsiteX297" fmla="*/ 1178734 w 2039057"/>
                  <a:gd name="connsiteY297" fmla="*/ 1313683 h 1948688"/>
                  <a:gd name="connsiteX298" fmla="*/ 1178734 w 2039057"/>
                  <a:gd name="connsiteY298" fmla="*/ 1313683 h 1948688"/>
                  <a:gd name="connsiteX299" fmla="*/ 1178835 w 2039057"/>
                  <a:gd name="connsiteY299" fmla="*/ 1316103 h 1948688"/>
                  <a:gd name="connsiteX300" fmla="*/ 1178835 w 2039057"/>
                  <a:gd name="connsiteY300" fmla="*/ 1316103 h 1948688"/>
                  <a:gd name="connsiteX301" fmla="*/ 1064260 w 2039057"/>
                  <a:gd name="connsiteY301" fmla="*/ 1358767 h 1948688"/>
                  <a:gd name="connsiteX302" fmla="*/ 1064260 w 2039057"/>
                  <a:gd name="connsiteY302" fmla="*/ 1358767 h 1948688"/>
                  <a:gd name="connsiteX303" fmla="*/ 1054981 w 2039057"/>
                  <a:gd name="connsiteY303" fmla="*/ 1358867 h 1948688"/>
                  <a:gd name="connsiteX304" fmla="*/ 1054981 w 2039057"/>
                  <a:gd name="connsiteY304" fmla="*/ 1358867 h 1948688"/>
                  <a:gd name="connsiteX305" fmla="*/ 971066 w 2039057"/>
                  <a:gd name="connsiteY305" fmla="*/ 1318726 h 1948688"/>
                  <a:gd name="connsiteX306" fmla="*/ 971066 w 2039057"/>
                  <a:gd name="connsiteY306" fmla="*/ 1318726 h 1948688"/>
                  <a:gd name="connsiteX307" fmla="*/ 958257 w 2039057"/>
                  <a:gd name="connsiteY307" fmla="*/ 1314691 h 1948688"/>
                  <a:gd name="connsiteX308" fmla="*/ 958257 w 2039057"/>
                  <a:gd name="connsiteY308" fmla="*/ 1314691 h 1948688"/>
                  <a:gd name="connsiteX309" fmla="*/ 946659 w 2039057"/>
                  <a:gd name="connsiteY309" fmla="*/ 1328307 h 1948688"/>
                  <a:gd name="connsiteX310" fmla="*/ 946659 w 2039057"/>
                  <a:gd name="connsiteY310" fmla="*/ 1328307 h 1948688"/>
                  <a:gd name="connsiteX311" fmla="*/ 954727 w 2039057"/>
                  <a:gd name="connsiteY311" fmla="*/ 1349185 h 1948688"/>
                  <a:gd name="connsiteX312" fmla="*/ 954727 w 2039057"/>
                  <a:gd name="connsiteY312" fmla="*/ 1349185 h 1948688"/>
                  <a:gd name="connsiteX313" fmla="*/ 1007375 w 2039057"/>
                  <a:gd name="connsiteY313" fmla="*/ 1454683 h 1948688"/>
                  <a:gd name="connsiteX314" fmla="*/ 1007375 w 2039057"/>
                  <a:gd name="connsiteY314" fmla="*/ 1454683 h 1948688"/>
                  <a:gd name="connsiteX315" fmla="*/ 1061436 w 2039057"/>
                  <a:gd name="connsiteY315" fmla="*/ 1505516 h 1948688"/>
                  <a:gd name="connsiteX316" fmla="*/ 1061436 w 2039057"/>
                  <a:gd name="connsiteY316" fmla="*/ 1505516 h 1948688"/>
                  <a:gd name="connsiteX317" fmla="*/ 1068092 w 2039057"/>
                  <a:gd name="connsiteY317" fmla="*/ 1524780 h 1948688"/>
                  <a:gd name="connsiteX318" fmla="*/ 1068092 w 2039057"/>
                  <a:gd name="connsiteY318" fmla="*/ 1524780 h 1948688"/>
                  <a:gd name="connsiteX319" fmla="*/ 1063554 w 2039057"/>
                  <a:gd name="connsiteY319" fmla="*/ 1555643 h 1948688"/>
                  <a:gd name="connsiteX320" fmla="*/ 1063554 w 2039057"/>
                  <a:gd name="connsiteY320" fmla="*/ 1555643 h 1948688"/>
                  <a:gd name="connsiteX321" fmla="*/ 1064461 w 2039057"/>
                  <a:gd name="connsiteY321" fmla="*/ 1563610 h 1948688"/>
                  <a:gd name="connsiteX322" fmla="*/ 1064461 w 2039057"/>
                  <a:gd name="connsiteY322" fmla="*/ 1563610 h 1948688"/>
                  <a:gd name="connsiteX323" fmla="*/ 1106620 w 2039057"/>
                  <a:gd name="connsiteY323" fmla="*/ 1693012 h 1948688"/>
                  <a:gd name="connsiteX324" fmla="*/ 1106620 w 2039057"/>
                  <a:gd name="connsiteY324" fmla="*/ 1693012 h 1948688"/>
                  <a:gd name="connsiteX325" fmla="*/ 1109646 w 2039057"/>
                  <a:gd name="connsiteY325" fmla="*/ 1736683 h 1948688"/>
                  <a:gd name="connsiteX326" fmla="*/ 1109646 w 2039057"/>
                  <a:gd name="connsiteY326" fmla="*/ 1736683 h 1948688"/>
                  <a:gd name="connsiteX327" fmla="*/ 1098955 w 2039057"/>
                  <a:gd name="connsiteY327" fmla="*/ 1788727 h 1948688"/>
                  <a:gd name="connsiteX328" fmla="*/ 1098955 w 2039057"/>
                  <a:gd name="connsiteY328" fmla="*/ 1788727 h 1948688"/>
                  <a:gd name="connsiteX329" fmla="*/ 1093307 w 2039057"/>
                  <a:gd name="connsiteY329" fmla="*/ 1817471 h 1948688"/>
                  <a:gd name="connsiteX330" fmla="*/ 1093307 w 2039057"/>
                  <a:gd name="connsiteY330" fmla="*/ 1817471 h 1948688"/>
                  <a:gd name="connsiteX331" fmla="*/ 1118723 w 2039057"/>
                  <a:gd name="connsiteY331" fmla="*/ 1861748 h 1948688"/>
                  <a:gd name="connsiteX332" fmla="*/ 1118723 w 2039057"/>
                  <a:gd name="connsiteY332" fmla="*/ 1861748 h 1948688"/>
                  <a:gd name="connsiteX333" fmla="*/ 1141114 w 2039057"/>
                  <a:gd name="connsiteY333" fmla="*/ 1878995 h 1948688"/>
                  <a:gd name="connsiteX334" fmla="*/ 1141114 w 2039057"/>
                  <a:gd name="connsiteY334" fmla="*/ 1878995 h 1948688"/>
                  <a:gd name="connsiteX335" fmla="*/ 1084835 w 2039057"/>
                  <a:gd name="connsiteY335" fmla="*/ 1924180 h 1948688"/>
                  <a:gd name="connsiteX336" fmla="*/ 1084835 w 2039057"/>
                  <a:gd name="connsiteY336" fmla="*/ 1924180 h 1948688"/>
                  <a:gd name="connsiteX337" fmla="*/ 999105 w 2039057"/>
                  <a:gd name="connsiteY337" fmla="*/ 1938905 h 1948688"/>
                  <a:gd name="connsiteX338" fmla="*/ 999105 w 2039057"/>
                  <a:gd name="connsiteY338" fmla="*/ 1938905 h 1948688"/>
                  <a:gd name="connsiteX339" fmla="*/ 941313 w 2039057"/>
                  <a:gd name="connsiteY339" fmla="*/ 1936384 h 1948688"/>
                  <a:gd name="connsiteX340" fmla="*/ 941313 w 2039057"/>
                  <a:gd name="connsiteY340" fmla="*/ 1936384 h 1948688"/>
                  <a:gd name="connsiteX341" fmla="*/ 932740 w 2039057"/>
                  <a:gd name="connsiteY341" fmla="*/ 1936787 h 1948688"/>
                  <a:gd name="connsiteX342" fmla="*/ 932740 w 2039057"/>
                  <a:gd name="connsiteY342" fmla="*/ 1936787 h 1948688"/>
                  <a:gd name="connsiteX343" fmla="*/ 928504 w 2039057"/>
                  <a:gd name="connsiteY343" fmla="*/ 1936888 h 1948688"/>
                  <a:gd name="connsiteX344" fmla="*/ 928504 w 2039057"/>
                  <a:gd name="connsiteY344" fmla="*/ 1936888 h 1948688"/>
                  <a:gd name="connsiteX345" fmla="*/ 850339 w 2039057"/>
                  <a:gd name="connsiteY345" fmla="*/ 1906933 h 1948688"/>
                  <a:gd name="connsiteX346" fmla="*/ 850339 w 2039057"/>
                  <a:gd name="connsiteY346" fmla="*/ 1906933 h 1948688"/>
                  <a:gd name="connsiteX347" fmla="*/ 847817 w 2039057"/>
                  <a:gd name="connsiteY347" fmla="*/ 1906832 h 1948688"/>
                  <a:gd name="connsiteX348" fmla="*/ 847817 w 2039057"/>
                  <a:gd name="connsiteY348" fmla="*/ 1906832 h 1948688"/>
                  <a:gd name="connsiteX349" fmla="*/ 808583 w 2039057"/>
                  <a:gd name="connsiteY349" fmla="*/ 1934366 h 1948688"/>
                  <a:gd name="connsiteX350" fmla="*/ 808583 w 2039057"/>
                  <a:gd name="connsiteY350" fmla="*/ 1934366 h 1948688"/>
                  <a:gd name="connsiteX351" fmla="*/ 737680 w 2039057"/>
                  <a:gd name="connsiteY351" fmla="*/ 1946469 h 1948688"/>
                  <a:gd name="connsiteX352" fmla="*/ 737680 w 2039057"/>
                  <a:gd name="connsiteY352" fmla="*/ 1946469 h 1948688"/>
                  <a:gd name="connsiteX353" fmla="*/ 726484 w 2039057"/>
                  <a:gd name="connsiteY353" fmla="*/ 1948688 h 1948688"/>
                  <a:gd name="connsiteX354" fmla="*/ 726484 w 2039057"/>
                  <a:gd name="connsiteY354" fmla="*/ 1948688 h 1948688"/>
                  <a:gd name="connsiteX355" fmla="*/ 622096 w 2039057"/>
                  <a:gd name="connsiteY355" fmla="*/ 1894023 h 1948688"/>
                  <a:gd name="connsiteX356" fmla="*/ 622096 w 2039057"/>
                  <a:gd name="connsiteY356" fmla="*/ 1894023 h 1948688"/>
                  <a:gd name="connsiteX357" fmla="*/ 226730 w 2039057"/>
                  <a:gd name="connsiteY357" fmla="*/ 1088163 h 1948688"/>
                  <a:gd name="connsiteX358" fmla="*/ 199196 w 2039057"/>
                  <a:gd name="connsiteY358" fmla="*/ 1152612 h 1948688"/>
                  <a:gd name="connsiteX359" fmla="*/ 199196 w 2039057"/>
                  <a:gd name="connsiteY359" fmla="*/ 1152612 h 1948688"/>
                  <a:gd name="connsiteX360" fmla="*/ 179125 w 2039057"/>
                  <a:gd name="connsiteY360" fmla="*/ 1173590 h 1948688"/>
                  <a:gd name="connsiteX361" fmla="*/ 179125 w 2039057"/>
                  <a:gd name="connsiteY361" fmla="*/ 1173590 h 1948688"/>
                  <a:gd name="connsiteX362" fmla="*/ 190018 w 2039057"/>
                  <a:gd name="connsiteY362" fmla="*/ 1184281 h 1948688"/>
                  <a:gd name="connsiteX363" fmla="*/ 190018 w 2039057"/>
                  <a:gd name="connsiteY363" fmla="*/ 1184281 h 1948688"/>
                  <a:gd name="connsiteX364" fmla="*/ 280891 w 2039057"/>
                  <a:gd name="connsiteY364" fmla="*/ 1212723 h 1948688"/>
                  <a:gd name="connsiteX365" fmla="*/ 280891 w 2039057"/>
                  <a:gd name="connsiteY365" fmla="*/ 1212723 h 1948688"/>
                  <a:gd name="connsiteX366" fmla="*/ 295011 w 2039057"/>
                  <a:gd name="connsiteY366" fmla="*/ 1259118 h 1948688"/>
                  <a:gd name="connsiteX367" fmla="*/ 295011 w 2039057"/>
                  <a:gd name="connsiteY367" fmla="*/ 1259118 h 1948688"/>
                  <a:gd name="connsiteX368" fmla="*/ 278571 w 2039057"/>
                  <a:gd name="connsiteY368" fmla="*/ 1322054 h 1948688"/>
                  <a:gd name="connsiteX369" fmla="*/ 278571 w 2039057"/>
                  <a:gd name="connsiteY369" fmla="*/ 1322054 h 1948688"/>
                  <a:gd name="connsiteX370" fmla="*/ 234093 w 2039057"/>
                  <a:gd name="connsiteY370" fmla="*/ 1401026 h 1948688"/>
                  <a:gd name="connsiteX371" fmla="*/ 234093 w 2039057"/>
                  <a:gd name="connsiteY371" fmla="*/ 1401026 h 1948688"/>
                  <a:gd name="connsiteX372" fmla="*/ 230865 w 2039057"/>
                  <a:gd name="connsiteY372" fmla="*/ 1422408 h 1948688"/>
                  <a:gd name="connsiteX373" fmla="*/ 230865 w 2039057"/>
                  <a:gd name="connsiteY373" fmla="*/ 1422408 h 1948688"/>
                  <a:gd name="connsiteX374" fmla="*/ 295516 w 2039057"/>
                  <a:gd name="connsiteY374" fmla="*/ 1537185 h 1948688"/>
                  <a:gd name="connsiteX375" fmla="*/ 295516 w 2039057"/>
                  <a:gd name="connsiteY375" fmla="*/ 1537185 h 1948688"/>
                  <a:gd name="connsiteX376" fmla="*/ 378119 w 2039057"/>
                  <a:gd name="connsiteY376" fmla="*/ 1689885 h 1948688"/>
                  <a:gd name="connsiteX377" fmla="*/ 378119 w 2039057"/>
                  <a:gd name="connsiteY377" fmla="*/ 1689885 h 1948688"/>
                  <a:gd name="connsiteX378" fmla="*/ 449022 w 2039057"/>
                  <a:gd name="connsiteY378" fmla="*/ 1777531 h 1948688"/>
                  <a:gd name="connsiteX379" fmla="*/ 449022 w 2039057"/>
                  <a:gd name="connsiteY379" fmla="*/ 1777531 h 1948688"/>
                  <a:gd name="connsiteX380" fmla="*/ 573482 w 2039057"/>
                  <a:gd name="connsiteY380" fmla="*/ 1820195 h 1948688"/>
                  <a:gd name="connsiteX381" fmla="*/ 573482 w 2039057"/>
                  <a:gd name="connsiteY381" fmla="*/ 1820195 h 1948688"/>
                  <a:gd name="connsiteX382" fmla="*/ 624617 w 2039057"/>
                  <a:gd name="connsiteY382" fmla="*/ 1888778 h 1948688"/>
                  <a:gd name="connsiteX383" fmla="*/ 624617 w 2039057"/>
                  <a:gd name="connsiteY383" fmla="*/ 1888778 h 1948688"/>
                  <a:gd name="connsiteX384" fmla="*/ 727392 w 2039057"/>
                  <a:gd name="connsiteY384" fmla="*/ 1942637 h 1948688"/>
                  <a:gd name="connsiteX385" fmla="*/ 727392 w 2039057"/>
                  <a:gd name="connsiteY385" fmla="*/ 1942637 h 1948688"/>
                  <a:gd name="connsiteX386" fmla="*/ 736268 w 2039057"/>
                  <a:gd name="connsiteY386" fmla="*/ 1940821 h 1948688"/>
                  <a:gd name="connsiteX387" fmla="*/ 736268 w 2039057"/>
                  <a:gd name="connsiteY387" fmla="*/ 1940821 h 1948688"/>
                  <a:gd name="connsiteX388" fmla="*/ 807070 w 2039057"/>
                  <a:gd name="connsiteY388" fmla="*/ 1929525 h 1948688"/>
                  <a:gd name="connsiteX389" fmla="*/ 807070 w 2039057"/>
                  <a:gd name="connsiteY389" fmla="*/ 1929525 h 1948688"/>
                  <a:gd name="connsiteX390" fmla="*/ 848624 w 2039057"/>
                  <a:gd name="connsiteY390" fmla="*/ 1900781 h 1948688"/>
                  <a:gd name="connsiteX391" fmla="*/ 848624 w 2039057"/>
                  <a:gd name="connsiteY391" fmla="*/ 1900781 h 1948688"/>
                  <a:gd name="connsiteX392" fmla="*/ 851852 w 2039057"/>
                  <a:gd name="connsiteY392" fmla="*/ 1900882 h 1948688"/>
                  <a:gd name="connsiteX393" fmla="*/ 851852 w 2039057"/>
                  <a:gd name="connsiteY393" fmla="*/ 1900882 h 1948688"/>
                  <a:gd name="connsiteX394" fmla="*/ 929412 w 2039057"/>
                  <a:gd name="connsiteY394" fmla="*/ 1930736 h 1948688"/>
                  <a:gd name="connsiteX395" fmla="*/ 929412 w 2039057"/>
                  <a:gd name="connsiteY395" fmla="*/ 1930736 h 1948688"/>
                  <a:gd name="connsiteX396" fmla="*/ 933345 w 2039057"/>
                  <a:gd name="connsiteY396" fmla="*/ 1930635 h 1948688"/>
                  <a:gd name="connsiteX397" fmla="*/ 933345 w 2039057"/>
                  <a:gd name="connsiteY397" fmla="*/ 1930635 h 1948688"/>
                  <a:gd name="connsiteX398" fmla="*/ 942221 w 2039057"/>
                  <a:gd name="connsiteY398" fmla="*/ 1930332 h 1948688"/>
                  <a:gd name="connsiteX399" fmla="*/ 942221 w 2039057"/>
                  <a:gd name="connsiteY399" fmla="*/ 1930332 h 1948688"/>
                  <a:gd name="connsiteX400" fmla="*/ 1000013 w 2039057"/>
                  <a:gd name="connsiteY400" fmla="*/ 1932854 h 1948688"/>
                  <a:gd name="connsiteX401" fmla="*/ 1000013 w 2039057"/>
                  <a:gd name="connsiteY401" fmla="*/ 1932854 h 1948688"/>
                  <a:gd name="connsiteX402" fmla="*/ 1083927 w 2039057"/>
                  <a:gd name="connsiteY402" fmla="*/ 1918431 h 1948688"/>
                  <a:gd name="connsiteX403" fmla="*/ 1083927 w 2039057"/>
                  <a:gd name="connsiteY403" fmla="*/ 1918431 h 1948688"/>
                  <a:gd name="connsiteX404" fmla="*/ 1136474 w 2039057"/>
                  <a:gd name="connsiteY404" fmla="*/ 1878491 h 1948688"/>
                  <a:gd name="connsiteX405" fmla="*/ 1136474 w 2039057"/>
                  <a:gd name="connsiteY405" fmla="*/ 1878491 h 1948688"/>
                  <a:gd name="connsiteX406" fmla="*/ 1119530 w 2039057"/>
                  <a:gd name="connsiteY406" fmla="*/ 1866690 h 1948688"/>
                  <a:gd name="connsiteX407" fmla="*/ 1119530 w 2039057"/>
                  <a:gd name="connsiteY407" fmla="*/ 1866690 h 1948688"/>
                  <a:gd name="connsiteX408" fmla="*/ 1088567 w 2039057"/>
                  <a:gd name="connsiteY408" fmla="*/ 1816967 h 1948688"/>
                  <a:gd name="connsiteX409" fmla="*/ 1088567 w 2039057"/>
                  <a:gd name="connsiteY409" fmla="*/ 1816967 h 1948688"/>
                  <a:gd name="connsiteX410" fmla="*/ 1094719 w 2039057"/>
                  <a:gd name="connsiteY410" fmla="*/ 1785903 h 1948688"/>
                  <a:gd name="connsiteX411" fmla="*/ 1094719 w 2039057"/>
                  <a:gd name="connsiteY411" fmla="*/ 1785903 h 1948688"/>
                  <a:gd name="connsiteX412" fmla="*/ 1104906 w 2039057"/>
                  <a:gd name="connsiteY412" fmla="*/ 1736280 h 1948688"/>
                  <a:gd name="connsiteX413" fmla="*/ 1104906 w 2039057"/>
                  <a:gd name="connsiteY413" fmla="*/ 1736280 h 1948688"/>
                  <a:gd name="connsiteX414" fmla="*/ 1101981 w 2039057"/>
                  <a:gd name="connsiteY414" fmla="*/ 1693213 h 1948688"/>
                  <a:gd name="connsiteX415" fmla="*/ 1101981 w 2039057"/>
                  <a:gd name="connsiteY415" fmla="*/ 1693213 h 1948688"/>
                  <a:gd name="connsiteX416" fmla="*/ 1059822 w 2039057"/>
                  <a:gd name="connsiteY416" fmla="*/ 1564518 h 1948688"/>
                  <a:gd name="connsiteX417" fmla="*/ 1059822 w 2039057"/>
                  <a:gd name="connsiteY417" fmla="*/ 1564518 h 1948688"/>
                  <a:gd name="connsiteX418" fmla="*/ 1058813 w 2039057"/>
                  <a:gd name="connsiteY418" fmla="*/ 1555239 h 1948688"/>
                  <a:gd name="connsiteX419" fmla="*/ 1058813 w 2039057"/>
                  <a:gd name="connsiteY419" fmla="*/ 1555239 h 1948688"/>
                  <a:gd name="connsiteX420" fmla="*/ 1063352 w 2039057"/>
                  <a:gd name="connsiteY420" fmla="*/ 1524376 h 1948688"/>
                  <a:gd name="connsiteX421" fmla="*/ 1063352 w 2039057"/>
                  <a:gd name="connsiteY421" fmla="*/ 1524376 h 1948688"/>
                  <a:gd name="connsiteX422" fmla="*/ 1057906 w 2039057"/>
                  <a:gd name="connsiteY422" fmla="*/ 1508441 h 1948688"/>
                  <a:gd name="connsiteX423" fmla="*/ 1057906 w 2039057"/>
                  <a:gd name="connsiteY423" fmla="*/ 1508441 h 1948688"/>
                  <a:gd name="connsiteX424" fmla="*/ 1002837 w 2039057"/>
                  <a:gd name="connsiteY424" fmla="*/ 1455087 h 1948688"/>
                  <a:gd name="connsiteX425" fmla="*/ 1002837 w 2039057"/>
                  <a:gd name="connsiteY425" fmla="*/ 1455087 h 1948688"/>
                  <a:gd name="connsiteX426" fmla="*/ 951298 w 2039057"/>
                  <a:gd name="connsiteY426" fmla="*/ 1352211 h 1948688"/>
                  <a:gd name="connsiteX427" fmla="*/ 951298 w 2039057"/>
                  <a:gd name="connsiteY427" fmla="*/ 1352211 h 1948688"/>
                  <a:gd name="connsiteX428" fmla="*/ 942019 w 2039057"/>
                  <a:gd name="connsiteY428" fmla="*/ 1327904 h 1948688"/>
                  <a:gd name="connsiteX429" fmla="*/ 942019 w 2039057"/>
                  <a:gd name="connsiteY429" fmla="*/ 1327904 h 1948688"/>
                  <a:gd name="connsiteX430" fmla="*/ 959165 w 2039057"/>
                  <a:gd name="connsiteY430" fmla="*/ 1308640 h 1948688"/>
                  <a:gd name="connsiteX431" fmla="*/ 959165 w 2039057"/>
                  <a:gd name="connsiteY431" fmla="*/ 1308640 h 1948688"/>
                  <a:gd name="connsiteX432" fmla="*/ 974596 w 2039057"/>
                  <a:gd name="connsiteY432" fmla="*/ 1313380 h 1948688"/>
                  <a:gd name="connsiteX433" fmla="*/ 974596 w 2039057"/>
                  <a:gd name="connsiteY433" fmla="*/ 1313380 h 1948688"/>
                  <a:gd name="connsiteX434" fmla="*/ 1055888 w 2039057"/>
                  <a:gd name="connsiteY434" fmla="*/ 1352816 h 1948688"/>
                  <a:gd name="connsiteX435" fmla="*/ 1055888 w 2039057"/>
                  <a:gd name="connsiteY435" fmla="*/ 1352816 h 1948688"/>
                  <a:gd name="connsiteX436" fmla="*/ 1065067 w 2039057"/>
                  <a:gd name="connsiteY436" fmla="*/ 1352715 h 1948688"/>
                  <a:gd name="connsiteX437" fmla="*/ 1065067 w 2039057"/>
                  <a:gd name="connsiteY437" fmla="*/ 1352715 h 1948688"/>
                  <a:gd name="connsiteX438" fmla="*/ 1174095 w 2039057"/>
                  <a:gd name="connsiteY438" fmla="*/ 1315700 h 1948688"/>
                  <a:gd name="connsiteX439" fmla="*/ 1174095 w 2039057"/>
                  <a:gd name="connsiteY439" fmla="*/ 1315700 h 1948688"/>
                  <a:gd name="connsiteX440" fmla="*/ 1173994 w 2039057"/>
                  <a:gd name="connsiteY440" fmla="*/ 1313683 h 1948688"/>
                  <a:gd name="connsiteX441" fmla="*/ 1173994 w 2039057"/>
                  <a:gd name="connsiteY441" fmla="*/ 1313683 h 1948688"/>
                  <a:gd name="connsiteX442" fmla="*/ 1173590 w 2039057"/>
                  <a:gd name="connsiteY442" fmla="*/ 1304101 h 1948688"/>
                  <a:gd name="connsiteX443" fmla="*/ 1173590 w 2039057"/>
                  <a:gd name="connsiteY443" fmla="*/ 1304101 h 1948688"/>
                  <a:gd name="connsiteX444" fmla="*/ 1197796 w 2039057"/>
                  <a:gd name="connsiteY444" fmla="*/ 1269809 h 1948688"/>
                  <a:gd name="connsiteX445" fmla="*/ 1197796 w 2039057"/>
                  <a:gd name="connsiteY445" fmla="*/ 1269809 h 1948688"/>
                  <a:gd name="connsiteX446" fmla="*/ 1214942 w 2039057"/>
                  <a:gd name="connsiteY446" fmla="*/ 1273541 h 1948688"/>
                  <a:gd name="connsiteX447" fmla="*/ 1214942 w 2039057"/>
                  <a:gd name="connsiteY447" fmla="*/ 1273541 h 1948688"/>
                  <a:gd name="connsiteX448" fmla="*/ 1238241 w 2039057"/>
                  <a:gd name="connsiteY448" fmla="*/ 1281509 h 1948688"/>
                  <a:gd name="connsiteX449" fmla="*/ 1238241 w 2039057"/>
                  <a:gd name="connsiteY449" fmla="*/ 1281509 h 1948688"/>
                  <a:gd name="connsiteX450" fmla="*/ 1280299 w 2039057"/>
                  <a:gd name="connsiteY450" fmla="*/ 1271020 h 1948688"/>
                  <a:gd name="connsiteX451" fmla="*/ 1280299 w 2039057"/>
                  <a:gd name="connsiteY451" fmla="*/ 1271020 h 1948688"/>
                  <a:gd name="connsiteX452" fmla="*/ 1379241 w 2039057"/>
                  <a:gd name="connsiteY452" fmla="*/ 1256395 h 1948688"/>
                  <a:gd name="connsiteX453" fmla="*/ 1379241 w 2039057"/>
                  <a:gd name="connsiteY453" fmla="*/ 1256395 h 1948688"/>
                  <a:gd name="connsiteX454" fmla="*/ 1404456 w 2039057"/>
                  <a:gd name="connsiteY454" fmla="*/ 1261842 h 1948688"/>
                  <a:gd name="connsiteX455" fmla="*/ 1404456 w 2039057"/>
                  <a:gd name="connsiteY455" fmla="*/ 1261842 h 1948688"/>
                  <a:gd name="connsiteX456" fmla="*/ 1423417 w 2039057"/>
                  <a:gd name="connsiteY456" fmla="*/ 1309043 h 1948688"/>
                  <a:gd name="connsiteX457" fmla="*/ 1423417 w 2039057"/>
                  <a:gd name="connsiteY457" fmla="*/ 1309043 h 1948688"/>
                  <a:gd name="connsiteX458" fmla="*/ 1438747 w 2039057"/>
                  <a:gd name="connsiteY458" fmla="*/ 1305715 h 1948688"/>
                  <a:gd name="connsiteX459" fmla="*/ 1438747 w 2039057"/>
                  <a:gd name="connsiteY459" fmla="*/ 1305715 h 1948688"/>
                  <a:gd name="connsiteX460" fmla="*/ 1484033 w 2039057"/>
                  <a:gd name="connsiteY460" fmla="*/ 1251352 h 1948688"/>
                  <a:gd name="connsiteX461" fmla="*/ 1484033 w 2039057"/>
                  <a:gd name="connsiteY461" fmla="*/ 1251352 h 1948688"/>
                  <a:gd name="connsiteX462" fmla="*/ 1537286 w 2039057"/>
                  <a:gd name="connsiteY462" fmla="*/ 1194771 h 1948688"/>
                  <a:gd name="connsiteX463" fmla="*/ 1537286 w 2039057"/>
                  <a:gd name="connsiteY463" fmla="*/ 1194771 h 1948688"/>
                  <a:gd name="connsiteX464" fmla="*/ 1551810 w 2039057"/>
                  <a:gd name="connsiteY464" fmla="*/ 1099459 h 1948688"/>
                  <a:gd name="connsiteX465" fmla="*/ 1551810 w 2039057"/>
                  <a:gd name="connsiteY465" fmla="*/ 1099459 h 1948688"/>
                  <a:gd name="connsiteX466" fmla="*/ 1610207 w 2039057"/>
                  <a:gd name="connsiteY466" fmla="*/ 1016251 h 1948688"/>
                  <a:gd name="connsiteX467" fmla="*/ 1610207 w 2039057"/>
                  <a:gd name="connsiteY467" fmla="*/ 1016251 h 1948688"/>
                  <a:gd name="connsiteX468" fmla="*/ 1626445 w 2039057"/>
                  <a:gd name="connsiteY468" fmla="*/ 933043 h 1948688"/>
                  <a:gd name="connsiteX469" fmla="*/ 1626445 w 2039057"/>
                  <a:gd name="connsiteY469" fmla="*/ 933043 h 1948688"/>
                  <a:gd name="connsiteX470" fmla="*/ 1639557 w 2039057"/>
                  <a:gd name="connsiteY470" fmla="*/ 872628 h 1948688"/>
                  <a:gd name="connsiteX471" fmla="*/ 1639557 w 2039057"/>
                  <a:gd name="connsiteY471" fmla="*/ 872628 h 1948688"/>
                  <a:gd name="connsiteX472" fmla="*/ 1675664 w 2039057"/>
                  <a:gd name="connsiteY472" fmla="*/ 832487 h 1948688"/>
                  <a:gd name="connsiteX473" fmla="*/ 1675664 w 2039057"/>
                  <a:gd name="connsiteY473" fmla="*/ 832487 h 1948688"/>
                  <a:gd name="connsiteX474" fmla="*/ 1688473 w 2039057"/>
                  <a:gd name="connsiteY474" fmla="*/ 835412 h 1948688"/>
                  <a:gd name="connsiteX475" fmla="*/ 1688473 w 2039057"/>
                  <a:gd name="connsiteY475" fmla="*/ 835412 h 1948688"/>
                  <a:gd name="connsiteX476" fmla="*/ 1721051 w 2039057"/>
                  <a:gd name="connsiteY476" fmla="*/ 846809 h 1948688"/>
                  <a:gd name="connsiteX477" fmla="*/ 1721051 w 2039057"/>
                  <a:gd name="connsiteY477" fmla="*/ 846809 h 1948688"/>
                  <a:gd name="connsiteX478" fmla="*/ 1747476 w 2039057"/>
                  <a:gd name="connsiteY478" fmla="*/ 830873 h 1948688"/>
                  <a:gd name="connsiteX479" fmla="*/ 1747476 w 2039057"/>
                  <a:gd name="connsiteY479" fmla="*/ 830873 h 1948688"/>
                  <a:gd name="connsiteX480" fmla="*/ 1806377 w 2039057"/>
                  <a:gd name="connsiteY480" fmla="*/ 798800 h 1948688"/>
                  <a:gd name="connsiteX481" fmla="*/ 1806377 w 2039057"/>
                  <a:gd name="connsiteY481" fmla="*/ 798800 h 1948688"/>
                  <a:gd name="connsiteX482" fmla="*/ 1868001 w 2039057"/>
                  <a:gd name="connsiteY482" fmla="*/ 769752 h 1948688"/>
                  <a:gd name="connsiteX483" fmla="*/ 1868001 w 2039057"/>
                  <a:gd name="connsiteY483" fmla="*/ 769752 h 1948688"/>
                  <a:gd name="connsiteX484" fmla="*/ 1906630 w 2039057"/>
                  <a:gd name="connsiteY484" fmla="*/ 715692 h 1948688"/>
                  <a:gd name="connsiteX485" fmla="*/ 1906630 w 2039057"/>
                  <a:gd name="connsiteY485" fmla="*/ 715692 h 1948688"/>
                  <a:gd name="connsiteX486" fmla="*/ 1959682 w 2039057"/>
                  <a:gd name="connsiteY486" fmla="*/ 662338 h 1948688"/>
                  <a:gd name="connsiteX487" fmla="*/ 1959682 w 2039057"/>
                  <a:gd name="connsiteY487" fmla="*/ 662338 h 1948688"/>
                  <a:gd name="connsiteX488" fmla="*/ 1972088 w 2039057"/>
                  <a:gd name="connsiteY488" fmla="*/ 613825 h 1948688"/>
                  <a:gd name="connsiteX489" fmla="*/ 1972088 w 2039057"/>
                  <a:gd name="connsiteY489" fmla="*/ 613825 h 1948688"/>
                  <a:gd name="connsiteX490" fmla="*/ 1970171 w 2039057"/>
                  <a:gd name="connsiteY490" fmla="*/ 601621 h 1948688"/>
                  <a:gd name="connsiteX491" fmla="*/ 1970171 w 2039057"/>
                  <a:gd name="connsiteY491" fmla="*/ 601621 h 1948688"/>
                  <a:gd name="connsiteX492" fmla="*/ 1968255 w 2039057"/>
                  <a:gd name="connsiteY492" fmla="*/ 589518 h 1948688"/>
                  <a:gd name="connsiteX493" fmla="*/ 1968255 w 2039057"/>
                  <a:gd name="connsiteY493" fmla="*/ 589518 h 1948688"/>
                  <a:gd name="connsiteX494" fmla="*/ 2008800 w 2039057"/>
                  <a:gd name="connsiteY494" fmla="*/ 559967 h 1948688"/>
                  <a:gd name="connsiteX495" fmla="*/ 2008800 w 2039057"/>
                  <a:gd name="connsiteY495" fmla="*/ 559967 h 1948688"/>
                  <a:gd name="connsiteX496" fmla="*/ 2034216 w 2039057"/>
                  <a:gd name="connsiteY496" fmla="*/ 517808 h 1948688"/>
                  <a:gd name="connsiteX497" fmla="*/ 2034216 w 2039057"/>
                  <a:gd name="connsiteY497" fmla="*/ 517808 h 1948688"/>
                  <a:gd name="connsiteX498" fmla="*/ 2021206 w 2039057"/>
                  <a:gd name="connsiteY498" fmla="*/ 474943 h 1948688"/>
                  <a:gd name="connsiteX499" fmla="*/ 2021206 w 2039057"/>
                  <a:gd name="connsiteY499" fmla="*/ 474943 h 1948688"/>
                  <a:gd name="connsiteX500" fmla="*/ 1998512 w 2039057"/>
                  <a:gd name="connsiteY500" fmla="*/ 441761 h 1948688"/>
                  <a:gd name="connsiteX501" fmla="*/ 1998512 w 2039057"/>
                  <a:gd name="connsiteY501" fmla="*/ 441761 h 1948688"/>
                  <a:gd name="connsiteX502" fmla="*/ 2007590 w 2039057"/>
                  <a:gd name="connsiteY502" fmla="*/ 425724 h 1948688"/>
                  <a:gd name="connsiteX503" fmla="*/ 2007590 w 2039057"/>
                  <a:gd name="connsiteY503" fmla="*/ 425724 h 1948688"/>
                  <a:gd name="connsiteX504" fmla="*/ 2007590 w 2039057"/>
                  <a:gd name="connsiteY504" fmla="*/ 425623 h 1948688"/>
                  <a:gd name="connsiteX505" fmla="*/ 2022719 w 2039057"/>
                  <a:gd name="connsiteY505" fmla="*/ 374286 h 1948688"/>
                  <a:gd name="connsiteX506" fmla="*/ 2022719 w 2039057"/>
                  <a:gd name="connsiteY506" fmla="*/ 374286 h 1948688"/>
                  <a:gd name="connsiteX507" fmla="*/ 2017978 w 2039057"/>
                  <a:gd name="connsiteY507" fmla="*/ 341104 h 1948688"/>
                  <a:gd name="connsiteX508" fmla="*/ 2017978 w 2039057"/>
                  <a:gd name="connsiteY508" fmla="*/ 341104 h 1948688"/>
                  <a:gd name="connsiteX509" fmla="*/ 1997101 w 2039057"/>
                  <a:gd name="connsiteY509" fmla="*/ 352602 h 1948688"/>
                  <a:gd name="connsiteX510" fmla="*/ 1997101 w 2039057"/>
                  <a:gd name="connsiteY510" fmla="*/ 352602 h 1948688"/>
                  <a:gd name="connsiteX511" fmla="*/ 1930534 w 2039057"/>
                  <a:gd name="connsiteY511" fmla="*/ 282101 h 1948688"/>
                  <a:gd name="connsiteX512" fmla="*/ 1930534 w 2039057"/>
                  <a:gd name="connsiteY512" fmla="*/ 282101 h 1948688"/>
                  <a:gd name="connsiteX513" fmla="*/ 1920145 w 2039057"/>
                  <a:gd name="connsiteY513" fmla="*/ 275646 h 1948688"/>
                  <a:gd name="connsiteX514" fmla="*/ 1920145 w 2039057"/>
                  <a:gd name="connsiteY514" fmla="*/ 275646 h 1948688"/>
                  <a:gd name="connsiteX515" fmla="*/ 1874557 w 2039057"/>
                  <a:gd name="connsiteY515" fmla="*/ 288456 h 1948688"/>
                  <a:gd name="connsiteX516" fmla="*/ 1874557 w 2039057"/>
                  <a:gd name="connsiteY516" fmla="*/ 288456 h 1948688"/>
                  <a:gd name="connsiteX517" fmla="*/ 1868102 w 2039057"/>
                  <a:gd name="connsiteY517" fmla="*/ 289061 h 1948688"/>
                  <a:gd name="connsiteX518" fmla="*/ 1868102 w 2039057"/>
                  <a:gd name="connsiteY518" fmla="*/ 289061 h 1948688"/>
                  <a:gd name="connsiteX519" fmla="*/ 1817572 w 2039057"/>
                  <a:gd name="connsiteY519" fmla="*/ 256988 h 1948688"/>
                  <a:gd name="connsiteX520" fmla="*/ 1817572 w 2039057"/>
                  <a:gd name="connsiteY520" fmla="*/ 256988 h 1948688"/>
                  <a:gd name="connsiteX521" fmla="*/ 1818682 w 2039057"/>
                  <a:gd name="connsiteY521" fmla="*/ 246801 h 1948688"/>
                  <a:gd name="connsiteX522" fmla="*/ 1818682 w 2039057"/>
                  <a:gd name="connsiteY522" fmla="*/ 246801 h 1948688"/>
                  <a:gd name="connsiteX523" fmla="*/ 1791954 w 2039057"/>
                  <a:gd name="connsiteY523" fmla="*/ 219468 h 1948688"/>
                  <a:gd name="connsiteX524" fmla="*/ 1791954 w 2039057"/>
                  <a:gd name="connsiteY524" fmla="*/ 219468 h 1948688"/>
                  <a:gd name="connsiteX525" fmla="*/ 1750905 w 2039057"/>
                  <a:gd name="connsiteY525" fmla="*/ 186185 h 1948688"/>
                  <a:gd name="connsiteX526" fmla="*/ 1750905 w 2039057"/>
                  <a:gd name="connsiteY526" fmla="*/ 186185 h 1948688"/>
                  <a:gd name="connsiteX527" fmla="*/ 1711772 w 2039057"/>
                  <a:gd name="connsiteY527" fmla="*/ 75846 h 1948688"/>
                  <a:gd name="connsiteX528" fmla="*/ 1711772 w 2039057"/>
                  <a:gd name="connsiteY528" fmla="*/ 75846 h 1948688"/>
                  <a:gd name="connsiteX529" fmla="*/ 1690995 w 2039057"/>
                  <a:gd name="connsiteY529" fmla="*/ 72316 h 1948688"/>
                  <a:gd name="connsiteX530" fmla="*/ 1690995 w 2039057"/>
                  <a:gd name="connsiteY530" fmla="*/ 72316 h 1948688"/>
                  <a:gd name="connsiteX531" fmla="*/ 1625538 w 2039057"/>
                  <a:gd name="connsiteY531" fmla="*/ 107818 h 1948688"/>
                  <a:gd name="connsiteX532" fmla="*/ 1625538 w 2039057"/>
                  <a:gd name="connsiteY532" fmla="*/ 107818 h 1948688"/>
                  <a:gd name="connsiteX533" fmla="*/ 1556853 w 2039057"/>
                  <a:gd name="connsiteY533" fmla="*/ 145135 h 1948688"/>
                  <a:gd name="connsiteX534" fmla="*/ 1556853 w 2039057"/>
                  <a:gd name="connsiteY534" fmla="*/ 145135 h 1948688"/>
                  <a:gd name="connsiteX535" fmla="*/ 1552617 w 2039057"/>
                  <a:gd name="connsiteY535" fmla="*/ 145337 h 1948688"/>
                  <a:gd name="connsiteX536" fmla="*/ 1552617 w 2039057"/>
                  <a:gd name="connsiteY536" fmla="*/ 145337 h 1948688"/>
                  <a:gd name="connsiteX537" fmla="*/ 1505012 w 2039057"/>
                  <a:gd name="connsiteY537" fmla="*/ 101464 h 1948688"/>
                  <a:gd name="connsiteX538" fmla="*/ 1505012 w 2039057"/>
                  <a:gd name="connsiteY538" fmla="*/ 101464 h 1948688"/>
                  <a:gd name="connsiteX539" fmla="*/ 1458919 w 2039057"/>
                  <a:gd name="connsiteY539" fmla="*/ 73223 h 1948688"/>
                  <a:gd name="connsiteX540" fmla="*/ 1458919 w 2039057"/>
                  <a:gd name="connsiteY540" fmla="*/ 73223 h 1948688"/>
                  <a:gd name="connsiteX541" fmla="*/ 1458919 w 2039057"/>
                  <a:gd name="connsiteY541" fmla="*/ 70298 h 1948688"/>
                  <a:gd name="connsiteX542" fmla="*/ 1458919 w 2039057"/>
                  <a:gd name="connsiteY542" fmla="*/ 70298 h 1948688"/>
                  <a:gd name="connsiteX543" fmla="*/ 1430376 w 2039057"/>
                  <a:gd name="connsiteY543" fmla="*/ 6858 h 1948688"/>
                  <a:gd name="connsiteX544" fmla="*/ 1430376 w 2039057"/>
                  <a:gd name="connsiteY544" fmla="*/ 6858 h 1948688"/>
                  <a:gd name="connsiteX545" fmla="*/ 1419181 w 2039057"/>
                  <a:gd name="connsiteY545" fmla="*/ 5245 h 1948688"/>
                  <a:gd name="connsiteX546" fmla="*/ 1419181 w 2039057"/>
                  <a:gd name="connsiteY546" fmla="*/ 5245 h 1948688"/>
                  <a:gd name="connsiteX547" fmla="*/ 1378031 w 2039057"/>
                  <a:gd name="connsiteY547" fmla="*/ 32476 h 1948688"/>
                  <a:gd name="connsiteX548" fmla="*/ 1378031 w 2039057"/>
                  <a:gd name="connsiteY548" fmla="*/ 32476 h 1948688"/>
                  <a:gd name="connsiteX549" fmla="*/ 1341419 w 2039057"/>
                  <a:gd name="connsiteY549" fmla="*/ 39234 h 1948688"/>
                  <a:gd name="connsiteX550" fmla="*/ 1341419 w 2039057"/>
                  <a:gd name="connsiteY550" fmla="*/ 39234 h 1948688"/>
                  <a:gd name="connsiteX551" fmla="*/ 1291897 w 2039057"/>
                  <a:gd name="connsiteY551" fmla="*/ 27333 h 1948688"/>
                  <a:gd name="connsiteX552" fmla="*/ 1291897 w 2039057"/>
                  <a:gd name="connsiteY552" fmla="*/ 27333 h 1948688"/>
                  <a:gd name="connsiteX553" fmla="*/ 1278181 w 2039057"/>
                  <a:gd name="connsiteY553" fmla="*/ 25315 h 1948688"/>
                  <a:gd name="connsiteX554" fmla="*/ 1278181 w 2039057"/>
                  <a:gd name="connsiteY554" fmla="*/ 25315 h 1948688"/>
                  <a:gd name="connsiteX555" fmla="*/ 1204655 w 2039057"/>
                  <a:gd name="connsiteY555" fmla="*/ 62835 h 1948688"/>
                  <a:gd name="connsiteX556" fmla="*/ 1204655 w 2039057"/>
                  <a:gd name="connsiteY556" fmla="*/ 62835 h 1948688"/>
                  <a:gd name="connsiteX557" fmla="*/ 1143837 w 2039057"/>
                  <a:gd name="connsiteY557" fmla="*/ 76753 h 1948688"/>
                  <a:gd name="connsiteX558" fmla="*/ 1143837 w 2039057"/>
                  <a:gd name="connsiteY558" fmla="*/ 76753 h 1948688"/>
                  <a:gd name="connsiteX559" fmla="*/ 1108335 w 2039057"/>
                  <a:gd name="connsiteY559" fmla="*/ 76047 h 1948688"/>
                  <a:gd name="connsiteX560" fmla="*/ 1108335 w 2039057"/>
                  <a:gd name="connsiteY560" fmla="*/ 76047 h 1948688"/>
                  <a:gd name="connsiteX561" fmla="*/ 1006770 w 2039057"/>
                  <a:gd name="connsiteY561" fmla="*/ 24307 h 1948688"/>
                  <a:gd name="connsiteX562" fmla="*/ 1006770 w 2039057"/>
                  <a:gd name="connsiteY562" fmla="*/ 24307 h 1948688"/>
                  <a:gd name="connsiteX563" fmla="*/ 986094 w 2039057"/>
                  <a:gd name="connsiteY563" fmla="*/ 18356 h 1948688"/>
                  <a:gd name="connsiteX564" fmla="*/ 986094 w 2039057"/>
                  <a:gd name="connsiteY564" fmla="*/ 18356 h 1948688"/>
                  <a:gd name="connsiteX565" fmla="*/ 926487 w 2039057"/>
                  <a:gd name="connsiteY565" fmla="*/ 22391 h 1948688"/>
                  <a:gd name="connsiteX566" fmla="*/ 926487 w 2039057"/>
                  <a:gd name="connsiteY566" fmla="*/ 22391 h 1948688"/>
                  <a:gd name="connsiteX567" fmla="*/ 913073 w 2039057"/>
                  <a:gd name="connsiteY567" fmla="*/ 20474 h 1948688"/>
                  <a:gd name="connsiteX568" fmla="*/ 913073 w 2039057"/>
                  <a:gd name="connsiteY568" fmla="*/ 20474 h 1948688"/>
                  <a:gd name="connsiteX569" fmla="*/ 898549 w 2039057"/>
                  <a:gd name="connsiteY569" fmla="*/ 42764 h 1948688"/>
                  <a:gd name="connsiteX570" fmla="*/ 898549 w 2039057"/>
                  <a:gd name="connsiteY570" fmla="*/ 42764 h 1948688"/>
                  <a:gd name="connsiteX571" fmla="*/ 890682 w 2039057"/>
                  <a:gd name="connsiteY571" fmla="*/ 73526 h 1948688"/>
                  <a:gd name="connsiteX572" fmla="*/ 890682 w 2039057"/>
                  <a:gd name="connsiteY572" fmla="*/ 73526 h 1948688"/>
                  <a:gd name="connsiteX573" fmla="*/ 907425 w 2039057"/>
                  <a:gd name="connsiteY573" fmla="*/ 137168 h 1948688"/>
                  <a:gd name="connsiteX574" fmla="*/ 907425 w 2039057"/>
                  <a:gd name="connsiteY574" fmla="*/ 137168 h 1948688"/>
                  <a:gd name="connsiteX575" fmla="*/ 915998 w 2039057"/>
                  <a:gd name="connsiteY575" fmla="*/ 158953 h 1948688"/>
                  <a:gd name="connsiteX576" fmla="*/ 915998 w 2039057"/>
                  <a:gd name="connsiteY576" fmla="*/ 158953 h 1948688"/>
                  <a:gd name="connsiteX577" fmla="*/ 892699 w 2039057"/>
                  <a:gd name="connsiteY577" fmla="*/ 201616 h 1948688"/>
                  <a:gd name="connsiteX578" fmla="*/ 892699 w 2039057"/>
                  <a:gd name="connsiteY578" fmla="*/ 201616 h 1948688"/>
                  <a:gd name="connsiteX579" fmla="*/ 879184 w 2039057"/>
                  <a:gd name="connsiteY579" fmla="*/ 217451 h 1948688"/>
                  <a:gd name="connsiteX580" fmla="*/ 879184 w 2039057"/>
                  <a:gd name="connsiteY580" fmla="*/ 217451 h 1948688"/>
                  <a:gd name="connsiteX581" fmla="*/ 892498 w 2039057"/>
                  <a:gd name="connsiteY581" fmla="*/ 244179 h 1948688"/>
                  <a:gd name="connsiteX582" fmla="*/ 892498 w 2039057"/>
                  <a:gd name="connsiteY582" fmla="*/ 244179 h 1948688"/>
                  <a:gd name="connsiteX583" fmla="*/ 900667 w 2039057"/>
                  <a:gd name="connsiteY583" fmla="*/ 272419 h 1948688"/>
                  <a:gd name="connsiteX584" fmla="*/ 900667 w 2039057"/>
                  <a:gd name="connsiteY584" fmla="*/ 272419 h 1948688"/>
                  <a:gd name="connsiteX585" fmla="*/ 881807 w 2039057"/>
                  <a:gd name="connsiteY585" fmla="*/ 315587 h 1948688"/>
                  <a:gd name="connsiteX586" fmla="*/ 881807 w 2039057"/>
                  <a:gd name="connsiteY586" fmla="*/ 315587 h 1948688"/>
                  <a:gd name="connsiteX587" fmla="*/ 865064 w 2039057"/>
                  <a:gd name="connsiteY587" fmla="*/ 337876 h 1948688"/>
                  <a:gd name="connsiteX588" fmla="*/ 865064 w 2039057"/>
                  <a:gd name="connsiteY588" fmla="*/ 337876 h 1948688"/>
                  <a:gd name="connsiteX589" fmla="*/ 888463 w 2039057"/>
                  <a:gd name="connsiteY589" fmla="*/ 370050 h 1948688"/>
                  <a:gd name="connsiteX590" fmla="*/ 888463 w 2039057"/>
                  <a:gd name="connsiteY590" fmla="*/ 370050 h 1948688"/>
                  <a:gd name="connsiteX591" fmla="*/ 912467 w 2039057"/>
                  <a:gd name="connsiteY591" fmla="*/ 415033 h 1948688"/>
                  <a:gd name="connsiteX592" fmla="*/ 912467 w 2039057"/>
                  <a:gd name="connsiteY592" fmla="*/ 415033 h 1948688"/>
                  <a:gd name="connsiteX593" fmla="*/ 898045 w 2039057"/>
                  <a:gd name="connsiteY593" fmla="*/ 461025 h 1948688"/>
                  <a:gd name="connsiteX594" fmla="*/ 898045 w 2039057"/>
                  <a:gd name="connsiteY594" fmla="*/ 461025 h 1948688"/>
                  <a:gd name="connsiteX595" fmla="*/ 871721 w 2039057"/>
                  <a:gd name="connsiteY595" fmla="*/ 472018 h 1948688"/>
                  <a:gd name="connsiteX596" fmla="*/ 871721 w 2039057"/>
                  <a:gd name="connsiteY596" fmla="*/ 472018 h 1948688"/>
                  <a:gd name="connsiteX597" fmla="*/ 840757 w 2039057"/>
                  <a:gd name="connsiteY597" fmla="*/ 480793 h 1948688"/>
                  <a:gd name="connsiteX598" fmla="*/ 840757 w 2039057"/>
                  <a:gd name="connsiteY598" fmla="*/ 480793 h 1948688"/>
                  <a:gd name="connsiteX599" fmla="*/ 831579 w 2039057"/>
                  <a:gd name="connsiteY599" fmla="*/ 495417 h 1948688"/>
                  <a:gd name="connsiteX600" fmla="*/ 831579 w 2039057"/>
                  <a:gd name="connsiteY600" fmla="*/ 495417 h 1948688"/>
                  <a:gd name="connsiteX601" fmla="*/ 832588 w 2039057"/>
                  <a:gd name="connsiteY601" fmla="*/ 504394 h 1948688"/>
                  <a:gd name="connsiteX602" fmla="*/ 832588 w 2039057"/>
                  <a:gd name="connsiteY602" fmla="*/ 504394 h 1948688"/>
                  <a:gd name="connsiteX603" fmla="*/ 826233 w 2039057"/>
                  <a:gd name="connsiteY603" fmla="*/ 516295 h 1948688"/>
                  <a:gd name="connsiteX604" fmla="*/ 826233 w 2039057"/>
                  <a:gd name="connsiteY604" fmla="*/ 516295 h 1948688"/>
                  <a:gd name="connsiteX605" fmla="*/ 807171 w 2039057"/>
                  <a:gd name="connsiteY605" fmla="*/ 570355 h 1948688"/>
                  <a:gd name="connsiteX606" fmla="*/ 807171 w 2039057"/>
                  <a:gd name="connsiteY606" fmla="*/ 570355 h 1948688"/>
                  <a:gd name="connsiteX607" fmla="*/ 807373 w 2039057"/>
                  <a:gd name="connsiteY607" fmla="*/ 580643 h 1948688"/>
                  <a:gd name="connsiteX608" fmla="*/ 807373 w 2039057"/>
                  <a:gd name="connsiteY608" fmla="*/ 580643 h 1948688"/>
                  <a:gd name="connsiteX609" fmla="*/ 807373 w 2039057"/>
                  <a:gd name="connsiteY609" fmla="*/ 582559 h 1948688"/>
                  <a:gd name="connsiteX610" fmla="*/ 807373 w 2039057"/>
                  <a:gd name="connsiteY610" fmla="*/ 582559 h 1948688"/>
                  <a:gd name="connsiteX611" fmla="*/ 751598 w 2039057"/>
                  <a:gd name="connsiteY611" fmla="*/ 644385 h 1948688"/>
                  <a:gd name="connsiteX612" fmla="*/ 751598 w 2039057"/>
                  <a:gd name="connsiteY612" fmla="*/ 644385 h 1948688"/>
                  <a:gd name="connsiteX613" fmla="*/ 737074 w 2039057"/>
                  <a:gd name="connsiteY613" fmla="*/ 641965 h 1948688"/>
                  <a:gd name="connsiteX614" fmla="*/ 737074 w 2039057"/>
                  <a:gd name="connsiteY614" fmla="*/ 641965 h 1948688"/>
                  <a:gd name="connsiteX615" fmla="*/ 681602 w 2039057"/>
                  <a:gd name="connsiteY615" fmla="*/ 618767 h 1948688"/>
                  <a:gd name="connsiteX616" fmla="*/ 681602 w 2039057"/>
                  <a:gd name="connsiteY616" fmla="*/ 618767 h 1948688"/>
                  <a:gd name="connsiteX617" fmla="*/ 639645 w 2039057"/>
                  <a:gd name="connsiteY617" fmla="*/ 622196 h 1948688"/>
                  <a:gd name="connsiteX618" fmla="*/ 639645 w 2039057"/>
                  <a:gd name="connsiteY618" fmla="*/ 622196 h 1948688"/>
                  <a:gd name="connsiteX619" fmla="*/ 536870 w 2039057"/>
                  <a:gd name="connsiteY619" fmla="*/ 713373 h 1948688"/>
                  <a:gd name="connsiteX620" fmla="*/ 536870 w 2039057"/>
                  <a:gd name="connsiteY620" fmla="*/ 713373 h 1948688"/>
                  <a:gd name="connsiteX621" fmla="*/ 500359 w 2039057"/>
                  <a:gd name="connsiteY621" fmla="*/ 726585 h 1948688"/>
                  <a:gd name="connsiteX622" fmla="*/ 500359 w 2039057"/>
                  <a:gd name="connsiteY622" fmla="*/ 726585 h 1948688"/>
                  <a:gd name="connsiteX623" fmla="*/ 435406 w 2039057"/>
                  <a:gd name="connsiteY623" fmla="*/ 704497 h 1948688"/>
                  <a:gd name="connsiteX624" fmla="*/ 435406 w 2039057"/>
                  <a:gd name="connsiteY624" fmla="*/ 704497 h 1948688"/>
                  <a:gd name="connsiteX625" fmla="*/ 425926 w 2039057"/>
                  <a:gd name="connsiteY625" fmla="*/ 701572 h 1948688"/>
                  <a:gd name="connsiteX626" fmla="*/ 425926 w 2039057"/>
                  <a:gd name="connsiteY626" fmla="*/ 701572 h 1948688"/>
                  <a:gd name="connsiteX627" fmla="*/ 386188 w 2039057"/>
                  <a:gd name="connsiteY627" fmla="*/ 712868 h 1948688"/>
                  <a:gd name="connsiteX628" fmla="*/ 386188 w 2039057"/>
                  <a:gd name="connsiteY628" fmla="*/ 712868 h 1948688"/>
                  <a:gd name="connsiteX629" fmla="*/ 358149 w 2039057"/>
                  <a:gd name="connsiteY629" fmla="*/ 716298 h 1948688"/>
                  <a:gd name="connsiteX630" fmla="*/ 358149 w 2039057"/>
                  <a:gd name="connsiteY630" fmla="*/ 716298 h 1948688"/>
                  <a:gd name="connsiteX631" fmla="*/ 313368 w 2039057"/>
                  <a:gd name="connsiteY631" fmla="*/ 714381 h 1948688"/>
                  <a:gd name="connsiteX632" fmla="*/ 313368 w 2039057"/>
                  <a:gd name="connsiteY632" fmla="*/ 714381 h 1948688"/>
                  <a:gd name="connsiteX633" fmla="*/ 304795 w 2039057"/>
                  <a:gd name="connsiteY633" fmla="*/ 715188 h 1948688"/>
                  <a:gd name="connsiteX634" fmla="*/ 304795 w 2039057"/>
                  <a:gd name="connsiteY634" fmla="*/ 715188 h 1948688"/>
                  <a:gd name="connsiteX635" fmla="*/ 265964 w 2039057"/>
                  <a:gd name="connsiteY635" fmla="*/ 816248 h 1948688"/>
                  <a:gd name="connsiteX636" fmla="*/ 265964 w 2039057"/>
                  <a:gd name="connsiteY636" fmla="*/ 816248 h 1948688"/>
                  <a:gd name="connsiteX637" fmla="*/ 221082 w 2039057"/>
                  <a:gd name="connsiteY637" fmla="*/ 887051 h 1948688"/>
                  <a:gd name="connsiteX638" fmla="*/ 221082 w 2039057"/>
                  <a:gd name="connsiteY638" fmla="*/ 887051 h 1948688"/>
                  <a:gd name="connsiteX639" fmla="*/ 212610 w 2039057"/>
                  <a:gd name="connsiteY639" fmla="*/ 888866 h 1948688"/>
                  <a:gd name="connsiteX640" fmla="*/ 212610 w 2039057"/>
                  <a:gd name="connsiteY640" fmla="*/ 888866 h 1948688"/>
                  <a:gd name="connsiteX641" fmla="*/ 168434 w 2039057"/>
                  <a:gd name="connsiteY641" fmla="*/ 855079 h 1948688"/>
                  <a:gd name="connsiteX642" fmla="*/ 168434 w 2039057"/>
                  <a:gd name="connsiteY642" fmla="*/ 855079 h 1948688"/>
                  <a:gd name="connsiteX643" fmla="*/ 164500 w 2039057"/>
                  <a:gd name="connsiteY643" fmla="*/ 854776 h 1948688"/>
                  <a:gd name="connsiteX644" fmla="*/ 164500 w 2039057"/>
                  <a:gd name="connsiteY644" fmla="*/ 854776 h 1948688"/>
                  <a:gd name="connsiteX645" fmla="*/ 104691 w 2039057"/>
                  <a:gd name="connsiteY645" fmla="*/ 896028 h 1948688"/>
                  <a:gd name="connsiteX646" fmla="*/ 104691 w 2039057"/>
                  <a:gd name="connsiteY646" fmla="*/ 896028 h 1948688"/>
                  <a:gd name="connsiteX647" fmla="*/ 90571 w 2039057"/>
                  <a:gd name="connsiteY647" fmla="*/ 927092 h 1948688"/>
                  <a:gd name="connsiteX648" fmla="*/ 90571 w 2039057"/>
                  <a:gd name="connsiteY648" fmla="*/ 927092 h 1948688"/>
                  <a:gd name="connsiteX649" fmla="*/ 65861 w 2039057"/>
                  <a:gd name="connsiteY649" fmla="*/ 938892 h 1948688"/>
                  <a:gd name="connsiteX650" fmla="*/ 65861 w 2039057"/>
                  <a:gd name="connsiteY650" fmla="*/ 938892 h 1948688"/>
                  <a:gd name="connsiteX651" fmla="*/ 38427 w 2039057"/>
                  <a:gd name="connsiteY651" fmla="*/ 937783 h 1948688"/>
                  <a:gd name="connsiteX652" fmla="*/ 38427 w 2039057"/>
                  <a:gd name="connsiteY652" fmla="*/ 937783 h 1948688"/>
                  <a:gd name="connsiteX653" fmla="*/ 11195 w 2039057"/>
                  <a:gd name="connsiteY653" fmla="*/ 954021 h 1948688"/>
                  <a:gd name="connsiteX654" fmla="*/ 11195 w 2039057"/>
                  <a:gd name="connsiteY654" fmla="*/ 954021 h 1948688"/>
                  <a:gd name="connsiteX655" fmla="*/ 10388 w 2039057"/>
                  <a:gd name="connsiteY655" fmla="*/ 964208 h 1948688"/>
                  <a:gd name="connsiteX656" fmla="*/ 10388 w 2039057"/>
                  <a:gd name="connsiteY656" fmla="*/ 964208 h 1948688"/>
                  <a:gd name="connsiteX657" fmla="*/ 42058 w 2039057"/>
                  <a:gd name="connsiteY657" fmla="*/ 995878 h 1948688"/>
                  <a:gd name="connsiteX658" fmla="*/ 42058 w 2039057"/>
                  <a:gd name="connsiteY658" fmla="*/ 995878 h 1948688"/>
                  <a:gd name="connsiteX659" fmla="*/ 67172 w 2039057"/>
                  <a:gd name="connsiteY659" fmla="*/ 1024925 h 1948688"/>
                  <a:gd name="connsiteX660" fmla="*/ 67172 w 2039057"/>
                  <a:gd name="connsiteY660" fmla="*/ 1024925 h 1948688"/>
                  <a:gd name="connsiteX661" fmla="*/ 55573 w 2039057"/>
                  <a:gd name="connsiteY661" fmla="*/ 1033397 h 1948688"/>
                  <a:gd name="connsiteX662" fmla="*/ 55573 w 2039057"/>
                  <a:gd name="connsiteY662" fmla="*/ 1033397 h 1948688"/>
                  <a:gd name="connsiteX663" fmla="*/ 13919 w 2039057"/>
                  <a:gd name="connsiteY663" fmla="*/ 1028051 h 1948688"/>
                  <a:gd name="connsiteX664" fmla="*/ 13919 w 2039057"/>
                  <a:gd name="connsiteY664" fmla="*/ 1028051 h 1948688"/>
                  <a:gd name="connsiteX665" fmla="*/ 5648 w 2039057"/>
                  <a:gd name="connsiteY665" fmla="*/ 1032287 h 1948688"/>
                  <a:gd name="connsiteX666" fmla="*/ 5648 w 2039057"/>
                  <a:gd name="connsiteY666" fmla="*/ 1032287 h 1948688"/>
                  <a:gd name="connsiteX667" fmla="*/ 6152 w 2039057"/>
                  <a:gd name="connsiteY667" fmla="*/ 1034910 h 1948688"/>
                  <a:gd name="connsiteX668" fmla="*/ 6152 w 2039057"/>
                  <a:gd name="connsiteY668" fmla="*/ 1034910 h 1948688"/>
                  <a:gd name="connsiteX669" fmla="*/ 55573 w 2039057"/>
                  <a:gd name="connsiteY669" fmla="*/ 1062545 h 1948688"/>
                  <a:gd name="connsiteX670" fmla="*/ 55573 w 2039057"/>
                  <a:gd name="connsiteY670" fmla="*/ 1062545 h 1948688"/>
                  <a:gd name="connsiteX671" fmla="*/ 103784 w 2039057"/>
                  <a:gd name="connsiteY671" fmla="*/ 1043785 h 1948688"/>
                  <a:gd name="connsiteX672" fmla="*/ 103784 w 2039057"/>
                  <a:gd name="connsiteY672" fmla="*/ 1043785 h 1948688"/>
                  <a:gd name="connsiteX673" fmla="*/ 113365 w 2039057"/>
                  <a:gd name="connsiteY673" fmla="*/ 1045298 h 1948688"/>
                  <a:gd name="connsiteX674" fmla="*/ 113365 w 2039057"/>
                  <a:gd name="connsiteY674" fmla="*/ 1045298 h 1948688"/>
                  <a:gd name="connsiteX675" fmla="*/ 137168 w 2039057"/>
                  <a:gd name="connsiteY675" fmla="*/ 1065873 h 1948688"/>
                  <a:gd name="connsiteX676" fmla="*/ 137168 w 2039057"/>
                  <a:gd name="connsiteY676" fmla="*/ 1065873 h 1948688"/>
                  <a:gd name="connsiteX677" fmla="*/ 147052 w 2039057"/>
                  <a:gd name="connsiteY677" fmla="*/ 1065066 h 1948688"/>
                  <a:gd name="connsiteX678" fmla="*/ 147052 w 2039057"/>
                  <a:gd name="connsiteY678" fmla="*/ 1065066 h 1948688"/>
                  <a:gd name="connsiteX679" fmla="*/ 210593 w 2039057"/>
                  <a:gd name="connsiteY679" fmla="*/ 1028152 h 1948688"/>
                  <a:gd name="connsiteX680" fmla="*/ 210593 w 2039057"/>
                  <a:gd name="connsiteY680" fmla="*/ 1028152 h 1948688"/>
                  <a:gd name="connsiteX681" fmla="*/ 275848 w 2039057"/>
                  <a:gd name="connsiteY681" fmla="*/ 1017966 h 1948688"/>
                  <a:gd name="connsiteX682" fmla="*/ 275848 w 2039057"/>
                  <a:gd name="connsiteY682" fmla="*/ 1017966 h 1948688"/>
                  <a:gd name="connsiteX683" fmla="*/ 286438 w 2039057"/>
                  <a:gd name="connsiteY683" fmla="*/ 1017259 h 1948688"/>
                  <a:gd name="connsiteX684" fmla="*/ 286438 w 2039057"/>
                  <a:gd name="connsiteY684" fmla="*/ 1017259 h 1948688"/>
                  <a:gd name="connsiteX685" fmla="*/ 314074 w 2039057"/>
                  <a:gd name="connsiteY685" fmla="*/ 1020487 h 1948688"/>
                  <a:gd name="connsiteX686" fmla="*/ 314074 w 2039057"/>
                  <a:gd name="connsiteY686" fmla="*/ 1020487 h 1948688"/>
                  <a:gd name="connsiteX687" fmla="*/ 386288 w 2039057"/>
                  <a:gd name="connsiteY687" fmla="*/ 1045298 h 1948688"/>
                  <a:gd name="connsiteX688" fmla="*/ 386288 w 2039057"/>
                  <a:gd name="connsiteY688" fmla="*/ 1045298 h 1948688"/>
                  <a:gd name="connsiteX689" fmla="*/ 454065 w 2039057"/>
                  <a:gd name="connsiteY689" fmla="*/ 1092903 h 1948688"/>
                  <a:gd name="connsiteX690" fmla="*/ 454065 w 2039057"/>
                  <a:gd name="connsiteY690" fmla="*/ 1092903 h 1948688"/>
                  <a:gd name="connsiteX691" fmla="*/ 484020 w 2039057"/>
                  <a:gd name="connsiteY691" fmla="*/ 1121144 h 1948688"/>
                  <a:gd name="connsiteX692" fmla="*/ 484020 w 2039057"/>
                  <a:gd name="connsiteY692" fmla="*/ 1121144 h 1948688"/>
                  <a:gd name="connsiteX693" fmla="*/ 478776 w 2039057"/>
                  <a:gd name="connsiteY693" fmla="*/ 1129717 h 1948688"/>
                  <a:gd name="connsiteX694" fmla="*/ 478776 w 2039057"/>
                  <a:gd name="connsiteY694" fmla="*/ 1129717 h 1948688"/>
                  <a:gd name="connsiteX695" fmla="*/ 457091 w 2039057"/>
                  <a:gd name="connsiteY695" fmla="*/ 1141215 h 1948688"/>
                  <a:gd name="connsiteX696" fmla="*/ 457091 w 2039057"/>
                  <a:gd name="connsiteY696" fmla="*/ 1141215 h 1948688"/>
                  <a:gd name="connsiteX697" fmla="*/ 428447 w 2039057"/>
                  <a:gd name="connsiteY697" fmla="*/ 1127195 h 1948688"/>
                  <a:gd name="connsiteX698" fmla="*/ 428447 w 2039057"/>
                  <a:gd name="connsiteY698" fmla="*/ 1127195 h 1948688"/>
                  <a:gd name="connsiteX699" fmla="*/ 313065 w 2039057"/>
                  <a:gd name="connsiteY699" fmla="*/ 1055888 h 1948688"/>
                  <a:gd name="connsiteX700" fmla="*/ 313065 w 2039057"/>
                  <a:gd name="connsiteY700" fmla="*/ 1055888 h 1948688"/>
                  <a:gd name="connsiteX701" fmla="*/ 286438 w 2039057"/>
                  <a:gd name="connsiteY701" fmla="*/ 1053569 h 1948688"/>
                  <a:gd name="connsiteX702" fmla="*/ 286438 w 2039057"/>
                  <a:gd name="connsiteY702" fmla="*/ 1053569 h 1948688"/>
                  <a:gd name="connsiteX703" fmla="*/ 226730 w 2039057"/>
                  <a:gd name="connsiteY703" fmla="*/ 1088163 h 1948688"/>
                  <a:gd name="connsiteX704" fmla="*/ 226730 w 2039057"/>
                  <a:gd name="connsiteY704" fmla="*/ 1088163 h 1948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Lst>
                <a:rect l="l" t="t" r="r" b="b"/>
                <a:pathLst>
                  <a:path w="2039057" h="1948688">
                    <a:moveTo>
                      <a:pt x="622096" y="1894023"/>
                    </a:moveTo>
                    <a:cubicBezTo>
                      <a:pt x="583568" y="1876070"/>
                      <a:pt x="585585" y="1844703"/>
                      <a:pt x="569044" y="1823825"/>
                    </a:cubicBezTo>
                    <a:lnTo>
                      <a:pt x="569044" y="1823825"/>
                    </a:lnTo>
                    <a:cubicBezTo>
                      <a:pt x="554016" y="1803150"/>
                      <a:pt x="474237" y="1805066"/>
                      <a:pt x="445391" y="1782070"/>
                    </a:cubicBezTo>
                    <a:lnTo>
                      <a:pt x="445391" y="1782070"/>
                    </a:lnTo>
                    <a:cubicBezTo>
                      <a:pt x="418563" y="1759982"/>
                      <a:pt x="382758" y="1739508"/>
                      <a:pt x="372572" y="1691196"/>
                    </a:cubicBezTo>
                    <a:lnTo>
                      <a:pt x="372572" y="1691196"/>
                    </a:lnTo>
                    <a:cubicBezTo>
                      <a:pt x="362587" y="1644398"/>
                      <a:pt x="343020" y="1592960"/>
                      <a:pt x="291380" y="1541220"/>
                    </a:cubicBezTo>
                    <a:lnTo>
                      <a:pt x="291380" y="1541220"/>
                    </a:lnTo>
                    <a:cubicBezTo>
                      <a:pt x="248415" y="1498254"/>
                      <a:pt x="225217" y="1458415"/>
                      <a:pt x="225217" y="1422509"/>
                    </a:cubicBezTo>
                    <a:lnTo>
                      <a:pt x="225217" y="1422509"/>
                    </a:lnTo>
                    <a:cubicBezTo>
                      <a:pt x="225217" y="1414642"/>
                      <a:pt x="226327" y="1406977"/>
                      <a:pt x="228747" y="1399513"/>
                    </a:cubicBezTo>
                    <a:lnTo>
                      <a:pt x="228747" y="1399513"/>
                    </a:lnTo>
                    <a:cubicBezTo>
                      <a:pt x="241556" y="1358968"/>
                      <a:pt x="251541" y="1366129"/>
                      <a:pt x="273428" y="1319734"/>
                    </a:cubicBezTo>
                    <a:lnTo>
                      <a:pt x="273428" y="1319734"/>
                    </a:lnTo>
                    <a:cubicBezTo>
                      <a:pt x="284522" y="1296436"/>
                      <a:pt x="289262" y="1276264"/>
                      <a:pt x="289262" y="1259118"/>
                    </a:cubicBezTo>
                    <a:lnTo>
                      <a:pt x="289262" y="1259118"/>
                    </a:lnTo>
                    <a:cubicBezTo>
                      <a:pt x="289262" y="1241972"/>
                      <a:pt x="284421" y="1227751"/>
                      <a:pt x="276151" y="1215749"/>
                    </a:cubicBezTo>
                    <a:lnTo>
                      <a:pt x="276151" y="1215749"/>
                    </a:lnTo>
                    <a:cubicBezTo>
                      <a:pt x="260618" y="1192753"/>
                      <a:pt x="216745" y="1196990"/>
                      <a:pt x="188404" y="1189526"/>
                    </a:cubicBezTo>
                    <a:lnTo>
                      <a:pt x="188404" y="1189526"/>
                    </a:lnTo>
                    <a:cubicBezTo>
                      <a:pt x="178318" y="1186904"/>
                      <a:pt x="173275" y="1180348"/>
                      <a:pt x="173578" y="1173389"/>
                    </a:cubicBezTo>
                    <a:lnTo>
                      <a:pt x="173578" y="1173389"/>
                    </a:lnTo>
                    <a:cubicBezTo>
                      <a:pt x="173981" y="1160479"/>
                      <a:pt x="187294" y="1147266"/>
                      <a:pt x="199196" y="1146863"/>
                    </a:cubicBezTo>
                    <a:lnTo>
                      <a:pt x="199196" y="1146863"/>
                    </a:lnTo>
                    <a:cubicBezTo>
                      <a:pt x="210391" y="1147871"/>
                      <a:pt x="216543" y="1127296"/>
                      <a:pt x="221284" y="1087356"/>
                    </a:cubicBezTo>
                    <a:lnTo>
                      <a:pt x="221284" y="1087356"/>
                    </a:lnTo>
                    <a:cubicBezTo>
                      <a:pt x="225318" y="1055586"/>
                      <a:pt x="258097" y="1047820"/>
                      <a:pt x="286237" y="1047820"/>
                    </a:cubicBezTo>
                    <a:lnTo>
                      <a:pt x="286237" y="1047820"/>
                    </a:lnTo>
                    <a:cubicBezTo>
                      <a:pt x="296222" y="1047820"/>
                      <a:pt x="305904" y="1048828"/>
                      <a:pt x="313771" y="1050240"/>
                    </a:cubicBezTo>
                    <a:lnTo>
                      <a:pt x="313771" y="1050240"/>
                    </a:lnTo>
                    <a:cubicBezTo>
                      <a:pt x="345138" y="1055586"/>
                      <a:pt x="401720" y="1100367"/>
                      <a:pt x="431574" y="1122757"/>
                    </a:cubicBezTo>
                    <a:lnTo>
                      <a:pt x="431574" y="1122757"/>
                    </a:lnTo>
                    <a:cubicBezTo>
                      <a:pt x="444585" y="1132541"/>
                      <a:pt x="452149" y="1135667"/>
                      <a:pt x="456990" y="1135667"/>
                    </a:cubicBezTo>
                    <a:lnTo>
                      <a:pt x="456990" y="1135667"/>
                    </a:lnTo>
                    <a:cubicBezTo>
                      <a:pt x="462739" y="1135768"/>
                      <a:pt x="466975" y="1131028"/>
                      <a:pt x="475548" y="1125178"/>
                    </a:cubicBezTo>
                    <a:lnTo>
                      <a:pt x="475548" y="1125178"/>
                    </a:lnTo>
                    <a:cubicBezTo>
                      <a:pt x="477969" y="1123464"/>
                      <a:pt x="478372" y="1122253"/>
                      <a:pt x="478372" y="1121144"/>
                    </a:cubicBezTo>
                    <a:lnTo>
                      <a:pt x="478372" y="1121144"/>
                    </a:lnTo>
                    <a:cubicBezTo>
                      <a:pt x="479381" y="1115395"/>
                      <a:pt x="459209" y="1103191"/>
                      <a:pt x="450737" y="1097341"/>
                    </a:cubicBezTo>
                    <a:lnTo>
                      <a:pt x="450737" y="1097341"/>
                    </a:lnTo>
                    <a:cubicBezTo>
                      <a:pt x="441055" y="1090180"/>
                      <a:pt x="390625" y="1052459"/>
                      <a:pt x="384574" y="1050745"/>
                    </a:cubicBezTo>
                    <a:lnTo>
                      <a:pt x="384574" y="1050745"/>
                    </a:lnTo>
                    <a:cubicBezTo>
                      <a:pt x="376808" y="1048122"/>
                      <a:pt x="334750" y="1030875"/>
                      <a:pt x="312863" y="1025933"/>
                    </a:cubicBezTo>
                    <a:lnTo>
                      <a:pt x="312863" y="1025933"/>
                    </a:lnTo>
                    <a:cubicBezTo>
                      <a:pt x="301769" y="1023412"/>
                      <a:pt x="292591" y="1022908"/>
                      <a:pt x="286337" y="1022908"/>
                    </a:cubicBezTo>
                    <a:lnTo>
                      <a:pt x="286337" y="1022908"/>
                    </a:lnTo>
                    <a:cubicBezTo>
                      <a:pt x="280084" y="1022908"/>
                      <a:pt x="276756" y="1023513"/>
                      <a:pt x="276252" y="1023513"/>
                    </a:cubicBezTo>
                    <a:lnTo>
                      <a:pt x="276252" y="1023513"/>
                    </a:lnTo>
                    <a:cubicBezTo>
                      <a:pt x="276151" y="1023513"/>
                      <a:pt x="228949" y="1023715"/>
                      <a:pt x="213114" y="1032993"/>
                    </a:cubicBezTo>
                    <a:lnTo>
                      <a:pt x="213114" y="1032993"/>
                    </a:lnTo>
                    <a:cubicBezTo>
                      <a:pt x="196775" y="1042172"/>
                      <a:pt x="183361" y="1065470"/>
                      <a:pt x="147455" y="1070614"/>
                    </a:cubicBezTo>
                    <a:lnTo>
                      <a:pt x="147455" y="1070614"/>
                    </a:lnTo>
                    <a:cubicBezTo>
                      <a:pt x="143118" y="1071219"/>
                      <a:pt x="139689" y="1071521"/>
                      <a:pt x="136966" y="1071521"/>
                    </a:cubicBezTo>
                    <a:lnTo>
                      <a:pt x="136966" y="1071521"/>
                    </a:lnTo>
                    <a:cubicBezTo>
                      <a:pt x="114374" y="1069605"/>
                      <a:pt x="130915" y="1054779"/>
                      <a:pt x="111550" y="1050745"/>
                    </a:cubicBezTo>
                    <a:lnTo>
                      <a:pt x="111550" y="1050745"/>
                    </a:lnTo>
                    <a:cubicBezTo>
                      <a:pt x="108524" y="1049736"/>
                      <a:pt x="105901" y="1049433"/>
                      <a:pt x="103582" y="1049433"/>
                    </a:cubicBezTo>
                    <a:lnTo>
                      <a:pt x="103582" y="1049433"/>
                    </a:lnTo>
                    <a:cubicBezTo>
                      <a:pt x="88251" y="1048727"/>
                      <a:pt x="80788" y="1067790"/>
                      <a:pt x="55371" y="1068294"/>
                    </a:cubicBezTo>
                    <a:lnTo>
                      <a:pt x="55371" y="1068294"/>
                    </a:lnTo>
                    <a:cubicBezTo>
                      <a:pt x="27534" y="1068294"/>
                      <a:pt x="5951" y="1057905"/>
                      <a:pt x="605" y="1036524"/>
                    </a:cubicBezTo>
                    <a:lnTo>
                      <a:pt x="605" y="1036524"/>
                    </a:lnTo>
                    <a:cubicBezTo>
                      <a:pt x="101" y="1035011"/>
                      <a:pt x="0" y="1033599"/>
                      <a:pt x="0" y="1032388"/>
                    </a:cubicBezTo>
                    <a:lnTo>
                      <a:pt x="0" y="1032388"/>
                    </a:lnTo>
                    <a:cubicBezTo>
                      <a:pt x="0" y="1024723"/>
                      <a:pt x="7161" y="1022605"/>
                      <a:pt x="13717" y="1022605"/>
                    </a:cubicBezTo>
                    <a:lnTo>
                      <a:pt x="13717" y="1022605"/>
                    </a:lnTo>
                    <a:cubicBezTo>
                      <a:pt x="25921" y="1022605"/>
                      <a:pt x="44075" y="1028051"/>
                      <a:pt x="55371" y="1027950"/>
                    </a:cubicBezTo>
                    <a:lnTo>
                      <a:pt x="55371" y="1027950"/>
                    </a:lnTo>
                    <a:cubicBezTo>
                      <a:pt x="61221" y="1027648"/>
                      <a:pt x="61322" y="1026639"/>
                      <a:pt x="61423" y="1025126"/>
                    </a:cubicBezTo>
                    <a:lnTo>
                      <a:pt x="61423" y="1025126"/>
                    </a:lnTo>
                    <a:cubicBezTo>
                      <a:pt x="61927" y="1020386"/>
                      <a:pt x="50429" y="1007073"/>
                      <a:pt x="39133" y="1000920"/>
                    </a:cubicBezTo>
                    <a:lnTo>
                      <a:pt x="39133" y="1000920"/>
                    </a:lnTo>
                    <a:cubicBezTo>
                      <a:pt x="25013" y="992751"/>
                      <a:pt x="4539" y="992650"/>
                      <a:pt x="4640" y="964410"/>
                    </a:cubicBezTo>
                    <a:lnTo>
                      <a:pt x="4640" y="964410"/>
                    </a:lnTo>
                    <a:cubicBezTo>
                      <a:pt x="4640" y="961081"/>
                      <a:pt x="4942" y="957551"/>
                      <a:pt x="5547" y="953517"/>
                    </a:cubicBezTo>
                    <a:lnTo>
                      <a:pt x="5547" y="953517"/>
                    </a:lnTo>
                    <a:cubicBezTo>
                      <a:pt x="7766" y="935766"/>
                      <a:pt x="23298" y="932135"/>
                      <a:pt x="38225" y="932336"/>
                    </a:cubicBezTo>
                    <a:lnTo>
                      <a:pt x="38225" y="932336"/>
                    </a:lnTo>
                    <a:cubicBezTo>
                      <a:pt x="47504" y="932336"/>
                      <a:pt x="57288" y="933446"/>
                      <a:pt x="65659" y="933446"/>
                    </a:cubicBezTo>
                    <a:lnTo>
                      <a:pt x="65659" y="933446"/>
                    </a:lnTo>
                    <a:cubicBezTo>
                      <a:pt x="76552" y="933446"/>
                      <a:pt x="83410" y="931631"/>
                      <a:pt x="84923" y="925680"/>
                    </a:cubicBezTo>
                    <a:lnTo>
                      <a:pt x="84923" y="925680"/>
                    </a:lnTo>
                    <a:cubicBezTo>
                      <a:pt x="86738" y="919528"/>
                      <a:pt x="92185" y="907828"/>
                      <a:pt x="100758" y="892397"/>
                    </a:cubicBezTo>
                    <a:lnTo>
                      <a:pt x="100758" y="892397"/>
                    </a:lnTo>
                    <a:cubicBezTo>
                      <a:pt x="131217" y="878478"/>
                      <a:pt x="140496" y="850137"/>
                      <a:pt x="164299" y="849330"/>
                    </a:cubicBezTo>
                    <a:lnTo>
                      <a:pt x="164299" y="849330"/>
                    </a:lnTo>
                    <a:cubicBezTo>
                      <a:pt x="165912" y="849330"/>
                      <a:pt x="167526" y="849532"/>
                      <a:pt x="169140" y="849834"/>
                    </a:cubicBezTo>
                    <a:lnTo>
                      <a:pt x="169140" y="849834"/>
                    </a:lnTo>
                    <a:cubicBezTo>
                      <a:pt x="193749" y="854978"/>
                      <a:pt x="198994" y="885034"/>
                      <a:pt x="212307" y="883521"/>
                    </a:cubicBezTo>
                    <a:lnTo>
                      <a:pt x="212307" y="883521"/>
                    </a:lnTo>
                    <a:cubicBezTo>
                      <a:pt x="214123" y="883521"/>
                      <a:pt x="216241" y="883218"/>
                      <a:pt x="218560" y="882109"/>
                    </a:cubicBezTo>
                    <a:lnTo>
                      <a:pt x="218560" y="882109"/>
                    </a:lnTo>
                    <a:cubicBezTo>
                      <a:pt x="241052" y="872124"/>
                      <a:pt x="248818" y="864055"/>
                      <a:pt x="260215" y="815341"/>
                    </a:cubicBezTo>
                    <a:lnTo>
                      <a:pt x="260215" y="815341"/>
                    </a:lnTo>
                    <a:cubicBezTo>
                      <a:pt x="272016" y="766122"/>
                      <a:pt x="286539" y="715692"/>
                      <a:pt x="303181" y="710044"/>
                    </a:cubicBezTo>
                    <a:lnTo>
                      <a:pt x="303181" y="710044"/>
                    </a:lnTo>
                    <a:cubicBezTo>
                      <a:pt x="305904" y="709237"/>
                      <a:pt x="309232" y="709137"/>
                      <a:pt x="313166" y="709137"/>
                    </a:cubicBezTo>
                    <a:lnTo>
                      <a:pt x="313166" y="709137"/>
                    </a:lnTo>
                    <a:cubicBezTo>
                      <a:pt x="324966" y="709137"/>
                      <a:pt x="342213" y="711053"/>
                      <a:pt x="357947" y="711053"/>
                    </a:cubicBezTo>
                    <a:lnTo>
                      <a:pt x="357947" y="711053"/>
                    </a:lnTo>
                    <a:cubicBezTo>
                      <a:pt x="368033" y="711053"/>
                      <a:pt x="377413" y="710246"/>
                      <a:pt x="384069" y="707825"/>
                    </a:cubicBezTo>
                    <a:lnTo>
                      <a:pt x="384069" y="707825"/>
                    </a:lnTo>
                    <a:cubicBezTo>
                      <a:pt x="399602" y="702379"/>
                      <a:pt x="414125" y="696227"/>
                      <a:pt x="425825" y="696227"/>
                    </a:cubicBezTo>
                    <a:lnTo>
                      <a:pt x="425825" y="696227"/>
                    </a:lnTo>
                    <a:cubicBezTo>
                      <a:pt x="430868" y="696227"/>
                      <a:pt x="435406" y="697437"/>
                      <a:pt x="439138" y="700665"/>
                    </a:cubicBezTo>
                    <a:lnTo>
                      <a:pt x="439138" y="700665"/>
                    </a:lnTo>
                    <a:cubicBezTo>
                      <a:pt x="445089" y="706010"/>
                      <a:pt x="474136" y="721340"/>
                      <a:pt x="500259" y="721240"/>
                    </a:cubicBezTo>
                    <a:lnTo>
                      <a:pt x="500259" y="721240"/>
                    </a:lnTo>
                    <a:cubicBezTo>
                      <a:pt x="512462" y="721240"/>
                      <a:pt x="524061" y="718214"/>
                      <a:pt x="532937" y="709540"/>
                    </a:cubicBezTo>
                    <a:lnTo>
                      <a:pt x="532937" y="709540"/>
                    </a:lnTo>
                    <a:cubicBezTo>
                      <a:pt x="561177" y="683115"/>
                      <a:pt x="547460" y="628954"/>
                      <a:pt x="638637" y="616750"/>
                    </a:cubicBezTo>
                    <a:lnTo>
                      <a:pt x="638637" y="616750"/>
                    </a:lnTo>
                    <a:cubicBezTo>
                      <a:pt x="656589" y="614329"/>
                      <a:pt x="670508" y="613321"/>
                      <a:pt x="681400" y="613321"/>
                    </a:cubicBezTo>
                    <a:lnTo>
                      <a:pt x="681400" y="613321"/>
                    </a:lnTo>
                    <a:cubicBezTo>
                      <a:pt x="725072" y="613119"/>
                      <a:pt x="721441" y="631274"/>
                      <a:pt x="738688" y="636922"/>
                    </a:cubicBezTo>
                    <a:lnTo>
                      <a:pt x="738688" y="636922"/>
                    </a:lnTo>
                    <a:cubicBezTo>
                      <a:pt x="742420" y="638233"/>
                      <a:pt x="746757" y="638939"/>
                      <a:pt x="751396" y="638939"/>
                    </a:cubicBezTo>
                    <a:lnTo>
                      <a:pt x="751396" y="638939"/>
                    </a:lnTo>
                    <a:cubicBezTo>
                      <a:pt x="773787" y="638838"/>
                      <a:pt x="801523" y="622196"/>
                      <a:pt x="801624" y="582761"/>
                    </a:cubicBezTo>
                    <a:lnTo>
                      <a:pt x="801624" y="582761"/>
                    </a:lnTo>
                    <a:cubicBezTo>
                      <a:pt x="801624" y="582055"/>
                      <a:pt x="801624" y="581450"/>
                      <a:pt x="801624" y="580945"/>
                    </a:cubicBezTo>
                    <a:lnTo>
                      <a:pt x="801624" y="580945"/>
                    </a:lnTo>
                    <a:cubicBezTo>
                      <a:pt x="801422" y="577214"/>
                      <a:pt x="801422" y="573784"/>
                      <a:pt x="801422" y="570557"/>
                    </a:cubicBezTo>
                    <a:lnTo>
                      <a:pt x="801422" y="570557"/>
                    </a:lnTo>
                    <a:cubicBezTo>
                      <a:pt x="801019" y="529306"/>
                      <a:pt x="809087" y="523153"/>
                      <a:pt x="822502" y="512160"/>
                    </a:cubicBezTo>
                    <a:lnTo>
                      <a:pt x="822502" y="512160"/>
                    </a:lnTo>
                    <a:cubicBezTo>
                      <a:pt x="826435" y="508630"/>
                      <a:pt x="826839" y="506814"/>
                      <a:pt x="826939" y="504596"/>
                    </a:cubicBezTo>
                    <a:lnTo>
                      <a:pt x="826939" y="504596"/>
                    </a:lnTo>
                    <a:cubicBezTo>
                      <a:pt x="826939" y="502377"/>
                      <a:pt x="825931" y="499452"/>
                      <a:pt x="825931" y="495619"/>
                    </a:cubicBezTo>
                    <a:lnTo>
                      <a:pt x="825931" y="495619"/>
                    </a:lnTo>
                    <a:cubicBezTo>
                      <a:pt x="825830" y="490475"/>
                      <a:pt x="828351" y="484323"/>
                      <a:pt x="836925" y="476859"/>
                    </a:cubicBezTo>
                    <a:lnTo>
                      <a:pt x="836925" y="476859"/>
                    </a:lnTo>
                    <a:cubicBezTo>
                      <a:pt x="848221" y="466572"/>
                      <a:pt x="861332" y="466572"/>
                      <a:pt x="871519" y="466572"/>
                    </a:cubicBezTo>
                    <a:lnTo>
                      <a:pt x="871519" y="466572"/>
                    </a:lnTo>
                    <a:cubicBezTo>
                      <a:pt x="882311" y="466572"/>
                      <a:pt x="889068" y="466572"/>
                      <a:pt x="892800" y="458806"/>
                    </a:cubicBezTo>
                    <a:lnTo>
                      <a:pt x="892800" y="458806"/>
                    </a:lnTo>
                    <a:cubicBezTo>
                      <a:pt x="897843" y="448115"/>
                      <a:pt x="906719" y="432179"/>
                      <a:pt x="906618" y="415235"/>
                    </a:cubicBezTo>
                    <a:lnTo>
                      <a:pt x="906618" y="415235"/>
                    </a:lnTo>
                    <a:cubicBezTo>
                      <a:pt x="906618" y="402123"/>
                      <a:pt x="901575" y="388306"/>
                      <a:pt x="884631" y="374488"/>
                    </a:cubicBezTo>
                    <a:lnTo>
                      <a:pt x="884631" y="374488"/>
                    </a:lnTo>
                    <a:cubicBezTo>
                      <a:pt x="866274" y="359662"/>
                      <a:pt x="859214" y="348164"/>
                      <a:pt x="859214" y="337977"/>
                    </a:cubicBezTo>
                    <a:lnTo>
                      <a:pt x="859214" y="337977"/>
                    </a:lnTo>
                    <a:cubicBezTo>
                      <a:pt x="859315" y="325672"/>
                      <a:pt x="869502" y="318007"/>
                      <a:pt x="877974" y="311250"/>
                    </a:cubicBezTo>
                    <a:lnTo>
                      <a:pt x="877974" y="311250"/>
                    </a:lnTo>
                    <a:cubicBezTo>
                      <a:pt x="887152" y="304089"/>
                      <a:pt x="894615" y="288456"/>
                      <a:pt x="894615" y="272520"/>
                    </a:cubicBezTo>
                    <a:lnTo>
                      <a:pt x="894615" y="272520"/>
                    </a:lnTo>
                    <a:cubicBezTo>
                      <a:pt x="894615" y="263846"/>
                      <a:pt x="892498" y="255071"/>
                      <a:pt x="887253" y="247406"/>
                    </a:cubicBezTo>
                    <a:lnTo>
                      <a:pt x="887253" y="247406"/>
                    </a:lnTo>
                    <a:cubicBezTo>
                      <a:pt x="879083" y="235000"/>
                      <a:pt x="873233" y="226427"/>
                      <a:pt x="873133" y="217552"/>
                    </a:cubicBezTo>
                    <a:lnTo>
                      <a:pt x="873133" y="217552"/>
                    </a:lnTo>
                    <a:cubicBezTo>
                      <a:pt x="873133" y="209584"/>
                      <a:pt x="878579" y="203230"/>
                      <a:pt x="889270" y="196876"/>
                    </a:cubicBezTo>
                    <a:lnTo>
                      <a:pt x="889270" y="196876"/>
                    </a:lnTo>
                    <a:cubicBezTo>
                      <a:pt x="902583" y="189009"/>
                      <a:pt x="910047" y="172468"/>
                      <a:pt x="909946" y="159054"/>
                    </a:cubicBezTo>
                    <a:lnTo>
                      <a:pt x="909946" y="159054"/>
                    </a:lnTo>
                    <a:cubicBezTo>
                      <a:pt x="909946" y="151490"/>
                      <a:pt x="907626" y="145135"/>
                      <a:pt x="903390" y="141606"/>
                    </a:cubicBezTo>
                    <a:lnTo>
                      <a:pt x="903390" y="141606"/>
                    </a:lnTo>
                    <a:cubicBezTo>
                      <a:pt x="892498" y="131923"/>
                      <a:pt x="884832" y="100354"/>
                      <a:pt x="884631" y="73627"/>
                    </a:cubicBezTo>
                    <a:lnTo>
                      <a:pt x="884631" y="73627"/>
                    </a:lnTo>
                    <a:cubicBezTo>
                      <a:pt x="884731" y="59002"/>
                      <a:pt x="887051" y="45790"/>
                      <a:pt x="894313" y="38730"/>
                    </a:cubicBezTo>
                    <a:lnTo>
                      <a:pt x="894313" y="38730"/>
                    </a:lnTo>
                    <a:cubicBezTo>
                      <a:pt x="899356" y="34090"/>
                      <a:pt x="904096" y="25921"/>
                      <a:pt x="908131" y="17045"/>
                    </a:cubicBezTo>
                    <a:lnTo>
                      <a:pt x="908131" y="17045"/>
                    </a:lnTo>
                    <a:cubicBezTo>
                      <a:pt x="908131" y="16843"/>
                      <a:pt x="908231" y="16743"/>
                      <a:pt x="908231" y="16642"/>
                    </a:cubicBezTo>
                    <a:lnTo>
                      <a:pt x="908231" y="16642"/>
                    </a:lnTo>
                    <a:cubicBezTo>
                      <a:pt x="908736" y="15331"/>
                      <a:pt x="909946" y="14423"/>
                      <a:pt x="911257" y="14725"/>
                    </a:cubicBezTo>
                    <a:lnTo>
                      <a:pt x="911257" y="14725"/>
                    </a:lnTo>
                    <a:cubicBezTo>
                      <a:pt x="916502" y="15633"/>
                      <a:pt x="920536" y="17045"/>
                      <a:pt x="925882" y="17045"/>
                    </a:cubicBezTo>
                    <a:lnTo>
                      <a:pt x="925882" y="17045"/>
                    </a:lnTo>
                    <a:cubicBezTo>
                      <a:pt x="953920" y="17045"/>
                      <a:pt x="971369" y="13112"/>
                      <a:pt x="985489" y="13112"/>
                    </a:cubicBezTo>
                    <a:lnTo>
                      <a:pt x="985489" y="13112"/>
                    </a:lnTo>
                    <a:cubicBezTo>
                      <a:pt x="994264" y="13011"/>
                      <a:pt x="1001929" y="14725"/>
                      <a:pt x="1009393" y="20071"/>
                    </a:cubicBezTo>
                    <a:lnTo>
                      <a:pt x="1009393" y="20071"/>
                    </a:lnTo>
                    <a:cubicBezTo>
                      <a:pt x="1027144" y="32880"/>
                      <a:pt x="1078884" y="71005"/>
                      <a:pt x="1107730" y="70803"/>
                    </a:cubicBezTo>
                    <a:lnTo>
                      <a:pt x="1107730" y="70803"/>
                    </a:lnTo>
                    <a:cubicBezTo>
                      <a:pt x="1118925" y="70803"/>
                      <a:pt x="1131129" y="71408"/>
                      <a:pt x="1143232" y="71408"/>
                    </a:cubicBezTo>
                    <a:lnTo>
                      <a:pt x="1143232" y="71408"/>
                    </a:lnTo>
                    <a:cubicBezTo>
                      <a:pt x="1164513" y="71408"/>
                      <a:pt x="1185391" y="69391"/>
                      <a:pt x="1200822" y="58498"/>
                    </a:cubicBezTo>
                    <a:lnTo>
                      <a:pt x="1200822" y="58498"/>
                    </a:lnTo>
                    <a:cubicBezTo>
                      <a:pt x="1222406" y="43369"/>
                      <a:pt x="1248226" y="20071"/>
                      <a:pt x="1277575" y="19970"/>
                    </a:cubicBezTo>
                    <a:lnTo>
                      <a:pt x="1277575" y="19970"/>
                    </a:lnTo>
                    <a:cubicBezTo>
                      <a:pt x="1282618" y="19970"/>
                      <a:pt x="1287762" y="20676"/>
                      <a:pt x="1292906" y="22290"/>
                    </a:cubicBezTo>
                    <a:lnTo>
                      <a:pt x="1292906" y="22290"/>
                    </a:lnTo>
                    <a:cubicBezTo>
                      <a:pt x="1313884" y="28644"/>
                      <a:pt x="1325483" y="33888"/>
                      <a:pt x="1340814" y="33888"/>
                    </a:cubicBezTo>
                    <a:lnTo>
                      <a:pt x="1340814" y="33888"/>
                    </a:lnTo>
                    <a:cubicBezTo>
                      <a:pt x="1349992" y="33888"/>
                      <a:pt x="1360582" y="32073"/>
                      <a:pt x="1375812" y="27434"/>
                    </a:cubicBezTo>
                    <a:lnTo>
                      <a:pt x="1375812" y="27434"/>
                    </a:lnTo>
                    <a:cubicBezTo>
                      <a:pt x="1409398" y="17247"/>
                      <a:pt x="1398303" y="1513"/>
                      <a:pt x="1418576" y="0"/>
                    </a:cubicBezTo>
                    <a:lnTo>
                      <a:pt x="1418576" y="0"/>
                    </a:lnTo>
                    <a:cubicBezTo>
                      <a:pt x="1421904" y="0"/>
                      <a:pt x="1425938" y="605"/>
                      <a:pt x="1430981" y="1816"/>
                    </a:cubicBezTo>
                    <a:lnTo>
                      <a:pt x="1430981" y="1816"/>
                    </a:lnTo>
                    <a:cubicBezTo>
                      <a:pt x="1462752" y="9783"/>
                      <a:pt x="1463559" y="58094"/>
                      <a:pt x="1463861" y="70601"/>
                    </a:cubicBezTo>
                    <a:lnTo>
                      <a:pt x="1463861" y="70601"/>
                    </a:lnTo>
                    <a:cubicBezTo>
                      <a:pt x="1463861" y="70803"/>
                      <a:pt x="1463861" y="71005"/>
                      <a:pt x="1463861" y="71206"/>
                    </a:cubicBezTo>
                    <a:lnTo>
                      <a:pt x="1463861" y="71206"/>
                    </a:lnTo>
                    <a:cubicBezTo>
                      <a:pt x="1473645" y="72618"/>
                      <a:pt x="1508743" y="78468"/>
                      <a:pt x="1509954" y="101766"/>
                    </a:cubicBezTo>
                    <a:lnTo>
                      <a:pt x="1509954" y="101766"/>
                    </a:lnTo>
                    <a:cubicBezTo>
                      <a:pt x="1509954" y="121434"/>
                      <a:pt x="1531436" y="140093"/>
                      <a:pt x="1551911" y="140093"/>
                    </a:cubicBezTo>
                    <a:lnTo>
                      <a:pt x="1551911" y="140093"/>
                    </a:lnTo>
                    <a:cubicBezTo>
                      <a:pt x="1553020" y="140093"/>
                      <a:pt x="1554332" y="140093"/>
                      <a:pt x="1555542" y="139992"/>
                    </a:cubicBezTo>
                    <a:lnTo>
                      <a:pt x="1555542" y="139992"/>
                    </a:lnTo>
                    <a:cubicBezTo>
                      <a:pt x="1578033" y="137470"/>
                      <a:pt x="1608089" y="127183"/>
                      <a:pt x="1619990" y="105599"/>
                    </a:cubicBezTo>
                    <a:lnTo>
                      <a:pt x="1619990" y="105599"/>
                    </a:lnTo>
                    <a:cubicBezTo>
                      <a:pt x="1630883" y="85932"/>
                      <a:pt x="1659729" y="67172"/>
                      <a:pt x="1690289" y="67071"/>
                    </a:cubicBezTo>
                    <a:lnTo>
                      <a:pt x="1690289" y="67071"/>
                    </a:lnTo>
                    <a:cubicBezTo>
                      <a:pt x="1697853" y="67071"/>
                      <a:pt x="1705518" y="68281"/>
                      <a:pt x="1712881" y="71005"/>
                    </a:cubicBezTo>
                    <a:lnTo>
                      <a:pt x="1712881" y="71005"/>
                    </a:lnTo>
                    <a:cubicBezTo>
                      <a:pt x="1751510" y="85629"/>
                      <a:pt x="1752821" y="158045"/>
                      <a:pt x="1755746" y="186084"/>
                    </a:cubicBezTo>
                    <a:lnTo>
                      <a:pt x="1755746" y="186084"/>
                    </a:lnTo>
                    <a:cubicBezTo>
                      <a:pt x="1759578" y="214627"/>
                      <a:pt x="1752519" y="210290"/>
                      <a:pt x="1791551" y="214224"/>
                    </a:cubicBezTo>
                    <a:lnTo>
                      <a:pt x="1791551" y="214224"/>
                    </a:lnTo>
                    <a:cubicBezTo>
                      <a:pt x="1818077" y="215736"/>
                      <a:pt x="1823926" y="235000"/>
                      <a:pt x="1823523" y="247103"/>
                    </a:cubicBezTo>
                    <a:lnTo>
                      <a:pt x="1823523" y="247103"/>
                    </a:lnTo>
                    <a:cubicBezTo>
                      <a:pt x="1823523" y="252247"/>
                      <a:pt x="1822716" y="256382"/>
                      <a:pt x="1822111" y="256786"/>
                    </a:cubicBezTo>
                    <a:lnTo>
                      <a:pt x="1822111" y="256786"/>
                    </a:lnTo>
                    <a:cubicBezTo>
                      <a:pt x="1825338" y="260618"/>
                      <a:pt x="1845510" y="284119"/>
                      <a:pt x="1867296" y="283816"/>
                    </a:cubicBezTo>
                    <a:lnTo>
                      <a:pt x="1867296" y="283816"/>
                    </a:lnTo>
                    <a:cubicBezTo>
                      <a:pt x="1869111" y="283816"/>
                      <a:pt x="1870926" y="283715"/>
                      <a:pt x="1872742" y="283513"/>
                    </a:cubicBezTo>
                    <a:lnTo>
                      <a:pt x="1872742" y="283513"/>
                    </a:lnTo>
                    <a:cubicBezTo>
                      <a:pt x="1891401" y="280084"/>
                      <a:pt x="1906630" y="270704"/>
                      <a:pt x="1919238" y="270503"/>
                    </a:cubicBezTo>
                    <a:lnTo>
                      <a:pt x="1919238" y="270503"/>
                    </a:lnTo>
                    <a:cubicBezTo>
                      <a:pt x="1925289" y="270402"/>
                      <a:pt x="1931038" y="273226"/>
                      <a:pt x="1934568" y="279782"/>
                    </a:cubicBezTo>
                    <a:lnTo>
                      <a:pt x="1934568" y="279782"/>
                    </a:lnTo>
                    <a:cubicBezTo>
                      <a:pt x="1944150" y="297533"/>
                      <a:pt x="1979047" y="348466"/>
                      <a:pt x="1996193" y="347458"/>
                    </a:cubicBezTo>
                    <a:lnTo>
                      <a:pt x="1996193" y="347458"/>
                    </a:lnTo>
                    <a:cubicBezTo>
                      <a:pt x="2005976" y="347256"/>
                      <a:pt x="2011422" y="343121"/>
                      <a:pt x="2014650" y="333035"/>
                    </a:cubicBezTo>
                    <a:lnTo>
                      <a:pt x="2014650" y="333035"/>
                    </a:lnTo>
                    <a:cubicBezTo>
                      <a:pt x="2014952" y="331926"/>
                      <a:pt x="2015961" y="331119"/>
                      <a:pt x="2017272" y="331119"/>
                    </a:cubicBezTo>
                    <a:lnTo>
                      <a:pt x="2017272" y="331119"/>
                    </a:lnTo>
                    <a:cubicBezTo>
                      <a:pt x="2018483" y="331018"/>
                      <a:pt x="2019491" y="331724"/>
                      <a:pt x="2019894" y="332833"/>
                    </a:cubicBezTo>
                    <a:lnTo>
                      <a:pt x="2019894" y="332833"/>
                    </a:lnTo>
                    <a:cubicBezTo>
                      <a:pt x="2025139" y="345642"/>
                      <a:pt x="2027459" y="360469"/>
                      <a:pt x="2027459" y="374790"/>
                    </a:cubicBezTo>
                    <a:lnTo>
                      <a:pt x="2027459" y="374790"/>
                    </a:lnTo>
                    <a:cubicBezTo>
                      <a:pt x="2027358" y="398896"/>
                      <a:pt x="2021307" y="421387"/>
                      <a:pt x="2010313" y="430464"/>
                    </a:cubicBezTo>
                    <a:lnTo>
                      <a:pt x="2010313" y="430464"/>
                    </a:lnTo>
                    <a:lnTo>
                      <a:pt x="2008598" y="428246"/>
                    </a:lnTo>
                    <a:lnTo>
                      <a:pt x="2010212" y="430464"/>
                    </a:lnTo>
                    <a:cubicBezTo>
                      <a:pt x="2004968" y="434700"/>
                      <a:pt x="2003354" y="438331"/>
                      <a:pt x="2003354" y="442265"/>
                    </a:cubicBezTo>
                    <a:lnTo>
                      <a:pt x="2003354" y="442265"/>
                    </a:lnTo>
                    <a:cubicBezTo>
                      <a:pt x="2003152" y="450233"/>
                      <a:pt x="2012532" y="460924"/>
                      <a:pt x="2024232" y="471211"/>
                    </a:cubicBezTo>
                    <a:lnTo>
                      <a:pt x="2024232" y="471211"/>
                    </a:lnTo>
                    <a:cubicBezTo>
                      <a:pt x="2033410" y="479683"/>
                      <a:pt x="2038957" y="498947"/>
                      <a:pt x="2039058" y="518312"/>
                    </a:cubicBezTo>
                    <a:lnTo>
                      <a:pt x="2039058" y="518312"/>
                    </a:lnTo>
                    <a:cubicBezTo>
                      <a:pt x="2039058" y="539997"/>
                      <a:pt x="2031291" y="562892"/>
                      <a:pt x="2008901" y="566119"/>
                    </a:cubicBezTo>
                    <a:lnTo>
                      <a:pt x="2008901" y="566119"/>
                    </a:lnTo>
                    <a:cubicBezTo>
                      <a:pt x="1979652" y="570254"/>
                      <a:pt x="1973096" y="579331"/>
                      <a:pt x="1972995" y="590023"/>
                    </a:cubicBezTo>
                    <a:lnTo>
                      <a:pt x="1972995" y="590023"/>
                    </a:lnTo>
                    <a:cubicBezTo>
                      <a:pt x="1972995" y="593250"/>
                      <a:pt x="1973701" y="596881"/>
                      <a:pt x="1974811" y="600613"/>
                    </a:cubicBezTo>
                    <a:lnTo>
                      <a:pt x="1974811" y="600613"/>
                    </a:lnTo>
                    <a:cubicBezTo>
                      <a:pt x="1976122" y="605252"/>
                      <a:pt x="1977030" y="609791"/>
                      <a:pt x="1977030" y="614329"/>
                    </a:cubicBezTo>
                    <a:lnTo>
                      <a:pt x="1977030" y="614329"/>
                    </a:lnTo>
                    <a:cubicBezTo>
                      <a:pt x="1976929" y="626735"/>
                      <a:pt x="1971987" y="639141"/>
                      <a:pt x="1964422" y="664456"/>
                    </a:cubicBezTo>
                    <a:lnTo>
                      <a:pt x="1964422" y="664456"/>
                    </a:lnTo>
                    <a:cubicBezTo>
                      <a:pt x="1954135" y="699555"/>
                      <a:pt x="1937292" y="718416"/>
                      <a:pt x="1906731" y="721845"/>
                    </a:cubicBezTo>
                    <a:lnTo>
                      <a:pt x="1906731" y="721845"/>
                    </a:lnTo>
                    <a:cubicBezTo>
                      <a:pt x="1878894" y="725375"/>
                      <a:pt x="1882021" y="736167"/>
                      <a:pt x="1872843" y="771568"/>
                    </a:cubicBezTo>
                    <a:lnTo>
                      <a:pt x="1872843" y="771568"/>
                    </a:lnTo>
                    <a:cubicBezTo>
                      <a:pt x="1864875" y="806566"/>
                      <a:pt x="1865278" y="799002"/>
                      <a:pt x="1806478" y="804851"/>
                    </a:cubicBezTo>
                    <a:lnTo>
                      <a:pt x="1806478" y="804851"/>
                    </a:lnTo>
                    <a:cubicBezTo>
                      <a:pt x="1745055" y="812819"/>
                      <a:pt x="1775716" y="805356"/>
                      <a:pt x="1751106" y="835008"/>
                    </a:cubicBezTo>
                    <a:lnTo>
                      <a:pt x="1751106" y="835008"/>
                    </a:lnTo>
                    <a:cubicBezTo>
                      <a:pt x="1740617" y="847918"/>
                      <a:pt x="1730431" y="852961"/>
                      <a:pt x="1720446" y="852961"/>
                    </a:cubicBezTo>
                    <a:lnTo>
                      <a:pt x="1720446" y="852961"/>
                    </a:lnTo>
                    <a:cubicBezTo>
                      <a:pt x="1708443" y="852860"/>
                      <a:pt x="1697551" y="846405"/>
                      <a:pt x="1685448" y="840959"/>
                    </a:cubicBezTo>
                    <a:lnTo>
                      <a:pt x="1685448" y="840959"/>
                    </a:lnTo>
                    <a:cubicBezTo>
                      <a:pt x="1681918" y="839244"/>
                      <a:pt x="1678488" y="838538"/>
                      <a:pt x="1675059" y="838538"/>
                    </a:cubicBezTo>
                    <a:lnTo>
                      <a:pt x="1675059" y="838538"/>
                    </a:lnTo>
                    <a:cubicBezTo>
                      <a:pt x="1659022" y="838538"/>
                      <a:pt x="1644499" y="855785"/>
                      <a:pt x="1644499" y="873032"/>
                    </a:cubicBezTo>
                    <a:lnTo>
                      <a:pt x="1644499" y="873032"/>
                    </a:lnTo>
                    <a:cubicBezTo>
                      <a:pt x="1644398" y="895422"/>
                      <a:pt x="1644600" y="920335"/>
                      <a:pt x="1629975" y="937178"/>
                    </a:cubicBezTo>
                    <a:lnTo>
                      <a:pt x="1629975" y="937178"/>
                    </a:lnTo>
                    <a:cubicBezTo>
                      <a:pt x="1616662" y="952206"/>
                      <a:pt x="1615149" y="959165"/>
                      <a:pt x="1614947" y="1016654"/>
                    </a:cubicBezTo>
                    <a:lnTo>
                      <a:pt x="1614947" y="1016654"/>
                    </a:lnTo>
                    <a:cubicBezTo>
                      <a:pt x="1614947" y="1075556"/>
                      <a:pt x="1571175" y="1076867"/>
                      <a:pt x="1555743" y="1102888"/>
                    </a:cubicBezTo>
                    <a:lnTo>
                      <a:pt x="1555743" y="1102888"/>
                    </a:lnTo>
                    <a:cubicBezTo>
                      <a:pt x="1545456" y="1119127"/>
                      <a:pt x="1542430" y="1164715"/>
                      <a:pt x="1539606" y="1198099"/>
                    </a:cubicBezTo>
                    <a:lnTo>
                      <a:pt x="1539606" y="1198099"/>
                    </a:lnTo>
                    <a:cubicBezTo>
                      <a:pt x="1496136" y="1201528"/>
                      <a:pt x="1489278" y="1224524"/>
                      <a:pt x="1488874" y="1251857"/>
                    </a:cubicBezTo>
                    <a:lnTo>
                      <a:pt x="1488874" y="1251857"/>
                    </a:lnTo>
                    <a:cubicBezTo>
                      <a:pt x="1489580" y="1286350"/>
                      <a:pt x="1487059" y="1294923"/>
                      <a:pt x="1439958" y="1311464"/>
                    </a:cubicBezTo>
                    <a:lnTo>
                      <a:pt x="1439958" y="1311464"/>
                    </a:lnTo>
                    <a:cubicBezTo>
                      <a:pt x="1432999" y="1313986"/>
                      <a:pt x="1427350" y="1315095"/>
                      <a:pt x="1422711" y="1315095"/>
                    </a:cubicBezTo>
                    <a:lnTo>
                      <a:pt x="1422711" y="1315095"/>
                    </a:lnTo>
                    <a:cubicBezTo>
                      <a:pt x="1392857" y="1313885"/>
                      <a:pt x="1407078" y="1270415"/>
                      <a:pt x="1399816" y="1266178"/>
                    </a:cubicBezTo>
                    <a:lnTo>
                      <a:pt x="1399816" y="1266178"/>
                    </a:lnTo>
                    <a:cubicBezTo>
                      <a:pt x="1398001" y="1263959"/>
                      <a:pt x="1389831" y="1262144"/>
                      <a:pt x="1378434" y="1262245"/>
                    </a:cubicBezTo>
                    <a:lnTo>
                      <a:pt x="1378434" y="1262245"/>
                    </a:lnTo>
                    <a:cubicBezTo>
                      <a:pt x="1354531" y="1262245"/>
                      <a:pt x="1315902" y="1268397"/>
                      <a:pt x="1280803" y="1276769"/>
                    </a:cubicBezTo>
                    <a:lnTo>
                      <a:pt x="1280803" y="1276769"/>
                    </a:lnTo>
                    <a:cubicBezTo>
                      <a:pt x="1252058" y="1283526"/>
                      <a:pt x="1244998" y="1287258"/>
                      <a:pt x="1237434" y="1287560"/>
                    </a:cubicBezTo>
                    <a:lnTo>
                      <a:pt x="1237434" y="1287560"/>
                    </a:lnTo>
                    <a:cubicBezTo>
                      <a:pt x="1231080" y="1287460"/>
                      <a:pt x="1226541" y="1284636"/>
                      <a:pt x="1212219" y="1279189"/>
                    </a:cubicBezTo>
                    <a:lnTo>
                      <a:pt x="1212219" y="1279189"/>
                    </a:lnTo>
                    <a:cubicBezTo>
                      <a:pt x="1206067" y="1276769"/>
                      <a:pt x="1201024" y="1275760"/>
                      <a:pt x="1196990" y="1275760"/>
                    </a:cubicBezTo>
                    <a:lnTo>
                      <a:pt x="1196990" y="1275760"/>
                    </a:lnTo>
                    <a:cubicBezTo>
                      <a:pt x="1183273" y="1275760"/>
                      <a:pt x="1178633" y="1286955"/>
                      <a:pt x="1178331" y="1304404"/>
                    </a:cubicBezTo>
                    <a:lnTo>
                      <a:pt x="1178331" y="1304404"/>
                    </a:lnTo>
                    <a:cubicBezTo>
                      <a:pt x="1178331" y="1307329"/>
                      <a:pt x="1178431" y="1310354"/>
                      <a:pt x="1178734" y="1313683"/>
                    </a:cubicBezTo>
                    <a:lnTo>
                      <a:pt x="1178734" y="1313683"/>
                    </a:lnTo>
                    <a:cubicBezTo>
                      <a:pt x="1178734" y="1314389"/>
                      <a:pt x="1178835" y="1315196"/>
                      <a:pt x="1178835" y="1316103"/>
                    </a:cubicBezTo>
                    <a:lnTo>
                      <a:pt x="1178835" y="1316103"/>
                    </a:lnTo>
                    <a:cubicBezTo>
                      <a:pt x="1177726" y="1345352"/>
                      <a:pt x="1136373" y="1356043"/>
                      <a:pt x="1064260" y="1358767"/>
                    </a:cubicBezTo>
                    <a:lnTo>
                      <a:pt x="1064260" y="1358767"/>
                    </a:lnTo>
                    <a:cubicBezTo>
                      <a:pt x="1060931" y="1358767"/>
                      <a:pt x="1057805" y="1358867"/>
                      <a:pt x="1054981" y="1358867"/>
                    </a:cubicBezTo>
                    <a:lnTo>
                      <a:pt x="1054981" y="1358867"/>
                    </a:lnTo>
                    <a:cubicBezTo>
                      <a:pt x="989725" y="1359069"/>
                      <a:pt x="995171" y="1331333"/>
                      <a:pt x="971066" y="1318726"/>
                    </a:cubicBezTo>
                    <a:lnTo>
                      <a:pt x="971066" y="1318726"/>
                    </a:lnTo>
                    <a:cubicBezTo>
                      <a:pt x="965923" y="1315902"/>
                      <a:pt x="961586" y="1314691"/>
                      <a:pt x="958257" y="1314691"/>
                    </a:cubicBezTo>
                    <a:lnTo>
                      <a:pt x="958257" y="1314691"/>
                    </a:lnTo>
                    <a:cubicBezTo>
                      <a:pt x="950592" y="1314792"/>
                      <a:pt x="946860" y="1319835"/>
                      <a:pt x="946659" y="1328307"/>
                    </a:cubicBezTo>
                    <a:lnTo>
                      <a:pt x="946659" y="1328307"/>
                    </a:lnTo>
                    <a:cubicBezTo>
                      <a:pt x="946659" y="1334460"/>
                      <a:pt x="949281" y="1342125"/>
                      <a:pt x="954727" y="1349185"/>
                    </a:cubicBezTo>
                    <a:lnTo>
                      <a:pt x="954727" y="1349185"/>
                    </a:lnTo>
                    <a:cubicBezTo>
                      <a:pt x="972377" y="1371777"/>
                      <a:pt x="1002332" y="1416357"/>
                      <a:pt x="1007375" y="1454683"/>
                    </a:cubicBezTo>
                    <a:lnTo>
                      <a:pt x="1007375" y="1454683"/>
                    </a:lnTo>
                    <a:cubicBezTo>
                      <a:pt x="1011712" y="1489681"/>
                      <a:pt x="1044290" y="1484033"/>
                      <a:pt x="1061436" y="1505516"/>
                    </a:cubicBezTo>
                    <a:lnTo>
                      <a:pt x="1061436" y="1505516"/>
                    </a:lnTo>
                    <a:cubicBezTo>
                      <a:pt x="1066378" y="1512173"/>
                      <a:pt x="1068092" y="1518627"/>
                      <a:pt x="1068092" y="1524780"/>
                    </a:cubicBezTo>
                    <a:lnTo>
                      <a:pt x="1068092" y="1524780"/>
                    </a:lnTo>
                    <a:cubicBezTo>
                      <a:pt x="1067991" y="1535672"/>
                      <a:pt x="1063352" y="1545052"/>
                      <a:pt x="1063554" y="1555643"/>
                    </a:cubicBezTo>
                    <a:lnTo>
                      <a:pt x="1063554" y="1555643"/>
                    </a:lnTo>
                    <a:cubicBezTo>
                      <a:pt x="1063554" y="1558265"/>
                      <a:pt x="1063755" y="1560887"/>
                      <a:pt x="1064461" y="1563610"/>
                    </a:cubicBezTo>
                    <a:lnTo>
                      <a:pt x="1064461" y="1563610"/>
                    </a:lnTo>
                    <a:cubicBezTo>
                      <a:pt x="1069202" y="1585093"/>
                      <a:pt x="1101477" y="1647525"/>
                      <a:pt x="1106620" y="1693012"/>
                    </a:cubicBezTo>
                    <a:lnTo>
                      <a:pt x="1106620" y="1693012"/>
                    </a:lnTo>
                    <a:cubicBezTo>
                      <a:pt x="1108436" y="1710259"/>
                      <a:pt x="1109646" y="1724177"/>
                      <a:pt x="1109646" y="1736683"/>
                    </a:cubicBezTo>
                    <a:lnTo>
                      <a:pt x="1109646" y="1736683"/>
                    </a:lnTo>
                    <a:cubicBezTo>
                      <a:pt x="1109646" y="1756149"/>
                      <a:pt x="1106721" y="1771581"/>
                      <a:pt x="1098955" y="1788727"/>
                    </a:cubicBezTo>
                    <a:lnTo>
                      <a:pt x="1098955" y="1788727"/>
                    </a:lnTo>
                    <a:cubicBezTo>
                      <a:pt x="1095324" y="1796593"/>
                      <a:pt x="1093307" y="1806982"/>
                      <a:pt x="1093307" y="1817471"/>
                    </a:cubicBezTo>
                    <a:lnTo>
                      <a:pt x="1093307" y="1817471"/>
                    </a:lnTo>
                    <a:cubicBezTo>
                      <a:pt x="1093307" y="1840568"/>
                      <a:pt x="1102788" y="1861647"/>
                      <a:pt x="1118723" y="1861748"/>
                    </a:cubicBezTo>
                    <a:lnTo>
                      <a:pt x="1118723" y="1861748"/>
                    </a:lnTo>
                    <a:cubicBezTo>
                      <a:pt x="1131028" y="1861748"/>
                      <a:pt x="1141114" y="1868203"/>
                      <a:pt x="1141114" y="1878995"/>
                    </a:cubicBezTo>
                    <a:lnTo>
                      <a:pt x="1141114" y="1878995"/>
                    </a:lnTo>
                    <a:cubicBezTo>
                      <a:pt x="1140811" y="1892914"/>
                      <a:pt x="1125077" y="1909656"/>
                      <a:pt x="1084835" y="1924180"/>
                    </a:cubicBezTo>
                    <a:lnTo>
                      <a:pt x="1084835" y="1924180"/>
                    </a:lnTo>
                    <a:cubicBezTo>
                      <a:pt x="1051552" y="1935980"/>
                      <a:pt x="1023311" y="1938905"/>
                      <a:pt x="999105" y="1938905"/>
                    </a:cubicBezTo>
                    <a:lnTo>
                      <a:pt x="999105" y="1938905"/>
                    </a:lnTo>
                    <a:cubicBezTo>
                      <a:pt x="976412" y="1938905"/>
                      <a:pt x="957450" y="1936384"/>
                      <a:pt x="941313" y="1936384"/>
                    </a:cubicBezTo>
                    <a:lnTo>
                      <a:pt x="941313" y="1936384"/>
                    </a:lnTo>
                    <a:cubicBezTo>
                      <a:pt x="938489" y="1936384"/>
                      <a:pt x="935564" y="1936485"/>
                      <a:pt x="932740" y="1936787"/>
                    </a:cubicBezTo>
                    <a:lnTo>
                      <a:pt x="932740" y="1936787"/>
                    </a:lnTo>
                    <a:cubicBezTo>
                      <a:pt x="931227" y="1936787"/>
                      <a:pt x="929916" y="1936888"/>
                      <a:pt x="928504" y="1936888"/>
                    </a:cubicBezTo>
                    <a:lnTo>
                      <a:pt x="928504" y="1936888"/>
                    </a:lnTo>
                    <a:cubicBezTo>
                      <a:pt x="894515" y="1936686"/>
                      <a:pt x="872326" y="1908748"/>
                      <a:pt x="850339" y="1906933"/>
                    </a:cubicBezTo>
                    <a:lnTo>
                      <a:pt x="850339" y="1906933"/>
                    </a:lnTo>
                    <a:cubicBezTo>
                      <a:pt x="849532" y="1906832"/>
                      <a:pt x="848725" y="1906832"/>
                      <a:pt x="847817" y="1906832"/>
                    </a:cubicBezTo>
                    <a:lnTo>
                      <a:pt x="847817" y="1906832"/>
                    </a:lnTo>
                    <a:cubicBezTo>
                      <a:pt x="826839" y="1906530"/>
                      <a:pt x="811004" y="1932753"/>
                      <a:pt x="808583" y="1934366"/>
                    </a:cubicBezTo>
                    <a:lnTo>
                      <a:pt x="808583" y="1934366"/>
                    </a:lnTo>
                    <a:cubicBezTo>
                      <a:pt x="808482" y="1934366"/>
                      <a:pt x="764105" y="1934366"/>
                      <a:pt x="737680" y="1946469"/>
                    </a:cubicBezTo>
                    <a:lnTo>
                      <a:pt x="737680" y="1946469"/>
                    </a:lnTo>
                    <a:cubicBezTo>
                      <a:pt x="734150" y="1947982"/>
                      <a:pt x="730317" y="1948688"/>
                      <a:pt x="726484" y="1948688"/>
                    </a:cubicBezTo>
                    <a:lnTo>
                      <a:pt x="726484" y="1948688"/>
                    </a:lnTo>
                    <a:cubicBezTo>
                      <a:pt x="696933" y="1947982"/>
                      <a:pt x="654673" y="1908950"/>
                      <a:pt x="622096" y="1894023"/>
                    </a:cubicBezTo>
                    <a:lnTo>
                      <a:pt x="622096" y="1894023"/>
                    </a:lnTo>
                    <a:close/>
                    <a:moveTo>
                      <a:pt x="226730" y="1088163"/>
                    </a:moveTo>
                    <a:cubicBezTo>
                      <a:pt x="221485" y="1127498"/>
                      <a:pt x="217653" y="1151502"/>
                      <a:pt x="199196" y="1152612"/>
                    </a:cubicBezTo>
                    <a:lnTo>
                      <a:pt x="199196" y="1152612"/>
                    </a:lnTo>
                    <a:cubicBezTo>
                      <a:pt x="191530" y="1152612"/>
                      <a:pt x="179226" y="1164614"/>
                      <a:pt x="179125" y="1173590"/>
                    </a:cubicBezTo>
                    <a:lnTo>
                      <a:pt x="179125" y="1173590"/>
                    </a:lnTo>
                    <a:cubicBezTo>
                      <a:pt x="179327" y="1178028"/>
                      <a:pt x="181344" y="1181659"/>
                      <a:pt x="190018" y="1184281"/>
                    </a:cubicBezTo>
                    <a:lnTo>
                      <a:pt x="190018" y="1184281"/>
                    </a:lnTo>
                    <a:cubicBezTo>
                      <a:pt x="216443" y="1191846"/>
                      <a:pt x="261829" y="1186097"/>
                      <a:pt x="280891" y="1212723"/>
                    </a:cubicBezTo>
                    <a:lnTo>
                      <a:pt x="280891" y="1212723"/>
                    </a:lnTo>
                    <a:cubicBezTo>
                      <a:pt x="289868" y="1225532"/>
                      <a:pt x="295011" y="1240964"/>
                      <a:pt x="295011" y="1259118"/>
                    </a:cubicBezTo>
                    <a:lnTo>
                      <a:pt x="295011" y="1259118"/>
                    </a:lnTo>
                    <a:cubicBezTo>
                      <a:pt x="295011" y="1277273"/>
                      <a:pt x="289868" y="1298151"/>
                      <a:pt x="278571" y="1322054"/>
                    </a:cubicBezTo>
                    <a:lnTo>
                      <a:pt x="278571" y="1322054"/>
                    </a:lnTo>
                    <a:cubicBezTo>
                      <a:pt x="255878" y="1369861"/>
                      <a:pt x="246095" y="1362297"/>
                      <a:pt x="234093" y="1401026"/>
                    </a:cubicBezTo>
                    <a:lnTo>
                      <a:pt x="234093" y="1401026"/>
                    </a:lnTo>
                    <a:cubicBezTo>
                      <a:pt x="231874" y="1407885"/>
                      <a:pt x="230865" y="1415046"/>
                      <a:pt x="230865" y="1422408"/>
                    </a:cubicBezTo>
                    <a:lnTo>
                      <a:pt x="230865" y="1422408"/>
                    </a:lnTo>
                    <a:cubicBezTo>
                      <a:pt x="230764" y="1455793"/>
                      <a:pt x="252953" y="1494724"/>
                      <a:pt x="295516" y="1537185"/>
                    </a:cubicBezTo>
                    <a:lnTo>
                      <a:pt x="295516" y="1537185"/>
                    </a:lnTo>
                    <a:cubicBezTo>
                      <a:pt x="347962" y="1589632"/>
                      <a:pt x="368134" y="1642482"/>
                      <a:pt x="378119" y="1689885"/>
                    </a:cubicBezTo>
                    <a:lnTo>
                      <a:pt x="378119" y="1689885"/>
                    </a:lnTo>
                    <a:cubicBezTo>
                      <a:pt x="387700" y="1735675"/>
                      <a:pt x="421387" y="1755040"/>
                      <a:pt x="449022" y="1777531"/>
                    </a:cubicBezTo>
                    <a:lnTo>
                      <a:pt x="449022" y="1777531"/>
                    </a:lnTo>
                    <a:cubicBezTo>
                      <a:pt x="474741" y="1799115"/>
                      <a:pt x="553714" y="1796089"/>
                      <a:pt x="573482" y="1820195"/>
                    </a:cubicBezTo>
                    <a:lnTo>
                      <a:pt x="573482" y="1820195"/>
                    </a:lnTo>
                    <a:cubicBezTo>
                      <a:pt x="591636" y="1843997"/>
                      <a:pt x="588712" y="1872338"/>
                      <a:pt x="624617" y="1888778"/>
                    </a:cubicBezTo>
                    <a:lnTo>
                      <a:pt x="624617" y="1888778"/>
                    </a:lnTo>
                    <a:cubicBezTo>
                      <a:pt x="658001" y="1904512"/>
                      <a:pt x="701068" y="1942939"/>
                      <a:pt x="727392" y="1942637"/>
                    </a:cubicBezTo>
                    <a:lnTo>
                      <a:pt x="727392" y="1942637"/>
                    </a:lnTo>
                    <a:cubicBezTo>
                      <a:pt x="730619" y="1942637"/>
                      <a:pt x="733544" y="1941931"/>
                      <a:pt x="736268" y="1940821"/>
                    </a:cubicBezTo>
                    <a:lnTo>
                      <a:pt x="736268" y="1940821"/>
                    </a:lnTo>
                    <a:cubicBezTo>
                      <a:pt x="763802" y="1928416"/>
                      <a:pt x="807171" y="1928214"/>
                      <a:pt x="807070" y="1929525"/>
                    </a:cubicBezTo>
                    <a:lnTo>
                      <a:pt x="807070" y="1929525"/>
                    </a:lnTo>
                    <a:cubicBezTo>
                      <a:pt x="808281" y="1927710"/>
                      <a:pt x="823813" y="1901184"/>
                      <a:pt x="848624" y="1900781"/>
                    </a:cubicBezTo>
                    <a:lnTo>
                      <a:pt x="848624" y="1900781"/>
                    </a:lnTo>
                    <a:cubicBezTo>
                      <a:pt x="849532" y="1900781"/>
                      <a:pt x="850742" y="1900781"/>
                      <a:pt x="851852" y="1900882"/>
                    </a:cubicBezTo>
                    <a:lnTo>
                      <a:pt x="851852" y="1900882"/>
                    </a:lnTo>
                    <a:cubicBezTo>
                      <a:pt x="877470" y="1903806"/>
                      <a:pt x="898448" y="1931038"/>
                      <a:pt x="929412" y="1930736"/>
                    </a:cubicBezTo>
                    <a:lnTo>
                      <a:pt x="929412" y="1930736"/>
                    </a:lnTo>
                    <a:cubicBezTo>
                      <a:pt x="930622" y="1930736"/>
                      <a:pt x="931933" y="1930736"/>
                      <a:pt x="933345" y="1930635"/>
                    </a:cubicBezTo>
                    <a:lnTo>
                      <a:pt x="933345" y="1930635"/>
                    </a:lnTo>
                    <a:cubicBezTo>
                      <a:pt x="936169" y="1930433"/>
                      <a:pt x="939195" y="1930332"/>
                      <a:pt x="942221" y="1930332"/>
                    </a:cubicBezTo>
                    <a:lnTo>
                      <a:pt x="942221" y="1930332"/>
                    </a:lnTo>
                    <a:cubicBezTo>
                      <a:pt x="958963" y="1930332"/>
                      <a:pt x="977824" y="1932854"/>
                      <a:pt x="1000013" y="1932854"/>
                    </a:cubicBezTo>
                    <a:lnTo>
                      <a:pt x="1000013" y="1932854"/>
                    </a:lnTo>
                    <a:cubicBezTo>
                      <a:pt x="1023815" y="1932854"/>
                      <a:pt x="1051249" y="1930029"/>
                      <a:pt x="1083927" y="1918431"/>
                    </a:cubicBezTo>
                    <a:lnTo>
                      <a:pt x="1083927" y="1918431"/>
                    </a:lnTo>
                    <a:cubicBezTo>
                      <a:pt x="1123464" y="1904512"/>
                      <a:pt x="1136777" y="1887669"/>
                      <a:pt x="1136474" y="1878491"/>
                    </a:cubicBezTo>
                    <a:lnTo>
                      <a:pt x="1136474" y="1878491"/>
                    </a:lnTo>
                    <a:cubicBezTo>
                      <a:pt x="1136373" y="1871834"/>
                      <a:pt x="1130423" y="1866892"/>
                      <a:pt x="1119530" y="1866690"/>
                    </a:cubicBezTo>
                    <a:lnTo>
                      <a:pt x="1119530" y="1866690"/>
                    </a:lnTo>
                    <a:cubicBezTo>
                      <a:pt x="1097946" y="1866186"/>
                      <a:pt x="1088667" y="1840871"/>
                      <a:pt x="1088567" y="1816967"/>
                    </a:cubicBezTo>
                    <a:lnTo>
                      <a:pt x="1088567" y="1816967"/>
                    </a:lnTo>
                    <a:cubicBezTo>
                      <a:pt x="1088567" y="1805873"/>
                      <a:pt x="1090483" y="1794879"/>
                      <a:pt x="1094719" y="1785903"/>
                    </a:cubicBezTo>
                    <a:lnTo>
                      <a:pt x="1094719" y="1785903"/>
                    </a:lnTo>
                    <a:cubicBezTo>
                      <a:pt x="1101981" y="1769563"/>
                      <a:pt x="1104906" y="1755242"/>
                      <a:pt x="1104906" y="1736280"/>
                    </a:cubicBezTo>
                    <a:lnTo>
                      <a:pt x="1104906" y="1736280"/>
                    </a:lnTo>
                    <a:cubicBezTo>
                      <a:pt x="1104906" y="1724177"/>
                      <a:pt x="1103796" y="1710360"/>
                      <a:pt x="1101981" y="1693213"/>
                    </a:cubicBezTo>
                    <a:lnTo>
                      <a:pt x="1101981" y="1693213"/>
                    </a:lnTo>
                    <a:cubicBezTo>
                      <a:pt x="1097039" y="1649239"/>
                      <a:pt x="1065067" y="1587615"/>
                      <a:pt x="1059822" y="1564518"/>
                    </a:cubicBezTo>
                    <a:lnTo>
                      <a:pt x="1059822" y="1564518"/>
                    </a:lnTo>
                    <a:cubicBezTo>
                      <a:pt x="1059116" y="1561291"/>
                      <a:pt x="1058813" y="1558265"/>
                      <a:pt x="1058813" y="1555239"/>
                    </a:cubicBezTo>
                    <a:lnTo>
                      <a:pt x="1058813" y="1555239"/>
                    </a:lnTo>
                    <a:cubicBezTo>
                      <a:pt x="1058914" y="1543136"/>
                      <a:pt x="1063453" y="1533454"/>
                      <a:pt x="1063352" y="1524376"/>
                    </a:cubicBezTo>
                    <a:lnTo>
                      <a:pt x="1063352" y="1524376"/>
                    </a:lnTo>
                    <a:cubicBezTo>
                      <a:pt x="1063352" y="1519232"/>
                      <a:pt x="1062142" y="1514190"/>
                      <a:pt x="1057906" y="1508441"/>
                    </a:cubicBezTo>
                    <a:lnTo>
                      <a:pt x="1057906" y="1508441"/>
                    </a:lnTo>
                    <a:cubicBezTo>
                      <a:pt x="1045298" y="1490185"/>
                      <a:pt x="1008384" y="1494522"/>
                      <a:pt x="1002837" y="1455087"/>
                    </a:cubicBezTo>
                    <a:lnTo>
                      <a:pt x="1002837" y="1455087"/>
                    </a:lnTo>
                    <a:cubicBezTo>
                      <a:pt x="997995" y="1418979"/>
                      <a:pt x="968545" y="1374198"/>
                      <a:pt x="951298" y="1352211"/>
                    </a:cubicBezTo>
                    <a:lnTo>
                      <a:pt x="951298" y="1352211"/>
                    </a:lnTo>
                    <a:cubicBezTo>
                      <a:pt x="945146" y="1344243"/>
                      <a:pt x="942019" y="1335468"/>
                      <a:pt x="942019" y="1327904"/>
                    </a:cubicBezTo>
                    <a:lnTo>
                      <a:pt x="942019" y="1327904"/>
                    </a:lnTo>
                    <a:cubicBezTo>
                      <a:pt x="942019" y="1317616"/>
                      <a:pt x="948171" y="1308640"/>
                      <a:pt x="959165" y="1308640"/>
                    </a:cubicBezTo>
                    <a:lnTo>
                      <a:pt x="959165" y="1308640"/>
                    </a:lnTo>
                    <a:cubicBezTo>
                      <a:pt x="963804" y="1308640"/>
                      <a:pt x="968948" y="1310153"/>
                      <a:pt x="974596" y="1313380"/>
                    </a:cubicBezTo>
                    <a:lnTo>
                      <a:pt x="974596" y="1313380"/>
                    </a:lnTo>
                    <a:cubicBezTo>
                      <a:pt x="1002837" y="1329215"/>
                      <a:pt x="992347" y="1352413"/>
                      <a:pt x="1055888" y="1352816"/>
                    </a:cubicBezTo>
                    <a:lnTo>
                      <a:pt x="1055888" y="1352816"/>
                    </a:lnTo>
                    <a:cubicBezTo>
                      <a:pt x="1058712" y="1352816"/>
                      <a:pt x="1061738" y="1352715"/>
                      <a:pt x="1065067" y="1352715"/>
                    </a:cubicBezTo>
                    <a:lnTo>
                      <a:pt x="1065067" y="1352715"/>
                    </a:lnTo>
                    <a:cubicBezTo>
                      <a:pt x="1137382" y="1350496"/>
                      <a:pt x="1174700" y="1337586"/>
                      <a:pt x="1174095" y="1315700"/>
                    </a:cubicBezTo>
                    <a:lnTo>
                      <a:pt x="1174095" y="1315700"/>
                    </a:lnTo>
                    <a:cubicBezTo>
                      <a:pt x="1174095" y="1314994"/>
                      <a:pt x="1173994" y="1314187"/>
                      <a:pt x="1173994" y="1313683"/>
                    </a:cubicBezTo>
                    <a:lnTo>
                      <a:pt x="1173994" y="1313683"/>
                    </a:lnTo>
                    <a:cubicBezTo>
                      <a:pt x="1173691" y="1310455"/>
                      <a:pt x="1173590" y="1307329"/>
                      <a:pt x="1173590" y="1304101"/>
                    </a:cubicBezTo>
                    <a:lnTo>
                      <a:pt x="1173590" y="1304101"/>
                    </a:lnTo>
                    <a:cubicBezTo>
                      <a:pt x="1173590" y="1286148"/>
                      <a:pt x="1179642" y="1269809"/>
                      <a:pt x="1197796" y="1269809"/>
                    </a:cubicBezTo>
                    <a:lnTo>
                      <a:pt x="1197796" y="1269809"/>
                    </a:lnTo>
                    <a:cubicBezTo>
                      <a:pt x="1202738" y="1269809"/>
                      <a:pt x="1208386" y="1271020"/>
                      <a:pt x="1214942" y="1273541"/>
                    </a:cubicBezTo>
                    <a:lnTo>
                      <a:pt x="1214942" y="1273541"/>
                    </a:lnTo>
                    <a:cubicBezTo>
                      <a:pt x="1229668" y="1279290"/>
                      <a:pt x="1234005" y="1281509"/>
                      <a:pt x="1238241" y="1281509"/>
                    </a:cubicBezTo>
                    <a:lnTo>
                      <a:pt x="1238241" y="1281509"/>
                    </a:lnTo>
                    <a:cubicBezTo>
                      <a:pt x="1243384" y="1281610"/>
                      <a:pt x="1251655" y="1277777"/>
                      <a:pt x="1280299" y="1271020"/>
                    </a:cubicBezTo>
                    <a:lnTo>
                      <a:pt x="1280299" y="1271020"/>
                    </a:lnTo>
                    <a:cubicBezTo>
                      <a:pt x="1315599" y="1262548"/>
                      <a:pt x="1354430" y="1256395"/>
                      <a:pt x="1379241" y="1256395"/>
                    </a:cubicBezTo>
                    <a:lnTo>
                      <a:pt x="1379241" y="1256395"/>
                    </a:lnTo>
                    <a:cubicBezTo>
                      <a:pt x="1391142" y="1256496"/>
                      <a:pt x="1399715" y="1257404"/>
                      <a:pt x="1404456" y="1261842"/>
                    </a:cubicBezTo>
                    <a:lnTo>
                      <a:pt x="1404456" y="1261842"/>
                    </a:lnTo>
                    <a:cubicBezTo>
                      <a:pt x="1414239" y="1274650"/>
                      <a:pt x="1401531" y="1310354"/>
                      <a:pt x="1423417" y="1309043"/>
                    </a:cubicBezTo>
                    <a:lnTo>
                      <a:pt x="1423417" y="1309043"/>
                    </a:lnTo>
                    <a:cubicBezTo>
                      <a:pt x="1427250" y="1309043"/>
                      <a:pt x="1432192" y="1308136"/>
                      <a:pt x="1438747" y="1305715"/>
                    </a:cubicBezTo>
                    <a:lnTo>
                      <a:pt x="1438747" y="1305715"/>
                    </a:lnTo>
                    <a:cubicBezTo>
                      <a:pt x="1485848" y="1287560"/>
                      <a:pt x="1483327" y="1286148"/>
                      <a:pt x="1484033" y="1251352"/>
                    </a:cubicBezTo>
                    <a:lnTo>
                      <a:pt x="1484033" y="1251352"/>
                    </a:lnTo>
                    <a:cubicBezTo>
                      <a:pt x="1483731" y="1223213"/>
                      <a:pt x="1493917" y="1194872"/>
                      <a:pt x="1537286" y="1194771"/>
                    </a:cubicBezTo>
                    <a:lnTo>
                      <a:pt x="1537286" y="1194771"/>
                    </a:lnTo>
                    <a:cubicBezTo>
                      <a:pt x="1537892" y="1163706"/>
                      <a:pt x="1540110" y="1118522"/>
                      <a:pt x="1551810" y="1099459"/>
                    </a:cubicBezTo>
                    <a:lnTo>
                      <a:pt x="1551810" y="1099459"/>
                    </a:lnTo>
                    <a:cubicBezTo>
                      <a:pt x="1570872" y="1069908"/>
                      <a:pt x="1610207" y="1071421"/>
                      <a:pt x="1610207" y="1016251"/>
                    </a:cubicBezTo>
                    <a:lnTo>
                      <a:pt x="1610207" y="1016251"/>
                    </a:lnTo>
                    <a:cubicBezTo>
                      <a:pt x="1610106" y="959467"/>
                      <a:pt x="1612023" y="949180"/>
                      <a:pt x="1626445" y="933043"/>
                    </a:cubicBezTo>
                    <a:lnTo>
                      <a:pt x="1626445" y="933043"/>
                    </a:lnTo>
                    <a:cubicBezTo>
                      <a:pt x="1639355" y="918721"/>
                      <a:pt x="1639557" y="895221"/>
                      <a:pt x="1639557" y="872628"/>
                    </a:cubicBezTo>
                    <a:lnTo>
                      <a:pt x="1639557" y="872628"/>
                    </a:lnTo>
                    <a:cubicBezTo>
                      <a:pt x="1639658" y="852558"/>
                      <a:pt x="1655694" y="832688"/>
                      <a:pt x="1675664" y="832487"/>
                    </a:cubicBezTo>
                    <a:lnTo>
                      <a:pt x="1675664" y="832487"/>
                    </a:lnTo>
                    <a:cubicBezTo>
                      <a:pt x="1679800" y="832487"/>
                      <a:pt x="1684136" y="833394"/>
                      <a:pt x="1688473" y="835412"/>
                    </a:cubicBezTo>
                    <a:lnTo>
                      <a:pt x="1688473" y="835412"/>
                    </a:lnTo>
                    <a:cubicBezTo>
                      <a:pt x="1700778" y="841161"/>
                      <a:pt x="1711267" y="847010"/>
                      <a:pt x="1721051" y="846809"/>
                    </a:cubicBezTo>
                    <a:lnTo>
                      <a:pt x="1721051" y="846809"/>
                    </a:lnTo>
                    <a:cubicBezTo>
                      <a:pt x="1729018" y="846809"/>
                      <a:pt x="1737289" y="843178"/>
                      <a:pt x="1747476" y="830873"/>
                    </a:cubicBezTo>
                    <a:lnTo>
                      <a:pt x="1747476" y="830873"/>
                    </a:lnTo>
                    <a:cubicBezTo>
                      <a:pt x="1767950" y="805154"/>
                      <a:pt x="1746568" y="804549"/>
                      <a:pt x="1806377" y="798800"/>
                    </a:cubicBezTo>
                    <a:lnTo>
                      <a:pt x="1806377" y="798800"/>
                    </a:lnTo>
                    <a:cubicBezTo>
                      <a:pt x="1868708" y="790731"/>
                      <a:pt x="1858622" y="803944"/>
                      <a:pt x="1868001" y="769752"/>
                    </a:cubicBezTo>
                    <a:lnTo>
                      <a:pt x="1868001" y="769752"/>
                    </a:lnTo>
                    <a:cubicBezTo>
                      <a:pt x="1876070" y="736167"/>
                      <a:pt x="1875667" y="719122"/>
                      <a:pt x="1906630" y="715692"/>
                    </a:cubicBezTo>
                    <a:lnTo>
                      <a:pt x="1906630" y="715692"/>
                    </a:lnTo>
                    <a:cubicBezTo>
                      <a:pt x="1934972" y="712263"/>
                      <a:pt x="1949293" y="696630"/>
                      <a:pt x="1959682" y="662338"/>
                    </a:cubicBezTo>
                    <a:lnTo>
                      <a:pt x="1959682" y="662338"/>
                    </a:lnTo>
                    <a:cubicBezTo>
                      <a:pt x="1967347" y="636922"/>
                      <a:pt x="1972088" y="624617"/>
                      <a:pt x="1972088" y="613825"/>
                    </a:cubicBezTo>
                    <a:lnTo>
                      <a:pt x="1972088" y="613825"/>
                    </a:lnTo>
                    <a:cubicBezTo>
                      <a:pt x="1972088" y="609791"/>
                      <a:pt x="1971482" y="606059"/>
                      <a:pt x="1970171" y="601621"/>
                    </a:cubicBezTo>
                    <a:lnTo>
                      <a:pt x="1970171" y="601621"/>
                    </a:lnTo>
                    <a:cubicBezTo>
                      <a:pt x="1969062" y="597587"/>
                      <a:pt x="1968255" y="593452"/>
                      <a:pt x="1968255" y="589518"/>
                    </a:cubicBezTo>
                    <a:lnTo>
                      <a:pt x="1968255" y="589518"/>
                    </a:lnTo>
                    <a:cubicBezTo>
                      <a:pt x="1968053" y="575398"/>
                      <a:pt x="1978946" y="563799"/>
                      <a:pt x="2008800" y="559967"/>
                    </a:cubicBezTo>
                    <a:lnTo>
                      <a:pt x="2008800" y="559967"/>
                    </a:lnTo>
                    <a:cubicBezTo>
                      <a:pt x="2026854" y="557647"/>
                      <a:pt x="2034015" y="538685"/>
                      <a:pt x="2034216" y="517808"/>
                    </a:cubicBezTo>
                    <a:lnTo>
                      <a:pt x="2034216" y="517808"/>
                    </a:lnTo>
                    <a:cubicBezTo>
                      <a:pt x="2034317" y="499754"/>
                      <a:pt x="2028165" y="480894"/>
                      <a:pt x="2021206" y="474943"/>
                    </a:cubicBezTo>
                    <a:lnTo>
                      <a:pt x="2021206" y="474943"/>
                    </a:lnTo>
                    <a:cubicBezTo>
                      <a:pt x="2009506" y="464151"/>
                      <a:pt x="1998714" y="453662"/>
                      <a:pt x="1998512" y="441761"/>
                    </a:cubicBezTo>
                    <a:lnTo>
                      <a:pt x="1998512" y="441761"/>
                    </a:lnTo>
                    <a:cubicBezTo>
                      <a:pt x="1998512" y="436112"/>
                      <a:pt x="2001437" y="430363"/>
                      <a:pt x="2007590" y="425724"/>
                    </a:cubicBezTo>
                    <a:lnTo>
                      <a:pt x="2007590" y="425724"/>
                    </a:lnTo>
                    <a:lnTo>
                      <a:pt x="2007590" y="425623"/>
                    </a:lnTo>
                    <a:cubicBezTo>
                      <a:pt x="2016062" y="419168"/>
                      <a:pt x="2022819" y="397383"/>
                      <a:pt x="2022719" y="374286"/>
                    </a:cubicBezTo>
                    <a:lnTo>
                      <a:pt x="2022719" y="374286"/>
                    </a:lnTo>
                    <a:cubicBezTo>
                      <a:pt x="2022719" y="363091"/>
                      <a:pt x="2021206" y="351492"/>
                      <a:pt x="2017978" y="341104"/>
                    </a:cubicBezTo>
                    <a:lnTo>
                      <a:pt x="2017978" y="341104"/>
                    </a:lnTo>
                    <a:cubicBezTo>
                      <a:pt x="2013641" y="348567"/>
                      <a:pt x="2006379" y="352602"/>
                      <a:pt x="1997101" y="352602"/>
                    </a:cubicBezTo>
                    <a:lnTo>
                      <a:pt x="1997101" y="352602"/>
                    </a:lnTo>
                    <a:cubicBezTo>
                      <a:pt x="1973096" y="351593"/>
                      <a:pt x="1941527" y="300155"/>
                      <a:pt x="1930534" y="282101"/>
                    </a:cubicBezTo>
                    <a:lnTo>
                      <a:pt x="1930534" y="282101"/>
                    </a:lnTo>
                    <a:cubicBezTo>
                      <a:pt x="1927609" y="277058"/>
                      <a:pt x="1924684" y="275747"/>
                      <a:pt x="1920145" y="275646"/>
                    </a:cubicBezTo>
                    <a:lnTo>
                      <a:pt x="1920145" y="275646"/>
                    </a:lnTo>
                    <a:cubicBezTo>
                      <a:pt x="1910362" y="275445"/>
                      <a:pt x="1894225" y="284825"/>
                      <a:pt x="1874557" y="288456"/>
                    </a:cubicBezTo>
                    <a:lnTo>
                      <a:pt x="1874557" y="288456"/>
                    </a:lnTo>
                    <a:cubicBezTo>
                      <a:pt x="1872339" y="288960"/>
                      <a:pt x="1870220" y="289061"/>
                      <a:pt x="1868102" y="289061"/>
                    </a:cubicBezTo>
                    <a:lnTo>
                      <a:pt x="1868102" y="289061"/>
                    </a:lnTo>
                    <a:cubicBezTo>
                      <a:pt x="1840265" y="288758"/>
                      <a:pt x="1818379" y="259408"/>
                      <a:pt x="1817572" y="256988"/>
                    </a:cubicBezTo>
                    <a:lnTo>
                      <a:pt x="1817572" y="256988"/>
                    </a:lnTo>
                    <a:cubicBezTo>
                      <a:pt x="1817572" y="256988"/>
                      <a:pt x="1818682" y="252651"/>
                      <a:pt x="1818682" y="246801"/>
                    </a:cubicBezTo>
                    <a:lnTo>
                      <a:pt x="1818682" y="246801"/>
                    </a:lnTo>
                    <a:cubicBezTo>
                      <a:pt x="1818379" y="235706"/>
                      <a:pt x="1815353" y="221183"/>
                      <a:pt x="1791954" y="219468"/>
                    </a:cubicBezTo>
                    <a:lnTo>
                      <a:pt x="1791954" y="219468"/>
                    </a:lnTo>
                    <a:cubicBezTo>
                      <a:pt x="1754132" y="218157"/>
                      <a:pt x="1752317" y="214022"/>
                      <a:pt x="1750905" y="186185"/>
                    </a:cubicBezTo>
                    <a:lnTo>
                      <a:pt x="1750905" y="186185"/>
                    </a:lnTo>
                    <a:cubicBezTo>
                      <a:pt x="1748686" y="157844"/>
                      <a:pt x="1744853" y="86738"/>
                      <a:pt x="1711772" y="75846"/>
                    </a:cubicBezTo>
                    <a:lnTo>
                      <a:pt x="1711772" y="75846"/>
                    </a:lnTo>
                    <a:cubicBezTo>
                      <a:pt x="1704913" y="73324"/>
                      <a:pt x="1697954" y="72316"/>
                      <a:pt x="1690995" y="72316"/>
                    </a:cubicBezTo>
                    <a:lnTo>
                      <a:pt x="1690995" y="72316"/>
                    </a:lnTo>
                    <a:cubicBezTo>
                      <a:pt x="1662855" y="72215"/>
                      <a:pt x="1635018" y="90369"/>
                      <a:pt x="1625538" y="107818"/>
                    </a:cubicBezTo>
                    <a:lnTo>
                      <a:pt x="1625538" y="107818"/>
                    </a:lnTo>
                    <a:cubicBezTo>
                      <a:pt x="1611922" y="132326"/>
                      <a:pt x="1580353" y="142412"/>
                      <a:pt x="1556853" y="145135"/>
                    </a:cubicBezTo>
                    <a:lnTo>
                      <a:pt x="1556853" y="145135"/>
                    </a:lnTo>
                    <a:cubicBezTo>
                      <a:pt x="1555340" y="145236"/>
                      <a:pt x="1554029" y="145337"/>
                      <a:pt x="1552617" y="145337"/>
                    </a:cubicBezTo>
                    <a:lnTo>
                      <a:pt x="1552617" y="145337"/>
                    </a:lnTo>
                    <a:cubicBezTo>
                      <a:pt x="1529016" y="145236"/>
                      <a:pt x="1505314" y="124964"/>
                      <a:pt x="1505012" y="101464"/>
                    </a:cubicBezTo>
                    <a:lnTo>
                      <a:pt x="1505012" y="101464"/>
                    </a:lnTo>
                    <a:cubicBezTo>
                      <a:pt x="1506323" y="82401"/>
                      <a:pt x="1461542" y="75946"/>
                      <a:pt x="1458919" y="73223"/>
                    </a:cubicBezTo>
                    <a:lnTo>
                      <a:pt x="1458919" y="73223"/>
                    </a:lnTo>
                    <a:cubicBezTo>
                      <a:pt x="1458919" y="73223"/>
                      <a:pt x="1458919" y="72114"/>
                      <a:pt x="1458919" y="70298"/>
                    </a:cubicBezTo>
                    <a:lnTo>
                      <a:pt x="1458919" y="70298"/>
                    </a:lnTo>
                    <a:cubicBezTo>
                      <a:pt x="1459121" y="57893"/>
                      <a:pt x="1456196" y="12002"/>
                      <a:pt x="1430376" y="6858"/>
                    </a:cubicBezTo>
                    <a:lnTo>
                      <a:pt x="1430376" y="6858"/>
                    </a:lnTo>
                    <a:cubicBezTo>
                      <a:pt x="1425434" y="5749"/>
                      <a:pt x="1421803" y="5245"/>
                      <a:pt x="1419181" y="5245"/>
                    </a:cubicBezTo>
                    <a:lnTo>
                      <a:pt x="1419181" y="5245"/>
                    </a:lnTo>
                    <a:cubicBezTo>
                      <a:pt x="1406069" y="3732"/>
                      <a:pt x="1413936" y="20575"/>
                      <a:pt x="1378031" y="32476"/>
                    </a:cubicBezTo>
                    <a:lnTo>
                      <a:pt x="1378031" y="32476"/>
                    </a:lnTo>
                    <a:cubicBezTo>
                      <a:pt x="1362599" y="37318"/>
                      <a:pt x="1351303" y="39234"/>
                      <a:pt x="1341419" y="39234"/>
                    </a:cubicBezTo>
                    <a:lnTo>
                      <a:pt x="1341419" y="39234"/>
                    </a:lnTo>
                    <a:cubicBezTo>
                      <a:pt x="1324576" y="39234"/>
                      <a:pt x="1312473" y="33485"/>
                      <a:pt x="1291897" y="27333"/>
                    </a:cubicBezTo>
                    <a:lnTo>
                      <a:pt x="1291897" y="27333"/>
                    </a:lnTo>
                    <a:cubicBezTo>
                      <a:pt x="1287157" y="25820"/>
                      <a:pt x="1282719" y="25315"/>
                      <a:pt x="1278181" y="25315"/>
                    </a:cubicBezTo>
                    <a:lnTo>
                      <a:pt x="1278181" y="25315"/>
                    </a:lnTo>
                    <a:cubicBezTo>
                      <a:pt x="1251957" y="25114"/>
                      <a:pt x="1226642" y="47303"/>
                      <a:pt x="1204655" y="62835"/>
                    </a:cubicBezTo>
                    <a:lnTo>
                      <a:pt x="1204655" y="62835"/>
                    </a:lnTo>
                    <a:cubicBezTo>
                      <a:pt x="1187408" y="74736"/>
                      <a:pt x="1165320" y="76753"/>
                      <a:pt x="1143837" y="76753"/>
                    </a:cubicBezTo>
                    <a:lnTo>
                      <a:pt x="1143837" y="76753"/>
                    </a:lnTo>
                    <a:cubicBezTo>
                      <a:pt x="1131532" y="76753"/>
                      <a:pt x="1119329" y="76047"/>
                      <a:pt x="1108335" y="76047"/>
                    </a:cubicBezTo>
                    <a:lnTo>
                      <a:pt x="1108335" y="76047"/>
                    </a:lnTo>
                    <a:cubicBezTo>
                      <a:pt x="1075758" y="75846"/>
                      <a:pt x="1024925" y="37116"/>
                      <a:pt x="1006770" y="24307"/>
                    </a:cubicBezTo>
                    <a:lnTo>
                      <a:pt x="1006770" y="24307"/>
                    </a:lnTo>
                    <a:cubicBezTo>
                      <a:pt x="1000315" y="19869"/>
                      <a:pt x="994163" y="18457"/>
                      <a:pt x="986094" y="18356"/>
                    </a:cubicBezTo>
                    <a:lnTo>
                      <a:pt x="986094" y="18356"/>
                    </a:lnTo>
                    <a:cubicBezTo>
                      <a:pt x="972983" y="18356"/>
                      <a:pt x="954929" y="22391"/>
                      <a:pt x="926487" y="22391"/>
                    </a:cubicBezTo>
                    <a:lnTo>
                      <a:pt x="926487" y="22391"/>
                    </a:lnTo>
                    <a:cubicBezTo>
                      <a:pt x="921141" y="22391"/>
                      <a:pt x="917006" y="21281"/>
                      <a:pt x="913073" y="20474"/>
                    </a:cubicBezTo>
                    <a:lnTo>
                      <a:pt x="913073" y="20474"/>
                    </a:lnTo>
                    <a:cubicBezTo>
                      <a:pt x="909038" y="29148"/>
                      <a:pt x="904298" y="37318"/>
                      <a:pt x="898549" y="42764"/>
                    </a:cubicBezTo>
                    <a:lnTo>
                      <a:pt x="898549" y="42764"/>
                    </a:lnTo>
                    <a:cubicBezTo>
                      <a:pt x="893405" y="47403"/>
                      <a:pt x="890480" y="59406"/>
                      <a:pt x="890682" y="73526"/>
                    </a:cubicBezTo>
                    <a:lnTo>
                      <a:pt x="890682" y="73526"/>
                    </a:lnTo>
                    <a:cubicBezTo>
                      <a:pt x="890480" y="98741"/>
                      <a:pt x="899356" y="130914"/>
                      <a:pt x="907425" y="137168"/>
                    </a:cubicBezTo>
                    <a:lnTo>
                      <a:pt x="907425" y="137168"/>
                    </a:lnTo>
                    <a:cubicBezTo>
                      <a:pt x="913476" y="142311"/>
                      <a:pt x="915998" y="150481"/>
                      <a:pt x="915998" y="158953"/>
                    </a:cubicBezTo>
                    <a:lnTo>
                      <a:pt x="915998" y="158953"/>
                    </a:lnTo>
                    <a:cubicBezTo>
                      <a:pt x="915998" y="174385"/>
                      <a:pt x="907727" y="192337"/>
                      <a:pt x="892699" y="201616"/>
                    </a:cubicBezTo>
                    <a:lnTo>
                      <a:pt x="892699" y="201616"/>
                    </a:lnTo>
                    <a:cubicBezTo>
                      <a:pt x="882412" y="207769"/>
                      <a:pt x="879184" y="212509"/>
                      <a:pt x="879184" y="217451"/>
                    </a:cubicBezTo>
                    <a:lnTo>
                      <a:pt x="879184" y="217451"/>
                    </a:lnTo>
                    <a:cubicBezTo>
                      <a:pt x="879083" y="223402"/>
                      <a:pt x="884126" y="231874"/>
                      <a:pt x="892498" y="244179"/>
                    </a:cubicBezTo>
                    <a:lnTo>
                      <a:pt x="892498" y="244179"/>
                    </a:lnTo>
                    <a:cubicBezTo>
                      <a:pt x="898246" y="252953"/>
                      <a:pt x="900667" y="262837"/>
                      <a:pt x="900667" y="272419"/>
                    </a:cubicBezTo>
                    <a:lnTo>
                      <a:pt x="900667" y="272419"/>
                    </a:lnTo>
                    <a:cubicBezTo>
                      <a:pt x="900566" y="290069"/>
                      <a:pt x="892699" y="306913"/>
                      <a:pt x="881807" y="315587"/>
                    </a:cubicBezTo>
                    <a:lnTo>
                      <a:pt x="881807" y="315587"/>
                    </a:lnTo>
                    <a:cubicBezTo>
                      <a:pt x="873133" y="322243"/>
                      <a:pt x="864963" y="329202"/>
                      <a:pt x="865064" y="337876"/>
                    </a:cubicBezTo>
                    <a:lnTo>
                      <a:pt x="865064" y="337876"/>
                    </a:lnTo>
                    <a:cubicBezTo>
                      <a:pt x="865064" y="345138"/>
                      <a:pt x="870409" y="355527"/>
                      <a:pt x="888463" y="370050"/>
                    </a:cubicBezTo>
                    <a:lnTo>
                      <a:pt x="888463" y="370050"/>
                    </a:lnTo>
                    <a:cubicBezTo>
                      <a:pt x="906416" y="384473"/>
                      <a:pt x="912568" y="400408"/>
                      <a:pt x="912467" y="415033"/>
                    </a:cubicBezTo>
                    <a:lnTo>
                      <a:pt x="912467" y="415033"/>
                    </a:lnTo>
                    <a:cubicBezTo>
                      <a:pt x="912467" y="433894"/>
                      <a:pt x="902886" y="450535"/>
                      <a:pt x="898045" y="461025"/>
                    </a:cubicBezTo>
                    <a:lnTo>
                      <a:pt x="898045" y="461025"/>
                    </a:lnTo>
                    <a:cubicBezTo>
                      <a:pt x="892699" y="472119"/>
                      <a:pt x="881807" y="472119"/>
                      <a:pt x="871721" y="472018"/>
                    </a:cubicBezTo>
                    <a:lnTo>
                      <a:pt x="871721" y="472018"/>
                    </a:lnTo>
                    <a:cubicBezTo>
                      <a:pt x="861332" y="472018"/>
                      <a:pt x="850440" y="472119"/>
                      <a:pt x="840757" y="480793"/>
                    </a:cubicBezTo>
                    <a:lnTo>
                      <a:pt x="840757" y="480793"/>
                    </a:lnTo>
                    <a:cubicBezTo>
                      <a:pt x="832890" y="487954"/>
                      <a:pt x="831680" y="492089"/>
                      <a:pt x="831579" y="495417"/>
                    </a:cubicBezTo>
                    <a:lnTo>
                      <a:pt x="831579" y="495417"/>
                    </a:lnTo>
                    <a:cubicBezTo>
                      <a:pt x="831579" y="498140"/>
                      <a:pt x="832588" y="500864"/>
                      <a:pt x="832588" y="504394"/>
                    </a:cubicBezTo>
                    <a:lnTo>
                      <a:pt x="832588" y="504394"/>
                    </a:lnTo>
                    <a:cubicBezTo>
                      <a:pt x="832688" y="508025"/>
                      <a:pt x="830974" y="512160"/>
                      <a:pt x="826233" y="516295"/>
                    </a:cubicBezTo>
                    <a:lnTo>
                      <a:pt x="826233" y="516295"/>
                    </a:lnTo>
                    <a:cubicBezTo>
                      <a:pt x="812920" y="527894"/>
                      <a:pt x="807474" y="529104"/>
                      <a:pt x="807171" y="570355"/>
                    </a:cubicBezTo>
                    <a:lnTo>
                      <a:pt x="807171" y="570355"/>
                    </a:lnTo>
                    <a:cubicBezTo>
                      <a:pt x="807171" y="573583"/>
                      <a:pt x="807171" y="576810"/>
                      <a:pt x="807373" y="580643"/>
                    </a:cubicBezTo>
                    <a:lnTo>
                      <a:pt x="807373" y="580643"/>
                    </a:lnTo>
                    <a:cubicBezTo>
                      <a:pt x="807373" y="581349"/>
                      <a:pt x="807373" y="581853"/>
                      <a:pt x="807373" y="582559"/>
                    </a:cubicBezTo>
                    <a:lnTo>
                      <a:pt x="807373" y="582559"/>
                    </a:lnTo>
                    <a:cubicBezTo>
                      <a:pt x="807272" y="625121"/>
                      <a:pt x="776611" y="644284"/>
                      <a:pt x="751598" y="644385"/>
                    </a:cubicBezTo>
                    <a:lnTo>
                      <a:pt x="751598" y="644385"/>
                    </a:lnTo>
                    <a:cubicBezTo>
                      <a:pt x="746454" y="644385"/>
                      <a:pt x="741512" y="643579"/>
                      <a:pt x="737074" y="641965"/>
                    </a:cubicBezTo>
                    <a:lnTo>
                      <a:pt x="737074" y="641965"/>
                    </a:lnTo>
                    <a:cubicBezTo>
                      <a:pt x="715289" y="633493"/>
                      <a:pt x="723559" y="618868"/>
                      <a:pt x="681602" y="618767"/>
                    </a:cubicBezTo>
                    <a:lnTo>
                      <a:pt x="681602" y="618767"/>
                    </a:lnTo>
                    <a:cubicBezTo>
                      <a:pt x="671113" y="618767"/>
                      <a:pt x="657396" y="619675"/>
                      <a:pt x="639645" y="622196"/>
                    </a:cubicBezTo>
                    <a:lnTo>
                      <a:pt x="639645" y="622196"/>
                    </a:lnTo>
                    <a:cubicBezTo>
                      <a:pt x="551293" y="634400"/>
                      <a:pt x="568439" y="682308"/>
                      <a:pt x="536870" y="713373"/>
                    </a:cubicBezTo>
                    <a:lnTo>
                      <a:pt x="536870" y="713373"/>
                    </a:lnTo>
                    <a:cubicBezTo>
                      <a:pt x="526683" y="723156"/>
                      <a:pt x="513572" y="726585"/>
                      <a:pt x="500359" y="726585"/>
                    </a:cubicBezTo>
                    <a:lnTo>
                      <a:pt x="500359" y="726585"/>
                    </a:lnTo>
                    <a:cubicBezTo>
                      <a:pt x="472018" y="726484"/>
                      <a:pt x="443072" y="711154"/>
                      <a:pt x="435406" y="704497"/>
                    </a:cubicBezTo>
                    <a:lnTo>
                      <a:pt x="435406" y="704497"/>
                    </a:lnTo>
                    <a:cubicBezTo>
                      <a:pt x="433087" y="702480"/>
                      <a:pt x="430061" y="701572"/>
                      <a:pt x="425926" y="701572"/>
                    </a:cubicBezTo>
                    <a:lnTo>
                      <a:pt x="425926" y="701572"/>
                    </a:lnTo>
                    <a:cubicBezTo>
                      <a:pt x="416243" y="701471"/>
                      <a:pt x="401720" y="707321"/>
                      <a:pt x="386188" y="712868"/>
                    </a:cubicBezTo>
                    <a:lnTo>
                      <a:pt x="386188" y="712868"/>
                    </a:lnTo>
                    <a:cubicBezTo>
                      <a:pt x="378421" y="715591"/>
                      <a:pt x="368436" y="716298"/>
                      <a:pt x="358149" y="716298"/>
                    </a:cubicBezTo>
                    <a:lnTo>
                      <a:pt x="358149" y="716298"/>
                    </a:lnTo>
                    <a:cubicBezTo>
                      <a:pt x="341911" y="716298"/>
                      <a:pt x="324563" y="714381"/>
                      <a:pt x="313368" y="714381"/>
                    </a:cubicBezTo>
                    <a:lnTo>
                      <a:pt x="313368" y="714381"/>
                    </a:lnTo>
                    <a:cubicBezTo>
                      <a:pt x="309737" y="714381"/>
                      <a:pt x="306610" y="714785"/>
                      <a:pt x="304795" y="715188"/>
                    </a:cubicBezTo>
                    <a:lnTo>
                      <a:pt x="304795" y="715188"/>
                    </a:lnTo>
                    <a:cubicBezTo>
                      <a:pt x="294911" y="716197"/>
                      <a:pt x="276353" y="767836"/>
                      <a:pt x="265964" y="816248"/>
                    </a:cubicBezTo>
                    <a:lnTo>
                      <a:pt x="265964" y="816248"/>
                    </a:lnTo>
                    <a:cubicBezTo>
                      <a:pt x="255071" y="865064"/>
                      <a:pt x="245086" y="876965"/>
                      <a:pt x="221082" y="887051"/>
                    </a:cubicBezTo>
                    <a:lnTo>
                      <a:pt x="221082" y="887051"/>
                    </a:lnTo>
                    <a:cubicBezTo>
                      <a:pt x="218157" y="888261"/>
                      <a:pt x="215232" y="888866"/>
                      <a:pt x="212610" y="888866"/>
                    </a:cubicBezTo>
                    <a:lnTo>
                      <a:pt x="212610" y="888866"/>
                    </a:lnTo>
                    <a:cubicBezTo>
                      <a:pt x="192337" y="887556"/>
                      <a:pt x="188807" y="857701"/>
                      <a:pt x="168434" y="855079"/>
                    </a:cubicBezTo>
                    <a:lnTo>
                      <a:pt x="168434" y="855079"/>
                    </a:lnTo>
                    <a:cubicBezTo>
                      <a:pt x="166921" y="854877"/>
                      <a:pt x="165711" y="854776"/>
                      <a:pt x="164500" y="854776"/>
                    </a:cubicBezTo>
                    <a:lnTo>
                      <a:pt x="164500" y="854776"/>
                    </a:lnTo>
                    <a:cubicBezTo>
                      <a:pt x="146346" y="853969"/>
                      <a:pt x="135554" y="881605"/>
                      <a:pt x="104691" y="896028"/>
                    </a:cubicBezTo>
                    <a:lnTo>
                      <a:pt x="104691" y="896028"/>
                    </a:lnTo>
                    <a:cubicBezTo>
                      <a:pt x="97530" y="910047"/>
                      <a:pt x="91983" y="921847"/>
                      <a:pt x="90571" y="927092"/>
                    </a:cubicBezTo>
                    <a:lnTo>
                      <a:pt x="90571" y="927092"/>
                    </a:lnTo>
                    <a:cubicBezTo>
                      <a:pt x="87243" y="937279"/>
                      <a:pt x="76753" y="938892"/>
                      <a:pt x="65861" y="938892"/>
                    </a:cubicBezTo>
                    <a:lnTo>
                      <a:pt x="65861" y="938892"/>
                    </a:lnTo>
                    <a:cubicBezTo>
                      <a:pt x="57086" y="938892"/>
                      <a:pt x="47202" y="937783"/>
                      <a:pt x="38427" y="937783"/>
                    </a:cubicBezTo>
                    <a:lnTo>
                      <a:pt x="38427" y="937783"/>
                    </a:lnTo>
                    <a:cubicBezTo>
                      <a:pt x="23399" y="937985"/>
                      <a:pt x="13011" y="940304"/>
                      <a:pt x="11195" y="954021"/>
                    </a:cubicBezTo>
                    <a:lnTo>
                      <a:pt x="11195" y="954021"/>
                    </a:lnTo>
                    <a:cubicBezTo>
                      <a:pt x="10590" y="957955"/>
                      <a:pt x="10388" y="961182"/>
                      <a:pt x="10388" y="964208"/>
                    </a:cubicBezTo>
                    <a:lnTo>
                      <a:pt x="10388" y="964208"/>
                    </a:lnTo>
                    <a:cubicBezTo>
                      <a:pt x="10489" y="988515"/>
                      <a:pt x="25013" y="986195"/>
                      <a:pt x="42058" y="995878"/>
                    </a:cubicBezTo>
                    <a:lnTo>
                      <a:pt x="42058" y="995878"/>
                    </a:lnTo>
                    <a:cubicBezTo>
                      <a:pt x="54363" y="1003341"/>
                      <a:pt x="66768" y="1015242"/>
                      <a:pt x="67172" y="1024925"/>
                    </a:cubicBezTo>
                    <a:lnTo>
                      <a:pt x="67172" y="1024925"/>
                    </a:lnTo>
                    <a:cubicBezTo>
                      <a:pt x="67172" y="1030169"/>
                      <a:pt x="62230" y="1033397"/>
                      <a:pt x="55573" y="1033397"/>
                    </a:cubicBezTo>
                    <a:lnTo>
                      <a:pt x="55573" y="1033397"/>
                    </a:lnTo>
                    <a:cubicBezTo>
                      <a:pt x="42966" y="1033296"/>
                      <a:pt x="24811" y="1027950"/>
                      <a:pt x="13919" y="1028051"/>
                    </a:cubicBezTo>
                    <a:lnTo>
                      <a:pt x="13919" y="1028051"/>
                    </a:lnTo>
                    <a:cubicBezTo>
                      <a:pt x="7363" y="1028253"/>
                      <a:pt x="5850" y="1029060"/>
                      <a:pt x="5648" y="1032287"/>
                    </a:cubicBezTo>
                    <a:lnTo>
                      <a:pt x="5648" y="1032287"/>
                    </a:lnTo>
                    <a:cubicBezTo>
                      <a:pt x="5648" y="1032993"/>
                      <a:pt x="5749" y="1033800"/>
                      <a:pt x="6152" y="1034910"/>
                    </a:cubicBezTo>
                    <a:lnTo>
                      <a:pt x="6152" y="1034910"/>
                    </a:lnTo>
                    <a:cubicBezTo>
                      <a:pt x="10691" y="1052964"/>
                      <a:pt x="28846" y="1062444"/>
                      <a:pt x="55573" y="1062545"/>
                    </a:cubicBezTo>
                    <a:lnTo>
                      <a:pt x="55573" y="1062545"/>
                    </a:lnTo>
                    <a:cubicBezTo>
                      <a:pt x="77560" y="1062847"/>
                      <a:pt x="83813" y="1044491"/>
                      <a:pt x="103784" y="1043785"/>
                    </a:cubicBezTo>
                    <a:lnTo>
                      <a:pt x="103784" y="1043785"/>
                    </a:lnTo>
                    <a:cubicBezTo>
                      <a:pt x="106608" y="1043785"/>
                      <a:pt x="109835" y="1044088"/>
                      <a:pt x="113365" y="1045298"/>
                    </a:cubicBezTo>
                    <a:lnTo>
                      <a:pt x="113365" y="1045298"/>
                    </a:lnTo>
                    <a:cubicBezTo>
                      <a:pt x="137672" y="1054174"/>
                      <a:pt x="121232" y="1067689"/>
                      <a:pt x="137168" y="1065873"/>
                    </a:cubicBezTo>
                    <a:lnTo>
                      <a:pt x="137168" y="1065873"/>
                    </a:lnTo>
                    <a:cubicBezTo>
                      <a:pt x="139588" y="1065873"/>
                      <a:pt x="142816" y="1065671"/>
                      <a:pt x="147052" y="1065066"/>
                    </a:cubicBezTo>
                    <a:lnTo>
                      <a:pt x="147052" y="1065066"/>
                    </a:lnTo>
                    <a:cubicBezTo>
                      <a:pt x="180537" y="1060225"/>
                      <a:pt x="192236" y="1038843"/>
                      <a:pt x="210593" y="1028152"/>
                    </a:cubicBezTo>
                    <a:lnTo>
                      <a:pt x="210593" y="1028152"/>
                    </a:lnTo>
                    <a:cubicBezTo>
                      <a:pt x="229352" y="1017663"/>
                      <a:pt x="276050" y="1017966"/>
                      <a:pt x="275848" y="1017966"/>
                    </a:cubicBezTo>
                    <a:lnTo>
                      <a:pt x="275848" y="1017966"/>
                    </a:lnTo>
                    <a:cubicBezTo>
                      <a:pt x="276050" y="1017865"/>
                      <a:pt x="279883" y="1017259"/>
                      <a:pt x="286438" y="1017259"/>
                    </a:cubicBezTo>
                    <a:lnTo>
                      <a:pt x="286438" y="1017259"/>
                    </a:lnTo>
                    <a:cubicBezTo>
                      <a:pt x="293095" y="1017259"/>
                      <a:pt x="302576" y="1017865"/>
                      <a:pt x="314074" y="1020487"/>
                    </a:cubicBezTo>
                    <a:lnTo>
                      <a:pt x="314074" y="1020487"/>
                    </a:lnTo>
                    <a:cubicBezTo>
                      <a:pt x="336767" y="1025530"/>
                      <a:pt x="379127" y="1042978"/>
                      <a:pt x="386288" y="1045298"/>
                    </a:cubicBezTo>
                    <a:lnTo>
                      <a:pt x="386288" y="1045298"/>
                    </a:lnTo>
                    <a:cubicBezTo>
                      <a:pt x="395063" y="1048526"/>
                      <a:pt x="443778" y="1085339"/>
                      <a:pt x="454065" y="1092903"/>
                    </a:cubicBezTo>
                    <a:lnTo>
                      <a:pt x="454065" y="1092903"/>
                    </a:lnTo>
                    <a:cubicBezTo>
                      <a:pt x="461529" y="1099258"/>
                      <a:pt x="483012" y="1108436"/>
                      <a:pt x="484020" y="1121144"/>
                    </a:cubicBezTo>
                    <a:lnTo>
                      <a:pt x="484020" y="1121144"/>
                    </a:lnTo>
                    <a:cubicBezTo>
                      <a:pt x="484020" y="1124472"/>
                      <a:pt x="482003" y="1127397"/>
                      <a:pt x="478776" y="1129717"/>
                    </a:cubicBezTo>
                    <a:lnTo>
                      <a:pt x="478776" y="1129717"/>
                    </a:lnTo>
                    <a:cubicBezTo>
                      <a:pt x="470909" y="1134861"/>
                      <a:pt x="466068" y="1141013"/>
                      <a:pt x="457091" y="1141215"/>
                    </a:cubicBezTo>
                    <a:lnTo>
                      <a:pt x="457091" y="1141215"/>
                    </a:lnTo>
                    <a:cubicBezTo>
                      <a:pt x="450031" y="1141215"/>
                      <a:pt x="441761" y="1137180"/>
                      <a:pt x="428447" y="1127195"/>
                    </a:cubicBezTo>
                    <a:lnTo>
                      <a:pt x="428447" y="1127195"/>
                    </a:lnTo>
                    <a:cubicBezTo>
                      <a:pt x="398795" y="1104906"/>
                      <a:pt x="341305" y="1060326"/>
                      <a:pt x="313065" y="1055888"/>
                    </a:cubicBezTo>
                    <a:lnTo>
                      <a:pt x="313065" y="1055888"/>
                    </a:lnTo>
                    <a:cubicBezTo>
                      <a:pt x="305400" y="1054678"/>
                      <a:pt x="296020" y="1053569"/>
                      <a:pt x="286438" y="1053569"/>
                    </a:cubicBezTo>
                    <a:lnTo>
                      <a:pt x="286438" y="1053569"/>
                    </a:lnTo>
                    <a:cubicBezTo>
                      <a:pt x="258400" y="1053569"/>
                      <a:pt x="229756" y="1061032"/>
                      <a:pt x="226730" y="1088163"/>
                    </a:cubicBezTo>
                    <a:lnTo>
                      <a:pt x="226730" y="1088163"/>
                    </a:lnTo>
                    <a:close/>
                  </a:path>
                </a:pathLst>
              </a:custGeom>
              <a:solidFill>
                <a:srgbClr val="ABDEF6"/>
              </a:solidFill>
              <a:ln w="10085" cap="flat">
                <a:solidFill>
                  <a:srgbClr val="FFFFFF"/>
                </a:solidFill>
                <a:prstDash val="solid"/>
                <a:miter/>
              </a:ln>
            </p:spPr>
            <p:txBody>
              <a:bodyPr rtlCol="0" anchor="ctr"/>
              <a:lstStyle/>
              <a:p>
                <a:endParaRPr lang="fr-FR" sz="900"/>
              </a:p>
            </p:txBody>
          </p:sp>
          <p:grpSp>
            <p:nvGrpSpPr>
              <p:cNvPr id="48" name="Graphique 17">
                <a:extLst>
                  <a:ext uri="{FF2B5EF4-FFF2-40B4-BE49-F238E27FC236}">
                    <a16:creationId xmlns:a16="http://schemas.microsoft.com/office/drawing/2014/main" id="{DBAC0B63-9009-B409-7B20-CEC26115D0CD}"/>
                  </a:ext>
                </a:extLst>
              </p:cNvPr>
              <p:cNvGrpSpPr/>
              <p:nvPr/>
            </p:nvGrpSpPr>
            <p:grpSpPr>
              <a:xfrm>
                <a:off x="5115597" y="8142425"/>
                <a:ext cx="1474350" cy="1910967"/>
                <a:chOff x="5115597" y="8142425"/>
                <a:chExt cx="1474350" cy="1910967"/>
              </a:xfrm>
            </p:grpSpPr>
            <p:sp>
              <p:nvSpPr>
                <p:cNvPr id="49" name="Forme libre : forme 48">
                  <a:extLst>
                    <a:ext uri="{FF2B5EF4-FFF2-40B4-BE49-F238E27FC236}">
                      <a16:creationId xmlns:a16="http://schemas.microsoft.com/office/drawing/2014/main" id="{E66443E9-04A0-43A0-0F58-6F3F7C973986}"/>
                    </a:ext>
                  </a:extLst>
                </p:cNvPr>
                <p:cNvSpPr/>
                <p:nvPr/>
              </p:nvSpPr>
              <p:spPr>
                <a:xfrm>
                  <a:off x="5118320" y="8145209"/>
                  <a:ext cx="1469347" cy="1904299"/>
                </a:xfrm>
                <a:custGeom>
                  <a:avLst/>
                  <a:gdLst>
                    <a:gd name="connsiteX0" fmla="*/ 1424123 w 1469347"/>
                    <a:gd name="connsiteY0" fmla="*/ 1318766 h 1904299"/>
                    <a:gd name="connsiteX1" fmla="*/ 1413937 w 1469347"/>
                    <a:gd name="connsiteY1" fmla="*/ 1250182 h 1904299"/>
                    <a:gd name="connsiteX2" fmla="*/ 1370668 w 1469347"/>
                    <a:gd name="connsiteY2" fmla="*/ 1222244 h 1904299"/>
                    <a:gd name="connsiteX3" fmla="*/ 1337688 w 1469347"/>
                    <a:gd name="connsiteY3" fmla="*/ 1222244 h 1904299"/>
                    <a:gd name="connsiteX4" fmla="*/ 1279189 w 1469347"/>
                    <a:gd name="connsiteY4" fmla="*/ 1239995 h 1904299"/>
                    <a:gd name="connsiteX5" fmla="*/ 1218271 w 1469347"/>
                    <a:gd name="connsiteY5" fmla="*/ 1252703 h 1904299"/>
                    <a:gd name="connsiteX6" fmla="*/ 1129213 w 1469347"/>
                    <a:gd name="connsiteY6" fmla="*/ 1250081 h 1904299"/>
                    <a:gd name="connsiteX7" fmla="*/ 1152007 w 1469347"/>
                    <a:gd name="connsiteY7" fmla="*/ 1176353 h 1904299"/>
                    <a:gd name="connsiteX8" fmla="*/ 1139299 w 1469347"/>
                    <a:gd name="connsiteY8" fmla="*/ 1102525 h 1904299"/>
                    <a:gd name="connsiteX9" fmla="*/ 1126489 w 1469347"/>
                    <a:gd name="connsiteY9" fmla="*/ 1049171 h 1904299"/>
                    <a:gd name="connsiteX10" fmla="*/ 1065571 w 1469347"/>
                    <a:gd name="connsiteY10" fmla="*/ 1000859 h 1904299"/>
                    <a:gd name="connsiteX11" fmla="*/ 999408 w 1469347"/>
                    <a:gd name="connsiteY11" fmla="*/ 904237 h 1904299"/>
                    <a:gd name="connsiteX12" fmla="*/ 999408 w 1469347"/>
                    <a:gd name="connsiteY12" fmla="*/ 860969 h 1904299"/>
                    <a:gd name="connsiteX13" fmla="*/ 1012116 w 1469347"/>
                    <a:gd name="connsiteY13" fmla="*/ 810136 h 1904299"/>
                    <a:gd name="connsiteX14" fmla="*/ 984077 w 1469347"/>
                    <a:gd name="connsiteY14" fmla="*/ 741552 h 1904299"/>
                    <a:gd name="connsiteX15" fmla="*/ 1027346 w 1469347"/>
                    <a:gd name="connsiteY15" fmla="*/ 710992 h 1904299"/>
                    <a:gd name="connsiteX16" fmla="*/ 1057805 w 1469347"/>
                    <a:gd name="connsiteY16" fmla="*/ 690719 h 1904299"/>
                    <a:gd name="connsiteX17" fmla="*/ 1037431 w 1469347"/>
                    <a:gd name="connsiteY17" fmla="*/ 637264 h 1904299"/>
                    <a:gd name="connsiteX18" fmla="*/ 1037431 w 1469347"/>
                    <a:gd name="connsiteY18" fmla="*/ 471957 h 1904299"/>
                    <a:gd name="connsiteX19" fmla="*/ 1092298 w 1469347"/>
                    <a:gd name="connsiteY19" fmla="*/ 451180 h 1904299"/>
                    <a:gd name="connsiteX20" fmla="*/ 1123262 w 1469347"/>
                    <a:gd name="connsiteY20" fmla="*/ 428689 h 1904299"/>
                    <a:gd name="connsiteX21" fmla="*/ 1160479 w 1469347"/>
                    <a:gd name="connsiteY21" fmla="*/ 385219 h 1904299"/>
                    <a:gd name="connsiteX22" fmla="*/ 1157352 w 1469347"/>
                    <a:gd name="connsiteY22" fmla="*/ 279519 h 1904299"/>
                    <a:gd name="connsiteX23" fmla="*/ 1073539 w 1469347"/>
                    <a:gd name="connsiteY23" fmla="*/ 260961 h 1904299"/>
                    <a:gd name="connsiteX24" fmla="*/ 1017562 w 1469347"/>
                    <a:gd name="connsiteY24" fmla="*/ 186326 h 1904299"/>
                    <a:gd name="connsiteX25" fmla="*/ 1005560 w 1469347"/>
                    <a:gd name="connsiteY25" fmla="*/ 119759 h 1904299"/>
                    <a:gd name="connsiteX26" fmla="*/ 959165 w 1469347"/>
                    <a:gd name="connsiteY26" fmla="*/ 84156 h 1904299"/>
                    <a:gd name="connsiteX27" fmla="*/ 915897 w 1469347"/>
                    <a:gd name="connsiteY27" fmla="*/ 52789 h 1904299"/>
                    <a:gd name="connsiteX28" fmla="*/ 902987 w 1469347"/>
                    <a:gd name="connsiteY28" fmla="*/ 101403 h 1904299"/>
                    <a:gd name="connsiteX29" fmla="*/ 871620 w 1469347"/>
                    <a:gd name="connsiteY29" fmla="*/ 133778 h 1904299"/>
                    <a:gd name="connsiteX30" fmla="*/ 844690 w 1469347"/>
                    <a:gd name="connsiteY30" fmla="*/ 114313 h 1904299"/>
                    <a:gd name="connsiteX31" fmla="*/ 779939 w 1469347"/>
                    <a:gd name="connsiteY31" fmla="*/ 84055 h 1904299"/>
                    <a:gd name="connsiteX32" fmla="*/ 754019 w 1469347"/>
                    <a:gd name="connsiteY32" fmla="*/ 91620 h 1904299"/>
                    <a:gd name="connsiteX33" fmla="*/ 722652 w 1469347"/>
                    <a:gd name="connsiteY33" fmla="*/ 89401 h 1904299"/>
                    <a:gd name="connsiteX34" fmla="*/ 670810 w 1469347"/>
                    <a:gd name="connsiteY34" fmla="*/ 91620 h 1904299"/>
                    <a:gd name="connsiteX35" fmla="*/ 639544 w 1469347"/>
                    <a:gd name="connsiteY35" fmla="*/ 61362 h 1904299"/>
                    <a:gd name="connsiteX36" fmla="*/ 585585 w 1469347"/>
                    <a:gd name="connsiteY36" fmla="*/ 19304 h 1904299"/>
                    <a:gd name="connsiteX37" fmla="*/ 579029 w 1469347"/>
                    <a:gd name="connsiteY37" fmla="*/ 3973 h 1904299"/>
                    <a:gd name="connsiteX38" fmla="*/ 579029 w 1469347"/>
                    <a:gd name="connsiteY38" fmla="*/ 4175 h 1904299"/>
                    <a:gd name="connsiteX39" fmla="*/ 533340 w 1469347"/>
                    <a:gd name="connsiteY39" fmla="*/ 1855 h 1904299"/>
                    <a:gd name="connsiteX40" fmla="*/ 469295 w 1469347"/>
                    <a:gd name="connsiteY40" fmla="*/ 60656 h 1904299"/>
                    <a:gd name="connsiteX41" fmla="*/ 403535 w 1469347"/>
                    <a:gd name="connsiteY41" fmla="*/ 83147 h 1904299"/>
                    <a:gd name="connsiteX42" fmla="*/ 320529 w 1469347"/>
                    <a:gd name="connsiteY42" fmla="*/ 128130 h 1904299"/>
                    <a:gd name="connsiteX43" fmla="*/ 325773 w 1469347"/>
                    <a:gd name="connsiteY43" fmla="*/ 211137 h 1904299"/>
                    <a:gd name="connsiteX44" fmla="*/ 244481 w 1469347"/>
                    <a:gd name="connsiteY44" fmla="*/ 224955 h 1904299"/>
                    <a:gd name="connsiteX45" fmla="*/ 152700 w 1469347"/>
                    <a:gd name="connsiteY45" fmla="*/ 268223 h 1904299"/>
                    <a:gd name="connsiteX46" fmla="*/ 117702 w 1469347"/>
                    <a:gd name="connsiteY46" fmla="*/ 310684 h 1904299"/>
                    <a:gd name="connsiteX47" fmla="*/ 118106 w 1469347"/>
                    <a:gd name="connsiteY47" fmla="*/ 312903 h 1904299"/>
                    <a:gd name="connsiteX48" fmla="*/ 203331 w 1469347"/>
                    <a:gd name="connsiteY48" fmla="*/ 427378 h 1904299"/>
                    <a:gd name="connsiteX49" fmla="*/ 296222 w 1469347"/>
                    <a:gd name="connsiteY49" fmla="*/ 559099 h 1904299"/>
                    <a:gd name="connsiteX50" fmla="*/ 294003 w 1469347"/>
                    <a:gd name="connsiteY50" fmla="*/ 773928 h 1904299"/>
                    <a:gd name="connsiteX51" fmla="*/ 209786 w 1469347"/>
                    <a:gd name="connsiteY51" fmla="*/ 820323 h 1904299"/>
                    <a:gd name="connsiteX52" fmla="*/ 220578 w 1469347"/>
                    <a:gd name="connsiteY52" fmla="*/ 889411 h 1904299"/>
                    <a:gd name="connsiteX53" fmla="*/ 276655 w 1469347"/>
                    <a:gd name="connsiteY53" fmla="*/ 955271 h 1904299"/>
                    <a:gd name="connsiteX54" fmla="*/ 249726 w 1469347"/>
                    <a:gd name="connsiteY54" fmla="*/ 1028696 h 1904299"/>
                    <a:gd name="connsiteX55" fmla="*/ 261627 w 1469347"/>
                    <a:gd name="connsiteY55" fmla="*/ 1103231 h 1904299"/>
                    <a:gd name="connsiteX56" fmla="*/ 275748 w 1469347"/>
                    <a:gd name="connsiteY56" fmla="*/ 1169091 h 1904299"/>
                    <a:gd name="connsiteX57" fmla="*/ 243372 w 1469347"/>
                    <a:gd name="connsiteY57" fmla="*/ 1235053 h 1904299"/>
                    <a:gd name="connsiteX58" fmla="*/ 201314 w 1469347"/>
                    <a:gd name="connsiteY58" fmla="*/ 1211251 h 1904299"/>
                    <a:gd name="connsiteX59" fmla="*/ 178621 w 1469347"/>
                    <a:gd name="connsiteY59" fmla="*/ 1197231 h 1904299"/>
                    <a:gd name="connsiteX60" fmla="*/ 179629 w 1469347"/>
                    <a:gd name="connsiteY60" fmla="*/ 1261982 h 1904299"/>
                    <a:gd name="connsiteX61" fmla="*/ 142917 w 1469347"/>
                    <a:gd name="connsiteY61" fmla="*/ 1313824 h 1904299"/>
                    <a:gd name="connsiteX62" fmla="*/ 85730 w 1469347"/>
                    <a:gd name="connsiteY62" fmla="*/ 1366775 h 1904299"/>
                    <a:gd name="connsiteX63" fmla="*/ 91075 w 1469347"/>
                    <a:gd name="connsiteY63" fmla="*/ 1433744 h 1904299"/>
                    <a:gd name="connsiteX64" fmla="*/ 61927 w 1469347"/>
                    <a:gd name="connsiteY64" fmla="*/ 1489822 h 1904299"/>
                    <a:gd name="connsiteX65" fmla="*/ 33889 w 1469347"/>
                    <a:gd name="connsiteY65" fmla="*/ 1527643 h 1904299"/>
                    <a:gd name="connsiteX66" fmla="*/ 28543 w 1469347"/>
                    <a:gd name="connsiteY66" fmla="*/ 1553564 h 1904299"/>
                    <a:gd name="connsiteX67" fmla="*/ 5850 w 1469347"/>
                    <a:gd name="connsiteY67" fmla="*/ 1576257 h 1904299"/>
                    <a:gd name="connsiteX68" fmla="*/ 3329 w 1469347"/>
                    <a:gd name="connsiteY68" fmla="*/ 1576358 h 1904299"/>
                    <a:gd name="connsiteX69" fmla="*/ 2521 w 1469347"/>
                    <a:gd name="connsiteY69" fmla="*/ 1649279 h 1904299"/>
                    <a:gd name="connsiteX70" fmla="*/ 0 w 1469347"/>
                    <a:gd name="connsiteY70" fmla="*/ 1684983 h 1904299"/>
                    <a:gd name="connsiteX71" fmla="*/ 40646 w 1469347"/>
                    <a:gd name="connsiteY71" fmla="*/ 1725629 h 1904299"/>
                    <a:gd name="connsiteX72" fmla="*/ 30459 w 1469347"/>
                    <a:gd name="connsiteY72" fmla="*/ 1791692 h 1904299"/>
                    <a:gd name="connsiteX73" fmla="*/ 40646 w 1469347"/>
                    <a:gd name="connsiteY73" fmla="*/ 1880749 h 1904299"/>
                    <a:gd name="connsiteX74" fmla="*/ 94101 w 1469347"/>
                    <a:gd name="connsiteY74" fmla="*/ 1878228 h 1904299"/>
                    <a:gd name="connsiteX75" fmla="*/ 244179 w 1469347"/>
                    <a:gd name="connsiteY75" fmla="*/ 1855333 h 1904299"/>
                    <a:gd name="connsiteX76" fmla="*/ 310241 w 1469347"/>
                    <a:gd name="connsiteY76" fmla="*/ 1746003 h 1904299"/>
                    <a:gd name="connsiteX77" fmla="*/ 406864 w 1469347"/>
                    <a:gd name="connsiteY77" fmla="*/ 1623964 h 1904299"/>
                    <a:gd name="connsiteX78" fmla="*/ 462840 w 1469347"/>
                    <a:gd name="connsiteY78" fmla="*/ 1664610 h 1904299"/>
                    <a:gd name="connsiteX79" fmla="*/ 493400 w 1469347"/>
                    <a:gd name="connsiteY79" fmla="*/ 1746003 h 1904299"/>
                    <a:gd name="connsiteX80" fmla="*/ 513774 w 1469347"/>
                    <a:gd name="connsiteY80" fmla="*/ 1796835 h 1904299"/>
                    <a:gd name="connsiteX81" fmla="*/ 554420 w 1469347"/>
                    <a:gd name="connsiteY81" fmla="*/ 1860376 h 1904299"/>
                    <a:gd name="connsiteX82" fmla="*/ 602731 w 1469347"/>
                    <a:gd name="connsiteY82" fmla="*/ 1728150 h 1904299"/>
                    <a:gd name="connsiteX83" fmla="*/ 625626 w 1469347"/>
                    <a:gd name="connsiteY83" fmla="*/ 1669653 h 1904299"/>
                    <a:gd name="connsiteX84" fmla="*/ 691789 w 1469347"/>
                    <a:gd name="connsiteY84" fmla="*/ 1679738 h 1904299"/>
                    <a:gd name="connsiteX85" fmla="*/ 727392 w 1469347"/>
                    <a:gd name="connsiteY85" fmla="*/ 1628906 h 1904299"/>
                    <a:gd name="connsiteX86" fmla="*/ 775703 w 1469347"/>
                    <a:gd name="connsiteY86" fmla="*/ 1600867 h 1904299"/>
                    <a:gd name="connsiteX87" fmla="*/ 826536 w 1469347"/>
                    <a:gd name="connsiteY87" fmla="*/ 1654322 h 1904299"/>
                    <a:gd name="connsiteX88" fmla="*/ 849431 w 1469347"/>
                    <a:gd name="connsiteY88" fmla="*/ 1710299 h 1904299"/>
                    <a:gd name="connsiteX89" fmla="*/ 933446 w 1469347"/>
                    <a:gd name="connsiteY89" fmla="*/ 1717863 h 1904299"/>
                    <a:gd name="connsiteX90" fmla="*/ 928302 w 1469347"/>
                    <a:gd name="connsiteY90" fmla="*/ 1659365 h 1904299"/>
                    <a:gd name="connsiteX91" fmla="*/ 979236 w 1469347"/>
                    <a:gd name="connsiteY91" fmla="*/ 1679637 h 1904299"/>
                    <a:gd name="connsiteX92" fmla="*/ 1014839 w 1469347"/>
                    <a:gd name="connsiteY92" fmla="*/ 1715342 h 1904299"/>
                    <a:gd name="connsiteX93" fmla="*/ 1050442 w 1469347"/>
                    <a:gd name="connsiteY93" fmla="*/ 1748423 h 1904299"/>
                    <a:gd name="connsiteX94" fmla="*/ 1113983 w 1469347"/>
                    <a:gd name="connsiteY94" fmla="*/ 1773840 h 1904299"/>
                    <a:gd name="connsiteX95" fmla="*/ 1182567 w 1469347"/>
                    <a:gd name="connsiteY95" fmla="*/ 1712719 h 1904299"/>
                    <a:gd name="connsiteX96" fmla="*/ 1218170 w 1469347"/>
                    <a:gd name="connsiteY96" fmla="*/ 1684781 h 1904299"/>
                    <a:gd name="connsiteX97" fmla="*/ 1274146 w 1469347"/>
                    <a:gd name="connsiteY97" fmla="*/ 1661886 h 1904299"/>
                    <a:gd name="connsiteX98" fmla="*/ 1365726 w 1469347"/>
                    <a:gd name="connsiteY98" fmla="*/ 1560120 h 1904299"/>
                    <a:gd name="connsiteX99" fmla="*/ 1467392 w 1469347"/>
                    <a:gd name="connsiteY99" fmla="*/ 1402478 h 1904299"/>
                    <a:gd name="connsiteX100" fmla="*/ 1424123 w 1469347"/>
                    <a:gd name="connsiteY100" fmla="*/ 1318766 h 1904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Lst>
                  <a:rect l="l" t="t" r="r" b="b"/>
                  <a:pathLst>
                    <a:path w="1469347" h="1904299">
                      <a:moveTo>
                        <a:pt x="1424123" y="1318766"/>
                      </a:moveTo>
                      <a:cubicBezTo>
                        <a:pt x="1401228" y="1311100"/>
                        <a:pt x="1413937" y="1275598"/>
                        <a:pt x="1413937" y="1250182"/>
                      </a:cubicBezTo>
                      <a:cubicBezTo>
                        <a:pt x="1413937" y="1224766"/>
                        <a:pt x="1375812" y="1209536"/>
                        <a:pt x="1370668" y="1222244"/>
                      </a:cubicBezTo>
                      <a:cubicBezTo>
                        <a:pt x="1365524" y="1235053"/>
                        <a:pt x="1345352" y="1229909"/>
                        <a:pt x="1337688" y="1222244"/>
                      </a:cubicBezTo>
                      <a:cubicBezTo>
                        <a:pt x="1330123" y="1214680"/>
                        <a:pt x="1297041" y="1224766"/>
                        <a:pt x="1279189" y="1239995"/>
                      </a:cubicBezTo>
                      <a:cubicBezTo>
                        <a:pt x="1261438" y="1255225"/>
                        <a:pt x="1235921" y="1245139"/>
                        <a:pt x="1218271" y="1252703"/>
                      </a:cubicBezTo>
                      <a:cubicBezTo>
                        <a:pt x="1200520" y="1260268"/>
                        <a:pt x="1152007" y="1283163"/>
                        <a:pt x="1129213" y="1250081"/>
                      </a:cubicBezTo>
                      <a:cubicBezTo>
                        <a:pt x="1106318" y="1216999"/>
                        <a:pt x="1126590" y="1214478"/>
                        <a:pt x="1152007" y="1176353"/>
                      </a:cubicBezTo>
                      <a:cubicBezTo>
                        <a:pt x="1177423" y="1138229"/>
                        <a:pt x="1154528" y="1117855"/>
                        <a:pt x="1139299" y="1102525"/>
                      </a:cubicBezTo>
                      <a:cubicBezTo>
                        <a:pt x="1124069" y="1087295"/>
                        <a:pt x="1141820" y="1074486"/>
                        <a:pt x="1126489" y="1049171"/>
                      </a:cubicBezTo>
                      <a:cubicBezTo>
                        <a:pt x="1111260" y="1023754"/>
                        <a:pt x="1078178" y="1026276"/>
                        <a:pt x="1065571" y="1000859"/>
                      </a:cubicBezTo>
                      <a:cubicBezTo>
                        <a:pt x="1052863" y="975443"/>
                        <a:pt x="1027446" y="916945"/>
                        <a:pt x="999408" y="904237"/>
                      </a:cubicBezTo>
                      <a:cubicBezTo>
                        <a:pt x="971369" y="891529"/>
                        <a:pt x="981556" y="871155"/>
                        <a:pt x="999408" y="860969"/>
                      </a:cubicBezTo>
                      <a:cubicBezTo>
                        <a:pt x="1017159" y="850782"/>
                        <a:pt x="1012116" y="830408"/>
                        <a:pt x="1012116" y="810136"/>
                      </a:cubicBezTo>
                      <a:cubicBezTo>
                        <a:pt x="1012116" y="789763"/>
                        <a:pt x="994264" y="764346"/>
                        <a:pt x="984077" y="741552"/>
                      </a:cubicBezTo>
                      <a:cubicBezTo>
                        <a:pt x="973891" y="718657"/>
                        <a:pt x="1014537" y="710992"/>
                        <a:pt x="1027346" y="710992"/>
                      </a:cubicBezTo>
                      <a:cubicBezTo>
                        <a:pt x="1040054" y="710992"/>
                        <a:pt x="1057805" y="713513"/>
                        <a:pt x="1057805" y="690719"/>
                      </a:cubicBezTo>
                      <a:cubicBezTo>
                        <a:pt x="1057805" y="667825"/>
                        <a:pt x="1055283" y="655016"/>
                        <a:pt x="1037431" y="637264"/>
                      </a:cubicBezTo>
                      <a:cubicBezTo>
                        <a:pt x="1019580" y="619513"/>
                        <a:pt x="1032388" y="499996"/>
                        <a:pt x="1037431" y="471957"/>
                      </a:cubicBezTo>
                      <a:cubicBezTo>
                        <a:pt x="1039650" y="459652"/>
                        <a:pt x="1064966" y="453904"/>
                        <a:pt x="1092298" y="451180"/>
                      </a:cubicBezTo>
                      <a:cubicBezTo>
                        <a:pt x="1096434" y="440994"/>
                        <a:pt x="1111663" y="435749"/>
                        <a:pt x="1123262" y="428689"/>
                      </a:cubicBezTo>
                      <a:cubicBezTo>
                        <a:pt x="1138794" y="419309"/>
                        <a:pt x="1166732" y="419309"/>
                        <a:pt x="1160479" y="385219"/>
                      </a:cubicBezTo>
                      <a:cubicBezTo>
                        <a:pt x="1154326" y="351028"/>
                        <a:pt x="1169859" y="295051"/>
                        <a:pt x="1157352" y="279519"/>
                      </a:cubicBezTo>
                      <a:cubicBezTo>
                        <a:pt x="1144947" y="263987"/>
                        <a:pt x="1104603" y="279620"/>
                        <a:pt x="1073539" y="260961"/>
                      </a:cubicBezTo>
                      <a:cubicBezTo>
                        <a:pt x="1042474" y="242302"/>
                        <a:pt x="1017562" y="211238"/>
                        <a:pt x="1017562" y="186326"/>
                      </a:cubicBezTo>
                      <a:cubicBezTo>
                        <a:pt x="1017562" y="186326"/>
                        <a:pt x="1021798" y="135997"/>
                        <a:pt x="1005560" y="119759"/>
                      </a:cubicBezTo>
                      <a:cubicBezTo>
                        <a:pt x="989423" y="103622"/>
                        <a:pt x="967839" y="107858"/>
                        <a:pt x="959165" y="84156"/>
                      </a:cubicBezTo>
                      <a:cubicBezTo>
                        <a:pt x="950491" y="60353"/>
                        <a:pt x="925680" y="35542"/>
                        <a:pt x="915897" y="52789"/>
                      </a:cubicBezTo>
                      <a:cubicBezTo>
                        <a:pt x="906214" y="70036"/>
                        <a:pt x="931026" y="90611"/>
                        <a:pt x="902987" y="101403"/>
                      </a:cubicBezTo>
                      <a:cubicBezTo>
                        <a:pt x="874948" y="112195"/>
                        <a:pt x="871620" y="124096"/>
                        <a:pt x="871620" y="133778"/>
                      </a:cubicBezTo>
                      <a:cubicBezTo>
                        <a:pt x="871620" y="143461"/>
                        <a:pt x="853264" y="139124"/>
                        <a:pt x="844690" y="114313"/>
                      </a:cubicBezTo>
                      <a:cubicBezTo>
                        <a:pt x="836017" y="89502"/>
                        <a:pt x="790731" y="60353"/>
                        <a:pt x="779939" y="84055"/>
                      </a:cubicBezTo>
                      <a:cubicBezTo>
                        <a:pt x="769148" y="107858"/>
                        <a:pt x="761583" y="104529"/>
                        <a:pt x="754019" y="91620"/>
                      </a:cubicBezTo>
                      <a:cubicBezTo>
                        <a:pt x="746454" y="78710"/>
                        <a:pt x="732435" y="77600"/>
                        <a:pt x="722652" y="89401"/>
                      </a:cubicBezTo>
                      <a:cubicBezTo>
                        <a:pt x="712969" y="101302"/>
                        <a:pt x="676257" y="107757"/>
                        <a:pt x="670810" y="91620"/>
                      </a:cubicBezTo>
                      <a:cubicBezTo>
                        <a:pt x="665465" y="75381"/>
                        <a:pt x="671920" y="68926"/>
                        <a:pt x="639544" y="61362"/>
                      </a:cubicBezTo>
                      <a:cubicBezTo>
                        <a:pt x="607169" y="53798"/>
                        <a:pt x="598495" y="37559"/>
                        <a:pt x="585585" y="19304"/>
                      </a:cubicBezTo>
                      <a:cubicBezTo>
                        <a:pt x="582055" y="14362"/>
                        <a:pt x="580139" y="9218"/>
                        <a:pt x="579029" y="3973"/>
                      </a:cubicBezTo>
                      <a:cubicBezTo>
                        <a:pt x="579029" y="4074"/>
                        <a:pt x="579029" y="4074"/>
                        <a:pt x="579029" y="4175"/>
                      </a:cubicBezTo>
                      <a:cubicBezTo>
                        <a:pt x="560774" y="242"/>
                        <a:pt x="543527" y="-1675"/>
                        <a:pt x="533340" y="1855"/>
                      </a:cubicBezTo>
                      <a:cubicBezTo>
                        <a:pt x="503990" y="12143"/>
                        <a:pt x="502175" y="43308"/>
                        <a:pt x="469295" y="60656"/>
                      </a:cubicBezTo>
                      <a:cubicBezTo>
                        <a:pt x="436415" y="78004"/>
                        <a:pt x="445089" y="86678"/>
                        <a:pt x="403535" y="83147"/>
                      </a:cubicBezTo>
                      <a:cubicBezTo>
                        <a:pt x="362083" y="79617"/>
                        <a:pt x="320529" y="103924"/>
                        <a:pt x="320529" y="128130"/>
                      </a:cubicBezTo>
                      <a:cubicBezTo>
                        <a:pt x="320529" y="152336"/>
                        <a:pt x="341406" y="193890"/>
                        <a:pt x="325773" y="211137"/>
                      </a:cubicBezTo>
                      <a:cubicBezTo>
                        <a:pt x="310140" y="228384"/>
                        <a:pt x="273932" y="244017"/>
                        <a:pt x="244481" y="224955"/>
                      </a:cubicBezTo>
                      <a:cubicBezTo>
                        <a:pt x="215031" y="205892"/>
                        <a:pt x="152700" y="268223"/>
                        <a:pt x="152700" y="268223"/>
                      </a:cubicBezTo>
                      <a:cubicBezTo>
                        <a:pt x="152700" y="268223"/>
                        <a:pt x="145741" y="294345"/>
                        <a:pt x="117702" y="310684"/>
                      </a:cubicBezTo>
                      <a:cubicBezTo>
                        <a:pt x="117904" y="311491"/>
                        <a:pt x="118005" y="312096"/>
                        <a:pt x="118106" y="312903"/>
                      </a:cubicBezTo>
                      <a:cubicBezTo>
                        <a:pt x="123451" y="355062"/>
                        <a:pt x="160163" y="396011"/>
                        <a:pt x="203331" y="427378"/>
                      </a:cubicBezTo>
                      <a:cubicBezTo>
                        <a:pt x="246498" y="458745"/>
                        <a:pt x="275748" y="490011"/>
                        <a:pt x="296222" y="559099"/>
                      </a:cubicBezTo>
                      <a:cubicBezTo>
                        <a:pt x="316696" y="628187"/>
                        <a:pt x="310241" y="728642"/>
                        <a:pt x="294003" y="773928"/>
                      </a:cubicBezTo>
                      <a:cubicBezTo>
                        <a:pt x="277765" y="819314"/>
                        <a:pt x="244380" y="799848"/>
                        <a:pt x="209786" y="820323"/>
                      </a:cubicBezTo>
                      <a:cubicBezTo>
                        <a:pt x="175292" y="840797"/>
                        <a:pt x="206558" y="887293"/>
                        <a:pt x="220578" y="889411"/>
                      </a:cubicBezTo>
                      <a:cubicBezTo>
                        <a:pt x="234597" y="891630"/>
                        <a:pt x="262636" y="906658"/>
                        <a:pt x="276655" y="955271"/>
                      </a:cubicBezTo>
                      <a:cubicBezTo>
                        <a:pt x="290674" y="1003885"/>
                        <a:pt x="262636" y="1010340"/>
                        <a:pt x="249726" y="1028696"/>
                      </a:cubicBezTo>
                      <a:cubicBezTo>
                        <a:pt x="236816" y="1047053"/>
                        <a:pt x="244380" y="1072973"/>
                        <a:pt x="261627" y="1103231"/>
                      </a:cubicBezTo>
                      <a:cubicBezTo>
                        <a:pt x="278874" y="1133488"/>
                        <a:pt x="275748" y="1142162"/>
                        <a:pt x="275748" y="1169091"/>
                      </a:cubicBezTo>
                      <a:cubicBezTo>
                        <a:pt x="275748" y="1196122"/>
                        <a:pt x="263846" y="1224160"/>
                        <a:pt x="243372" y="1235053"/>
                      </a:cubicBezTo>
                      <a:cubicBezTo>
                        <a:pt x="222897" y="1245845"/>
                        <a:pt x="208878" y="1229607"/>
                        <a:pt x="201314" y="1211251"/>
                      </a:cubicBezTo>
                      <a:cubicBezTo>
                        <a:pt x="193750" y="1192894"/>
                        <a:pt x="188303" y="1191785"/>
                        <a:pt x="178621" y="1197231"/>
                      </a:cubicBezTo>
                      <a:cubicBezTo>
                        <a:pt x="168837" y="1202577"/>
                        <a:pt x="180739" y="1239289"/>
                        <a:pt x="179629" y="1261982"/>
                      </a:cubicBezTo>
                      <a:cubicBezTo>
                        <a:pt x="178621" y="1284676"/>
                        <a:pt x="154818" y="1303032"/>
                        <a:pt x="142917" y="1313824"/>
                      </a:cubicBezTo>
                      <a:cubicBezTo>
                        <a:pt x="131015" y="1324615"/>
                        <a:pt x="109432" y="1332180"/>
                        <a:pt x="85730" y="1366775"/>
                      </a:cubicBezTo>
                      <a:cubicBezTo>
                        <a:pt x="61927" y="1401268"/>
                        <a:pt x="94404" y="1411051"/>
                        <a:pt x="91075" y="1433744"/>
                      </a:cubicBezTo>
                      <a:cubicBezTo>
                        <a:pt x="87848" y="1456437"/>
                        <a:pt x="83511" y="1479131"/>
                        <a:pt x="61927" y="1489822"/>
                      </a:cubicBezTo>
                      <a:cubicBezTo>
                        <a:pt x="40343" y="1500613"/>
                        <a:pt x="32779" y="1502833"/>
                        <a:pt x="33889" y="1527643"/>
                      </a:cubicBezTo>
                      <a:cubicBezTo>
                        <a:pt x="34998" y="1552455"/>
                        <a:pt x="28543" y="1553564"/>
                        <a:pt x="28543" y="1553564"/>
                      </a:cubicBezTo>
                      <a:lnTo>
                        <a:pt x="5850" y="1576257"/>
                      </a:lnTo>
                      <a:cubicBezTo>
                        <a:pt x="5850" y="1576257"/>
                        <a:pt x="4337" y="1576358"/>
                        <a:pt x="3329" y="1576358"/>
                      </a:cubicBezTo>
                      <a:lnTo>
                        <a:pt x="2521" y="1649279"/>
                      </a:lnTo>
                      <a:cubicBezTo>
                        <a:pt x="2521" y="1649279"/>
                        <a:pt x="0" y="1677419"/>
                        <a:pt x="0" y="1684983"/>
                      </a:cubicBezTo>
                      <a:cubicBezTo>
                        <a:pt x="0" y="1692649"/>
                        <a:pt x="22895" y="1715543"/>
                        <a:pt x="40646" y="1725629"/>
                      </a:cubicBezTo>
                      <a:cubicBezTo>
                        <a:pt x="58498" y="1735816"/>
                        <a:pt x="45790" y="1773941"/>
                        <a:pt x="30459" y="1791692"/>
                      </a:cubicBezTo>
                      <a:cubicBezTo>
                        <a:pt x="15230" y="1809442"/>
                        <a:pt x="40646" y="1847668"/>
                        <a:pt x="40646" y="1880749"/>
                      </a:cubicBezTo>
                      <a:cubicBezTo>
                        <a:pt x="40646" y="1913831"/>
                        <a:pt x="68584" y="1911209"/>
                        <a:pt x="94101" y="1878228"/>
                      </a:cubicBezTo>
                      <a:cubicBezTo>
                        <a:pt x="119517" y="1845147"/>
                        <a:pt x="226327" y="1873185"/>
                        <a:pt x="244179" y="1855333"/>
                      </a:cubicBezTo>
                      <a:cubicBezTo>
                        <a:pt x="262031" y="1837481"/>
                        <a:pt x="307720" y="1796835"/>
                        <a:pt x="310241" y="1746003"/>
                      </a:cubicBezTo>
                      <a:cubicBezTo>
                        <a:pt x="312763" y="1695069"/>
                        <a:pt x="389113" y="1626485"/>
                        <a:pt x="406864" y="1623964"/>
                      </a:cubicBezTo>
                      <a:cubicBezTo>
                        <a:pt x="424716" y="1621442"/>
                        <a:pt x="442467" y="1657045"/>
                        <a:pt x="462840" y="1664610"/>
                      </a:cubicBezTo>
                      <a:cubicBezTo>
                        <a:pt x="483213" y="1672174"/>
                        <a:pt x="483213" y="1723107"/>
                        <a:pt x="493400" y="1746003"/>
                      </a:cubicBezTo>
                      <a:cubicBezTo>
                        <a:pt x="503587" y="1768797"/>
                        <a:pt x="516295" y="1766275"/>
                        <a:pt x="513774" y="1796835"/>
                      </a:cubicBezTo>
                      <a:cubicBezTo>
                        <a:pt x="511252" y="1827395"/>
                        <a:pt x="534147" y="1868041"/>
                        <a:pt x="554420" y="1860376"/>
                      </a:cubicBezTo>
                      <a:cubicBezTo>
                        <a:pt x="574692" y="1852812"/>
                        <a:pt x="590023" y="1746003"/>
                        <a:pt x="602731" y="1728150"/>
                      </a:cubicBezTo>
                      <a:cubicBezTo>
                        <a:pt x="615439" y="1710299"/>
                        <a:pt x="625626" y="1687505"/>
                        <a:pt x="625626" y="1669653"/>
                      </a:cubicBezTo>
                      <a:cubicBezTo>
                        <a:pt x="625626" y="1651901"/>
                        <a:pt x="658708" y="1679738"/>
                        <a:pt x="691789" y="1679738"/>
                      </a:cubicBezTo>
                      <a:cubicBezTo>
                        <a:pt x="724871" y="1679738"/>
                        <a:pt x="719828" y="1644236"/>
                        <a:pt x="727392" y="1628906"/>
                      </a:cubicBezTo>
                      <a:cubicBezTo>
                        <a:pt x="735057" y="1613676"/>
                        <a:pt x="737478" y="1608532"/>
                        <a:pt x="775703" y="1600867"/>
                      </a:cubicBezTo>
                      <a:cubicBezTo>
                        <a:pt x="813828" y="1593303"/>
                        <a:pt x="826536" y="1631427"/>
                        <a:pt x="826536" y="1654322"/>
                      </a:cubicBezTo>
                      <a:cubicBezTo>
                        <a:pt x="826536" y="1677318"/>
                        <a:pt x="841866" y="1687303"/>
                        <a:pt x="849431" y="1710299"/>
                      </a:cubicBezTo>
                      <a:cubicBezTo>
                        <a:pt x="857096" y="1733294"/>
                        <a:pt x="918116" y="1723007"/>
                        <a:pt x="933446" y="1717863"/>
                      </a:cubicBezTo>
                      <a:cubicBezTo>
                        <a:pt x="948676" y="1712820"/>
                        <a:pt x="923259" y="1677217"/>
                        <a:pt x="928302" y="1659365"/>
                      </a:cubicBezTo>
                      <a:cubicBezTo>
                        <a:pt x="933345" y="1641513"/>
                        <a:pt x="986800" y="1664408"/>
                        <a:pt x="979236" y="1679637"/>
                      </a:cubicBezTo>
                      <a:cubicBezTo>
                        <a:pt x="971672" y="1694968"/>
                        <a:pt x="976715" y="1720385"/>
                        <a:pt x="1014839" y="1715342"/>
                      </a:cubicBezTo>
                      <a:cubicBezTo>
                        <a:pt x="1052964" y="1710299"/>
                        <a:pt x="1047921" y="1715342"/>
                        <a:pt x="1050442" y="1748423"/>
                      </a:cubicBezTo>
                      <a:cubicBezTo>
                        <a:pt x="1052964" y="1781505"/>
                        <a:pt x="1098753" y="1784026"/>
                        <a:pt x="1113983" y="1773840"/>
                      </a:cubicBezTo>
                      <a:cubicBezTo>
                        <a:pt x="1129213" y="1763653"/>
                        <a:pt x="1169960" y="1722906"/>
                        <a:pt x="1182567" y="1712719"/>
                      </a:cubicBezTo>
                      <a:cubicBezTo>
                        <a:pt x="1195275" y="1702533"/>
                        <a:pt x="1187711" y="1684781"/>
                        <a:pt x="1218170" y="1684781"/>
                      </a:cubicBezTo>
                      <a:cubicBezTo>
                        <a:pt x="1248730" y="1684781"/>
                        <a:pt x="1269003" y="1687303"/>
                        <a:pt x="1274146" y="1661886"/>
                      </a:cubicBezTo>
                      <a:cubicBezTo>
                        <a:pt x="1279290" y="1636571"/>
                        <a:pt x="1335266" y="1600766"/>
                        <a:pt x="1365726" y="1560120"/>
                      </a:cubicBezTo>
                      <a:cubicBezTo>
                        <a:pt x="1396185" y="1519374"/>
                        <a:pt x="1457306" y="1440603"/>
                        <a:pt x="1467392" y="1402478"/>
                      </a:cubicBezTo>
                      <a:cubicBezTo>
                        <a:pt x="1477376" y="1364555"/>
                        <a:pt x="1447018" y="1326431"/>
                        <a:pt x="1424123" y="1318766"/>
                      </a:cubicBezTo>
                      <a:close/>
                    </a:path>
                  </a:pathLst>
                </a:custGeom>
                <a:solidFill>
                  <a:srgbClr val="E4002B"/>
                </a:solidFill>
                <a:ln w="10085" cap="flat">
                  <a:noFill/>
                  <a:prstDash val="solid"/>
                  <a:miter/>
                </a:ln>
              </p:spPr>
              <p:txBody>
                <a:bodyPr rtlCol="0" anchor="ctr"/>
                <a:lstStyle/>
                <a:p>
                  <a:endParaRPr lang="fr-FR" sz="900"/>
                </a:p>
              </p:txBody>
            </p:sp>
            <p:sp>
              <p:nvSpPr>
                <p:cNvPr id="50" name="Forme libre : forme 49">
                  <a:extLst>
                    <a:ext uri="{FF2B5EF4-FFF2-40B4-BE49-F238E27FC236}">
                      <a16:creationId xmlns:a16="http://schemas.microsoft.com/office/drawing/2014/main" id="{9F4E4131-0198-03D2-62AB-0A39799ABB85}"/>
                    </a:ext>
                  </a:extLst>
                </p:cNvPr>
                <p:cNvSpPr/>
                <p:nvPr/>
              </p:nvSpPr>
              <p:spPr>
                <a:xfrm>
                  <a:off x="5115597" y="8142425"/>
                  <a:ext cx="1474350" cy="1910967"/>
                </a:xfrm>
                <a:custGeom>
                  <a:avLst/>
                  <a:gdLst>
                    <a:gd name="connsiteX0" fmla="*/ 40646 w 1474350"/>
                    <a:gd name="connsiteY0" fmla="*/ 1883533 h 1910967"/>
                    <a:gd name="connsiteX1" fmla="*/ 25517 w 1474350"/>
                    <a:gd name="connsiteY1" fmla="*/ 1809705 h 1910967"/>
                    <a:gd name="connsiteX2" fmla="*/ 25517 w 1474350"/>
                    <a:gd name="connsiteY2" fmla="*/ 1809705 h 1910967"/>
                    <a:gd name="connsiteX3" fmla="*/ 31165 w 1474350"/>
                    <a:gd name="connsiteY3" fmla="*/ 1792761 h 1910967"/>
                    <a:gd name="connsiteX4" fmla="*/ 31165 w 1474350"/>
                    <a:gd name="connsiteY4" fmla="*/ 1792761 h 1910967"/>
                    <a:gd name="connsiteX5" fmla="*/ 49320 w 1474350"/>
                    <a:gd name="connsiteY5" fmla="*/ 1747173 h 1910967"/>
                    <a:gd name="connsiteX6" fmla="*/ 49320 w 1474350"/>
                    <a:gd name="connsiteY6" fmla="*/ 1747173 h 1910967"/>
                    <a:gd name="connsiteX7" fmla="*/ 42058 w 1474350"/>
                    <a:gd name="connsiteY7" fmla="*/ 1730934 h 1910967"/>
                    <a:gd name="connsiteX8" fmla="*/ 42058 w 1474350"/>
                    <a:gd name="connsiteY8" fmla="*/ 1730934 h 1910967"/>
                    <a:gd name="connsiteX9" fmla="*/ 0 w 1474350"/>
                    <a:gd name="connsiteY9" fmla="*/ 1687767 h 1910967"/>
                    <a:gd name="connsiteX10" fmla="*/ 0 w 1474350"/>
                    <a:gd name="connsiteY10" fmla="*/ 1687767 h 1910967"/>
                    <a:gd name="connsiteX11" fmla="*/ 2521 w 1474350"/>
                    <a:gd name="connsiteY11" fmla="*/ 1651963 h 1910967"/>
                    <a:gd name="connsiteX12" fmla="*/ 2521 w 1474350"/>
                    <a:gd name="connsiteY12" fmla="*/ 1651963 h 1910967"/>
                    <a:gd name="connsiteX13" fmla="*/ 6052 w 1474350"/>
                    <a:gd name="connsiteY13" fmla="*/ 1576218 h 1910967"/>
                    <a:gd name="connsiteX14" fmla="*/ 7363 w 1474350"/>
                    <a:gd name="connsiteY14" fmla="*/ 1576319 h 1910967"/>
                    <a:gd name="connsiteX15" fmla="*/ 7363 w 1474350"/>
                    <a:gd name="connsiteY15" fmla="*/ 1576319 h 1910967"/>
                    <a:gd name="connsiteX16" fmla="*/ 30863 w 1474350"/>
                    <a:gd name="connsiteY16" fmla="*/ 1553625 h 1910967"/>
                    <a:gd name="connsiteX17" fmla="*/ 31670 w 1474350"/>
                    <a:gd name="connsiteY17" fmla="*/ 1552112 h 1910967"/>
                    <a:gd name="connsiteX18" fmla="*/ 31670 w 1474350"/>
                    <a:gd name="connsiteY18" fmla="*/ 1552112 h 1910967"/>
                    <a:gd name="connsiteX19" fmla="*/ 34090 w 1474350"/>
                    <a:gd name="connsiteY19" fmla="*/ 1535672 h 1910967"/>
                    <a:gd name="connsiteX20" fmla="*/ 34090 w 1474350"/>
                    <a:gd name="connsiteY20" fmla="*/ 1535672 h 1910967"/>
                    <a:gd name="connsiteX21" fmla="*/ 33989 w 1474350"/>
                    <a:gd name="connsiteY21" fmla="*/ 1530629 h 1910967"/>
                    <a:gd name="connsiteX22" fmla="*/ 33989 w 1474350"/>
                    <a:gd name="connsiteY22" fmla="*/ 1530629 h 1910967"/>
                    <a:gd name="connsiteX23" fmla="*/ 33788 w 1474350"/>
                    <a:gd name="connsiteY23" fmla="*/ 1525889 h 1910967"/>
                    <a:gd name="connsiteX24" fmla="*/ 33788 w 1474350"/>
                    <a:gd name="connsiteY24" fmla="*/ 1525889 h 1910967"/>
                    <a:gd name="connsiteX25" fmla="*/ 63642 w 1474350"/>
                    <a:gd name="connsiteY25" fmla="*/ 1489984 h 1910967"/>
                    <a:gd name="connsiteX26" fmla="*/ 63642 w 1474350"/>
                    <a:gd name="connsiteY26" fmla="*/ 1489984 h 1910967"/>
                    <a:gd name="connsiteX27" fmla="*/ 91277 w 1474350"/>
                    <a:gd name="connsiteY27" fmla="*/ 1436226 h 1910967"/>
                    <a:gd name="connsiteX28" fmla="*/ 91277 w 1474350"/>
                    <a:gd name="connsiteY28" fmla="*/ 1436226 h 1910967"/>
                    <a:gd name="connsiteX29" fmla="*/ 91378 w 1474350"/>
                    <a:gd name="connsiteY29" fmla="*/ 1432998 h 1910967"/>
                    <a:gd name="connsiteX30" fmla="*/ 91378 w 1474350"/>
                    <a:gd name="connsiteY30" fmla="*/ 1432998 h 1910967"/>
                    <a:gd name="connsiteX31" fmla="*/ 77056 w 1474350"/>
                    <a:gd name="connsiteY31" fmla="*/ 1392857 h 1910967"/>
                    <a:gd name="connsiteX32" fmla="*/ 77056 w 1474350"/>
                    <a:gd name="connsiteY32" fmla="*/ 1392857 h 1910967"/>
                    <a:gd name="connsiteX33" fmla="*/ 86335 w 1474350"/>
                    <a:gd name="connsiteY33" fmla="*/ 1367844 h 1910967"/>
                    <a:gd name="connsiteX34" fmla="*/ 86335 w 1474350"/>
                    <a:gd name="connsiteY34" fmla="*/ 1367844 h 1910967"/>
                    <a:gd name="connsiteX35" fmla="*/ 144026 w 1474350"/>
                    <a:gd name="connsiteY35" fmla="*/ 1314490 h 1910967"/>
                    <a:gd name="connsiteX36" fmla="*/ 144026 w 1474350"/>
                    <a:gd name="connsiteY36" fmla="*/ 1314490 h 1910967"/>
                    <a:gd name="connsiteX37" fmla="*/ 179831 w 1474350"/>
                    <a:gd name="connsiteY37" fmla="*/ 1264867 h 1910967"/>
                    <a:gd name="connsiteX38" fmla="*/ 179831 w 1474350"/>
                    <a:gd name="connsiteY38" fmla="*/ 1264867 h 1910967"/>
                    <a:gd name="connsiteX39" fmla="*/ 179831 w 1474350"/>
                    <a:gd name="connsiteY39" fmla="*/ 1261337 h 1910967"/>
                    <a:gd name="connsiteX40" fmla="*/ 179831 w 1474350"/>
                    <a:gd name="connsiteY40" fmla="*/ 1261337 h 1910967"/>
                    <a:gd name="connsiteX41" fmla="*/ 174889 w 1474350"/>
                    <a:gd name="connsiteY41" fmla="*/ 1211614 h 1910967"/>
                    <a:gd name="connsiteX42" fmla="*/ 174889 w 1474350"/>
                    <a:gd name="connsiteY42" fmla="*/ 1211614 h 1910967"/>
                    <a:gd name="connsiteX43" fmla="*/ 180033 w 1474350"/>
                    <a:gd name="connsiteY43" fmla="*/ 1197595 h 1910967"/>
                    <a:gd name="connsiteX44" fmla="*/ 180033 w 1474350"/>
                    <a:gd name="connsiteY44" fmla="*/ 1197595 h 1910967"/>
                    <a:gd name="connsiteX45" fmla="*/ 189917 w 1474350"/>
                    <a:gd name="connsiteY45" fmla="*/ 1194064 h 1910967"/>
                    <a:gd name="connsiteX46" fmla="*/ 189917 w 1474350"/>
                    <a:gd name="connsiteY46" fmla="*/ 1194064 h 1910967"/>
                    <a:gd name="connsiteX47" fmla="*/ 206760 w 1474350"/>
                    <a:gd name="connsiteY47" fmla="*/ 1212824 h 1910967"/>
                    <a:gd name="connsiteX48" fmla="*/ 206760 w 1474350"/>
                    <a:gd name="connsiteY48" fmla="*/ 1212824 h 1910967"/>
                    <a:gd name="connsiteX49" fmla="*/ 233488 w 1474350"/>
                    <a:gd name="connsiteY49" fmla="*/ 1238241 h 1910967"/>
                    <a:gd name="connsiteX50" fmla="*/ 233488 w 1474350"/>
                    <a:gd name="connsiteY50" fmla="*/ 1238241 h 1910967"/>
                    <a:gd name="connsiteX51" fmla="*/ 244885 w 1474350"/>
                    <a:gd name="connsiteY51" fmla="*/ 1235215 h 1910967"/>
                    <a:gd name="connsiteX52" fmla="*/ 244885 w 1474350"/>
                    <a:gd name="connsiteY52" fmla="*/ 1235215 h 1910967"/>
                    <a:gd name="connsiteX53" fmla="*/ 275848 w 1474350"/>
                    <a:gd name="connsiteY53" fmla="*/ 1171775 h 1910967"/>
                    <a:gd name="connsiteX54" fmla="*/ 275848 w 1474350"/>
                    <a:gd name="connsiteY54" fmla="*/ 1171775 h 1910967"/>
                    <a:gd name="connsiteX55" fmla="*/ 275949 w 1474350"/>
                    <a:gd name="connsiteY55" fmla="*/ 1153015 h 1910967"/>
                    <a:gd name="connsiteX56" fmla="*/ 275949 w 1474350"/>
                    <a:gd name="connsiteY56" fmla="*/ 1153015 h 1910967"/>
                    <a:gd name="connsiteX57" fmla="*/ 262031 w 1474350"/>
                    <a:gd name="connsiteY57" fmla="*/ 1107326 h 1910967"/>
                    <a:gd name="connsiteX58" fmla="*/ 262031 w 1474350"/>
                    <a:gd name="connsiteY58" fmla="*/ 1107326 h 1910967"/>
                    <a:gd name="connsiteX59" fmla="*/ 243372 w 1474350"/>
                    <a:gd name="connsiteY59" fmla="*/ 1053165 h 1910967"/>
                    <a:gd name="connsiteX60" fmla="*/ 243372 w 1474350"/>
                    <a:gd name="connsiteY60" fmla="*/ 1053165 h 1910967"/>
                    <a:gd name="connsiteX61" fmla="*/ 250331 w 1474350"/>
                    <a:gd name="connsiteY61" fmla="*/ 1029766 h 1910967"/>
                    <a:gd name="connsiteX62" fmla="*/ 250331 w 1474350"/>
                    <a:gd name="connsiteY62" fmla="*/ 1029766 h 1910967"/>
                    <a:gd name="connsiteX63" fmla="*/ 280589 w 1474350"/>
                    <a:gd name="connsiteY63" fmla="*/ 981555 h 1910967"/>
                    <a:gd name="connsiteX64" fmla="*/ 280589 w 1474350"/>
                    <a:gd name="connsiteY64" fmla="*/ 981555 h 1910967"/>
                    <a:gd name="connsiteX65" fmla="*/ 276958 w 1474350"/>
                    <a:gd name="connsiteY65" fmla="*/ 958761 h 1910967"/>
                    <a:gd name="connsiteX66" fmla="*/ 276958 w 1474350"/>
                    <a:gd name="connsiteY66" fmla="*/ 958761 h 1910967"/>
                    <a:gd name="connsiteX67" fmla="*/ 223099 w 1474350"/>
                    <a:gd name="connsiteY67" fmla="*/ 894918 h 1910967"/>
                    <a:gd name="connsiteX68" fmla="*/ 223099 w 1474350"/>
                    <a:gd name="connsiteY68" fmla="*/ 894918 h 1910967"/>
                    <a:gd name="connsiteX69" fmla="*/ 194153 w 1474350"/>
                    <a:gd name="connsiteY69" fmla="*/ 849330 h 1910967"/>
                    <a:gd name="connsiteX70" fmla="*/ 194153 w 1474350"/>
                    <a:gd name="connsiteY70" fmla="*/ 849330 h 1910967"/>
                    <a:gd name="connsiteX71" fmla="*/ 211198 w 1474350"/>
                    <a:gd name="connsiteY71" fmla="*/ 820686 h 1910967"/>
                    <a:gd name="connsiteX72" fmla="*/ 211198 w 1474350"/>
                    <a:gd name="connsiteY72" fmla="*/ 820686 h 1910967"/>
                    <a:gd name="connsiteX73" fmla="*/ 294205 w 1474350"/>
                    <a:gd name="connsiteY73" fmla="*/ 775602 h 1910967"/>
                    <a:gd name="connsiteX74" fmla="*/ 294205 w 1474350"/>
                    <a:gd name="connsiteY74" fmla="*/ 775602 h 1910967"/>
                    <a:gd name="connsiteX75" fmla="*/ 309031 w 1474350"/>
                    <a:gd name="connsiteY75" fmla="*/ 664456 h 1910967"/>
                    <a:gd name="connsiteX76" fmla="*/ 309031 w 1474350"/>
                    <a:gd name="connsiteY76" fmla="*/ 664456 h 1910967"/>
                    <a:gd name="connsiteX77" fmla="*/ 296423 w 1474350"/>
                    <a:gd name="connsiteY77" fmla="*/ 562488 h 1910967"/>
                    <a:gd name="connsiteX78" fmla="*/ 296423 w 1474350"/>
                    <a:gd name="connsiteY78" fmla="*/ 562488 h 1910967"/>
                    <a:gd name="connsiteX79" fmla="*/ 204541 w 1474350"/>
                    <a:gd name="connsiteY79" fmla="*/ 432280 h 1910967"/>
                    <a:gd name="connsiteX80" fmla="*/ 204541 w 1474350"/>
                    <a:gd name="connsiteY80" fmla="*/ 432280 h 1910967"/>
                    <a:gd name="connsiteX81" fmla="*/ 118105 w 1474350"/>
                    <a:gd name="connsiteY81" fmla="*/ 316091 h 1910967"/>
                    <a:gd name="connsiteX82" fmla="*/ 118105 w 1474350"/>
                    <a:gd name="connsiteY82" fmla="*/ 316091 h 1910967"/>
                    <a:gd name="connsiteX83" fmla="*/ 119013 w 1474350"/>
                    <a:gd name="connsiteY83" fmla="*/ 310947 h 1910967"/>
                    <a:gd name="connsiteX84" fmla="*/ 153406 w 1474350"/>
                    <a:gd name="connsiteY84" fmla="*/ 268990 h 1910967"/>
                    <a:gd name="connsiteX85" fmla="*/ 153406 w 1474350"/>
                    <a:gd name="connsiteY85" fmla="*/ 268990 h 1910967"/>
                    <a:gd name="connsiteX86" fmla="*/ 233891 w 1474350"/>
                    <a:gd name="connsiteY86" fmla="*/ 221183 h 1910967"/>
                    <a:gd name="connsiteX87" fmla="*/ 233891 w 1474350"/>
                    <a:gd name="connsiteY87" fmla="*/ 221183 h 1910967"/>
                    <a:gd name="connsiteX88" fmla="*/ 248616 w 1474350"/>
                    <a:gd name="connsiteY88" fmla="*/ 225419 h 1910967"/>
                    <a:gd name="connsiteX89" fmla="*/ 248616 w 1474350"/>
                    <a:gd name="connsiteY89" fmla="*/ 225419 h 1910967"/>
                    <a:gd name="connsiteX90" fmla="*/ 276958 w 1474350"/>
                    <a:gd name="connsiteY90" fmla="*/ 233588 h 1910967"/>
                    <a:gd name="connsiteX91" fmla="*/ 276958 w 1474350"/>
                    <a:gd name="connsiteY91" fmla="*/ 233588 h 1910967"/>
                    <a:gd name="connsiteX92" fmla="*/ 326378 w 1474350"/>
                    <a:gd name="connsiteY92" fmla="*/ 212005 h 1910967"/>
                    <a:gd name="connsiteX93" fmla="*/ 326378 w 1474350"/>
                    <a:gd name="connsiteY93" fmla="*/ 212005 h 1910967"/>
                    <a:gd name="connsiteX94" fmla="*/ 331421 w 1474350"/>
                    <a:gd name="connsiteY94" fmla="*/ 195161 h 1910967"/>
                    <a:gd name="connsiteX95" fmla="*/ 331421 w 1474350"/>
                    <a:gd name="connsiteY95" fmla="*/ 195161 h 1910967"/>
                    <a:gd name="connsiteX96" fmla="*/ 320428 w 1474350"/>
                    <a:gd name="connsiteY96" fmla="*/ 130814 h 1910967"/>
                    <a:gd name="connsiteX97" fmla="*/ 320428 w 1474350"/>
                    <a:gd name="connsiteY97" fmla="*/ 130814 h 1910967"/>
                    <a:gd name="connsiteX98" fmla="*/ 398190 w 1474350"/>
                    <a:gd name="connsiteY98" fmla="*/ 82704 h 1910967"/>
                    <a:gd name="connsiteX99" fmla="*/ 398190 w 1474350"/>
                    <a:gd name="connsiteY99" fmla="*/ 82704 h 1910967"/>
                    <a:gd name="connsiteX100" fmla="*/ 406460 w 1474350"/>
                    <a:gd name="connsiteY100" fmla="*/ 83208 h 1910967"/>
                    <a:gd name="connsiteX101" fmla="*/ 406460 w 1474350"/>
                    <a:gd name="connsiteY101" fmla="*/ 83208 h 1910967"/>
                    <a:gd name="connsiteX102" fmla="*/ 421589 w 1474350"/>
                    <a:gd name="connsiteY102" fmla="*/ 83914 h 1910967"/>
                    <a:gd name="connsiteX103" fmla="*/ 421589 w 1474350"/>
                    <a:gd name="connsiteY103" fmla="*/ 83914 h 1910967"/>
                    <a:gd name="connsiteX104" fmla="*/ 470707 w 1474350"/>
                    <a:gd name="connsiteY104" fmla="*/ 60918 h 1910967"/>
                    <a:gd name="connsiteX105" fmla="*/ 470707 w 1474350"/>
                    <a:gd name="connsiteY105" fmla="*/ 60918 h 1910967"/>
                    <a:gd name="connsiteX106" fmla="*/ 535055 w 1474350"/>
                    <a:gd name="connsiteY106" fmla="*/ 2017 h 1910967"/>
                    <a:gd name="connsiteX107" fmla="*/ 535055 w 1474350"/>
                    <a:gd name="connsiteY107" fmla="*/ 2017 h 1910967"/>
                    <a:gd name="connsiteX108" fmla="*/ 549881 w 1474350"/>
                    <a:gd name="connsiteY108" fmla="*/ 0 h 1910967"/>
                    <a:gd name="connsiteX109" fmla="*/ 549881 w 1474350"/>
                    <a:gd name="connsiteY109" fmla="*/ 0 h 1910967"/>
                    <a:gd name="connsiteX110" fmla="*/ 579029 w 1474350"/>
                    <a:gd name="connsiteY110" fmla="*/ 6959 h 1910967"/>
                    <a:gd name="connsiteX111" fmla="*/ 579029 w 1474350"/>
                    <a:gd name="connsiteY111" fmla="*/ 6959 h 1910967"/>
                    <a:gd name="connsiteX112" fmla="*/ 579029 w 1474350"/>
                    <a:gd name="connsiteY112" fmla="*/ 6858 h 1910967"/>
                    <a:gd name="connsiteX113" fmla="*/ 581551 w 1474350"/>
                    <a:gd name="connsiteY113" fmla="*/ 4034 h 1910967"/>
                    <a:gd name="connsiteX114" fmla="*/ 581551 w 1474350"/>
                    <a:gd name="connsiteY114" fmla="*/ 4034 h 1910967"/>
                    <a:gd name="connsiteX115" fmla="*/ 584576 w 1474350"/>
                    <a:gd name="connsiteY115" fmla="*/ 6253 h 1910967"/>
                    <a:gd name="connsiteX116" fmla="*/ 584576 w 1474350"/>
                    <a:gd name="connsiteY116" fmla="*/ 6253 h 1910967"/>
                    <a:gd name="connsiteX117" fmla="*/ 590628 w 1474350"/>
                    <a:gd name="connsiteY117" fmla="*/ 20575 h 1910967"/>
                    <a:gd name="connsiteX118" fmla="*/ 590628 w 1474350"/>
                    <a:gd name="connsiteY118" fmla="*/ 20575 h 1910967"/>
                    <a:gd name="connsiteX119" fmla="*/ 642973 w 1474350"/>
                    <a:gd name="connsiteY119" fmla="*/ 61523 h 1910967"/>
                    <a:gd name="connsiteX120" fmla="*/ 642973 w 1474350"/>
                    <a:gd name="connsiteY120" fmla="*/ 61523 h 1910967"/>
                    <a:gd name="connsiteX121" fmla="*/ 676257 w 1474350"/>
                    <a:gd name="connsiteY121" fmla="*/ 93597 h 1910967"/>
                    <a:gd name="connsiteX122" fmla="*/ 676257 w 1474350"/>
                    <a:gd name="connsiteY122" fmla="*/ 93597 h 1910967"/>
                    <a:gd name="connsiteX123" fmla="*/ 693100 w 1474350"/>
                    <a:gd name="connsiteY123" fmla="*/ 101262 h 1910967"/>
                    <a:gd name="connsiteX124" fmla="*/ 693100 w 1474350"/>
                    <a:gd name="connsiteY124" fmla="*/ 101262 h 1910967"/>
                    <a:gd name="connsiteX125" fmla="*/ 723257 w 1474350"/>
                    <a:gd name="connsiteY125" fmla="*/ 90470 h 1910967"/>
                    <a:gd name="connsiteX126" fmla="*/ 723257 w 1474350"/>
                    <a:gd name="connsiteY126" fmla="*/ 90470 h 1910967"/>
                    <a:gd name="connsiteX127" fmla="*/ 740806 w 1474350"/>
                    <a:gd name="connsiteY127" fmla="*/ 81191 h 1910967"/>
                    <a:gd name="connsiteX128" fmla="*/ 740806 w 1474350"/>
                    <a:gd name="connsiteY128" fmla="*/ 81191 h 1910967"/>
                    <a:gd name="connsiteX129" fmla="*/ 759162 w 1474350"/>
                    <a:gd name="connsiteY129" fmla="*/ 92992 h 1910967"/>
                    <a:gd name="connsiteX130" fmla="*/ 759162 w 1474350"/>
                    <a:gd name="connsiteY130" fmla="*/ 92992 h 1910967"/>
                    <a:gd name="connsiteX131" fmla="*/ 767735 w 1474350"/>
                    <a:gd name="connsiteY131" fmla="*/ 101564 h 1910967"/>
                    <a:gd name="connsiteX132" fmla="*/ 767735 w 1474350"/>
                    <a:gd name="connsiteY132" fmla="*/ 101564 h 1910967"/>
                    <a:gd name="connsiteX133" fmla="*/ 780141 w 1474350"/>
                    <a:gd name="connsiteY133" fmla="*/ 85730 h 1910967"/>
                    <a:gd name="connsiteX134" fmla="*/ 780141 w 1474350"/>
                    <a:gd name="connsiteY134" fmla="*/ 85730 h 1910967"/>
                    <a:gd name="connsiteX135" fmla="*/ 796884 w 1474350"/>
                    <a:gd name="connsiteY135" fmla="*/ 75139 h 1910967"/>
                    <a:gd name="connsiteX136" fmla="*/ 796884 w 1474350"/>
                    <a:gd name="connsiteY136" fmla="*/ 75139 h 1910967"/>
                    <a:gd name="connsiteX137" fmla="*/ 850137 w 1474350"/>
                    <a:gd name="connsiteY137" fmla="*/ 116088 h 1910967"/>
                    <a:gd name="connsiteX138" fmla="*/ 850137 w 1474350"/>
                    <a:gd name="connsiteY138" fmla="*/ 116088 h 1910967"/>
                    <a:gd name="connsiteX139" fmla="*/ 869603 w 1474350"/>
                    <a:gd name="connsiteY139" fmla="*/ 138479 h 1910967"/>
                    <a:gd name="connsiteX140" fmla="*/ 869603 w 1474350"/>
                    <a:gd name="connsiteY140" fmla="*/ 138479 h 1910967"/>
                    <a:gd name="connsiteX141" fmla="*/ 871620 w 1474350"/>
                    <a:gd name="connsiteY141" fmla="*/ 136562 h 1910967"/>
                    <a:gd name="connsiteX142" fmla="*/ 871620 w 1474350"/>
                    <a:gd name="connsiteY142" fmla="*/ 136562 h 1910967"/>
                    <a:gd name="connsiteX143" fmla="*/ 904701 w 1474350"/>
                    <a:gd name="connsiteY143" fmla="*/ 101564 h 1910967"/>
                    <a:gd name="connsiteX144" fmla="*/ 904701 w 1474350"/>
                    <a:gd name="connsiteY144" fmla="*/ 101564 h 1910967"/>
                    <a:gd name="connsiteX145" fmla="*/ 916704 w 1474350"/>
                    <a:gd name="connsiteY145" fmla="*/ 87545 h 1910967"/>
                    <a:gd name="connsiteX146" fmla="*/ 916704 w 1474350"/>
                    <a:gd name="connsiteY146" fmla="*/ 87545 h 1910967"/>
                    <a:gd name="connsiteX147" fmla="*/ 913375 w 1474350"/>
                    <a:gd name="connsiteY147" fmla="*/ 65155 h 1910967"/>
                    <a:gd name="connsiteX148" fmla="*/ 913375 w 1474350"/>
                    <a:gd name="connsiteY148" fmla="*/ 65155 h 1910967"/>
                    <a:gd name="connsiteX149" fmla="*/ 916099 w 1474350"/>
                    <a:gd name="connsiteY149" fmla="*/ 54161 h 1910967"/>
                    <a:gd name="connsiteX150" fmla="*/ 916099 w 1474350"/>
                    <a:gd name="connsiteY150" fmla="*/ 54161 h 1910967"/>
                    <a:gd name="connsiteX151" fmla="*/ 927495 w 1474350"/>
                    <a:gd name="connsiteY151" fmla="*/ 47000 h 1910967"/>
                    <a:gd name="connsiteX152" fmla="*/ 927495 w 1474350"/>
                    <a:gd name="connsiteY152" fmla="*/ 47000 h 1910967"/>
                    <a:gd name="connsiteX153" fmla="*/ 964511 w 1474350"/>
                    <a:gd name="connsiteY153" fmla="*/ 85931 h 1910967"/>
                    <a:gd name="connsiteX154" fmla="*/ 964511 w 1474350"/>
                    <a:gd name="connsiteY154" fmla="*/ 85931 h 1910967"/>
                    <a:gd name="connsiteX155" fmla="*/ 1010098 w 1474350"/>
                    <a:gd name="connsiteY155" fmla="*/ 120526 h 1910967"/>
                    <a:gd name="connsiteX156" fmla="*/ 1010098 w 1474350"/>
                    <a:gd name="connsiteY156" fmla="*/ 120526 h 1910967"/>
                    <a:gd name="connsiteX157" fmla="*/ 1023412 w 1474350"/>
                    <a:gd name="connsiteY157" fmla="*/ 174687 h 1910967"/>
                    <a:gd name="connsiteX158" fmla="*/ 1023412 w 1474350"/>
                    <a:gd name="connsiteY158" fmla="*/ 174687 h 1910967"/>
                    <a:gd name="connsiteX159" fmla="*/ 1022908 w 1474350"/>
                    <a:gd name="connsiteY159" fmla="*/ 189009 h 1910967"/>
                    <a:gd name="connsiteX160" fmla="*/ 1022908 w 1474350"/>
                    <a:gd name="connsiteY160" fmla="*/ 189009 h 1910967"/>
                    <a:gd name="connsiteX161" fmla="*/ 1077472 w 1474350"/>
                    <a:gd name="connsiteY161" fmla="*/ 261224 h 1910967"/>
                    <a:gd name="connsiteX162" fmla="*/ 1077472 w 1474350"/>
                    <a:gd name="connsiteY162" fmla="*/ 261224 h 1910967"/>
                    <a:gd name="connsiteX163" fmla="*/ 1161992 w 1474350"/>
                    <a:gd name="connsiteY163" fmla="*/ 280488 h 1910967"/>
                    <a:gd name="connsiteX164" fmla="*/ 1161992 w 1474350"/>
                    <a:gd name="connsiteY164" fmla="*/ 280488 h 1910967"/>
                    <a:gd name="connsiteX165" fmla="*/ 1167640 w 1474350"/>
                    <a:gd name="connsiteY165" fmla="*/ 305803 h 1910967"/>
                    <a:gd name="connsiteX166" fmla="*/ 1167640 w 1474350"/>
                    <a:gd name="connsiteY166" fmla="*/ 305803 h 1910967"/>
                    <a:gd name="connsiteX167" fmla="*/ 1164210 w 1474350"/>
                    <a:gd name="connsiteY167" fmla="*/ 367730 h 1910967"/>
                    <a:gd name="connsiteX168" fmla="*/ 1164210 w 1474350"/>
                    <a:gd name="connsiteY168" fmla="*/ 367730 h 1910967"/>
                    <a:gd name="connsiteX169" fmla="*/ 1165824 w 1474350"/>
                    <a:gd name="connsiteY169" fmla="*/ 387498 h 1910967"/>
                    <a:gd name="connsiteX170" fmla="*/ 1165824 w 1474350"/>
                    <a:gd name="connsiteY170" fmla="*/ 387498 h 1910967"/>
                    <a:gd name="connsiteX171" fmla="*/ 1166631 w 1474350"/>
                    <a:gd name="connsiteY171" fmla="*/ 396979 h 1910967"/>
                    <a:gd name="connsiteX172" fmla="*/ 1166631 w 1474350"/>
                    <a:gd name="connsiteY172" fmla="*/ 396979 h 1910967"/>
                    <a:gd name="connsiteX173" fmla="*/ 1127296 w 1474350"/>
                    <a:gd name="connsiteY173" fmla="*/ 433792 h 1910967"/>
                    <a:gd name="connsiteX174" fmla="*/ 1127296 w 1474350"/>
                    <a:gd name="connsiteY174" fmla="*/ 433792 h 1910967"/>
                    <a:gd name="connsiteX175" fmla="*/ 1095022 w 1474350"/>
                    <a:gd name="connsiteY175" fmla="*/ 456587 h 1910967"/>
                    <a:gd name="connsiteX176" fmla="*/ 1095022 w 1474350"/>
                    <a:gd name="connsiteY176" fmla="*/ 456587 h 1910967"/>
                    <a:gd name="connsiteX177" fmla="*/ 1042575 w 1474350"/>
                    <a:gd name="connsiteY177" fmla="*/ 475044 h 1910967"/>
                    <a:gd name="connsiteX178" fmla="*/ 1042575 w 1474350"/>
                    <a:gd name="connsiteY178" fmla="*/ 475044 h 1910967"/>
                    <a:gd name="connsiteX179" fmla="*/ 1033397 w 1474350"/>
                    <a:gd name="connsiteY179" fmla="*/ 585484 h 1910967"/>
                    <a:gd name="connsiteX180" fmla="*/ 1033397 w 1474350"/>
                    <a:gd name="connsiteY180" fmla="*/ 585484 h 1910967"/>
                    <a:gd name="connsiteX181" fmla="*/ 1041768 w 1474350"/>
                    <a:gd name="connsiteY181" fmla="*/ 637930 h 1910967"/>
                    <a:gd name="connsiteX182" fmla="*/ 1041768 w 1474350"/>
                    <a:gd name="connsiteY182" fmla="*/ 637930 h 1910967"/>
                    <a:gd name="connsiteX183" fmla="*/ 1062949 w 1474350"/>
                    <a:gd name="connsiteY183" fmla="*/ 693302 h 1910967"/>
                    <a:gd name="connsiteX184" fmla="*/ 1062949 w 1474350"/>
                    <a:gd name="connsiteY184" fmla="*/ 693302 h 1910967"/>
                    <a:gd name="connsiteX185" fmla="*/ 1037028 w 1474350"/>
                    <a:gd name="connsiteY185" fmla="*/ 716398 h 1910967"/>
                    <a:gd name="connsiteX186" fmla="*/ 1037028 w 1474350"/>
                    <a:gd name="connsiteY186" fmla="*/ 716398 h 1910967"/>
                    <a:gd name="connsiteX187" fmla="*/ 1029665 w 1474350"/>
                    <a:gd name="connsiteY187" fmla="*/ 716398 h 1910967"/>
                    <a:gd name="connsiteX188" fmla="*/ 1029665 w 1474350"/>
                    <a:gd name="connsiteY188" fmla="*/ 716398 h 1910967"/>
                    <a:gd name="connsiteX189" fmla="*/ 987506 w 1474350"/>
                    <a:gd name="connsiteY189" fmla="*/ 737175 h 1910967"/>
                    <a:gd name="connsiteX190" fmla="*/ 987506 w 1474350"/>
                    <a:gd name="connsiteY190" fmla="*/ 737175 h 1910967"/>
                    <a:gd name="connsiteX191" fmla="*/ 989019 w 1474350"/>
                    <a:gd name="connsiteY191" fmla="*/ 743025 h 1910967"/>
                    <a:gd name="connsiteX192" fmla="*/ 989019 w 1474350"/>
                    <a:gd name="connsiteY192" fmla="*/ 743025 h 1910967"/>
                    <a:gd name="connsiteX193" fmla="*/ 1017260 w 1474350"/>
                    <a:gd name="connsiteY193" fmla="*/ 812920 h 1910967"/>
                    <a:gd name="connsiteX194" fmla="*/ 1017260 w 1474350"/>
                    <a:gd name="connsiteY194" fmla="*/ 812920 h 1910967"/>
                    <a:gd name="connsiteX195" fmla="*/ 1017965 w 1474350"/>
                    <a:gd name="connsiteY195" fmla="*/ 834504 h 1910967"/>
                    <a:gd name="connsiteX196" fmla="*/ 1017965 w 1474350"/>
                    <a:gd name="connsiteY196" fmla="*/ 834504 h 1910967"/>
                    <a:gd name="connsiteX197" fmla="*/ 1003139 w 1474350"/>
                    <a:gd name="connsiteY197" fmla="*/ 866173 h 1910967"/>
                    <a:gd name="connsiteX198" fmla="*/ 1003139 w 1474350"/>
                    <a:gd name="connsiteY198" fmla="*/ 866173 h 1910967"/>
                    <a:gd name="connsiteX199" fmla="*/ 987103 w 1474350"/>
                    <a:gd name="connsiteY199" fmla="*/ 886950 h 1910967"/>
                    <a:gd name="connsiteX200" fmla="*/ 987103 w 1474350"/>
                    <a:gd name="connsiteY200" fmla="*/ 886950 h 1910967"/>
                    <a:gd name="connsiteX201" fmla="*/ 1002938 w 1474350"/>
                    <a:gd name="connsiteY201" fmla="*/ 904399 h 1910967"/>
                    <a:gd name="connsiteX202" fmla="*/ 1002938 w 1474350"/>
                    <a:gd name="connsiteY202" fmla="*/ 904399 h 1910967"/>
                    <a:gd name="connsiteX203" fmla="*/ 1070412 w 1474350"/>
                    <a:gd name="connsiteY203" fmla="*/ 1002332 h 1910967"/>
                    <a:gd name="connsiteX204" fmla="*/ 1070412 w 1474350"/>
                    <a:gd name="connsiteY204" fmla="*/ 1002332 h 1910967"/>
                    <a:gd name="connsiteX205" fmla="*/ 1131331 w 1474350"/>
                    <a:gd name="connsiteY205" fmla="*/ 1050543 h 1910967"/>
                    <a:gd name="connsiteX206" fmla="*/ 1131331 w 1474350"/>
                    <a:gd name="connsiteY206" fmla="*/ 1050543 h 1910967"/>
                    <a:gd name="connsiteX207" fmla="*/ 1138391 w 1474350"/>
                    <a:gd name="connsiteY207" fmla="*/ 1075152 h 1910967"/>
                    <a:gd name="connsiteX208" fmla="*/ 1138391 w 1474350"/>
                    <a:gd name="connsiteY208" fmla="*/ 1075152 h 1910967"/>
                    <a:gd name="connsiteX209" fmla="*/ 1137785 w 1474350"/>
                    <a:gd name="connsiteY209" fmla="*/ 1088869 h 1910967"/>
                    <a:gd name="connsiteX210" fmla="*/ 1137785 w 1474350"/>
                    <a:gd name="connsiteY210" fmla="*/ 1088869 h 1910967"/>
                    <a:gd name="connsiteX211" fmla="*/ 1143635 w 1474350"/>
                    <a:gd name="connsiteY211" fmla="*/ 1103191 h 1910967"/>
                    <a:gd name="connsiteX212" fmla="*/ 1143635 w 1474350"/>
                    <a:gd name="connsiteY212" fmla="*/ 1103191 h 1910967"/>
                    <a:gd name="connsiteX213" fmla="*/ 1168547 w 1474350"/>
                    <a:gd name="connsiteY213" fmla="*/ 1146964 h 1910967"/>
                    <a:gd name="connsiteX214" fmla="*/ 1168547 w 1474350"/>
                    <a:gd name="connsiteY214" fmla="*/ 1146964 h 1910967"/>
                    <a:gd name="connsiteX215" fmla="*/ 1156747 w 1474350"/>
                    <a:gd name="connsiteY215" fmla="*/ 1180549 h 1910967"/>
                    <a:gd name="connsiteX216" fmla="*/ 1156747 w 1474350"/>
                    <a:gd name="connsiteY216" fmla="*/ 1180549 h 1910967"/>
                    <a:gd name="connsiteX217" fmla="*/ 1124270 w 1474350"/>
                    <a:gd name="connsiteY217" fmla="*/ 1228961 h 1910967"/>
                    <a:gd name="connsiteX218" fmla="*/ 1124270 w 1474350"/>
                    <a:gd name="connsiteY218" fmla="*/ 1228961 h 1910967"/>
                    <a:gd name="connsiteX219" fmla="*/ 1133852 w 1474350"/>
                    <a:gd name="connsiteY219" fmla="*/ 1250949 h 1910967"/>
                    <a:gd name="connsiteX220" fmla="*/ 1133852 w 1474350"/>
                    <a:gd name="connsiteY220" fmla="*/ 1250949 h 1910967"/>
                    <a:gd name="connsiteX221" fmla="*/ 1167136 w 1474350"/>
                    <a:gd name="connsiteY221" fmla="*/ 1267086 h 1910967"/>
                    <a:gd name="connsiteX222" fmla="*/ 1167136 w 1474350"/>
                    <a:gd name="connsiteY222" fmla="*/ 1267086 h 1910967"/>
                    <a:gd name="connsiteX223" fmla="*/ 1219582 w 1474350"/>
                    <a:gd name="connsiteY223" fmla="*/ 1252663 h 1910967"/>
                    <a:gd name="connsiteX224" fmla="*/ 1219582 w 1474350"/>
                    <a:gd name="connsiteY224" fmla="*/ 1252663 h 1910967"/>
                    <a:gd name="connsiteX225" fmla="*/ 1279795 w 1474350"/>
                    <a:gd name="connsiteY225" fmla="*/ 1240358 h 1910967"/>
                    <a:gd name="connsiteX226" fmla="*/ 1279795 w 1474350"/>
                    <a:gd name="connsiteY226" fmla="*/ 1240358 h 1910967"/>
                    <a:gd name="connsiteX227" fmla="*/ 1331031 w 1474350"/>
                    <a:gd name="connsiteY227" fmla="*/ 1219279 h 1910967"/>
                    <a:gd name="connsiteX228" fmla="*/ 1331031 w 1474350"/>
                    <a:gd name="connsiteY228" fmla="*/ 1219279 h 1910967"/>
                    <a:gd name="connsiteX229" fmla="*/ 1342024 w 1474350"/>
                    <a:gd name="connsiteY229" fmla="*/ 1222708 h 1910967"/>
                    <a:gd name="connsiteX230" fmla="*/ 1342024 w 1474350"/>
                    <a:gd name="connsiteY230" fmla="*/ 1222708 h 1910967"/>
                    <a:gd name="connsiteX231" fmla="*/ 1359876 w 1474350"/>
                    <a:gd name="connsiteY231" fmla="*/ 1229567 h 1910967"/>
                    <a:gd name="connsiteX232" fmla="*/ 1359876 w 1474350"/>
                    <a:gd name="connsiteY232" fmla="*/ 1229567 h 1910967"/>
                    <a:gd name="connsiteX233" fmla="*/ 1370466 w 1474350"/>
                    <a:gd name="connsiteY233" fmla="*/ 1223717 h 1910967"/>
                    <a:gd name="connsiteX234" fmla="*/ 1370466 w 1474350"/>
                    <a:gd name="connsiteY234" fmla="*/ 1223717 h 1910967"/>
                    <a:gd name="connsiteX235" fmla="*/ 1381863 w 1474350"/>
                    <a:gd name="connsiteY235" fmla="*/ 1217161 h 1910967"/>
                    <a:gd name="connsiteX236" fmla="*/ 1381863 w 1474350"/>
                    <a:gd name="connsiteY236" fmla="*/ 1217161 h 1910967"/>
                    <a:gd name="connsiteX237" fmla="*/ 1419181 w 1474350"/>
                    <a:gd name="connsiteY237" fmla="*/ 1252663 h 1910967"/>
                    <a:gd name="connsiteX238" fmla="*/ 1419181 w 1474350"/>
                    <a:gd name="connsiteY238" fmla="*/ 1252663 h 1910967"/>
                    <a:gd name="connsiteX239" fmla="*/ 1415651 w 1474350"/>
                    <a:gd name="connsiteY239" fmla="*/ 1295730 h 1910967"/>
                    <a:gd name="connsiteX240" fmla="*/ 1415651 w 1474350"/>
                    <a:gd name="connsiteY240" fmla="*/ 1295730 h 1910967"/>
                    <a:gd name="connsiteX241" fmla="*/ 1427452 w 1474350"/>
                    <a:gd name="connsiteY241" fmla="*/ 1318726 h 1910967"/>
                    <a:gd name="connsiteX242" fmla="*/ 1427452 w 1474350"/>
                    <a:gd name="connsiteY242" fmla="*/ 1318726 h 1910967"/>
                    <a:gd name="connsiteX243" fmla="*/ 1426645 w 1474350"/>
                    <a:gd name="connsiteY243" fmla="*/ 1321449 h 1910967"/>
                    <a:gd name="connsiteX244" fmla="*/ 1425737 w 1474350"/>
                    <a:gd name="connsiteY244" fmla="*/ 1323970 h 1910967"/>
                    <a:gd name="connsiteX245" fmla="*/ 1410205 w 1474350"/>
                    <a:gd name="connsiteY245" fmla="*/ 1295730 h 1910967"/>
                    <a:gd name="connsiteX246" fmla="*/ 1410205 w 1474350"/>
                    <a:gd name="connsiteY246" fmla="*/ 1295730 h 1910967"/>
                    <a:gd name="connsiteX247" fmla="*/ 1413734 w 1474350"/>
                    <a:gd name="connsiteY247" fmla="*/ 1252663 h 1910967"/>
                    <a:gd name="connsiteX248" fmla="*/ 1413734 w 1474350"/>
                    <a:gd name="connsiteY248" fmla="*/ 1252663 h 1910967"/>
                    <a:gd name="connsiteX249" fmla="*/ 1381964 w 1474350"/>
                    <a:gd name="connsiteY249" fmla="*/ 1222910 h 1910967"/>
                    <a:gd name="connsiteX250" fmla="*/ 1381964 w 1474350"/>
                    <a:gd name="connsiteY250" fmla="*/ 1222910 h 1910967"/>
                    <a:gd name="connsiteX251" fmla="*/ 1375811 w 1474350"/>
                    <a:gd name="connsiteY251" fmla="*/ 1225734 h 1910967"/>
                    <a:gd name="connsiteX252" fmla="*/ 1375811 w 1474350"/>
                    <a:gd name="connsiteY252" fmla="*/ 1225734 h 1910967"/>
                    <a:gd name="connsiteX253" fmla="*/ 1360078 w 1474350"/>
                    <a:gd name="connsiteY253" fmla="*/ 1235316 h 1910967"/>
                    <a:gd name="connsiteX254" fmla="*/ 1360078 w 1474350"/>
                    <a:gd name="connsiteY254" fmla="*/ 1235316 h 1910967"/>
                    <a:gd name="connsiteX255" fmla="*/ 1338292 w 1474350"/>
                    <a:gd name="connsiteY255" fmla="*/ 1226742 h 1910967"/>
                    <a:gd name="connsiteX256" fmla="*/ 1338292 w 1474350"/>
                    <a:gd name="connsiteY256" fmla="*/ 1226742 h 1910967"/>
                    <a:gd name="connsiteX257" fmla="*/ 1331131 w 1474350"/>
                    <a:gd name="connsiteY257" fmla="*/ 1224826 h 1910967"/>
                    <a:gd name="connsiteX258" fmla="*/ 1331131 w 1474350"/>
                    <a:gd name="connsiteY258" fmla="*/ 1224826 h 1910967"/>
                    <a:gd name="connsiteX259" fmla="*/ 1283425 w 1474350"/>
                    <a:gd name="connsiteY259" fmla="*/ 1244695 h 1910967"/>
                    <a:gd name="connsiteX260" fmla="*/ 1283425 w 1474350"/>
                    <a:gd name="connsiteY260" fmla="*/ 1244695 h 1910967"/>
                    <a:gd name="connsiteX261" fmla="*/ 1221801 w 1474350"/>
                    <a:gd name="connsiteY261" fmla="*/ 1257807 h 1910967"/>
                    <a:gd name="connsiteX262" fmla="*/ 1221801 w 1474350"/>
                    <a:gd name="connsiteY262" fmla="*/ 1257807 h 1910967"/>
                    <a:gd name="connsiteX263" fmla="*/ 1167236 w 1474350"/>
                    <a:gd name="connsiteY263" fmla="*/ 1272734 h 1910967"/>
                    <a:gd name="connsiteX264" fmla="*/ 1167236 w 1474350"/>
                    <a:gd name="connsiteY264" fmla="*/ 1272734 h 1910967"/>
                    <a:gd name="connsiteX265" fmla="*/ 1129414 w 1474350"/>
                    <a:gd name="connsiteY265" fmla="*/ 1254176 h 1910967"/>
                    <a:gd name="connsiteX266" fmla="*/ 1129414 w 1474350"/>
                    <a:gd name="connsiteY266" fmla="*/ 1254176 h 1910967"/>
                    <a:gd name="connsiteX267" fmla="*/ 1118824 w 1474350"/>
                    <a:gd name="connsiteY267" fmla="*/ 1228961 h 1910967"/>
                    <a:gd name="connsiteX268" fmla="*/ 1118824 w 1474350"/>
                    <a:gd name="connsiteY268" fmla="*/ 1228961 h 1910967"/>
                    <a:gd name="connsiteX269" fmla="*/ 1152108 w 1474350"/>
                    <a:gd name="connsiteY269" fmla="*/ 1177423 h 1910967"/>
                    <a:gd name="connsiteX270" fmla="*/ 1152108 w 1474350"/>
                    <a:gd name="connsiteY270" fmla="*/ 1177423 h 1910967"/>
                    <a:gd name="connsiteX271" fmla="*/ 1163101 w 1474350"/>
                    <a:gd name="connsiteY271" fmla="*/ 1146863 h 1910967"/>
                    <a:gd name="connsiteX272" fmla="*/ 1163101 w 1474350"/>
                    <a:gd name="connsiteY272" fmla="*/ 1146863 h 1910967"/>
                    <a:gd name="connsiteX273" fmla="*/ 1139803 w 1474350"/>
                    <a:gd name="connsiteY273" fmla="*/ 1107124 h 1910967"/>
                    <a:gd name="connsiteX274" fmla="*/ 1139803 w 1474350"/>
                    <a:gd name="connsiteY274" fmla="*/ 1107124 h 1910967"/>
                    <a:gd name="connsiteX275" fmla="*/ 1132238 w 1474350"/>
                    <a:gd name="connsiteY275" fmla="*/ 1088768 h 1910967"/>
                    <a:gd name="connsiteX276" fmla="*/ 1132238 w 1474350"/>
                    <a:gd name="connsiteY276" fmla="*/ 1088768 h 1910967"/>
                    <a:gd name="connsiteX277" fmla="*/ 1132944 w 1474350"/>
                    <a:gd name="connsiteY277" fmla="*/ 1075051 h 1910967"/>
                    <a:gd name="connsiteX278" fmla="*/ 1132944 w 1474350"/>
                    <a:gd name="connsiteY278" fmla="*/ 1075051 h 1910967"/>
                    <a:gd name="connsiteX279" fmla="*/ 1126590 w 1474350"/>
                    <a:gd name="connsiteY279" fmla="*/ 1053266 h 1910967"/>
                    <a:gd name="connsiteX280" fmla="*/ 1126590 w 1474350"/>
                    <a:gd name="connsiteY280" fmla="*/ 1053266 h 1910967"/>
                    <a:gd name="connsiteX281" fmla="*/ 1065571 w 1474350"/>
                    <a:gd name="connsiteY281" fmla="*/ 1004753 h 1910967"/>
                    <a:gd name="connsiteX282" fmla="*/ 1065571 w 1474350"/>
                    <a:gd name="connsiteY282" fmla="*/ 1004753 h 1910967"/>
                    <a:gd name="connsiteX283" fmla="*/ 1000820 w 1474350"/>
                    <a:gd name="connsiteY283" fmla="*/ 909441 h 1910967"/>
                    <a:gd name="connsiteX284" fmla="*/ 1000820 w 1474350"/>
                    <a:gd name="connsiteY284" fmla="*/ 909441 h 1910967"/>
                    <a:gd name="connsiteX285" fmla="*/ 981757 w 1474350"/>
                    <a:gd name="connsiteY285" fmla="*/ 886849 h 1910967"/>
                    <a:gd name="connsiteX286" fmla="*/ 981757 w 1474350"/>
                    <a:gd name="connsiteY286" fmla="*/ 886849 h 1910967"/>
                    <a:gd name="connsiteX287" fmla="*/ 1000618 w 1474350"/>
                    <a:gd name="connsiteY287" fmla="*/ 861332 h 1910967"/>
                    <a:gd name="connsiteX288" fmla="*/ 1000618 w 1474350"/>
                    <a:gd name="connsiteY288" fmla="*/ 861332 h 1910967"/>
                    <a:gd name="connsiteX289" fmla="*/ 1012519 w 1474350"/>
                    <a:gd name="connsiteY289" fmla="*/ 834504 h 1910967"/>
                    <a:gd name="connsiteX290" fmla="*/ 1012519 w 1474350"/>
                    <a:gd name="connsiteY290" fmla="*/ 834504 h 1910967"/>
                    <a:gd name="connsiteX291" fmla="*/ 1011813 w 1474350"/>
                    <a:gd name="connsiteY291" fmla="*/ 812920 h 1910967"/>
                    <a:gd name="connsiteX292" fmla="*/ 1011813 w 1474350"/>
                    <a:gd name="connsiteY292" fmla="*/ 812920 h 1910967"/>
                    <a:gd name="connsiteX293" fmla="*/ 984077 w 1474350"/>
                    <a:gd name="connsiteY293" fmla="*/ 745345 h 1910967"/>
                    <a:gd name="connsiteX294" fmla="*/ 984077 w 1474350"/>
                    <a:gd name="connsiteY294" fmla="*/ 745345 h 1910967"/>
                    <a:gd name="connsiteX295" fmla="*/ 982262 w 1474350"/>
                    <a:gd name="connsiteY295" fmla="*/ 737175 h 1910967"/>
                    <a:gd name="connsiteX296" fmla="*/ 982262 w 1474350"/>
                    <a:gd name="connsiteY296" fmla="*/ 737175 h 1910967"/>
                    <a:gd name="connsiteX297" fmla="*/ 1029968 w 1474350"/>
                    <a:gd name="connsiteY297" fmla="*/ 710851 h 1910967"/>
                    <a:gd name="connsiteX298" fmla="*/ 1029968 w 1474350"/>
                    <a:gd name="connsiteY298" fmla="*/ 710851 h 1910967"/>
                    <a:gd name="connsiteX299" fmla="*/ 1037330 w 1474350"/>
                    <a:gd name="connsiteY299" fmla="*/ 710952 h 1910967"/>
                    <a:gd name="connsiteX300" fmla="*/ 1037330 w 1474350"/>
                    <a:gd name="connsiteY300" fmla="*/ 710952 h 1910967"/>
                    <a:gd name="connsiteX301" fmla="*/ 1057603 w 1474350"/>
                    <a:gd name="connsiteY301" fmla="*/ 693403 h 1910967"/>
                    <a:gd name="connsiteX302" fmla="*/ 1057603 w 1474350"/>
                    <a:gd name="connsiteY302" fmla="*/ 693403 h 1910967"/>
                    <a:gd name="connsiteX303" fmla="*/ 1038037 w 1474350"/>
                    <a:gd name="connsiteY303" fmla="*/ 641864 h 1910967"/>
                    <a:gd name="connsiteX304" fmla="*/ 1038037 w 1474350"/>
                    <a:gd name="connsiteY304" fmla="*/ 641864 h 1910967"/>
                    <a:gd name="connsiteX305" fmla="*/ 1028051 w 1474350"/>
                    <a:gd name="connsiteY305" fmla="*/ 585585 h 1910967"/>
                    <a:gd name="connsiteX306" fmla="*/ 1028051 w 1474350"/>
                    <a:gd name="connsiteY306" fmla="*/ 585585 h 1910967"/>
                    <a:gd name="connsiteX307" fmla="*/ 1037229 w 1474350"/>
                    <a:gd name="connsiteY307" fmla="*/ 474136 h 1910967"/>
                    <a:gd name="connsiteX308" fmla="*/ 1037229 w 1474350"/>
                    <a:gd name="connsiteY308" fmla="*/ 474136 h 1910967"/>
                    <a:gd name="connsiteX309" fmla="*/ 1092298 w 1474350"/>
                    <a:gd name="connsiteY309" fmla="*/ 452855 h 1910967"/>
                    <a:gd name="connsiteX310" fmla="*/ 1092298 w 1474350"/>
                    <a:gd name="connsiteY310" fmla="*/ 452855 h 1910967"/>
                    <a:gd name="connsiteX311" fmla="*/ 1124371 w 1474350"/>
                    <a:gd name="connsiteY311" fmla="*/ 429052 h 1910967"/>
                    <a:gd name="connsiteX312" fmla="*/ 1124371 w 1474350"/>
                    <a:gd name="connsiteY312" fmla="*/ 429052 h 1910967"/>
                    <a:gd name="connsiteX313" fmla="*/ 1161185 w 1474350"/>
                    <a:gd name="connsiteY313" fmla="*/ 397080 h 1910967"/>
                    <a:gd name="connsiteX314" fmla="*/ 1161185 w 1474350"/>
                    <a:gd name="connsiteY314" fmla="*/ 397080 h 1910967"/>
                    <a:gd name="connsiteX315" fmla="*/ 1160378 w 1474350"/>
                    <a:gd name="connsiteY315" fmla="*/ 388507 h 1910967"/>
                    <a:gd name="connsiteX316" fmla="*/ 1160378 w 1474350"/>
                    <a:gd name="connsiteY316" fmla="*/ 388507 h 1910967"/>
                    <a:gd name="connsiteX317" fmla="*/ 1158764 w 1474350"/>
                    <a:gd name="connsiteY317" fmla="*/ 367831 h 1910967"/>
                    <a:gd name="connsiteX318" fmla="*/ 1158764 w 1474350"/>
                    <a:gd name="connsiteY318" fmla="*/ 367831 h 1910967"/>
                    <a:gd name="connsiteX319" fmla="*/ 1162093 w 1474350"/>
                    <a:gd name="connsiteY319" fmla="*/ 305904 h 1910967"/>
                    <a:gd name="connsiteX320" fmla="*/ 1162093 w 1474350"/>
                    <a:gd name="connsiteY320" fmla="*/ 305904 h 1910967"/>
                    <a:gd name="connsiteX321" fmla="*/ 1157856 w 1474350"/>
                    <a:gd name="connsiteY321" fmla="*/ 284017 h 1910967"/>
                    <a:gd name="connsiteX322" fmla="*/ 1157856 w 1474350"/>
                    <a:gd name="connsiteY322" fmla="*/ 284017 h 1910967"/>
                    <a:gd name="connsiteX323" fmla="*/ 1074648 w 1474350"/>
                    <a:gd name="connsiteY323" fmla="*/ 266166 h 1910967"/>
                    <a:gd name="connsiteX324" fmla="*/ 1074648 w 1474350"/>
                    <a:gd name="connsiteY324" fmla="*/ 266166 h 1910967"/>
                    <a:gd name="connsiteX325" fmla="*/ 1017260 w 1474350"/>
                    <a:gd name="connsiteY325" fmla="*/ 188807 h 1910967"/>
                    <a:gd name="connsiteX326" fmla="*/ 1017260 w 1474350"/>
                    <a:gd name="connsiteY326" fmla="*/ 188807 h 1910967"/>
                    <a:gd name="connsiteX327" fmla="*/ 1017865 w 1474350"/>
                    <a:gd name="connsiteY327" fmla="*/ 174687 h 1910967"/>
                    <a:gd name="connsiteX328" fmla="*/ 1017865 w 1474350"/>
                    <a:gd name="connsiteY328" fmla="*/ 174687 h 1910967"/>
                    <a:gd name="connsiteX329" fmla="*/ 1006165 w 1474350"/>
                    <a:gd name="connsiteY329" fmla="*/ 124459 h 1910967"/>
                    <a:gd name="connsiteX330" fmla="*/ 1006165 w 1474350"/>
                    <a:gd name="connsiteY330" fmla="*/ 124459 h 1910967"/>
                    <a:gd name="connsiteX331" fmla="*/ 959165 w 1474350"/>
                    <a:gd name="connsiteY331" fmla="*/ 87848 h 1910967"/>
                    <a:gd name="connsiteX332" fmla="*/ 959165 w 1474350"/>
                    <a:gd name="connsiteY332" fmla="*/ 87848 h 1910967"/>
                    <a:gd name="connsiteX333" fmla="*/ 927395 w 1474350"/>
                    <a:gd name="connsiteY333" fmla="*/ 52547 h 1910967"/>
                    <a:gd name="connsiteX334" fmla="*/ 927395 w 1474350"/>
                    <a:gd name="connsiteY334" fmla="*/ 52547 h 1910967"/>
                    <a:gd name="connsiteX335" fmla="*/ 920940 w 1474350"/>
                    <a:gd name="connsiteY335" fmla="*/ 56884 h 1910967"/>
                    <a:gd name="connsiteX336" fmla="*/ 920940 w 1474350"/>
                    <a:gd name="connsiteY336" fmla="*/ 56884 h 1910967"/>
                    <a:gd name="connsiteX337" fmla="*/ 918822 w 1474350"/>
                    <a:gd name="connsiteY337" fmla="*/ 65256 h 1910967"/>
                    <a:gd name="connsiteX338" fmla="*/ 918822 w 1474350"/>
                    <a:gd name="connsiteY338" fmla="*/ 65256 h 1910967"/>
                    <a:gd name="connsiteX339" fmla="*/ 922150 w 1474350"/>
                    <a:gd name="connsiteY339" fmla="*/ 87646 h 1910967"/>
                    <a:gd name="connsiteX340" fmla="*/ 922150 w 1474350"/>
                    <a:gd name="connsiteY340" fmla="*/ 87646 h 1910967"/>
                    <a:gd name="connsiteX341" fmla="*/ 906618 w 1474350"/>
                    <a:gd name="connsiteY341" fmla="*/ 106809 h 1910967"/>
                    <a:gd name="connsiteX342" fmla="*/ 906618 w 1474350"/>
                    <a:gd name="connsiteY342" fmla="*/ 106809 h 1910967"/>
                    <a:gd name="connsiteX343" fmla="*/ 876965 w 1474350"/>
                    <a:gd name="connsiteY343" fmla="*/ 136663 h 1910967"/>
                    <a:gd name="connsiteX344" fmla="*/ 876965 w 1474350"/>
                    <a:gd name="connsiteY344" fmla="*/ 136663 h 1910967"/>
                    <a:gd name="connsiteX345" fmla="*/ 869401 w 1474350"/>
                    <a:gd name="connsiteY345" fmla="*/ 144127 h 1910967"/>
                    <a:gd name="connsiteX346" fmla="*/ 869401 w 1474350"/>
                    <a:gd name="connsiteY346" fmla="*/ 144127 h 1910967"/>
                    <a:gd name="connsiteX347" fmla="*/ 844590 w 1474350"/>
                    <a:gd name="connsiteY347" fmla="*/ 118105 h 1910967"/>
                    <a:gd name="connsiteX348" fmla="*/ 844590 w 1474350"/>
                    <a:gd name="connsiteY348" fmla="*/ 118105 h 1910967"/>
                    <a:gd name="connsiteX349" fmla="*/ 796581 w 1474350"/>
                    <a:gd name="connsiteY349" fmla="*/ 80888 h 1910967"/>
                    <a:gd name="connsiteX350" fmla="*/ 796581 w 1474350"/>
                    <a:gd name="connsiteY350" fmla="*/ 80888 h 1910967"/>
                    <a:gd name="connsiteX351" fmla="*/ 784881 w 1474350"/>
                    <a:gd name="connsiteY351" fmla="*/ 87949 h 1910967"/>
                    <a:gd name="connsiteX352" fmla="*/ 784881 w 1474350"/>
                    <a:gd name="connsiteY352" fmla="*/ 87949 h 1910967"/>
                    <a:gd name="connsiteX353" fmla="*/ 767433 w 1474350"/>
                    <a:gd name="connsiteY353" fmla="*/ 107212 h 1910967"/>
                    <a:gd name="connsiteX354" fmla="*/ 767433 w 1474350"/>
                    <a:gd name="connsiteY354" fmla="*/ 107212 h 1910967"/>
                    <a:gd name="connsiteX355" fmla="*/ 754019 w 1474350"/>
                    <a:gd name="connsiteY355" fmla="*/ 95916 h 1910967"/>
                    <a:gd name="connsiteX356" fmla="*/ 754019 w 1474350"/>
                    <a:gd name="connsiteY356" fmla="*/ 95916 h 1910967"/>
                    <a:gd name="connsiteX357" fmla="*/ 740504 w 1474350"/>
                    <a:gd name="connsiteY357" fmla="*/ 86839 h 1910967"/>
                    <a:gd name="connsiteX358" fmla="*/ 740504 w 1474350"/>
                    <a:gd name="connsiteY358" fmla="*/ 86839 h 1910967"/>
                    <a:gd name="connsiteX359" fmla="*/ 727291 w 1474350"/>
                    <a:gd name="connsiteY359" fmla="*/ 94101 h 1910967"/>
                    <a:gd name="connsiteX360" fmla="*/ 727291 w 1474350"/>
                    <a:gd name="connsiteY360" fmla="*/ 94101 h 1910967"/>
                    <a:gd name="connsiteX361" fmla="*/ 692798 w 1474350"/>
                    <a:gd name="connsiteY361" fmla="*/ 107011 h 1910967"/>
                    <a:gd name="connsiteX362" fmla="*/ 692798 w 1474350"/>
                    <a:gd name="connsiteY362" fmla="*/ 107011 h 1910967"/>
                    <a:gd name="connsiteX363" fmla="*/ 670709 w 1474350"/>
                    <a:gd name="connsiteY363" fmla="*/ 95412 h 1910967"/>
                    <a:gd name="connsiteX364" fmla="*/ 670709 w 1474350"/>
                    <a:gd name="connsiteY364" fmla="*/ 95412 h 1910967"/>
                    <a:gd name="connsiteX365" fmla="*/ 641461 w 1474350"/>
                    <a:gd name="connsiteY365" fmla="*/ 66970 h 1910967"/>
                    <a:gd name="connsiteX366" fmla="*/ 641461 w 1474350"/>
                    <a:gd name="connsiteY366" fmla="*/ 66970 h 1910967"/>
                    <a:gd name="connsiteX367" fmla="*/ 585787 w 1474350"/>
                    <a:gd name="connsiteY367" fmla="*/ 23802 h 1910967"/>
                    <a:gd name="connsiteX368" fmla="*/ 585787 w 1474350"/>
                    <a:gd name="connsiteY368" fmla="*/ 23802 h 1910967"/>
                    <a:gd name="connsiteX369" fmla="*/ 579130 w 1474350"/>
                    <a:gd name="connsiteY369" fmla="*/ 9480 h 1910967"/>
                    <a:gd name="connsiteX370" fmla="*/ 579130 w 1474350"/>
                    <a:gd name="connsiteY370" fmla="*/ 9480 h 1910967"/>
                    <a:gd name="connsiteX371" fmla="*/ 549578 w 1474350"/>
                    <a:gd name="connsiteY371" fmla="*/ 5648 h 1910967"/>
                    <a:gd name="connsiteX372" fmla="*/ 549578 w 1474350"/>
                    <a:gd name="connsiteY372" fmla="*/ 5648 h 1910967"/>
                    <a:gd name="connsiteX373" fmla="*/ 536568 w 1474350"/>
                    <a:gd name="connsiteY373" fmla="*/ 7463 h 1910967"/>
                    <a:gd name="connsiteX374" fmla="*/ 536568 w 1474350"/>
                    <a:gd name="connsiteY374" fmla="*/ 7463 h 1910967"/>
                    <a:gd name="connsiteX375" fmla="*/ 473027 w 1474350"/>
                    <a:gd name="connsiteY375" fmla="*/ 66062 h 1910967"/>
                    <a:gd name="connsiteX376" fmla="*/ 473027 w 1474350"/>
                    <a:gd name="connsiteY376" fmla="*/ 66062 h 1910967"/>
                    <a:gd name="connsiteX377" fmla="*/ 421286 w 1474350"/>
                    <a:gd name="connsiteY377" fmla="*/ 89562 h 1910967"/>
                    <a:gd name="connsiteX378" fmla="*/ 421286 w 1474350"/>
                    <a:gd name="connsiteY378" fmla="*/ 89562 h 1910967"/>
                    <a:gd name="connsiteX379" fmla="*/ 405653 w 1474350"/>
                    <a:gd name="connsiteY379" fmla="*/ 88856 h 1910967"/>
                    <a:gd name="connsiteX380" fmla="*/ 405653 w 1474350"/>
                    <a:gd name="connsiteY380" fmla="*/ 88856 h 1910967"/>
                    <a:gd name="connsiteX381" fmla="*/ 397887 w 1474350"/>
                    <a:gd name="connsiteY381" fmla="*/ 88554 h 1910967"/>
                    <a:gd name="connsiteX382" fmla="*/ 397887 w 1474350"/>
                    <a:gd name="connsiteY382" fmla="*/ 88554 h 1910967"/>
                    <a:gd name="connsiteX383" fmla="*/ 325773 w 1474350"/>
                    <a:gd name="connsiteY383" fmla="*/ 131116 h 1910967"/>
                    <a:gd name="connsiteX384" fmla="*/ 325773 w 1474350"/>
                    <a:gd name="connsiteY384" fmla="*/ 131116 h 1910967"/>
                    <a:gd name="connsiteX385" fmla="*/ 336767 w 1474350"/>
                    <a:gd name="connsiteY385" fmla="*/ 195464 h 1910967"/>
                    <a:gd name="connsiteX386" fmla="*/ 336767 w 1474350"/>
                    <a:gd name="connsiteY386" fmla="*/ 195464 h 1910967"/>
                    <a:gd name="connsiteX387" fmla="*/ 330211 w 1474350"/>
                    <a:gd name="connsiteY387" fmla="*/ 216039 h 1910967"/>
                    <a:gd name="connsiteX388" fmla="*/ 330211 w 1474350"/>
                    <a:gd name="connsiteY388" fmla="*/ 216039 h 1910967"/>
                    <a:gd name="connsiteX389" fmla="*/ 276655 w 1474350"/>
                    <a:gd name="connsiteY389" fmla="*/ 239438 h 1910967"/>
                    <a:gd name="connsiteX390" fmla="*/ 276655 w 1474350"/>
                    <a:gd name="connsiteY390" fmla="*/ 239438 h 1910967"/>
                    <a:gd name="connsiteX391" fmla="*/ 245288 w 1474350"/>
                    <a:gd name="connsiteY391" fmla="*/ 230361 h 1910967"/>
                    <a:gd name="connsiteX392" fmla="*/ 245288 w 1474350"/>
                    <a:gd name="connsiteY392" fmla="*/ 230361 h 1910967"/>
                    <a:gd name="connsiteX393" fmla="*/ 233588 w 1474350"/>
                    <a:gd name="connsiteY393" fmla="*/ 227133 h 1910967"/>
                    <a:gd name="connsiteX394" fmla="*/ 233588 w 1474350"/>
                    <a:gd name="connsiteY394" fmla="*/ 227133 h 1910967"/>
                    <a:gd name="connsiteX395" fmla="*/ 184571 w 1474350"/>
                    <a:gd name="connsiteY395" fmla="*/ 249524 h 1910967"/>
                    <a:gd name="connsiteX396" fmla="*/ 184571 w 1474350"/>
                    <a:gd name="connsiteY396" fmla="*/ 249524 h 1910967"/>
                    <a:gd name="connsiteX397" fmla="*/ 157743 w 1474350"/>
                    <a:gd name="connsiteY397" fmla="*/ 272016 h 1910967"/>
                    <a:gd name="connsiteX398" fmla="*/ 157743 w 1474350"/>
                    <a:gd name="connsiteY398" fmla="*/ 272016 h 1910967"/>
                    <a:gd name="connsiteX399" fmla="*/ 122745 w 1474350"/>
                    <a:gd name="connsiteY399" fmla="*/ 313166 h 1910967"/>
                    <a:gd name="connsiteX400" fmla="*/ 122745 w 1474350"/>
                    <a:gd name="connsiteY400" fmla="*/ 313166 h 1910967"/>
                    <a:gd name="connsiteX401" fmla="*/ 123249 w 1474350"/>
                    <a:gd name="connsiteY401" fmla="*/ 315586 h 1910967"/>
                    <a:gd name="connsiteX402" fmla="*/ 207365 w 1474350"/>
                    <a:gd name="connsiteY402" fmla="*/ 428144 h 1910967"/>
                    <a:gd name="connsiteX403" fmla="*/ 207365 w 1474350"/>
                    <a:gd name="connsiteY403" fmla="*/ 428144 h 1910967"/>
                    <a:gd name="connsiteX404" fmla="*/ 301264 w 1474350"/>
                    <a:gd name="connsiteY404" fmla="*/ 561278 h 1910967"/>
                    <a:gd name="connsiteX405" fmla="*/ 301264 w 1474350"/>
                    <a:gd name="connsiteY405" fmla="*/ 561278 h 1910967"/>
                    <a:gd name="connsiteX406" fmla="*/ 314174 w 1474350"/>
                    <a:gd name="connsiteY406" fmla="*/ 664859 h 1910967"/>
                    <a:gd name="connsiteX407" fmla="*/ 314174 w 1474350"/>
                    <a:gd name="connsiteY407" fmla="*/ 664859 h 1910967"/>
                    <a:gd name="connsiteX408" fmla="*/ 299046 w 1474350"/>
                    <a:gd name="connsiteY408" fmla="*/ 777922 h 1910967"/>
                    <a:gd name="connsiteX409" fmla="*/ 299046 w 1474350"/>
                    <a:gd name="connsiteY409" fmla="*/ 777922 h 1910967"/>
                    <a:gd name="connsiteX410" fmla="*/ 213618 w 1474350"/>
                    <a:gd name="connsiteY410" fmla="*/ 825729 h 1910967"/>
                    <a:gd name="connsiteX411" fmla="*/ 213618 w 1474350"/>
                    <a:gd name="connsiteY411" fmla="*/ 825729 h 1910967"/>
                    <a:gd name="connsiteX412" fmla="*/ 199297 w 1474350"/>
                    <a:gd name="connsiteY412" fmla="*/ 849733 h 1910967"/>
                    <a:gd name="connsiteX413" fmla="*/ 199297 w 1474350"/>
                    <a:gd name="connsiteY413" fmla="*/ 849733 h 1910967"/>
                    <a:gd name="connsiteX414" fmla="*/ 223402 w 1474350"/>
                    <a:gd name="connsiteY414" fmla="*/ 889774 h 1910967"/>
                    <a:gd name="connsiteX415" fmla="*/ 223402 w 1474350"/>
                    <a:gd name="connsiteY415" fmla="*/ 889774 h 1910967"/>
                    <a:gd name="connsiteX416" fmla="*/ 281799 w 1474350"/>
                    <a:gd name="connsiteY416" fmla="*/ 957652 h 1910967"/>
                    <a:gd name="connsiteX417" fmla="*/ 281799 w 1474350"/>
                    <a:gd name="connsiteY417" fmla="*/ 957652 h 1910967"/>
                    <a:gd name="connsiteX418" fmla="*/ 285732 w 1474350"/>
                    <a:gd name="connsiteY418" fmla="*/ 981959 h 1910967"/>
                    <a:gd name="connsiteX419" fmla="*/ 285732 w 1474350"/>
                    <a:gd name="connsiteY419" fmla="*/ 981959 h 1910967"/>
                    <a:gd name="connsiteX420" fmla="*/ 254567 w 1474350"/>
                    <a:gd name="connsiteY420" fmla="*/ 1033397 h 1910967"/>
                    <a:gd name="connsiteX421" fmla="*/ 254567 w 1474350"/>
                    <a:gd name="connsiteY421" fmla="*/ 1033397 h 1910967"/>
                    <a:gd name="connsiteX422" fmla="*/ 248516 w 1474350"/>
                    <a:gd name="connsiteY422" fmla="*/ 1053569 h 1910967"/>
                    <a:gd name="connsiteX423" fmla="*/ 248516 w 1474350"/>
                    <a:gd name="connsiteY423" fmla="*/ 1053569 h 1910967"/>
                    <a:gd name="connsiteX424" fmla="*/ 266569 w 1474350"/>
                    <a:gd name="connsiteY424" fmla="*/ 1104905 h 1910967"/>
                    <a:gd name="connsiteX425" fmla="*/ 266569 w 1474350"/>
                    <a:gd name="connsiteY425" fmla="*/ 1104905 h 1910967"/>
                    <a:gd name="connsiteX426" fmla="*/ 281295 w 1474350"/>
                    <a:gd name="connsiteY426" fmla="*/ 1153418 h 1910967"/>
                    <a:gd name="connsiteX427" fmla="*/ 281295 w 1474350"/>
                    <a:gd name="connsiteY427" fmla="*/ 1153418 h 1910967"/>
                    <a:gd name="connsiteX428" fmla="*/ 281093 w 1474350"/>
                    <a:gd name="connsiteY428" fmla="*/ 1172178 h 1910967"/>
                    <a:gd name="connsiteX429" fmla="*/ 281093 w 1474350"/>
                    <a:gd name="connsiteY429" fmla="*/ 1172178 h 1910967"/>
                    <a:gd name="connsiteX430" fmla="*/ 247204 w 1474350"/>
                    <a:gd name="connsiteY430" fmla="*/ 1240560 h 1910967"/>
                    <a:gd name="connsiteX431" fmla="*/ 247204 w 1474350"/>
                    <a:gd name="connsiteY431" fmla="*/ 1240560 h 1910967"/>
                    <a:gd name="connsiteX432" fmla="*/ 233084 w 1474350"/>
                    <a:gd name="connsiteY432" fmla="*/ 1244393 h 1910967"/>
                    <a:gd name="connsiteX433" fmla="*/ 233084 w 1474350"/>
                    <a:gd name="connsiteY433" fmla="*/ 1244393 h 1910967"/>
                    <a:gd name="connsiteX434" fmla="*/ 201213 w 1474350"/>
                    <a:gd name="connsiteY434" fmla="*/ 1215446 h 1910967"/>
                    <a:gd name="connsiteX435" fmla="*/ 201213 w 1474350"/>
                    <a:gd name="connsiteY435" fmla="*/ 1215446 h 1910967"/>
                    <a:gd name="connsiteX436" fmla="*/ 189513 w 1474350"/>
                    <a:gd name="connsiteY436" fmla="*/ 1200116 h 1910967"/>
                    <a:gd name="connsiteX437" fmla="*/ 189513 w 1474350"/>
                    <a:gd name="connsiteY437" fmla="*/ 1200116 h 1910967"/>
                    <a:gd name="connsiteX438" fmla="*/ 182453 w 1474350"/>
                    <a:gd name="connsiteY438" fmla="*/ 1202738 h 1910967"/>
                    <a:gd name="connsiteX439" fmla="*/ 182453 w 1474350"/>
                    <a:gd name="connsiteY439" fmla="*/ 1202738 h 1910967"/>
                    <a:gd name="connsiteX440" fmla="*/ 179932 w 1474350"/>
                    <a:gd name="connsiteY440" fmla="*/ 1212017 h 1910967"/>
                    <a:gd name="connsiteX441" fmla="*/ 179932 w 1474350"/>
                    <a:gd name="connsiteY441" fmla="*/ 1212017 h 1910967"/>
                    <a:gd name="connsiteX442" fmla="*/ 184874 w 1474350"/>
                    <a:gd name="connsiteY442" fmla="*/ 1261740 h 1910967"/>
                    <a:gd name="connsiteX443" fmla="*/ 184874 w 1474350"/>
                    <a:gd name="connsiteY443" fmla="*/ 1261740 h 1910967"/>
                    <a:gd name="connsiteX444" fmla="*/ 184874 w 1474350"/>
                    <a:gd name="connsiteY444" fmla="*/ 1265271 h 1910967"/>
                    <a:gd name="connsiteX445" fmla="*/ 184874 w 1474350"/>
                    <a:gd name="connsiteY445" fmla="*/ 1265271 h 1910967"/>
                    <a:gd name="connsiteX446" fmla="*/ 147254 w 1474350"/>
                    <a:gd name="connsiteY446" fmla="*/ 1318927 h 1910967"/>
                    <a:gd name="connsiteX447" fmla="*/ 147254 w 1474350"/>
                    <a:gd name="connsiteY447" fmla="*/ 1318927 h 1910967"/>
                    <a:gd name="connsiteX448" fmla="*/ 90470 w 1474350"/>
                    <a:gd name="connsiteY448" fmla="*/ 1371475 h 1910967"/>
                    <a:gd name="connsiteX449" fmla="*/ 90470 w 1474350"/>
                    <a:gd name="connsiteY449" fmla="*/ 1371475 h 1910967"/>
                    <a:gd name="connsiteX450" fmla="*/ 82200 w 1474350"/>
                    <a:gd name="connsiteY450" fmla="*/ 1393260 h 1910967"/>
                    <a:gd name="connsiteX451" fmla="*/ 82200 w 1474350"/>
                    <a:gd name="connsiteY451" fmla="*/ 1393260 h 1910967"/>
                    <a:gd name="connsiteX452" fmla="*/ 96421 w 1474350"/>
                    <a:gd name="connsiteY452" fmla="*/ 1433402 h 1910967"/>
                    <a:gd name="connsiteX453" fmla="*/ 96421 w 1474350"/>
                    <a:gd name="connsiteY453" fmla="*/ 1433402 h 1910967"/>
                    <a:gd name="connsiteX454" fmla="*/ 96320 w 1474350"/>
                    <a:gd name="connsiteY454" fmla="*/ 1437133 h 1910967"/>
                    <a:gd name="connsiteX455" fmla="*/ 96320 w 1474350"/>
                    <a:gd name="connsiteY455" fmla="*/ 1437133 h 1910967"/>
                    <a:gd name="connsiteX456" fmla="*/ 65659 w 1474350"/>
                    <a:gd name="connsiteY456" fmla="*/ 1495329 h 1910967"/>
                    <a:gd name="connsiteX457" fmla="*/ 65659 w 1474350"/>
                    <a:gd name="connsiteY457" fmla="*/ 1495329 h 1910967"/>
                    <a:gd name="connsiteX458" fmla="*/ 38932 w 1474350"/>
                    <a:gd name="connsiteY458" fmla="*/ 1526293 h 1910967"/>
                    <a:gd name="connsiteX459" fmla="*/ 38932 w 1474350"/>
                    <a:gd name="connsiteY459" fmla="*/ 1526293 h 1910967"/>
                    <a:gd name="connsiteX460" fmla="*/ 39133 w 1474350"/>
                    <a:gd name="connsiteY460" fmla="*/ 1530528 h 1910967"/>
                    <a:gd name="connsiteX461" fmla="*/ 39133 w 1474350"/>
                    <a:gd name="connsiteY461" fmla="*/ 1530528 h 1910967"/>
                    <a:gd name="connsiteX462" fmla="*/ 39133 w 1474350"/>
                    <a:gd name="connsiteY462" fmla="*/ 1535975 h 1910967"/>
                    <a:gd name="connsiteX463" fmla="*/ 39133 w 1474350"/>
                    <a:gd name="connsiteY463" fmla="*/ 1535975 h 1910967"/>
                    <a:gd name="connsiteX464" fmla="*/ 36108 w 1474350"/>
                    <a:gd name="connsiteY464" fmla="*/ 1554937 h 1910967"/>
                    <a:gd name="connsiteX465" fmla="*/ 36108 w 1474350"/>
                    <a:gd name="connsiteY465" fmla="*/ 1554937 h 1910967"/>
                    <a:gd name="connsiteX466" fmla="*/ 32779 w 1474350"/>
                    <a:gd name="connsiteY466" fmla="*/ 1558668 h 1910967"/>
                    <a:gd name="connsiteX467" fmla="*/ 32779 w 1474350"/>
                    <a:gd name="connsiteY467" fmla="*/ 1558668 h 1910967"/>
                    <a:gd name="connsiteX468" fmla="*/ 8371 w 1474350"/>
                    <a:gd name="connsiteY468" fmla="*/ 1581967 h 1910967"/>
                    <a:gd name="connsiteX469" fmla="*/ 7463 w 1474350"/>
                    <a:gd name="connsiteY469" fmla="*/ 1652568 h 1910967"/>
                    <a:gd name="connsiteX470" fmla="*/ 5043 w 1474350"/>
                    <a:gd name="connsiteY470" fmla="*/ 1688069 h 1910967"/>
                    <a:gd name="connsiteX471" fmla="*/ 5043 w 1474350"/>
                    <a:gd name="connsiteY471" fmla="*/ 1688069 h 1910967"/>
                    <a:gd name="connsiteX472" fmla="*/ 44277 w 1474350"/>
                    <a:gd name="connsiteY472" fmla="*/ 1726396 h 1910967"/>
                    <a:gd name="connsiteX473" fmla="*/ 44277 w 1474350"/>
                    <a:gd name="connsiteY473" fmla="*/ 1726396 h 1910967"/>
                    <a:gd name="connsiteX474" fmla="*/ 54363 w 1474350"/>
                    <a:gd name="connsiteY474" fmla="*/ 1747374 h 1910967"/>
                    <a:gd name="connsiteX475" fmla="*/ 54363 w 1474350"/>
                    <a:gd name="connsiteY475" fmla="*/ 1747374 h 1910967"/>
                    <a:gd name="connsiteX476" fmla="*/ 34897 w 1474350"/>
                    <a:gd name="connsiteY476" fmla="*/ 1796694 h 1910967"/>
                    <a:gd name="connsiteX477" fmla="*/ 34897 w 1474350"/>
                    <a:gd name="connsiteY477" fmla="*/ 1796694 h 1910967"/>
                    <a:gd name="connsiteX478" fmla="*/ 30661 w 1474350"/>
                    <a:gd name="connsiteY478" fmla="*/ 1810008 h 1910967"/>
                    <a:gd name="connsiteX479" fmla="*/ 30661 w 1474350"/>
                    <a:gd name="connsiteY479" fmla="*/ 1810008 h 1910967"/>
                    <a:gd name="connsiteX480" fmla="*/ 45689 w 1474350"/>
                    <a:gd name="connsiteY480" fmla="*/ 1883836 h 1910967"/>
                    <a:gd name="connsiteX481" fmla="*/ 45689 w 1474350"/>
                    <a:gd name="connsiteY481" fmla="*/ 1883836 h 1910967"/>
                    <a:gd name="connsiteX482" fmla="*/ 58901 w 1474350"/>
                    <a:gd name="connsiteY482" fmla="*/ 1904512 h 1910967"/>
                    <a:gd name="connsiteX483" fmla="*/ 58901 w 1474350"/>
                    <a:gd name="connsiteY483" fmla="*/ 1904512 h 1910967"/>
                    <a:gd name="connsiteX484" fmla="*/ 94101 w 1474350"/>
                    <a:gd name="connsiteY484" fmla="*/ 1879600 h 1910967"/>
                    <a:gd name="connsiteX485" fmla="*/ 94101 w 1474350"/>
                    <a:gd name="connsiteY485" fmla="*/ 1879600 h 1910967"/>
                    <a:gd name="connsiteX486" fmla="*/ 162786 w 1474350"/>
                    <a:gd name="connsiteY486" fmla="*/ 1861143 h 1910967"/>
                    <a:gd name="connsiteX487" fmla="*/ 162786 w 1474350"/>
                    <a:gd name="connsiteY487" fmla="*/ 1861143 h 1910967"/>
                    <a:gd name="connsiteX488" fmla="*/ 211198 w 1474350"/>
                    <a:gd name="connsiteY488" fmla="*/ 1861950 h 1910967"/>
                    <a:gd name="connsiteX489" fmla="*/ 211198 w 1474350"/>
                    <a:gd name="connsiteY489" fmla="*/ 1861950 h 1910967"/>
                    <a:gd name="connsiteX490" fmla="*/ 244481 w 1474350"/>
                    <a:gd name="connsiteY490" fmla="*/ 1856402 h 1910967"/>
                    <a:gd name="connsiteX491" fmla="*/ 244481 w 1474350"/>
                    <a:gd name="connsiteY491" fmla="*/ 1856402 h 1910967"/>
                    <a:gd name="connsiteX492" fmla="*/ 309636 w 1474350"/>
                    <a:gd name="connsiteY492" fmla="*/ 1748988 h 1910967"/>
                    <a:gd name="connsiteX493" fmla="*/ 309636 w 1474350"/>
                    <a:gd name="connsiteY493" fmla="*/ 1748988 h 1910967"/>
                    <a:gd name="connsiteX494" fmla="*/ 408578 w 1474350"/>
                    <a:gd name="connsiteY494" fmla="*/ 1624327 h 1910967"/>
                    <a:gd name="connsiteX495" fmla="*/ 408578 w 1474350"/>
                    <a:gd name="connsiteY495" fmla="*/ 1624327 h 1910967"/>
                    <a:gd name="connsiteX496" fmla="*/ 410898 w 1474350"/>
                    <a:gd name="connsiteY496" fmla="*/ 1624024 h 1910967"/>
                    <a:gd name="connsiteX497" fmla="*/ 410898 w 1474350"/>
                    <a:gd name="connsiteY497" fmla="*/ 1624024 h 1910967"/>
                    <a:gd name="connsiteX498" fmla="*/ 466067 w 1474350"/>
                    <a:gd name="connsiteY498" fmla="*/ 1665175 h 1910967"/>
                    <a:gd name="connsiteX499" fmla="*/ 466067 w 1474350"/>
                    <a:gd name="connsiteY499" fmla="*/ 1665175 h 1910967"/>
                    <a:gd name="connsiteX500" fmla="*/ 498040 w 1474350"/>
                    <a:gd name="connsiteY500" fmla="*/ 1747979 h 1910967"/>
                    <a:gd name="connsiteX501" fmla="*/ 498040 w 1474350"/>
                    <a:gd name="connsiteY501" fmla="*/ 1747979 h 1910967"/>
                    <a:gd name="connsiteX502" fmla="*/ 518917 w 1474350"/>
                    <a:gd name="connsiteY502" fmla="*/ 1792660 h 1910967"/>
                    <a:gd name="connsiteX503" fmla="*/ 518917 w 1474350"/>
                    <a:gd name="connsiteY503" fmla="*/ 1792660 h 1910967"/>
                    <a:gd name="connsiteX504" fmla="*/ 518716 w 1474350"/>
                    <a:gd name="connsiteY504" fmla="*/ 1800224 h 1910967"/>
                    <a:gd name="connsiteX505" fmla="*/ 518716 w 1474350"/>
                    <a:gd name="connsiteY505" fmla="*/ 1800224 h 1910967"/>
                    <a:gd name="connsiteX506" fmla="*/ 518514 w 1474350"/>
                    <a:gd name="connsiteY506" fmla="*/ 1804662 h 1910967"/>
                    <a:gd name="connsiteX507" fmla="*/ 518514 w 1474350"/>
                    <a:gd name="connsiteY507" fmla="*/ 1804662 h 1910967"/>
                    <a:gd name="connsiteX508" fmla="*/ 551394 w 1474350"/>
                    <a:gd name="connsiteY508" fmla="*/ 1861445 h 1910967"/>
                    <a:gd name="connsiteX509" fmla="*/ 551394 w 1474350"/>
                    <a:gd name="connsiteY509" fmla="*/ 1861445 h 1910967"/>
                    <a:gd name="connsiteX510" fmla="*/ 555630 w 1474350"/>
                    <a:gd name="connsiteY510" fmla="*/ 1861042 h 1910967"/>
                    <a:gd name="connsiteX511" fmla="*/ 555630 w 1474350"/>
                    <a:gd name="connsiteY511" fmla="*/ 1861042 h 1910967"/>
                    <a:gd name="connsiteX512" fmla="*/ 602529 w 1474350"/>
                    <a:gd name="connsiteY512" fmla="*/ 1729724 h 1910967"/>
                    <a:gd name="connsiteX513" fmla="*/ 602529 w 1474350"/>
                    <a:gd name="connsiteY513" fmla="*/ 1729724 h 1910967"/>
                    <a:gd name="connsiteX514" fmla="*/ 624920 w 1474350"/>
                    <a:gd name="connsiteY514" fmla="*/ 1672941 h 1910967"/>
                    <a:gd name="connsiteX515" fmla="*/ 624920 w 1474350"/>
                    <a:gd name="connsiteY515" fmla="*/ 1672941 h 1910967"/>
                    <a:gd name="connsiteX516" fmla="*/ 633089 w 1474350"/>
                    <a:gd name="connsiteY516" fmla="*/ 1664065 h 1910967"/>
                    <a:gd name="connsiteX517" fmla="*/ 633089 w 1474350"/>
                    <a:gd name="connsiteY517" fmla="*/ 1664065 h 1910967"/>
                    <a:gd name="connsiteX518" fmla="*/ 693907 w 1474350"/>
                    <a:gd name="connsiteY518" fmla="*/ 1680304 h 1910967"/>
                    <a:gd name="connsiteX519" fmla="*/ 693907 w 1474350"/>
                    <a:gd name="connsiteY519" fmla="*/ 1680304 h 1910967"/>
                    <a:gd name="connsiteX520" fmla="*/ 727089 w 1474350"/>
                    <a:gd name="connsiteY520" fmla="*/ 1630984 h 1910967"/>
                    <a:gd name="connsiteX521" fmla="*/ 727089 w 1474350"/>
                    <a:gd name="connsiteY521" fmla="*/ 1630984 h 1910967"/>
                    <a:gd name="connsiteX522" fmla="*/ 777317 w 1474350"/>
                    <a:gd name="connsiteY522" fmla="*/ 1601533 h 1910967"/>
                    <a:gd name="connsiteX523" fmla="*/ 777317 w 1474350"/>
                    <a:gd name="connsiteY523" fmla="*/ 1601533 h 1910967"/>
                    <a:gd name="connsiteX524" fmla="*/ 787403 w 1474350"/>
                    <a:gd name="connsiteY524" fmla="*/ 1600323 h 1910967"/>
                    <a:gd name="connsiteX525" fmla="*/ 787403 w 1474350"/>
                    <a:gd name="connsiteY525" fmla="*/ 1600323 h 1910967"/>
                    <a:gd name="connsiteX526" fmla="*/ 831478 w 1474350"/>
                    <a:gd name="connsiteY526" fmla="*/ 1657712 h 1910967"/>
                    <a:gd name="connsiteX527" fmla="*/ 831478 w 1474350"/>
                    <a:gd name="connsiteY527" fmla="*/ 1657712 h 1910967"/>
                    <a:gd name="connsiteX528" fmla="*/ 854272 w 1474350"/>
                    <a:gd name="connsiteY528" fmla="*/ 1712780 h 1910967"/>
                    <a:gd name="connsiteX529" fmla="*/ 854272 w 1474350"/>
                    <a:gd name="connsiteY529" fmla="*/ 1712780 h 1910967"/>
                    <a:gd name="connsiteX530" fmla="*/ 888261 w 1474350"/>
                    <a:gd name="connsiteY530" fmla="*/ 1725185 h 1910967"/>
                    <a:gd name="connsiteX531" fmla="*/ 888261 w 1474350"/>
                    <a:gd name="connsiteY531" fmla="*/ 1725185 h 1910967"/>
                    <a:gd name="connsiteX532" fmla="*/ 934656 w 1474350"/>
                    <a:gd name="connsiteY532" fmla="*/ 1718630 h 1910967"/>
                    <a:gd name="connsiteX533" fmla="*/ 934656 w 1474350"/>
                    <a:gd name="connsiteY533" fmla="*/ 1718630 h 1910967"/>
                    <a:gd name="connsiteX534" fmla="*/ 937682 w 1474350"/>
                    <a:gd name="connsiteY534" fmla="*/ 1713284 h 1910967"/>
                    <a:gd name="connsiteX535" fmla="*/ 937682 w 1474350"/>
                    <a:gd name="connsiteY535" fmla="*/ 1713284 h 1910967"/>
                    <a:gd name="connsiteX536" fmla="*/ 926890 w 1474350"/>
                    <a:gd name="connsiteY536" fmla="*/ 1668100 h 1910967"/>
                    <a:gd name="connsiteX537" fmla="*/ 926890 w 1474350"/>
                    <a:gd name="connsiteY537" fmla="*/ 1668100 h 1910967"/>
                    <a:gd name="connsiteX538" fmla="*/ 927697 w 1474350"/>
                    <a:gd name="connsiteY538" fmla="*/ 1662149 h 1910967"/>
                    <a:gd name="connsiteX539" fmla="*/ 927697 w 1474350"/>
                    <a:gd name="connsiteY539" fmla="*/ 1662149 h 1910967"/>
                    <a:gd name="connsiteX540" fmla="*/ 942120 w 1474350"/>
                    <a:gd name="connsiteY540" fmla="*/ 1653475 h 1910967"/>
                    <a:gd name="connsiteX541" fmla="*/ 942120 w 1474350"/>
                    <a:gd name="connsiteY541" fmla="*/ 1653475 h 1910967"/>
                    <a:gd name="connsiteX542" fmla="*/ 984783 w 1474350"/>
                    <a:gd name="connsiteY542" fmla="*/ 1680001 h 1910967"/>
                    <a:gd name="connsiteX543" fmla="*/ 984783 w 1474350"/>
                    <a:gd name="connsiteY543" fmla="*/ 1680001 h 1910967"/>
                    <a:gd name="connsiteX544" fmla="*/ 983775 w 1474350"/>
                    <a:gd name="connsiteY544" fmla="*/ 1684439 h 1910967"/>
                    <a:gd name="connsiteX545" fmla="*/ 983775 w 1474350"/>
                    <a:gd name="connsiteY545" fmla="*/ 1684439 h 1910967"/>
                    <a:gd name="connsiteX546" fmla="*/ 981051 w 1474350"/>
                    <a:gd name="connsiteY546" fmla="*/ 1695937 h 1910967"/>
                    <a:gd name="connsiteX547" fmla="*/ 981051 w 1474350"/>
                    <a:gd name="connsiteY547" fmla="*/ 1695937 h 1910967"/>
                    <a:gd name="connsiteX548" fmla="*/ 1007476 w 1474350"/>
                    <a:gd name="connsiteY548" fmla="*/ 1716613 h 1910967"/>
                    <a:gd name="connsiteX549" fmla="*/ 1007476 w 1474350"/>
                    <a:gd name="connsiteY549" fmla="*/ 1716613 h 1910967"/>
                    <a:gd name="connsiteX550" fmla="*/ 1016554 w 1474350"/>
                    <a:gd name="connsiteY550" fmla="*/ 1716209 h 1910967"/>
                    <a:gd name="connsiteX551" fmla="*/ 1016554 w 1474350"/>
                    <a:gd name="connsiteY551" fmla="*/ 1716209 h 1910967"/>
                    <a:gd name="connsiteX552" fmla="*/ 1035818 w 1474350"/>
                    <a:gd name="connsiteY552" fmla="*/ 1714394 h 1910967"/>
                    <a:gd name="connsiteX553" fmla="*/ 1035818 w 1474350"/>
                    <a:gd name="connsiteY553" fmla="*/ 1714394 h 1910967"/>
                    <a:gd name="connsiteX554" fmla="*/ 1055283 w 1474350"/>
                    <a:gd name="connsiteY554" fmla="*/ 1751812 h 1910967"/>
                    <a:gd name="connsiteX555" fmla="*/ 1055283 w 1474350"/>
                    <a:gd name="connsiteY555" fmla="*/ 1751812 h 1910967"/>
                    <a:gd name="connsiteX556" fmla="*/ 1094013 w 1474350"/>
                    <a:gd name="connsiteY556" fmla="*/ 1779851 h 1910967"/>
                    <a:gd name="connsiteX557" fmla="*/ 1094013 w 1474350"/>
                    <a:gd name="connsiteY557" fmla="*/ 1779851 h 1910967"/>
                    <a:gd name="connsiteX558" fmla="*/ 1114588 w 1474350"/>
                    <a:gd name="connsiteY558" fmla="*/ 1775211 h 1910967"/>
                    <a:gd name="connsiteX559" fmla="*/ 1114588 w 1474350"/>
                    <a:gd name="connsiteY559" fmla="*/ 1775211 h 1910967"/>
                    <a:gd name="connsiteX560" fmla="*/ 1182970 w 1474350"/>
                    <a:gd name="connsiteY560" fmla="*/ 1714293 h 1910967"/>
                    <a:gd name="connsiteX561" fmla="*/ 1182970 w 1474350"/>
                    <a:gd name="connsiteY561" fmla="*/ 1714293 h 1910967"/>
                    <a:gd name="connsiteX562" fmla="*/ 1220389 w 1474350"/>
                    <a:gd name="connsiteY562" fmla="*/ 1685649 h 1910967"/>
                    <a:gd name="connsiteX563" fmla="*/ 1220389 w 1474350"/>
                    <a:gd name="connsiteY563" fmla="*/ 1685649 h 1910967"/>
                    <a:gd name="connsiteX564" fmla="*/ 1234609 w 1474350"/>
                    <a:gd name="connsiteY564" fmla="*/ 1685649 h 1910967"/>
                    <a:gd name="connsiteX565" fmla="*/ 1234609 w 1474350"/>
                    <a:gd name="connsiteY565" fmla="*/ 1685649 h 1910967"/>
                    <a:gd name="connsiteX566" fmla="*/ 1273642 w 1474350"/>
                    <a:gd name="connsiteY566" fmla="*/ 1664973 h 1910967"/>
                    <a:gd name="connsiteX567" fmla="*/ 1273642 w 1474350"/>
                    <a:gd name="connsiteY567" fmla="*/ 1664973 h 1910967"/>
                    <a:gd name="connsiteX568" fmla="*/ 1365726 w 1474350"/>
                    <a:gd name="connsiteY568" fmla="*/ 1562097 h 1910967"/>
                    <a:gd name="connsiteX569" fmla="*/ 1365726 w 1474350"/>
                    <a:gd name="connsiteY569" fmla="*/ 1562097 h 1910967"/>
                    <a:gd name="connsiteX570" fmla="*/ 1466988 w 1474350"/>
                    <a:gd name="connsiteY570" fmla="*/ 1405464 h 1910967"/>
                    <a:gd name="connsiteX571" fmla="*/ 1466988 w 1474350"/>
                    <a:gd name="connsiteY571" fmla="*/ 1405464 h 1910967"/>
                    <a:gd name="connsiteX572" fmla="*/ 1468803 w 1474350"/>
                    <a:gd name="connsiteY572" fmla="*/ 1390638 h 1910967"/>
                    <a:gd name="connsiteX573" fmla="*/ 1468803 w 1474350"/>
                    <a:gd name="connsiteY573" fmla="*/ 1390638 h 1910967"/>
                    <a:gd name="connsiteX574" fmla="*/ 1425535 w 1474350"/>
                    <a:gd name="connsiteY574" fmla="*/ 1324777 h 1910967"/>
                    <a:gd name="connsiteX575" fmla="*/ 1425535 w 1474350"/>
                    <a:gd name="connsiteY575" fmla="*/ 1324777 h 1910967"/>
                    <a:gd name="connsiteX576" fmla="*/ 1426443 w 1474350"/>
                    <a:gd name="connsiteY576" fmla="*/ 1322256 h 1910967"/>
                    <a:gd name="connsiteX577" fmla="*/ 1427250 w 1474350"/>
                    <a:gd name="connsiteY577" fmla="*/ 1319532 h 1910967"/>
                    <a:gd name="connsiteX578" fmla="*/ 1474350 w 1474350"/>
                    <a:gd name="connsiteY578" fmla="*/ 1390638 h 1910967"/>
                    <a:gd name="connsiteX579" fmla="*/ 1474350 w 1474350"/>
                    <a:gd name="connsiteY579" fmla="*/ 1390638 h 1910967"/>
                    <a:gd name="connsiteX580" fmla="*/ 1472333 w 1474350"/>
                    <a:gd name="connsiteY580" fmla="*/ 1406876 h 1910967"/>
                    <a:gd name="connsiteX581" fmla="*/ 1472333 w 1474350"/>
                    <a:gd name="connsiteY581" fmla="*/ 1406876 h 1910967"/>
                    <a:gd name="connsiteX582" fmla="*/ 1370163 w 1474350"/>
                    <a:gd name="connsiteY582" fmla="*/ 1565426 h 1910967"/>
                    <a:gd name="connsiteX583" fmla="*/ 1370163 w 1474350"/>
                    <a:gd name="connsiteY583" fmla="*/ 1565426 h 1910967"/>
                    <a:gd name="connsiteX584" fmla="*/ 1279088 w 1474350"/>
                    <a:gd name="connsiteY584" fmla="*/ 1666183 h 1910967"/>
                    <a:gd name="connsiteX585" fmla="*/ 1279088 w 1474350"/>
                    <a:gd name="connsiteY585" fmla="*/ 1666183 h 1910967"/>
                    <a:gd name="connsiteX586" fmla="*/ 1234609 w 1474350"/>
                    <a:gd name="connsiteY586" fmla="*/ 1691297 h 1910967"/>
                    <a:gd name="connsiteX587" fmla="*/ 1234609 w 1474350"/>
                    <a:gd name="connsiteY587" fmla="*/ 1691297 h 1910967"/>
                    <a:gd name="connsiteX588" fmla="*/ 1220389 w 1474350"/>
                    <a:gd name="connsiteY588" fmla="*/ 1691297 h 1910967"/>
                    <a:gd name="connsiteX589" fmla="*/ 1220389 w 1474350"/>
                    <a:gd name="connsiteY589" fmla="*/ 1691297 h 1910967"/>
                    <a:gd name="connsiteX590" fmla="*/ 1186500 w 1474350"/>
                    <a:gd name="connsiteY590" fmla="*/ 1718630 h 1910967"/>
                    <a:gd name="connsiteX591" fmla="*/ 1186500 w 1474350"/>
                    <a:gd name="connsiteY591" fmla="*/ 1718630 h 1910967"/>
                    <a:gd name="connsiteX592" fmla="*/ 1117614 w 1474350"/>
                    <a:gd name="connsiteY592" fmla="*/ 1779952 h 1910967"/>
                    <a:gd name="connsiteX593" fmla="*/ 1117614 w 1474350"/>
                    <a:gd name="connsiteY593" fmla="*/ 1779952 h 1910967"/>
                    <a:gd name="connsiteX594" fmla="*/ 1094114 w 1474350"/>
                    <a:gd name="connsiteY594" fmla="*/ 1785600 h 1910967"/>
                    <a:gd name="connsiteX595" fmla="*/ 1094114 w 1474350"/>
                    <a:gd name="connsiteY595" fmla="*/ 1785600 h 1910967"/>
                    <a:gd name="connsiteX596" fmla="*/ 1049837 w 1474350"/>
                    <a:gd name="connsiteY596" fmla="*/ 1752417 h 1910967"/>
                    <a:gd name="connsiteX597" fmla="*/ 1049837 w 1474350"/>
                    <a:gd name="connsiteY597" fmla="*/ 1752417 h 1910967"/>
                    <a:gd name="connsiteX598" fmla="*/ 1035818 w 1474350"/>
                    <a:gd name="connsiteY598" fmla="*/ 1720142 h 1910967"/>
                    <a:gd name="connsiteX599" fmla="*/ 1035818 w 1474350"/>
                    <a:gd name="connsiteY599" fmla="*/ 1720142 h 1910967"/>
                    <a:gd name="connsiteX600" fmla="*/ 1017260 w 1474350"/>
                    <a:gd name="connsiteY600" fmla="*/ 1721857 h 1910967"/>
                    <a:gd name="connsiteX601" fmla="*/ 1017260 w 1474350"/>
                    <a:gd name="connsiteY601" fmla="*/ 1721857 h 1910967"/>
                    <a:gd name="connsiteX602" fmla="*/ 1007476 w 1474350"/>
                    <a:gd name="connsiteY602" fmla="*/ 1722362 h 1910967"/>
                    <a:gd name="connsiteX603" fmla="*/ 1007476 w 1474350"/>
                    <a:gd name="connsiteY603" fmla="*/ 1722362 h 1910967"/>
                    <a:gd name="connsiteX604" fmla="*/ 975504 w 1474350"/>
                    <a:gd name="connsiteY604" fmla="*/ 1696139 h 1910967"/>
                    <a:gd name="connsiteX605" fmla="*/ 975504 w 1474350"/>
                    <a:gd name="connsiteY605" fmla="*/ 1696139 h 1910967"/>
                    <a:gd name="connsiteX606" fmla="*/ 978832 w 1474350"/>
                    <a:gd name="connsiteY606" fmla="*/ 1682421 h 1910967"/>
                    <a:gd name="connsiteX607" fmla="*/ 978832 w 1474350"/>
                    <a:gd name="connsiteY607" fmla="*/ 1682421 h 1910967"/>
                    <a:gd name="connsiteX608" fmla="*/ 979337 w 1474350"/>
                    <a:gd name="connsiteY608" fmla="*/ 1680203 h 1910967"/>
                    <a:gd name="connsiteX609" fmla="*/ 979337 w 1474350"/>
                    <a:gd name="connsiteY609" fmla="*/ 1680203 h 1910967"/>
                    <a:gd name="connsiteX610" fmla="*/ 942221 w 1474350"/>
                    <a:gd name="connsiteY610" fmla="*/ 1659325 h 1910967"/>
                    <a:gd name="connsiteX611" fmla="*/ 942221 w 1474350"/>
                    <a:gd name="connsiteY611" fmla="*/ 1659325 h 1910967"/>
                    <a:gd name="connsiteX612" fmla="*/ 933043 w 1474350"/>
                    <a:gd name="connsiteY612" fmla="*/ 1664166 h 1910967"/>
                    <a:gd name="connsiteX613" fmla="*/ 933043 w 1474350"/>
                    <a:gd name="connsiteY613" fmla="*/ 1664166 h 1910967"/>
                    <a:gd name="connsiteX614" fmla="*/ 932438 w 1474350"/>
                    <a:gd name="connsiteY614" fmla="*/ 1668403 h 1910967"/>
                    <a:gd name="connsiteX615" fmla="*/ 932438 w 1474350"/>
                    <a:gd name="connsiteY615" fmla="*/ 1668403 h 1910967"/>
                    <a:gd name="connsiteX616" fmla="*/ 943330 w 1474350"/>
                    <a:gd name="connsiteY616" fmla="*/ 1713587 h 1910967"/>
                    <a:gd name="connsiteX617" fmla="*/ 943330 w 1474350"/>
                    <a:gd name="connsiteY617" fmla="*/ 1713587 h 1910967"/>
                    <a:gd name="connsiteX618" fmla="*/ 936472 w 1474350"/>
                    <a:gd name="connsiteY618" fmla="*/ 1724278 h 1910967"/>
                    <a:gd name="connsiteX619" fmla="*/ 936472 w 1474350"/>
                    <a:gd name="connsiteY619" fmla="*/ 1724278 h 1910967"/>
                    <a:gd name="connsiteX620" fmla="*/ 888362 w 1474350"/>
                    <a:gd name="connsiteY620" fmla="*/ 1731035 h 1910967"/>
                    <a:gd name="connsiteX621" fmla="*/ 888362 w 1474350"/>
                    <a:gd name="connsiteY621" fmla="*/ 1731035 h 1910967"/>
                    <a:gd name="connsiteX622" fmla="*/ 849128 w 1474350"/>
                    <a:gd name="connsiteY622" fmla="*/ 1714999 h 1910967"/>
                    <a:gd name="connsiteX623" fmla="*/ 849128 w 1474350"/>
                    <a:gd name="connsiteY623" fmla="*/ 1714999 h 1910967"/>
                    <a:gd name="connsiteX624" fmla="*/ 826032 w 1474350"/>
                    <a:gd name="connsiteY624" fmla="*/ 1658115 h 1910967"/>
                    <a:gd name="connsiteX625" fmla="*/ 826032 w 1474350"/>
                    <a:gd name="connsiteY625" fmla="*/ 1658115 h 1910967"/>
                    <a:gd name="connsiteX626" fmla="*/ 787504 w 1474350"/>
                    <a:gd name="connsiteY626" fmla="*/ 1606374 h 1910967"/>
                    <a:gd name="connsiteX627" fmla="*/ 787504 w 1474350"/>
                    <a:gd name="connsiteY627" fmla="*/ 1606374 h 1910967"/>
                    <a:gd name="connsiteX628" fmla="*/ 778527 w 1474350"/>
                    <a:gd name="connsiteY628" fmla="*/ 1607383 h 1910967"/>
                    <a:gd name="connsiteX629" fmla="*/ 778527 w 1474350"/>
                    <a:gd name="connsiteY629" fmla="*/ 1607383 h 1910967"/>
                    <a:gd name="connsiteX630" fmla="*/ 732032 w 1474350"/>
                    <a:gd name="connsiteY630" fmla="*/ 1633908 h 1910967"/>
                    <a:gd name="connsiteX631" fmla="*/ 732032 w 1474350"/>
                    <a:gd name="connsiteY631" fmla="*/ 1633908 h 1910967"/>
                    <a:gd name="connsiteX632" fmla="*/ 694008 w 1474350"/>
                    <a:gd name="connsiteY632" fmla="*/ 1686254 h 1910967"/>
                    <a:gd name="connsiteX633" fmla="*/ 694008 w 1474350"/>
                    <a:gd name="connsiteY633" fmla="*/ 1686254 h 1910967"/>
                    <a:gd name="connsiteX634" fmla="*/ 633190 w 1474350"/>
                    <a:gd name="connsiteY634" fmla="*/ 1670218 h 1910967"/>
                    <a:gd name="connsiteX635" fmla="*/ 633190 w 1474350"/>
                    <a:gd name="connsiteY635" fmla="*/ 1670218 h 1910967"/>
                    <a:gd name="connsiteX636" fmla="*/ 630669 w 1474350"/>
                    <a:gd name="connsiteY636" fmla="*/ 1673445 h 1910967"/>
                    <a:gd name="connsiteX637" fmla="*/ 630669 w 1474350"/>
                    <a:gd name="connsiteY637" fmla="*/ 1673445 h 1910967"/>
                    <a:gd name="connsiteX638" fmla="*/ 607269 w 1474350"/>
                    <a:gd name="connsiteY638" fmla="*/ 1733456 h 1910967"/>
                    <a:gd name="connsiteX639" fmla="*/ 607269 w 1474350"/>
                    <a:gd name="connsiteY639" fmla="*/ 1733456 h 1910967"/>
                    <a:gd name="connsiteX640" fmla="*/ 557345 w 1474350"/>
                    <a:gd name="connsiteY640" fmla="*/ 1866892 h 1910967"/>
                    <a:gd name="connsiteX641" fmla="*/ 557345 w 1474350"/>
                    <a:gd name="connsiteY641" fmla="*/ 1866892 h 1910967"/>
                    <a:gd name="connsiteX642" fmla="*/ 551495 w 1474350"/>
                    <a:gd name="connsiteY642" fmla="*/ 1867699 h 1910967"/>
                    <a:gd name="connsiteX643" fmla="*/ 551495 w 1474350"/>
                    <a:gd name="connsiteY643" fmla="*/ 1867699 h 1910967"/>
                    <a:gd name="connsiteX644" fmla="*/ 512967 w 1474350"/>
                    <a:gd name="connsiteY644" fmla="*/ 1805368 h 1910967"/>
                    <a:gd name="connsiteX645" fmla="*/ 512967 w 1474350"/>
                    <a:gd name="connsiteY645" fmla="*/ 1805368 h 1910967"/>
                    <a:gd name="connsiteX646" fmla="*/ 513168 w 1474350"/>
                    <a:gd name="connsiteY646" fmla="*/ 1800527 h 1910967"/>
                    <a:gd name="connsiteX647" fmla="*/ 513168 w 1474350"/>
                    <a:gd name="connsiteY647" fmla="*/ 1800527 h 1910967"/>
                    <a:gd name="connsiteX648" fmla="*/ 513572 w 1474350"/>
                    <a:gd name="connsiteY648" fmla="*/ 1793366 h 1910967"/>
                    <a:gd name="connsiteX649" fmla="*/ 513572 w 1474350"/>
                    <a:gd name="connsiteY649" fmla="*/ 1793366 h 1910967"/>
                    <a:gd name="connsiteX650" fmla="*/ 493198 w 1474350"/>
                    <a:gd name="connsiteY650" fmla="*/ 1751006 h 1910967"/>
                    <a:gd name="connsiteX651" fmla="*/ 493198 w 1474350"/>
                    <a:gd name="connsiteY651" fmla="*/ 1751006 h 1910967"/>
                    <a:gd name="connsiteX652" fmla="*/ 464151 w 1474350"/>
                    <a:gd name="connsiteY652" fmla="*/ 1671024 h 1910967"/>
                    <a:gd name="connsiteX653" fmla="*/ 464151 w 1474350"/>
                    <a:gd name="connsiteY653" fmla="*/ 1671024 h 1910967"/>
                    <a:gd name="connsiteX654" fmla="*/ 410999 w 1474350"/>
                    <a:gd name="connsiteY654" fmla="*/ 1630278 h 1910967"/>
                    <a:gd name="connsiteX655" fmla="*/ 410999 w 1474350"/>
                    <a:gd name="connsiteY655" fmla="*/ 1630278 h 1910967"/>
                    <a:gd name="connsiteX656" fmla="*/ 409687 w 1474350"/>
                    <a:gd name="connsiteY656" fmla="*/ 1630480 h 1910967"/>
                    <a:gd name="connsiteX657" fmla="*/ 409687 w 1474350"/>
                    <a:gd name="connsiteY657" fmla="*/ 1630480 h 1910967"/>
                    <a:gd name="connsiteX658" fmla="*/ 315385 w 1474350"/>
                    <a:gd name="connsiteY658" fmla="*/ 1749997 h 1910967"/>
                    <a:gd name="connsiteX659" fmla="*/ 315385 w 1474350"/>
                    <a:gd name="connsiteY659" fmla="*/ 1749997 h 1910967"/>
                    <a:gd name="connsiteX660" fmla="*/ 248415 w 1474350"/>
                    <a:gd name="connsiteY660" fmla="*/ 1861143 h 1910967"/>
                    <a:gd name="connsiteX661" fmla="*/ 248415 w 1474350"/>
                    <a:gd name="connsiteY661" fmla="*/ 1861143 h 1910967"/>
                    <a:gd name="connsiteX662" fmla="*/ 211399 w 1474350"/>
                    <a:gd name="connsiteY662" fmla="*/ 1868405 h 1910967"/>
                    <a:gd name="connsiteX663" fmla="*/ 211399 w 1474350"/>
                    <a:gd name="connsiteY663" fmla="*/ 1868405 h 1910967"/>
                    <a:gd name="connsiteX664" fmla="*/ 162987 w 1474350"/>
                    <a:gd name="connsiteY664" fmla="*/ 1867598 h 1910967"/>
                    <a:gd name="connsiteX665" fmla="*/ 162987 w 1474350"/>
                    <a:gd name="connsiteY665" fmla="*/ 1867598 h 1910967"/>
                    <a:gd name="connsiteX666" fmla="*/ 98741 w 1474350"/>
                    <a:gd name="connsiteY666" fmla="*/ 1883836 h 1910967"/>
                    <a:gd name="connsiteX667" fmla="*/ 98741 w 1474350"/>
                    <a:gd name="connsiteY667" fmla="*/ 1883836 h 1910967"/>
                    <a:gd name="connsiteX668" fmla="*/ 59002 w 1474350"/>
                    <a:gd name="connsiteY668" fmla="*/ 1910967 h 1910967"/>
                    <a:gd name="connsiteX669" fmla="*/ 59002 w 1474350"/>
                    <a:gd name="connsiteY669" fmla="*/ 1910967 h 1910967"/>
                    <a:gd name="connsiteX670" fmla="*/ 40646 w 1474350"/>
                    <a:gd name="connsiteY670" fmla="*/ 1883533 h 1910967"/>
                    <a:gd name="connsiteX671" fmla="*/ 40646 w 1474350"/>
                    <a:gd name="connsiteY671" fmla="*/ 1883533 h 1910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Lst>
                  <a:rect l="l" t="t" r="r" b="b"/>
                  <a:pathLst>
                    <a:path w="1474350" h="1910967">
                      <a:moveTo>
                        <a:pt x="40646" y="1883533"/>
                      </a:moveTo>
                      <a:cubicBezTo>
                        <a:pt x="40747" y="1859025"/>
                        <a:pt x="25719" y="1830785"/>
                        <a:pt x="25517" y="1809705"/>
                      </a:cubicBezTo>
                      <a:lnTo>
                        <a:pt x="25517" y="1809705"/>
                      </a:lnTo>
                      <a:cubicBezTo>
                        <a:pt x="25517" y="1803351"/>
                        <a:pt x="27030" y="1797400"/>
                        <a:pt x="31165" y="1792761"/>
                      </a:cubicBezTo>
                      <a:lnTo>
                        <a:pt x="31165" y="1792761"/>
                      </a:lnTo>
                      <a:cubicBezTo>
                        <a:pt x="40646" y="1781566"/>
                        <a:pt x="49421" y="1761596"/>
                        <a:pt x="49320" y="1747173"/>
                      </a:cubicBezTo>
                      <a:lnTo>
                        <a:pt x="49320" y="1747173"/>
                      </a:lnTo>
                      <a:cubicBezTo>
                        <a:pt x="49320" y="1739306"/>
                        <a:pt x="47000" y="1733759"/>
                        <a:pt x="42058" y="1730934"/>
                      </a:cubicBezTo>
                      <a:lnTo>
                        <a:pt x="42058" y="1730934"/>
                      </a:lnTo>
                      <a:cubicBezTo>
                        <a:pt x="23702" y="1719840"/>
                        <a:pt x="908" y="1698559"/>
                        <a:pt x="0" y="1687767"/>
                      </a:cubicBezTo>
                      <a:lnTo>
                        <a:pt x="0" y="1687767"/>
                      </a:lnTo>
                      <a:cubicBezTo>
                        <a:pt x="0" y="1679900"/>
                        <a:pt x="2521" y="1651862"/>
                        <a:pt x="2521" y="1651963"/>
                      </a:cubicBezTo>
                      <a:lnTo>
                        <a:pt x="2521" y="1651963"/>
                      </a:lnTo>
                      <a:lnTo>
                        <a:pt x="6052" y="1576218"/>
                      </a:lnTo>
                      <a:cubicBezTo>
                        <a:pt x="6455" y="1576218"/>
                        <a:pt x="7060" y="1576218"/>
                        <a:pt x="7363" y="1576319"/>
                      </a:cubicBezTo>
                      <a:lnTo>
                        <a:pt x="7363" y="1576319"/>
                      </a:lnTo>
                      <a:lnTo>
                        <a:pt x="30863" y="1553625"/>
                      </a:lnTo>
                      <a:cubicBezTo>
                        <a:pt x="30762" y="1553222"/>
                        <a:pt x="30863" y="1553524"/>
                        <a:pt x="31670" y="1552112"/>
                      </a:cubicBezTo>
                      <a:lnTo>
                        <a:pt x="31670" y="1552112"/>
                      </a:lnTo>
                      <a:cubicBezTo>
                        <a:pt x="32678" y="1549994"/>
                        <a:pt x="34090" y="1545254"/>
                        <a:pt x="34090" y="1535672"/>
                      </a:cubicBezTo>
                      <a:lnTo>
                        <a:pt x="34090" y="1535672"/>
                      </a:lnTo>
                      <a:cubicBezTo>
                        <a:pt x="34090" y="1533958"/>
                        <a:pt x="34090" y="1532243"/>
                        <a:pt x="33989" y="1530629"/>
                      </a:cubicBezTo>
                      <a:lnTo>
                        <a:pt x="33989" y="1530629"/>
                      </a:lnTo>
                      <a:cubicBezTo>
                        <a:pt x="33788" y="1528814"/>
                        <a:pt x="33788" y="1527301"/>
                        <a:pt x="33788" y="1525889"/>
                      </a:cubicBezTo>
                      <a:lnTo>
                        <a:pt x="33788" y="1525889"/>
                      </a:lnTo>
                      <a:cubicBezTo>
                        <a:pt x="33485" y="1504104"/>
                        <a:pt x="43773" y="1499464"/>
                        <a:pt x="63642" y="1489984"/>
                      </a:cubicBezTo>
                      <a:lnTo>
                        <a:pt x="63642" y="1489984"/>
                      </a:lnTo>
                      <a:cubicBezTo>
                        <a:pt x="83813" y="1479998"/>
                        <a:pt x="88050" y="1458818"/>
                        <a:pt x="91277" y="1436226"/>
                      </a:cubicBezTo>
                      <a:lnTo>
                        <a:pt x="91277" y="1436226"/>
                      </a:lnTo>
                      <a:cubicBezTo>
                        <a:pt x="91277" y="1435016"/>
                        <a:pt x="91378" y="1434007"/>
                        <a:pt x="91378" y="1432998"/>
                      </a:cubicBezTo>
                      <a:lnTo>
                        <a:pt x="91378" y="1432998"/>
                      </a:lnTo>
                      <a:cubicBezTo>
                        <a:pt x="91882" y="1420290"/>
                        <a:pt x="77359" y="1410608"/>
                        <a:pt x="77056" y="1392857"/>
                      </a:cubicBezTo>
                      <a:lnTo>
                        <a:pt x="77056" y="1392857"/>
                      </a:lnTo>
                      <a:cubicBezTo>
                        <a:pt x="77056" y="1385595"/>
                        <a:pt x="79678" y="1377425"/>
                        <a:pt x="86335" y="1367844"/>
                      </a:cubicBezTo>
                      <a:lnTo>
                        <a:pt x="86335" y="1367844"/>
                      </a:lnTo>
                      <a:cubicBezTo>
                        <a:pt x="110440" y="1332846"/>
                        <a:pt x="132932" y="1324575"/>
                        <a:pt x="144026" y="1314490"/>
                      </a:cubicBezTo>
                      <a:lnTo>
                        <a:pt x="144026" y="1314490"/>
                      </a:lnTo>
                      <a:cubicBezTo>
                        <a:pt x="156230" y="1303597"/>
                        <a:pt x="179024" y="1285341"/>
                        <a:pt x="179831" y="1264867"/>
                      </a:cubicBezTo>
                      <a:lnTo>
                        <a:pt x="179831" y="1264867"/>
                      </a:lnTo>
                      <a:cubicBezTo>
                        <a:pt x="179730" y="1263657"/>
                        <a:pt x="179831" y="1262446"/>
                        <a:pt x="179831" y="1261337"/>
                      </a:cubicBezTo>
                      <a:lnTo>
                        <a:pt x="179831" y="1261337"/>
                      </a:lnTo>
                      <a:cubicBezTo>
                        <a:pt x="179831" y="1246107"/>
                        <a:pt x="174889" y="1225230"/>
                        <a:pt x="174889" y="1211614"/>
                      </a:cubicBezTo>
                      <a:lnTo>
                        <a:pt x="174889" y="1211614"/>
                      </a:lnTo>
                      <a:cubicBezTo>
                        <a:pt x="174889" y="1205663"/>
                        <a:pt x="175595" y="1200217"/>
                        <a:pt x="180033" y="1197595"/>
                      </a:cubicBezTo>
                      <a:lnTo>
                        <a:pt x="180033" y="1197595"/>
                      </a:lnTo>
                      <a:cubicBezTo>
                        <a:pt x="183361" y="1195275"/>
                        <a:pt x="186588" y="1194064"/>
                        <a:pt x="189917" y="1194064"/>
                      </a:cubicBezTo>
                      <a:lnTo>
                        <a:pt x="189917" y="1194064"/>
                      </a:lnTo>
                      <a:cubicBezTo>
                        <a:pt x="197078" y="1194266"/>
                        <a:pt x="201717" y="1200419"/>
                        <a:pt x="206760" y="1212824"/>
                      </a:cubicBezTo>
                      <a:lnTo>
                        <a:pt x="206760" y="1212824"/>
                      </a:lnTo>
                      <a:cubicBezTo>
                        <a:pt x="212408" y="1226642"/>
                        <a:pt x="221788" y="1238442"/>
                        <a:pt x="233488" y="1238241"/>
                      </a:cubicBezTo>
                      <a:lnTo>
                        <a:pt x="233488" y="1238241"/>
                      </a:lnTo>
                      <a:cubicBezTo>
                        <a:pt x="236917" y="1238241"/>
                        <a:pt x="240649" y="1237333"/>
                        <a:pt x="244885" y="1235215"/>
                      </a:cubicBezTo>
                      <a:lnTo>
                        <a:pt x="244885" y="1235215"/>
                      </a:lnTo>
                      <a:cubicBezTo>
                        <a:pt x="264048" y="1225230"/>
                        <a:pt x="275848" y="1197998"/>
                        <a:pt x="275848" y="1171775"/>
                      </a:cubicBezTo>
                      <a:lnTo>
                        <a:pt x="275848" y="1171775"/>
                      </a:lnTo>
                      <a:cubicBezTo>
                        <a:pt x="275848" y="1164311"/>
                        <a:pt x="275949" y="1158360"/>
                        <a:pt x="275949" y="1153015"/>
                      </a:cubicBezTo>
                      <a:lnTo>
                        <a:pt x="275949" y="1153015"/>
                      </a:lnTo>
                      <a:cubicBezTo>
                        <a:pt x="275949" y="1138693"/>
                        <a:pt x="274537" y="1129111"/>
                        <a:pt x="262031" y="1107326"/>
                      </a:cubicBezTo>
                      <a:lnTo>
                        <a:pt x="262031" y="1107326"/>
                      </a:lnTo>
                      <a:cubicBezTo>
                        <a:pt x="250634" y="1087255"/>
                        <a:pt x="243372" y="1069101"/>
                        <a:pt x="243372" y="1053165"/>
                      </a:cubicBezTo>
                      <a:lnTo>
                        <a:pt x="243372" y="1053165"/>
                      </a:lnTo>
                      <a:cubicBezTo>
                        <a:pt x="243372" y="1044592"/>
                        <a:pt x="245591" y="1036624"/>
                        <a:pt x="250331" y="1029766"/>
                      </a:cubicBezTo>
                      <a:lnTo>
                        <a:pt x="250331" y="1029766"/>
                      </a:lnTo>
                      <a:cubicBezTo>
                        <a:pt x="261829" y="1013830"/>
                        <a:pt x="280589" y="1007779"/>
                        <a:pt x="280589" y="981555"/>
                      </a:cubicBezTo>
                      <a:lnTo>
                        <a:pt x="280589" y="981555"/>
                      </a:lnTo>
                      <a:cubicBezTo>
                        <a:pt x="280589" y="975403"/>
                        <a:pt x="279580" y="967839"/>
                        <a:pt x="276958" y="958761"/>
                      </a:cubicBezTo>
                      <a:lnTo>
                        <a:pt x="276958" y="958761"/>
                      </a:lnTo>
                      <a:cubicBezTo>
                        <a:pt x="263241" y="911055"/>
                        <a:pt x="235908" y="896834"/>
                        <a:pt x="223099" y="894918"/>
                      </a:cubicBezTo>
                      <a:lnTo>
                        <a:pt x="223099" y="894918"/>
                      </a:lnTo>
                      <a:cubicBezTo>
                        <a:pt x="211198" y="892396"/>
                        <a:pt x="194657" y="870913"/>
                        <a:pt x="194153" y="849330"/>
                      </a:cubicBezTo>
                      <a:lnTo>
                        <a:pt x="194153" y="849330"/>
                      </a:lnTo>
                      <a:cubicBezTo>
                        <a:pt x="194052" y="838639"/>
                        <a:pt x="198994" y="827746"/>
                        <a:pt x="211198" y="820686"/>
                      </a:cubicBezTo>
                      <a:lnTo>
                        <a:pt x="211198" y="820686"/>
                      </a:lnTo>
                      <a:cubicBezTo>
                        <a:pt x="248011" y="799405"/>
                        <a:pt x="279076" y="818971"/>
                        <a:pt x="294205" y="775602"/>
                      </a:cubicBezTo>
                      <a:lnTo>
                        <a:pt x="294205" y="775602"/>
                      </a:lnTo>
                      <a:cubicBezTo>
                        <a:pt x="303080" y="750791"/>
                        <a:pt x="309031" y="708632"/>
                        <a:pt x="309031" y="664456"/>
                      </a:cubicBezTo>
                      <a:lnTo>
                        <a:pt x="309031" y="664456"/>
                      </a:lnTo>
                      <a:cubicBezTo>
                        <a:pt x="309031" y="629256"/>
                        <a:pt x="305198" y="592746"/>
                        <a:pt x="296423" y="562488"/>
                      </a:cubicBezTo>
                      <a:lnTo>
                        <a:pt x="296423" y="562488"/>
                      </a:lnTo>
                      <a:cubicBezTo>
                        <a:pt x="275848" y="493904"/>
                        <a:pt x="247406" y="463546"/>
                        <a:pt x="204541" y="432280"/>
                      </a:cubicBezTo>
                      <a:lnTo>
                        <a:pt x="204541" y="432280"/>
                      </a:lnTo>
                      <a:cubicBezTo>
                        <a:pt x="161071" y="400610"/>
                        <a:pt x="123753" y="359359"/>
                        <a:pt x="118105" y="316091"/>
                      </a:cubicBezTo>
                      <a:lnTo>
                        <a:pt x="118105" y="316091"/>
                      </a:lnTo>
                      <a:lnTo>
                        <a:pt x="119013" y="310947"/>
                      </a:lnTo>
                      <a:cubicBezTo>
                        <a:pt x="146144" y="295213"/>
                        <a:pt x="152700" y="270200"/>
                        <a:pt x="153406" y="268990"/>
                      </a:cubicBezTo>
                      <a:lnTo>
                        <a:pt x="153406" y="268990"/>
                      </a:lnTo>
                      <a:cubicBezTo>
                        <a:pt x="153708" y="268889"/>
                        <a:pt x="200003" y="221586"/>
                        <a:pt x="233891" y="221183"/>
                      </a:cubicBezTo>
                      <a:lnTo>
                        <a:pt x="233891" y="221183"/>
                      </a:lnTo>
                      <a:cubicBezTo>
                        <a:pt x="239035" y="221183"/>
                        <a:pt x="244179" y="222494"/>
                        <a:pt x="248616" y="225419"/>
                      </a:cubicBezTo>
                      <a:lnTo>
                        <a:pt x="248616" y="225419"/>
                      </a:lnTo>
                      <a:cubicBezTo>
                        <a:pt x="257593" y="231168"/>
                        <a:pt x="267275" y="233588"/>
                        <a:pt x="276958" y="233588"/>
                      </a:cubicBezTo>
                      <a:lnTo>
                        <a:pt x="276958" y="233588"/>
                      </a:lnTo>
                      <a:cubicBezTo>
                        <a:pt x="296928" y="233588"/>
                        <a:pt x="316393" y="222998"/>
                        <a:pt x="326378" y="212005"/>
                      </a:cubicBezTo>
                      <a:lnTo>
                        <a:pt x="326378" y="212005"/>
                      </a:lnTo>
                      <a:cubicBezTo>
                        <a:pt x="329908" y="207869"/>
                        <a:pt x="331421" y="202221"/>
                        <a:pt x="331421" y="195161"/>
                      </a:cubicBezTo>
                      <a:lnTo>
                        <a:pt x="331421" y="195161"/>
                      </a:lnTo>
                      <a:cubicBezTo>
                        <a:pt x="331522" y="175998"/>
                        <a:pt x="320529" y="149271"/>
                        <a:pt x="320428" y="130814"/>
                      </a:cubicBezTo>
                      <a:lnTo>
                        <a:pt x="320428" y="130814"/>
                      </a:lnTo>
                      <a:cubicBezTo>
                        <a:pt x="321033" y="105094"/>
                        <a:pt x="358653" y="82906"/>
                        <a:pt x="398190" y="82704"/>
                      </a:cubicBezTo>
                      <a:lnTo>
                        <a:pt x="398190" y="82704"/>
                      </a:lnTo>
                      <a:cubicBezTo>
                        <a:pt x="400913" y="82704"/>
                        <a:pt x="403737" y="82805"/>
                        <a:pt x="406460" y="83208"/>
                      </a:cubicBezTo>
                      <a:lnTo>
                        <a:pt x="406460" y="83208"/>
                      </a:lnTo>
                      <a:cubicBezTo>
                        <a:pt x="412411" y="83511"/>
                        <a:pt x="417454" y="83914"/>
                        <a:pt x="421589" y="83914"/>
                      </a:cubicBezTo>
                      <a:lnTo>
                        <a:pt x="421589" y="83914"/>
                      </a:lnTo>
                      <a:cubicBezTo>
                        <a:pt x="444988" y="83914"/>
                        <a:pt x="441760" y="76350"/>
                        <a:pt x="470707" y="60918"/>
                      </a:cubicBezTo>
                      <a:lnTo>
                        <a:pt x="470707" y="60918"/>
                      </a:lnTo>
                      <a:cubicBezTo>
                        <a:pt x="502376" y="44781"/>
                        <a:pt x="503889" y="13414"/>
                        <a:pt x="535055" y="2017"/>
                      </a:cubicBezTo>
                      <a:lnTo>
                        <a:pt x="535055" y="2017"/>
                      </a:lnTo>
                      <a:cubicBezTo>
                        <a:pt x="539291" y="403"/>
                        <a:pt x="544233" y="0"/>
                        <a:pt x="549881" y="0"/>
                      </a:cubicBezTo>
                      <a:lnTo>
                        <a:pt x="549881" y="0"/>
                      </a:lnTo>
                      <a:cubicBezTo>
                        <a:pt x="559362" y="0"/>
                        <a:pt x="570759" y="1714"/>
                        <a:pt x="579029" y="6959"/>
                      </a:cubicBezTo>
                      <a:lnTo>
                        <a:pt x="579029" y="6959"/>
                      </a:lnTo>
                      <a:lnTo>
                        <a:pt x="579029" y="6858"/>
                      </a:lnTo>
                      <a:cubicBezTo>
                        <a:pt x="579029" y="5345"/>
                        <a:pt x="580038" y="4236"/>
                        <a:pt x="581551" y="4034"/>
                      </a:cubicBezTo>
                      <a:lnTo>
                        <a:pt x="581551" y="4034"/>
                      </a:lnTo>
                      <a:cubicBezTo>
                        <a:pt x="582962" y="3933"/>
                        <a:pt x="584173" y="4841"/>
                        <a:pt x="584576" y="6253"/>
                      </a:cubicBezTo>
                      <a:lnTo>
                        <a:pt x="584576" y="6253"/>
                      </a:lnTo>
                      <a:cubicBezTo>
                        <a:pt x="585585" y="11195"/>
                        <a:pt x="587400" y="16036"/>
                        <a:pt x="590628" y="20575"/>
                      </a:cubicBezTo>
                      <a:lnTo>
                        <a:pt x="590628" y="20575"/>
                      </a:lnTo>
                      <a:cubicBezTo>
                        <a:pt x="603941" y="39133"/>
                        <a:pt x="611506" y="54060"/>
                        <a:pt x="642973" y="61523"/>
                      </a:cubicBezTo>
                      <a:lnTo>
                        <a:pt x="642973" y="61523"/>
                      </a:lnTo>
                      <a:cubicBezTo>
                        <a:pt x="675752" y="68382"/>
                        <a:pt x="671819" y="78871"/>
                        <a:pt x="676257" y="93597"/>
                      </a:cubicBezTo>
                      <a:lnTo>
                        <a:pt x="676257" y="93597"/>
                      </a:lnTo>
                      <a:cubicBezTo>
                        <a:pt x="677770" y="98539"/>
                        <a:pt x="684224" y="101262"/>
                        <a:pt x="693100" y="101262"/>
                      </a:cubicBezTo>
                      <a:lnTo>
                        <a:pt x="693100" y="101262"/>
                      </a:lnTo>
                      <a:cubicBezTo>
                        <a:pt x="704699" y="101363"/>
                        <a:pt x="718819" y="96219"/>
                        <a:pt x="723257" y="90470"/>
                      </a:cubicBezTo>
                      <a:lnTo>
                        <a:pt x="723257" y="90470"/>
                      </a:lnTo>
                      <a:cubicBezTo>
                        <a:pt x="728199" y="84419"/>
                        <a:pt x="734553" y="81191"/>
                        <a:pt x="740806" y="81191"/>
                      </a:cubicBezTo>
                      <a:lnTo>
                        <a:pt x="740806" y="81191"/>
                      </a:lnTo>
                      <a:cubicBezTo>
                        <a:pt x="747866" y="81191"/>
                        <a:pt x="754825" y="85427"/>
                        <a:pt x="759162" y="92992"/>
                      </a:cubicBezTo>
                      <a:lnTo>
                        <a:pt x="759162" y="92992"/>
                      </a:lnTo>
                      <a:cubicBezTo>
                        <a:pt x="762491" y="98942"/>
                        <a:pt x="765920" y="101867"/>
                        <a:pt x="767735" y="101564"/>
                      </a:cubicBezTo>
                      <a:lnTo>
                        <a:pt x="767735" y="101564"/>
                      </a:lnTo>
                      <a:cubicBezTo>
                        <a:pt x="769652" y="101867"/>
                        <a:pt x="774594" y="98135"/>
                        <a:pt x="780141" y="85730"/>
                      </a:cubicBezTo>
                      <a:lnTo>
                        <a:pt x="780141" y="85730"/>
                      </a:lnTo>
                      <a:cubicBezTo>
                        <a:pt x="783268" y="78367"/>
                        <a:pt x="789924" y="75038"/>
                        <a:pt x="796884" y="75139"/>
                      </a:cubicBezTo>
                      <a:lnTo>
                        <a:pt x="796884" y="75139"/>
                      </a:lnTo>
                      <a:cubicBezTo>
                        <a:pt x="816551" y="75543"/>
                        <a:pt x="842875" y="96421"/>
                        <a:pt x="850137" y="116088"/>
                      </a:cubicBezTo>
                      <a:lnTo>
                        <a:pt x="850137" y="116088"/>
                      </a:lnTo>
                      <a:cubicBezTo>
                        <a:pt x="855482" y="132124"/>
                        <a:pt x="865669" y="138681"/>
                        <a:pt x="869603" y="138479"/>
                      </a:cubicBezTo>
                      <a:lnTo>
                        <a:pt x="869603" y="138479"/>
                      </a:lnTo>
                      <a:cubicBezTo>
                        <a:pt x="871418" y="138075"/>
                        <a:pt x="871317" y="138378"/>
                        <a:pt x="871620" y="136562"/>
                      </a:cubicBezTo>
                      <a:lnTo>
                        <a:pt x="871620" y="136562"/>
                      </a:lnTo>
                      <a:cubicBezTo>
                        <a:pt x="871418" y="125871"/>
                        <a:pt x="876058" y="112155"/>
                        <a:pt x="904701" y="101564"/>
                      </a:cubicBezTo>
                      <a:lnTo>
                        <a:pt x="904701" y="101564"/>
                      </a:lnTo>
                      <a:cubicBezTo>
                        <a:pt x="914989" y="97227"/>
                        <a:pt x="916502" y="93193"/>
                        <a:pt x="916704" y="87545"/>
                      </a:cubicBezTo>
                      <a:lnTo>
                        <a:pt x="916704" y="87545"/>
                      </a:lnTo>
                      <a:cubicBezTo>
                        <a:pt x="916804" y="81494"/>
                        <a:pt x="913476" y="73526"/>
                        <a:pt x="913375" y="65155"/>
                      </a:cubicBezTo>
                      <a:lnTo>
                        <a:pt x="913375" y="65155"/>
                      </a:lnTo>
                      <a:cubicBezTo>
                        <a:pt x="913375" y="61523"/>
                        <a:pt x="914182" y="57691"/>
                        <a:pt x="916099" y="54161"/>
                      </a:cubicBezTo>
                      <a:lnTo>
                        <a:pt x="916099" y="54161"/>
                      </a:lnTo>
                      <a:cubicBezTo>
                        <a:pt x="918620" y="49320"/>
                        <a:pt x="922957" y="46798"/>
                        <a:pt x="927495" y="47000"/>
                      </a:cubicBezTo>
                      <a:lnTo>
                        <a:pt x="927495" y="47000"/>
                      </a:lnTo>
                      <a:cubicBezTo>
                        <a:pt x="941716" y="47403"/>
                        <a:pt x="957350" y="66970"/>
                        <a:pt x="964511" y="85931"/>
                      </a:cubicBezTo>
                      <a:lnTo>
                        <a:pt x="964511" y="85931"/>
                      </a:lnTo>
                      <a:cubicBezTo>
                        <a:pt x="972075" y="107818"/>
                        <a:pt x="992348" y="103380"/>
                        <a:pt x="1010098" y="120526"/>
                      </a:cubicBezTo>
                      <a:lnTo>
                        <a:pt x="1010098" y="120526"/>
                      </a:lnTo>
                      <a:cubicBezTo>
                        <a:pt x="1021899" y="132730"/>
                        <a:pt x="1023311" y="158146"/>
                        <a:pt x="1023412" y="174687"/>
                      </a:cubicBezTo>
                      <a:lnTo>
                        <a:pt x="1023412" y="174687"/>
                      </a:lnTo>
                      <a:cubicBezTo>
                        <a:pt x="1023412" y="183159"/>
                        <a:pt x="1022908" y="189210"/>
                        <a:pt x="1022908" y="189009"/>
                      </a:cubicBezTo>
                      <a:lnTo>
                        <a:pt x="1022908" y="189009"/>
                      </a:lnTo>
                      <a:cubicBezTo>
                        <a:pt x="1022706" y="212106"/>
                        <a:pt x="1046912" y="243069"/>
                        <a:pt x="1077472" y="261224"/>
                      </a:cubicBezTo>
                      <a:lnTo>
                        <a:pt x="1077472" y="261224"/>
                      </a:lnTo>
                      <a:cubicBezTo>
                        <a:pt x="1107024" y="279580"/>
                        <a:pt x="1146359" y="263039"/>
                        <a:pt x="1161992" y="280488"/>
                      </a:cubicBezTo>
                      <a:lnTo>
                        <a:pt x="1161992" y="280488"/>
                      </a:lnTo>
                      <a:cubicBezTo>
                        <a:pt x="1166530" y="286236"/>
                        <a:pt x="1167539" y="295213"/>
                        <a:pt x="1167640" y="305803"/>
                      </a:cubicBezTo>
                      <a:lnTo>
                        <a:pt x="1167640" y="305803"/>
                      </a:lnTo>
                      <a:cubicBezTo>
                        <a:pt x="1167539" y="323958"/>
                        <a:pt x="1164210" y="347357"/>
                        <a:pt x="1164210" y="367730"/>
                      </a:cubicBezTo>
                      <a:lnTo>
                        <a:pt x="1164210" y="367730"/>
                      </a:lnTo>
                      <a:cubicBezTo>
                        <a:pt x="1164210" y="374790"/>
                        <a:pt x="1164715" y="381447"/>
                        <a:pt x="1165824" y="387498"/>
                      </a:cubicBezTo>
                      <a:lnTo>
                        <a:pt x="1165824" y="387498"/>
                      </a:lnTo>
                      <a:cubicBezTo>
                        <a:pt x="1166329" y="390827"/>
                        <a:pt x="1166631" y="394054"/>
                        <a:pt x="1166631" y="396979"/>
                      </a:cubicBezTo>
                      <a:lnTo>
                        <a:pt x="1166631" y="396979"/>
                      </a:lnTo>
                      <a:cubicBezTo>
                        <a:pt x="1166430" y="424614"/>
                        <a:pt x="1139702" y="425926"/>
                        <a:pt x="1127296" y="433792"/>
                      </a:cubicBezTo>
                      <a:lnTo>
                        <a:pt x="1127296" y="433792"/>
                      </a:lnTo>
                      <a:cubicBezTo>
                        <a:pt x="1115092" y="440853"/>
                        <a:pt x="1100468" y="446501"/>
                        <a:pt x="1095022" y="456587"/>
                      </a:cubicBezTo>
                      <a:lnTo>
                        <a:pt x="1095022" y="456587"/>
                      </a:lnTo>
                      <a:cubicBezTo>
                        <a:pt x="1067689" y="458906"/>
                        <a:pt x="1043180" y="466168"/>
                        <a:pt x="1042575" y="475044"/>
                      </a:cubicBezTo>
                      <a:lnTo>
                        <a:pt x="1042575" y="475044"/>
                      </a:lnTo>
                      <a:cubicBezTo>
                        <a:pt x="1039549" y="491988"/>
                        <a:pt x="1033397" y="544233"/>
                        <a:pt x="1033397" y="585484"/>
                      </a:cubicBezTo>
                      <a:lnTo>
                        <a:pt x="1033397" y="585484"/>
                      </a:lnTo>
                      <a:cubicBezTo>
                        <a:pt x="1033195" y="610900"/>
                        <a:pt x="1036221" y="632887"/>
                        <a:pt x="1041768" y="637930"/>
                      </a:cubicBezTo>
                      <a:lnTo>
                        <a:pt x="1041768" y="637930"/>
                      </a:lnTo>
                      <a:cubicBezTo>
                        <a:pt x="1060125" y="655883"/>
                        <a:pt x="1063150" y="670306"/>
                        <a:pt x="1062949" y="693302"/>
                      </a:cubicBezTo>
                      <a:lnTo>
                        <a:pt x="1062949" y="693302"/>
                      </a:lnTo>
                      <a:cubicBezTo>
                        <a:pt x="1062949" y="713574"/>
                        <a:pt x="1048122" y="716398"/>
                        <a:pt x="1037028" y="716398"/>
                      </a:cubicBezTo>
                      <a:lnTo>
                        <a:pt x="1037028" y="716398"/>
                      </a:lnTo>
                      <a:cubicBezTo>
                        <a:pt x="1034405" y="716398"/>
                        <a:pt x="1031985" y="716398"/>
                        <a:pt x="1029665" y="716398"/>
                      </a:cubicBezTo>
                      <a:lnTo>
                        <a:pt x="1029665" y="716398"/>
                      </a:lnTo>
                      <a:cubicBezTo>
                        <a:pt x="1018672" y="716398"/>
                        <a:pt x="987607" y="723458"/>
                        <a:pt x="987506" y="737175"/>
                      </a:cubicBezTo>
                      <a:lnTo>
                        <a:pt x="987506" y="737175"/>
                      </a:lnTo>
                      <a:cubicBezTo>
                        <a:pt x="987506" y="738890"/>
                        <a:pt x="988010" y="740806"/>
                        <a:pt x="989019" y="743025"/>
                      </a:cubicBezTo>
                      <a:lnTo>
                        <a:pt x="989019" y="743025"/>
                      </a:lnTo>
                      <a:cubicBezTo>
                        <a:pt x="998903" y="765617"/>
                        <a:pt x="1017159" y="790933"/>
                        <a:pt x="1017260" y="812920"/>
                      </a:cubicBezTo>
                      <a:lnTo>
                        <a:pt x="1017260" y="812920"/>
                      </a:lnTo>
                      <a:cubicBezTo>
                        <a:pt x="1017260" y="819980"/>
                        <a:pt x="1017965" y="827343"/>
                        <a:pt x="1017965" y="834504"/>
                      </a:cubicBezTo>
                      <a:lnTo>
                        <a:pt x="1017965" y="834504"/>
                      </a:lnTo>
                      <a:cubicBezTo>
                        <a:pt x="1017965" y="846607"/>
                        <a:pt x="1015646" y="858911"/>
                        <a:pt x="1003139" y="866173"/>
                      </a:cubicBezTo>
                      <a:lnTo>
                        <a:pt x="1003139" y="866173"/>
                      </a:lnTo>
                      <a:cubicBezTo>
                        <a:pt x="993658" y="871317"/>
                        <a:pt x="987002" y="879688"/>
                        <a:pt x="987103" y="886950"/>
                      </a:cubicBezTo>
                      <a:lnTo>
                        <a:pt x="987103" y="886950"/>
                      </a:lnTo>
                      <a:cubicBezTo>
                        <a:pt x="987103" y="892699"/>
                        <a:pt x="990834" y="898851"/>
                        <a:pt x="1002938" y="904399"/>
                      </a:cubicBezTo>
                      <a:lnTo>
                        <a:pt x="1002938" y="904399"/>
                      </a:lnTo>
                      <a:cubicBezTo>
                        <a:pt x="1032792" y="918418"/>
                        <a:pt x="1057502" y="977017"/>
                        <a:pt x="1070412" y="1002332"/>
                      </a:cubicBezTo>
                      <a:lnTo>
                        <a:pt x="1070412" y="1002332"/>
                      </a:lnTo>
                      <a:cubicBezTo>
                        <a:pt x="1081507" y="1026034"/>
                        <a:pt x="1114588" y="1023714"/>
                        <a:pt x="1131331" y="1050543"/>
                      </a:cubicBezTo>
                      <a:lnTo>
                        <a:pt x="1131331" y="1050543"/>
                      </a:lnTo>
                      <a:cubicBezTo>
                        <a:pt x="1137079" y="1060023"/>
                        <a:pt x="1138391" y="1068294"/>
                        <a:pt x="1138391" y="1075152"/>
                      </a:cubicBezTo>
                      <a:lnTo>
                        <a:pt x="1138391" y="1075152"/>
                      </a:lnTo>
                      <a:cubicBezTo>
                        <a:pt x="1138391" y="1080397"/>
                        <a:pt x="1137785" y="1084935"/>
                        <a:pt x="1137785" y="1088869"/>
                      </a:cubicBezTo>
                      <a:lnTo>
                        <a:pt x="1137785" y="1088869"/>
                      </a:lnTo>
                      <a:cubicBezTo>
                        <a:pt x="1137785" y="1094114"/>
                        <a:pt x="1138693" y="1098148"/>
                        <a:pt x="1143635" y="1103191"/>
                      </a:cubicBezTo>
                      <a:lnTo>
                        <a:pt x="1143635" y="1103191"/>
                      </a:lnTo>
                      <a:cubicBezTo>
                        <a:pt x="1153721" y="1113378"/>
                        <a:pt x="1168547" y="1126590"/>
                        <a:pt x="1168547" y="1146964"/>
                      </a:cubicBezTo>
                      <a:lnTo>
                        <a:pt x="1168547" y="1146964"/>
                      </a:lnTo>
                      <a:cubicBezTo>
                        <a:pt x="1168547" y="1156747"/>
                        <a:pt x="1165219" y="1167841"/>
                        <a:pt x="1156747" y="1180549"/>
                      </a:cubicBezTo>
                      <a:lnTo>
                        <a:pt x="1156747" y="1180549"/>
                      </a:lnTo>
                      <a:cubicBezTo>
                        <a:pt x="1138492" y="1207075"/>
                        <a:pt x="1123867" y="1216959"/>
                        <a:pt x="1124270" y="1228961"/>
                      </a:cubicBezTo>
                      <a:lnTo>
                        <a:pt x="1124270" y="1228961"/>
                      </a:lnTo>
                      <a:cubicBezTo>
                        <a:pt x="1124270" y="1234206"/>
                        <a:pt x="1126893" y="1241065"/>
                        <a:pt x="1133852" y="1250949"/>
                      </a:cubicBezTo>
                      <a:lnTo>
                        <a:pt x="1133852" y="1250949"/>
                      </a:lnTo>
                      <a:cubicBezTo>
                        <a:pt x="1142223" y="1263052"/>
                        <a:pt x="1154024" y="1267086"/>
                        <a:pt x="1167136" y="1267086"/>
                      </a:cubicBezTo>
                      <a:lnTo>
                        <a:pt x="1167136" y="1267086"/>
                      </a:lnTo>
                      <a:cubicBezTo>
                        <a:pt x="1187005" y="1267187"/>
                        <a:pt x="1208790" y="1257202"/>
                        <a:pt x="1219582" y="1252663"/>
                      </a:cubicBezTo>
                      <a:lnTo>
                        <a:pt x="1219582" y="1252663"/>
                      </a:lnTo>
                      <a:cubicBezTo>
                        <a:pt x="1239047" y="1244796"/>
                        <a:pt x="1263859" y="1254479"/>
                        <a:pt x="1279795" y="1240358"/>
                      </a:cubicBezTo>
                      <a:lnTo>
                        <a:pt x="1279795" y="1240358"/>
                      </a:lnTo>
                      <a:cubicBezTo>
                        <a:pt x="1294116" y="1228155"/>
                        <a:pt x="1316708" y="1219380"/>
                        <a:pt x="1331031" y="1219279"/>
                      </a:cubicBezTo>
                      <a:lnTo>
                        <a:pt x="1331031" y="1219279"/>
                      </a:lnTo>
                      <a:cubicBezTo>
                        <a:pt x="1335569" y="1219279"/>
                        <a:pt x="1339301" y="1220086"/>
                        <a:pt x="1342024" y="1222708"/>
                      </a:cubicBezTo>
                      <a:lnTo>
                        <a:pt x="1342024" y="1222708"/>
                      </a:lnTo>
                      <a:cubicBezTo>
                        <a:pt x="1345454" y="1226137"/>
                        <a:pt x="1353522" y="1229667"/>
                        <a:pt x="1359876" y="1229567"/>
                      </a:cubicBezTo>
                      <a:lnTo>
                        <a:pt x="1359876" y="1229567"/>
                      </a:lnTo>
                      <a:cubicBezTo>
                        <a:pt x="1365020" y="1229466"/>
                        <a:pt x="1368752" y="1227852"/>
                        <a:pt x="1370466" y="1223717"/>
                      </a:cubicBezTo>
                      <a:lnTo>
                        <a:pt x="1370466" y="1223717"/>
                      </a:lnTo>
                      <a:cubicBezTo>
                        <a:pt x="1372181" y="1218876"/>
                        <a:pt x="1377123" y="1217161"/>
                        <a:pt x="1381863" y="1217161"/>
                      </a:cubicBezTo>
                      <a:lnTo>
                        <a:pt x="1381863" y="1217161"/>
                      </a:lnTo>
                      <a:cubicBezTo>
                        <a:pt x="1396185" y="1217464"/>
                        <a:pt x="1418777" y="1231180"/>
                        <a:pt x="1419181" y="1252663"/>
                      </a:cubicBezTo>
                      <a:lnTo>
                        <a:pt x="1419181" y="1252663"/>
                      </a:lnTo>
                      <a:cubicBezTo>
                        <a:pt x="1419181" y="1266380"/>
                        <a:pt x="1415651" y="1282618"/>
                        <a:pt x="1415651" y="1295730"/>
                      </a:cubicBezTo>
                      <a:lnTo>
                        <a:pt x="1415651" y="1295730"/>
                      </a:lnTo>
                      <a:cubicBezTo>
                        <a:pt x="1415752" y="1307530"/>
                        <a:pt x="1418273" y="1315599"/>
                        <a:pt x="1427452" y="1318726"/>
                      </a:cubicBezTo>
                      <a:lnTo>
                        <a:pt x="1427452" y="1318726"/>
                      </a:lnTo>
                      <a:lnTo>
                        <a:pt x="1426645" y="1321449"/>
                      </a:lnTo>
                      <a:lnTo>
                        <a:pt x="1425737" y="1323970"/>
                      </a:lnTo>
                      <a:cubicBezTo>
                        <a:pt x="1413230" y="1319835"/>
                        <a:pt x="1410003" y="1308034"/>
                        <a:pt x="1410205" y="1295730"/>
                      </a:cubicBezTo>
                      <a:lnTo>
                        <a:pt x="1410205" y="1295730"/>
                      </a:lnTo>
                      <a:cubicBezTo>
                        <a:pt x="1410205" y="1281711"/>
                        <a:pt x="1413734" y="1265573"/>
                        <a:pt x="1413734" y="1252663"/>
                      </a:cubicBezTo>
                      <a:lnTo>
                        <a:pt x="1413734" y="1252663"/>
                      </a:lnTo>
                      <a:cubicBezTo>
                        <a:pt x="1413734" y="1235719"/>
                        <a:pt x="1393361" y="1222910"/>
                        <a:pt x="1381964" y="1222910"/>
                      </a:cubicBezTo>
                      <a:lnTo>
                        <a:pt x="1381964" y="1222910"/>
                      </a:lnTo>
                      <a:cubicBezTo>
                        <a:pt x="1378233" y="1222910"/>
                        <a:pt x="1376518" y="1223918"/>
                        <a:pt x="1375811" y="1225734"/>
                      </a:cubicBezTo>
                      <a:lnTo>
                        <a:pt x="1375811" y="1225734"/>
                      </a:lnTo>
                      <a:cubicBezTo>
                        <a:pt x="1373089" y="1232794"/>
                        <a:pt x="1366432" y="1235316"/>
                        <a:pt x="1360078" y="1235316"/>
                      </a:cubicBezTo>
                      <a:lnTo>
                        <a:pt x="1360078" y="1235316"/>
                      </a:lnTo>
                      <a:cubicBezTo>
                        <a:pt x="1351808" y="1235114"/>
                        <a:pt x="1343234" y="1231382"/>
                        <a:pt x="1338292" y="1226742"/>
                      </a:cubicBezTo>
                      <a:lnTo>
                        <a:pt x="1338292" y="1226742"/>
                      </a:lnTo>
                      <a:cubicBezTo>
                        <a:pt x="1337384" y="1225734"/>
                        <a:pt x="1334863" y="1224826"/>
                        <a:pt x="1331131" y="1224826"/>
                      </a:cubicBezTo>
                      <a:lnTo>
                        <a:pt x="1331131" y="1224826"/>
                      </a:lnTo>
                      <a:cubicBezTo>
                        <a:pt x="1319029" y="1224725"/>
                        <a:pt x="1296335" y="1233299"/>
                        <a:pt x="1283425" y="1244695"/>
                      </a:cubicBezTo>
                      <a:lnTo>
                        <a:pt x="1283425" y="1244695"/>
                      </a:lnTo>
                      <a:cubicBezTo>
                        <a:pt x="1263960" y="1260934"/>
                        <a:pt x="1237837" y="1250545"/>
                        <a:pt x="1221801" y="1257807"/>
                      </a:cubicBezTo>
                      <a:lnTo>
                        <a:pt x="1221801" y="1257807"/>
                      </a:lnTo>
                      <a:cubicBezTo>
                        <a:pt x="1211009" y="1262245"/>
                        <a:pt x="1188719" y="1272734"/>
                        <a:pt x="1167236" y="1272734"/>
                      </a:cubicBezTo>
                      <a:lnTo>
                        <a:pt x="1167236" y="1272734"/>
                      </a:lnTo>
                      <a:cubicBezTo>
                        <a:pt x="1153015" y="1272835"/>
                        <a:pt x="1138895" y="1268095"/>
                        <a:pt x="1129414" y="1254176"/>
                      </a:cubicBezTo>
                      <a:lnTo>
                        <a:pt x="1129414" y="1254176"/>
                      </a:lnTo>
                      <a:cubicBezTo>
                        <a:pt x="1122253" y="1243889"/>
                        <a:pt x="1118824" y="1236123"/>
                        <a:pt x="1118824" y="1228961"/>
                      </a:cubicBezTo>
                      <a:lnTo>
                        <a:pt x="1118824" y="1228961"/>
                      </a:lnTo>
                      <a:cubicBezTo>
                        <a:pt x="1119329" y="1212219"/>
                        <a:pt x="1134861" y="1203344"/>
                        <a:pt x="1152108" y="1177423"/>
                      </a:cubicBezTo>
                      <a:lnTo>
                        <a:pt x="1152108" y="1177423"/>
                      </a:lnTo>
                      <a:cubicBezTo>
                        <a:pt x="1160176" y="1165219"/>
                        <a:pt x="1163101" y="1155234"/>
                        <a:pt x="1163101" y="1146863"/>
                      </a:cubicBezTo>
                      <a:lnTo>
                        <a:pt x="1163101" y="1146863"/>
                      </a:lnTo>
                      <a:cubicBezTo>
                        <a:pt x="1163101" y="1129414"/>
                        <a:pt x="1150191" y="1117412"/>
                        <a:pt x="1139803" y="1107124"/>
                      </a:cubicBezTo>
                      <a:lnTo>
                        <a:pt x="1139803" y="1107124"/>
                      </a:lnTo>
                      <a:cubicBezTo>
                        <a:pt x="1133751" y="1101174"/>
                        <a:pt x="1132238" y="1094719"/>
                        <a:pt x="1132238" y="1088768"/>
                      </a:cubicBezTo>
                      <a:lnTo>
                        <a:pt x="1132238" y="1088768"/>
                      </a:lnTo>
                      <a:cubicBezTo>
                        <a:pt x="1132238" y="1084230"/>
                        <a:pt x="1132944" y="1079691"/>
                        <a:pt x="1132944" y="1075051"/>
                      </a:cubicBezTo>
                      <a:lnTo>
                        <a:pt x="1132944" y="1075051"/>
                      </a:lnTo>
                      <a:cubicBezTo>
                        <a:pt x="1132844" y="1068899"/>
                        <a:pt x="1131936" y="1062041"/>
                        <a:pt x="1126590" y="1053266"/>
                      </a:cubicBezTo>
                      <a:lnTo>
                        <a:pt x="1126590" y="1053266"/>
                      </a:lnTo>
                      <a:cubicBezTo>
                        <a:pt x="1112974" y="1029262"/>
                        <a:pt x="1079792" y="1031985"/>
                        <a:pt x="1065571" y="1004753"/>
                      </a:cubicBezTo>
                      <a:lnTo>
                        <a:pt x="1065571" y="1004753"/>
                      </a:lnTo>
                      <a:cubicBezTo>
                        <a:pt x="1052963" y="979135"/>
                        <a:pt x="1026942" y="920940"/>
                        <a:pt x="1000820" y="909441"/>
                      </a:cubicBezTo>
                      <a:lnTo>
                        <a:pt x="1000820" y="909441"/>
                      </a:lnTo>
                      <a:cubicBezTo>
                        <a:pt x="987708" y="903592"/>
                        <a:pt x="981657" y="895422"/>
                        <a:pt x="981757" y="886849"/>
                      </a:cubicBezTo>
                      <a:lnTo>
                        <a:pt x="981757" y="886849"/>
                      </a:lnTo>
                      <a:cubicBezTo>
                        <a:pt x="981858" y="876259"/>
                        <a:pt x="990129" y="867182"/>
                        <a:pt x="1000618" y="861332"/>
                      </a:cubicBezTo>
                      <a:lnTo>
                        <a:pt x="1000618" y="861332"/>
                      </a:lnTo>
                      <a:cubicBezTo>
                        <a:pt x="1010704" y="855381"/>
                        <a:pt x="1012418" y="846405"/>
                        <a:pt x="1012519" y="834504"/>
                      </a:cubicBezTo>
                      <a:lnTo>
                        <a:pt x="1012519" y="834504"/>
                      </a:lnTo>
                      <a:cubicBezTo>
                        <a:pt x="1012519" y="827746"/>
                        <a:pt x="1011813" y="820283"/>
                        <a:pt x="1011813" y="812920"/>
                      </a:cubicBezTo>
                      <a:lnTo>
                        <a:pt x="1011813" y="812920"/>
                      </a:lnTo>
                      <a:cubicBezTo>
                        <a:pt x="1012015" y="793959"/>
                        <a:pt x="994466" y="768441"/>
                        <a:pt x="984077" y="745345"/>
                      </a:cubicBezTo>
                      <a:lnTo>
                        <a:pt x="984077" y="745345"/>
                      </a:lnTo>
                      <a:cubicBezTo>
                        <a:pt x="982867" y="742621"/>
                        <a:pt x="982262" y="739797"/>
                        <a:pt x="982262" y="737175"/>
                      </a:cubicBezTo>
                      <a:lnTo>
                        <a:pt x="982262" y="737175"/>
                      </a:lnTo>
                      <a:cubicBezTo>
                        <a:pt x="983573" y="715894"/>
                        <a:pt x="1018167" y="711254"/>
                        <a:pt x="1029968" y="710851"/>
                      </a:cubicBezTo>
                      <a:lnTo>
                        <a:pt x="1029968" y="710851"/>
                      </a:lnTo>
                      <a:cubicBezTo>
                        <a:pt x="1032388" y="710851"/>
                        <a:pt x="1034809" y="710952"/>
                        <a:pt x="1037330" y="710952"/>
                      </a:cubicBezTo>
                      <a:lnTo>
                        <a:pt x="1037330" y="710952"/>
                      </a:lnTo>
                      <a:cubicBezTo>
                        <a:pt x="1048526" y="710347"/>
                        <a:pt x="1057301" y="710246"/>
                        <a:pt x="1057603" y="693403"/>
                      </a:cubicBezTo>
                      <a:lnTo>
                        <a:pt x="1057603" y="693403"/>
                      </a:lnTo>
                      <a:cubicBezTo>
                        <a:pt x="1057502" y="670609"/>
                        <a:pt x="1055384" y="659312"/>
                        <a:pt x="1038037" y="641864"/>
                      </a:cubicBezTo>
                      <a:lnTo>
                        <a:pt x="1038037" y="641864"/>
                      </a:lnTo>
                      <a:cubicBezTo>
                        <a:pt x="1029867" y="633089"/>
                        <a:pt x="1028152" y="611606"/>
                        <a:pt x="1028051" y="585585"/>
                      </a:cubicBezTo>
                      <a:lnTo>
                        <a:pt x="1028051" y="585585"/>
                      </a:lnTo>
                      <a:cubicBezTo>
                        <a:pt x="1028051" y="543728"/>
                        <a:pt x="1034002" y="491585"/>
                        <a:pt x="1037229" y="474136"/>
                      </a:cubicBezTo>
                      <a:lnTo>
                        <a:pt x="1037229" y="474136"/>
                      </a:lnTo>
                      <a:cubicBezTo>
                        <a:pt x="1041163" y="458503"/>
                        <a:pt x="1067184" y="454267"/>
                        <a:pt x="1092298" y="452855"/>
                      </a:cubicBezTo>
                      <a:lnTo>
                        <a:pt x="1092298" y="452855"/>
                      </a:lnTo>
                      <a:cubicBezTo>
                        <a:pt x="1097442" y="440853"/>
                        <a:pt x="1113277" y="436011"/>
                        <a:pt x="1124371" y="429052"/>
                      </a:cubicBezTo>
                      <a:lnTo>
                        <a:pt x="1124371" y="429052"/>
                      </a:lnTo>
                      <a:cubicBezTo>
                        <a:pt x="1140004" y="419975"/>
                        <a:pt x="1161386" y="419571"/>
                        <a:pt x="1161185" y="397080"/>
                      </a:cubicBezTo>
                      <a:lnTo>
                        <a:pt x="1161185" y="397080"/>
                      </a:lnTo>
                      <a:cubicBezTo>
                        <a:pt x="1161185" y="394458"/>
                        <a:pt x="1160882" y="391533"/>
                        <a:pt x="1160378" y="388507"/>
                      </a:cubicBezTo>
                      <a:lnTo>
                        <a:pt x="1160378" y="388507"/>
                      </a:lnTo>
                      <a:cubicBezTo>
                        <a:pt x="1159268" y="382052"/>
                        <a:pt x="1158764" y="375093"/>
                        <a:pt x="1158764" y="367831"/>
                      </a:cubicBezTo>
                      <a:lnTo>
                        <a:pt x="1158764" y="367831"/>
                      </a:lnTo>
                      <a:cubicBezTo>
                        <a:pt x="1158764" y="346852"/>
                        <a:pt x="1162093" y="323353"/>
                        <a:pt x="1162093" y="305904"/>
                      </a:cubicBezTo>
                      <a:lnTo>
                        <a:pt x="1162093" y="305904"/>
                      </a:lnTo>
                      <a:cubicBezTo>
                        <a:pt x="1162093" y="295717"/>
                        <a:pt x="1160781" y="287548"/>
                        <a:pt x="1157856" y="284017"/>
                      </a:cubicBezTo>
                      <a:lnTo>
                        <a:pt x="1157856" y="284017"/>
                      </a:lnTo>
                      <a:cubicBezTo>
                        <a:pt x="1148678" y="270502"/>
                        <a:pt x="1107225" y="285026"/>
                        <a:pt x="1074648" y="266166"/>
                      </a:cubicBezTo>
                      <a:lnTo>
                        <a:pt x="1074648" y="266166"/>
                      </a:lnTo>
                      <a:cubicBezTo>
                        <a:pt x="1042978" y="247003"/>
                        <a:pt x="1017562" y="215837"/>
                        <a:pt x="1017260" y="188807"/>
                      </a:cubicBezTo>
                      <a:lnTo>
                        <a:pt x="1017260" y="188807"/>
                      </a:lnTo>
                      <a:cubicBezTo>
                        <a:pt x="1017260" y="188807"/>
                        <a:pt x="1017865" y="183058"/>
                        <a:pt x="1017865" y="174687"/>
                      </a:cubicBezTo>
                      <a:lnTo>
                        <a:pt x="1017865" y="174687"/>
                      </a:lnTo>
                      <a:cubicBezTo>
                        <a:pt x="1017965" y="158751"/>
                        <a:pt x="1015545" y="133537"/>
                        <a:pt x="1006165" y="124459"/>
                      </a:cubicBezTo>
                      <a:lnTo>
                        <a:pt x="1006165" y="124459"/>
                      </a:lnTo>
                      <a:cubicBezTo>
                        <a:pt x="991742" y="109331"/>
                        <a:pt x="968847" y="113466"/>
                        <a:pt x="959165" y="87848"/>
                      </a:cubicBezTo>
                      <a:lnTo>
                        <a:pt x="959165" y="87848"/>
                      </a:lnTo>
                      <a:cubicBezTo>
                        <a:pt x="953113" y="70197"/>
                        <a:pt x="936371" y="51942"/>
                        <a:pt x="927395" y="52547"/>
                      </a:cubicBezTo>
                      <a:lnTo>
                        <a:pt x="927395" y="52547"/>
                      </a:lnTo>
                      <a:cubicBezTo>
                        <a:pt x="924772" y="52648"/>
                        <a:pt x="922957" y="53455"/>
                        <a:pt x="920940" y="56884"/>
                      </a:cubicBezTo>
                      <a:lnTo>
                        <a:pt x="920940" y="56884"/>
                      </a:lnTo>
                      <a:cubicBezTo>
                        <a:pt x="919427" y="59607"/>
                        <a:pt x="918822" y="62331"/>
                        <a:pt x="918822" y="65256"/>
                      </a:cubicBezTo>
                      <a:lnTo>
                        <a:pt x="918822" y="65256"/>
                      </a:lnTo>
                      <a:cubicBezTo>
                        <a:pt x="918721" y="72114"/>
                        <a:pt x="922049" y="79880"/>
                        <a:pt x="922150" y="87646"/>
                      </a:cubicBezTo>
                      <a:lnTo>
                        <a:pt x="922150" y="87646"/>
                      </a:lnTo>
                      <a:cubicBezTo>
                        <a:pt x="922251" y="95110"/>
                        <a:pt x="918116" y="102472"/>
                        <a:pt x="906618" y="106809"/>
                      </a:cubicBezTo>
                      <a:lnTo>
                        <a:pt x="906618" y="106809"/>
                      </a:lnTo>
                      <a:cubicBezTo>
                        <a:pt x="879083" y="117702"/>
                        <a:pt x="877268" y="127687"/>
                        <a:pt x="876965" y="136663"/>
                      </a:cubicBezTo>
                      <a:lnTo>
                        <a:pt x="876965" y="136663"/>
                      </a:lnTo>
                      <a:cubicBezTo>
                        <a:pt x="876965" y="141000"/>
                        <a:pt x="873435" y="144127"/>
                        <a:pt x="869401" y="144127"/>
                      </a:cubicBezTo>
                      <a:lnTo>
                        <a:pt x="869401" y="144127"/>
                      </a:lnTo>
                      <a:cubicBezTo>
                        <a:pt x="861332" y="143925"/>
                        <a:pt x="850843" y="135554"/>
                        <a:pt x="844590" y="118105"/>
                      </a:cubicBezTo>
                      <a:lnTo>
                        <a:pt x="844590" y="118105"/>
                      </a:lnTo>
                      <a:cubicBezTo>
                        <a:pt x="838941" y="101060"/>
                        <a:pt x="812416" y="80586"/>
                        <a:pt x="796581" y="80888"/>
                      </a:cubicBezTo>
                      <a:lnTo>
                        <a:pt x="796581" y="80888"/>
                      </a:lnTo>
                      <a:cubicBezTo>
                        <a:pt x="791135" y="80989"/>
                        <a:pt x="787302" y="82704"/>
                        <a:pt x="784881" y="87949"/>
                      </a:cubicBezTo>
                      <a:lnTo>
                        <a:pt x="784881" y="87949"/>
                      </a:lnTo>
                      <a:cubicBezTo>
                        <a:pt x="779031" y="100657"/>
                        <a:pt x="774190" y="106910"/>
                        <a:pt x="767433" y="107212"/>
                      </a:cubicBezTo>
                      <a:lnTo>
                        <a:pt x="767433" y="107212"/>
                      </a:lnTo>
                      <a:cubicBezTo>
                        <a:pt x="761381" y="106910"/>
                        <a:pt x="757650" y="101867"/>
                        <a:pt x="754019" y="95916"/>
                      </a:cubicBezTo>
                      <a:lnTo>
                        <a:pt x="754019" y="95916"/>
                      </a:lnTo>
                      <a:cubicBezTo>
                        <a:pt x="750388" y="89562"/>
                        <a:pt x="745446" y="86839"/>
                        <a:pt x="740504" y="86839"/>
                      </a:cubicBezTo>
                      <a:lnTo>
                        <a:pt x="740504" y="86839"/>
                      </a:lnTo>
                      <a:cubicBezTo>
                        <a:pt x="736066" y="86839"/>
                        <a:pt x="731426" y="88856"/>
                        <a:pt x="727291" y="94101"/>
                      </a:cubicBezTo>
                      <a:lnTo>
                        <a:pt x="727291" y="94101"/>
                      </a:lnTo>
                      <a:cubicBezTo>
                        <a:pt x="720534" y="101968"/>
                        <a:pt x="705909" y="106809"/>
                        <a:pt x="692798" y="107011"/>
                      </a:cubicBezTo>
                      <a:lnTo>
                        <a:pt x="692798" y="107011"/>
                      </a:lnTo>
                      <a:cubicBezTo>
                        <a:pt x="683115" y="107011"/>
                        <a:pt x="673634" y="104086"/>
                        <a:pt x="670709" y="95412"/>
                      </a:cubicBezTo>
                      <a:lnTo>
                        <a:pt x="670709" y="95412"/>
                      </a:lnTo>
                      <a:cubicBezTo>
                        <a:pt x="664355" y="77762"/>
                        <a:pt x="673332" y="75341"/>
                        <a:pt x="641461" y="66970"/>
                      </a:cubicBezTo>
                      <a:lnTo>
                        <a:pt x="641461" y="66970"/>
                      </a:lnTo>
                      <a:cubicBezTo>
                        <a:pt x="608177" y="59406"/>
                        <a:pt x="598394" y="41856"/>
                        <a:pt x="585787" y="23802"/>
                      </a:cubicBezTo>
                      <a:lnTo>
                        <a:pt x="585787" y="23802"/>
                      </a:lnTo>
                      <a:cubicBezTo>
                        <a:pt x="582458" y="19163"/>
                        <a:pt x="580340" y="14221"/>
                        <a:pt x="579130" y="9480"/>
                      </a:cubicBezTo>
                      <a:lnTo>
                        <a:pt x="579130" y="9480"/>
                      </a:lnTo>
                      <a:cubicBezTo>
                        <a:pt x="568237" y="7161"/>
                        <a:pt x="557950" y="5648"/>
                        <a:pt x="549578" y="5648"/>
                      </a:cubicBezTo>
                      <a:lnTo>
                        <a:pt x="549578" y="5648"/>
                      </a:lnTo>
                      <a:cubicBezTo>
                        <a:pt x="544334" y="5648"/>
                        <a:pt x="539795" y="6253"/>
                        <a:pt x="536568" y="7463"/>
                      </a:cubicBezTo>
                      <a:lnTo>
                        <a:pt x="536568" y="7463"/>
                      </a:lnTo>
                      <a:cubicBezTo>
                        <a:pt x="509134" y="16642"/>
                        <a:pt x="507117" y="47706"/>
                        <a:pt x="473027" y="66062"/>
                      </a:cubicBezTo>
                      <a:lnTo>
                        <a:pt x="473027" y="66062"/>
                      </a:lnTo>
                      <a:cubicBezTo>
                        <a:pt x="445997" y="80283"/>
                        <a:pt x="447005" y="89562"/>
                        <a:pt x="421286" y="89562"/>
                      </a:cubicBezTo>
                      <a:lnTo>
                        <a:pt x="421286" y="89562"/>
                      </a:lnTo>
                      <a:cubicBezTo>
                        <a:pt x="416849" y="89562"/>
                        <a:pt x="411806" y="89361"/>
                        <a:pt x="405653" y="88856"/>
                      </a:cubicBezTo>
                      <a:lnTo>
                        <a:pt x="405653" y="88856"/>
                      </a:lnTo>
                      <a:cubicBezTo>
                        <a:pt x="403031" y="88654"/>
                        <a:pt x="400509" y="88554"/>
                        <a:pt x="397887" y="88554"/>
                      </a:cubicBezTo>
                      <a:lnTo>
                        <a:pt x="397887" y="88554"/>
                      </a:lnTo>
                      <a:cubicBezTo>
                        <a:pt x="360065" y="88554"/>
                        <a:pt x="325773" y="111348"/>
                        <a:pt x="325773" y="131116"/>
                      </a:cubicBezTo>
                      <a:lnTo>
                        <a:pt x="325773" y="131116"/>
                      </a:lnTo>
                      <a:cubicBezTo>
                        <a:pt x="325672" y="147758"/>
                        <a:pt x="336666" y="174586"/>
                        <a:pt x="336767" y="195464"/>
                      </a:cubicBezTo>
                      <a:lnTo>
                        <a:pt x="336767" y="195464"/>
                      </a:lnTo>
                      <a:cubicBezTo>
                        <a:pt x="336767" y="203129"/>
                        <a:pt x="335052" y="210492"/>
                        <a:pt x="330211" y="216039"/>
                      </a:cubicBezTo>
                      <a:lnTo>
                        <a:pt x="330211" y="216039"/>
                      </a:lnTo>
                      <a:cubicBezTo>
                        <a:pt x="319016" y="228344"/>
                        <a:pt x="298541" y="239438"/>
                        <a:pt x="276655" y="239438"/>
                      </a:cubicBezTo>
                      <a:lnTo>
                        <a:pt x="276655" y="239438"/>
                      </a:lnTo>
                      <a:cubicBezTo>
                        <a:pt x="266065" y="239438"/>
                        <a:pt x="255273" y="236816"/>
                        <a:pt x="245288" y="230361"/>
                      </a:cubicBezTo>
                      <a:lnTo>
                        <a:pt x="245288" y="230361"/>
                      </a:lnTo>
                      <a:cubicBezTo>
                        <a:pt x="241859" y="228142"/>
                        <a:pt x="237925" y="227133"/>
                        <a:pt x="233588" y="227133"/>
                      </a:cubicBezTo>
                      <a:lnTo>
                        <a:pt x="233588" y="227133"/>
                      </a:lnTo>
                      <a:cubicBezTo>
                        <a:pt x="218863" y="226932"/>
                        <a:pt x="200003" y="238228"/>
                        <a:pt x="184571" y="249524"/>
                      </a:cubicBezTo>
                      <a:lnTo>
                        <a:pt x="184571" y="249524"/>
                      </a:lnTo>
                      <a:cubicBezTo>
                        <a:pt x="169442" y="260719"/>
                        <a:pt x="157844" y="271915"/>
                        <a:pt x="157743" y="272016"/>
                      </a:cubicBezTo>
                      <a:lnTo>
                        <a:pt x="157743" y="272016"/>
                      </a:lnTo>
                      <a:cubicBezTo>
                        <a:pt x="157541" y="272621"/>
                        <a:pt x="150279" y="299247"/>
                        <a:pt x="122745" y="313166"/>
                      </a:cubicBezTo>
                      <a:lnTo>
                        <a:pt x="122745" y="313166"/>
                      </a:lnTo>
                      <a:lnTo>
                        <a:pt x="123249" y="315586"/>
                      </a:lnTo>
                      <a:cubicBezTo>
                        <a:pt x="128292" y="356333"/>
                        <a:pt x="164399" y="396979"/>
                        <a:pt x="207365" y="428144"/>
                      </a:cubicBezTo>
                      <a:lnTo>
                        <a:pt x="207365" y="428144"/>
                      </a:lnTo>
                      <a:cubicBezTo>
                        <a:pt x="250835" y="459512"/>
                        <a:pt x="280790" y="491786"/>
                        <a:pt x="301264" y="561278"/>
                      </a:cubicBezTo>
                      <a:lnTo>
                        <a:pt x="301264" y="561278"/>
                      </a:lnTo>
                      <a:cubicBezTo>
                        <a:pt x="310443" y="592242"/>
                        <a:pt x="314174" y="629155"/>
                        <a:pt x="314174" y="664859"/>
                      </a:cubicBezTo>
                      <a:lnTo>
                        <a:pt x="314174" y="664859"/>
                      </a:lnTo>
                      <a:cubicBezTo>
                        <a:pt x="314174" y="709540"/>
                        <a:pt x="308123" y="752102"/>
                        <a:pt x="299046" y="777922"/>
                      </a:cubicBezTo>
                      <a:lnTo>
                        <a:pt x="299046" y="777922"/>
                      </a:lnTo>
                      <a:cubicBezTo>
                        <a:pt x="281799" y="825325"/>
                        <a:pt x="245893" y="805961"/>
                        <a:pt x="213618" y="825729"/>
                      </a:cubicBezTo>
                      <a:lnTo>
                        <a:pt x="213618" y="825729"/>
                      </a:lnTo>
                      <a:cubicBezTo>
                        <a:pt x="202927" y="832184"/>
                        <a:pt x="199297" y="840555"/>
                        <a:pt x="199297" y="849733"/>
                      </a:cubicBezTo>
                      <a:lnTo>
                        <a:pt x="199297" y="849733"/>
                      </a:lnTo>
                      <a:cubicBezTo>
                        <a:pt x="198792" y="868291"/>
                        <a:pt x="216442" y="889270"/>
                        <a:pt x="223402" y="889774"/>
                      </a:cubicBezTo>
                      <a:lnTo>
                        <a:pt x="223402" y="889774"/>
                      </a:lnTo>
                      <a:cubicBezTo>
                        <a:pt x="238833" y="892195"/>
                        <a:pt x="267578" y="908231"/>
                        <a:pt x="281799" y="957652"/>
                      </a:cubicBezTo>
                      <a:lnTo>
                        <a:pt x="281799" y="957652"/>
                      </a:lnTo>
                      <a:cubicBezTo>
                        <a:pt x="284522" y="967032"/>
                        <a:pt x="285732" y="975101"/>
                        <a:pt x="285732" y="981959"/>
                      </a:cubicBezTo>
                      <a:lnTo>
                        <a:pt x="285732" y="981959"/>
                      </a:lnTo>
                      <a:cubicBezTo>
                        <a:pt x="285732" y="1011510"/>
                        <a:pt x="263846" y="1019579"/>
                        <a:pt x="254567" y="1033397"/>
                      </a:cubicBezTo>
                      <a:lnTo>
                        <a:pt x="254567" y="1033397"/>
                      </a:lnTo>
                      <a:cubicBezTo>
                        <a:pt x="250331" y="1039246"/>
                        <a:pt x="248516" y="1045903"/>
                        <a:pt x="248516" y="1053569"/>
                      </a:cubicBezTo>
                      <a:lnTo>
                        <a:pt x="248516" y="1053569"/>
                      </a:lnTo>
                      <a:cubicBezTo>
                        <a:pt x="248516" y="1067790"/>
                        <a:pt x="255374" y="1085339"/>
                        <a:pt x="266569" y="1104905"/>
                      </a:cubicBezTo>
                      <a:lnTo>
                        <a:pt x="266569" y="1104905"/>
                      </a:lnTo>
                      <a:cubicBezTo>
                        <a:pt x="279277" y="1126994"/>
                        <a:pt x="281395" y="1138592"/>
                        <a:pt x="281295" y="1153418"/>
                      </a:cubicBezTo>
                      <a:lnTo>
                        <a:pt x="281295" y="1153418"/>
                      </a:lnTo>
                      <a:cubicBezTo>
                        <a:pt x="281295" y="1158865"/>
                        <a:pt x="281093" y="1164715"/>
                        <a:pt x="281093" y="1172178"/>
                      </a:cubicBezTo>
                      <a:lnTo>
                        <a:pt x="281093" y="1172178"/>
                      </a:lnTo>
                      <a:cubicBezTo>
                        <a:pt x="281093" y="1200015"/>
                        <a:pt x="269091" y="1228861"/>
                        <a:pt x="247204" y="1240560"/>
                      </a:cubicBezTo>
                      <a:lnTo>
                        <a:pt x="247204" y="1240560"/>
                      </a:lnTo>
                      <a:cubicBezTo>
                        <a:pt x="242262" y="1243082"/>
                        <a:pt x="237623" y="1244393"/>
                        <a:pt x="233084" y="1244393"/>
                      </a:cubicBezTo>
                      <a:lnTo>
                        <a:pt x="233084" y="1244393"/>
                      </a:lnTo>
                      <a:cubicBezTo>
                        <a:pt x="217350" y="1244191"/>
                        <a:pt x="207164" y="1229768"/>
                        <a:pt x="201213" y="1215446"/>
                      </a:cubicBezTo>
                      <a:lnTo>
                        <a:pt x="201213" y="1215446"/>
                      </a:lnTo>
                      <a:cubicBezTo>
                        <a:pt x="196170" y="1203142"/>
                        <a:pt x="192337" y="1199813"/>
                        <a:pt x="189513" y="1200116"/>
                      </a:cubicBezTo>
                      <a:lnTo>
                        <a:pt x="189513" y="1200116"/>
                      </a:lnTo>
                      <a:cubicBezTo>
                        <a:pt x="187698" y="1200116"/>
                        <a:pt x="185479" y="1200923"/>
                        <a:pt x="182453" y="1202738"/>
                      </a:cubicBezTo>
                      <a:lnTo>
                        <a:pt x="182453" y="1202738"/>
                      </a:lnTo>
                      <a:cubicBezTo>
                        <a:pt x="181243" y="1203142"/>
                        <a:pt x="179932" y="1206470"/>
                        <a:pt x="179932" y="1212017"/>
                      </a:cubicBezTo>
                      <a:lnTo>
                        <a:pt x="179932" y="1212017"/>
                      </a:lnTo>
                      <a:cubicBezTo>
                        <a:pt x="179932" y="1224524"/>
                        <a:pt x="184874" y="1245603"/>
                        <a:pt x="184874" y="1261740"/>
                      </a:cubicBezTo>
                      <a:lnTo>
                        <a:pt x="184874" y="1261740"/>
                      </a:lnTo>
                      <a:cubicBezTo>
                        <a:pt x="184874" y="1262951"/>
                        <a:pt x="184874" y="1263959"/>
                        <a:pt x="184874" y="1265271"/>
                      </a:cubicBezTo>
                      <a:lnTo>
                        <a:pt x="184874" y="1265271"/>
                      </a:lnTo>
                      <a:cubicBezTo>
                        <a:pt x="183563" y="1289779"/>
                        <a:pt x="158953" y="1308135"/>
                        <a:pt x="147254" y="1318927"/>
                      </a:cubicBezTo>
                      <a:lnTo>
                        <a:pt x="147254" y="1318927"/>
                      </a:lnTo>
                      <a:cubicBezTo>
                        <a:pt x="134646" y="1330324"/>
                        <a:pt x="113970" y="1337284"/>
                        <a:pt x="90470" y="1371475"/>
                      </a:cubicBezTo>
                      <a:lnTo>
                        <a:pt x="90470" y="1371475"/>
                      </a:lnTo>
                      <a:cubicBezTo>
                        <a:pt x="84318" y="1380451"/>
                        <a:pt x="82200" y="1387410"/>
                        <a:pt x="82200" y="1393260"/>
                      </a:cubicBezTo>
                      <a:lnTo>
                        <a:pt x="82200" y="1393260"/>
                      </a:lnTo>
                      <a:cubicBezTo>
                        <a:pt x="81796" y="1407582"/>
                        <a:pt x="96017" y="1416861"/>
                        <a:pt x="96421" y="1433402"/>
                      </a:cubicBezTo>
                      <a:lnTo>
                        <a:pt x="96421" y="1433402"/>
                      </a:lnTo>
                      <a:cubicBezTo>
                        <a:pt x="96421" y="1434612"/>
                        <a:pt x="96421" y="1435823"/>
                        <a:pt x="96320" y="1437133"/>
                      </a:cubicBezTo>
                      <a:lnTo>
                        <a:pt x="96320" y="1437133"/>
                      </a:lnTo>
                      <a:cubicBezTo>
                        <a:pt x="93093" y="1459726"/>
                        <a:pt x="88755" y="1483831"/>
                        <a:pt x="65659" y="1495329"/>
                      </a:cubicBezTo>
                      <a:lnTo>
                        <a:pt x="65659" y="1495329"/>
                      </a:lnTo>
                      <a:cubicBezTo>
                        <a:pt x="44882" y="1506121"/>
                        <a:pt x="39335" y="1506524"/>
                        <a:pt x="38932" y="1526293"/>
                      </a:cubicBezTo>
                      <a:lnTo>
                        <a:pt x="38932" y="1526293"/>
                      </a:lnTo>
                      <a:cubicBezTo>
                        <a:pt x="38932" y="1527604"/>
                        <a:pt x="38932" y="1528915"/>
                        <a:pt x="39133" y="1530528"/>
                      </a:cubicBezTo>
                      <a:lnTo>
                        <a:pt x="39133" y="1530528"/>
                      </a:lnTo>
                      <a:cubicBezTo>
                        <a:pt x="39133" y="1532546"/>
                        <a:pt x="39133" y="1534361"/>
                        <a:pt x="39133" y="1535975"/>
                      </a:cubicBezTo>
                      <a:lnTo>
                        <a:pt x="39133" y="1535975"/>
                      </a:lnTo>
                      <a:cubicBezTo>
                        <a:pt x="39133" y="1546061"/>
                        <a:pt x="37721" y="1551608"/>
                        <a:pt x="36108" y="1554937"/>
                      </a:cubicBezTo>
                      <a:lnTo>
                        <a:pt x="36108" y="1554937"/>
                      </a:lnTo>
                      <a:cubicBezTo>
                        <a:pt x="34494" y="1558164"/>
                        <a:pt x="32174" y="1559173"/>
                        <a:pt x="32779" y="1558668"/>
                      </a:cubicBezTo>
                      <a:lnTo>
                        <a:pt x="32779" y="1558668"/>
                      </a:lnTo>
                      <a:lnTo>
                        <a:pt x="8371" y="1581967"/>
                      </a:lnTo>
                      <a:lnTo>
                        <a:pt x="7463" y="1652568"/>
                      </a:lnTo>
                      <a:cubicBezTo>
                        <a:pt x="7463" y="1652568"/>
                        <a:pt x="5043" y="1680808"/>
                        <a:pt x="5043" y="1688069"/>
                      </a:cubicBezTo>
                      <a:lnTo>
                        <a:pt x="5043" y="1688069"/>
                      </a:lnTo>
                      <a:cubicBezTo>
                        <a:pt x="4135" y="1692507"/>
                        <a:pt x="27030" y="1717117"/>
                        <a:pt x="44277" y="1726396"/>
                      </a:cubicBezTo>
                      <a:lnTo>
                        <a:pt x="44277" y="1726396"/>
                      </a:lnTo>
                      <a:cubicBezTo>
                        <a:pt x="51640" y="1730430"/>
                        <a:pt x="54363" y="1738600"/>
                        <a:pt x="54363" y="1747374"/>
                      </a:cubicBezTo>
                      <a:lnTo>
                        <a:pt x="54363" y="1747374"/>
                      </a:lnTo>
                      <a:cubicBezTo>
                        <a:pt x="54262" y="1763814"/>
                        <a:pt x="45185" y="1784289"/>
                        <a:pt x="34897" y="1796694"/>
                      </a:cubicBezTo>
                      <a:lnTo>
                        <a:pt x="34897" y="1796694"/>
                      </a:lnTo>
                      <a:cubicBezTo>
                        <a:pt x="31871" y="1800023"/>
                        <a:pt x="30661" y="1804562"/>
                        <a:pt x="30661" y="1810008"/>
                      </a:cubicBezTo>
                      <a:lnTo>
                        <a:pt x="30661" y="1810008"/>
                      </a:lnTo>
                      <a:cubicBezTo>
                        <a:pt x="30560" y="1828565"/>
                        <a:pt x="45588" y="1857411"/>
                        <a:pt x="45689" y="1883836"/>
                      </a:cubicBezTo>
                      <a:lnTo>
                        <a:pt x="45689" y="1883836"/>
                      </a:lnTo>
                      <a:cubicBezTo>
                        <a:pt x="45991" y="1899166"/>
                        <a:pt x="51236" y="1904411"/>
                        <a:pt x="58901" y="1904512"/>
                      </a:cubicBezTo>
                      <a:lnTo>
                        <a:pt x="58901" y="1904512"/>
                      </a:lnTo>
                      <a:cubicBezTo>
                        <a:pt x="67676" y="1904613"/>
                        <a:pt x="81191" y="1896242"/>
                        <a:pt x="94101" y="1879600"/>
                      </a:cubicBezTo>
                      <a:lnTo>
                        <a:pt x="94101" y="1879600"/>
                      </a:lnTo>
                      <a:cubicBezTo>
                        <a:pt x="106809" y="1863564"/>
                        <a:pt x="134445" y="1861244"/>
                        <a:pt x="162786" y="1861143"/>
                      </a:cubicBezTo>
                      <a:lnTo>
                        <a:pt x="162786" y="1861143"/>
                      </a:lnTo>
                      <a:cubicBezTo>
                        <a:pt x="179528" y="1861143"/>
                        <a:pt x="196674" y="1861950"/>
                        <a:pt x="211198" y="1861950"/>
                      </a:cubicBezTo>
                      <a:lnTo>
                        <a:pt x="211198" y="1861950"/>
                      </a:lnTo>
                      <a:cubicBezTo>
                        <a:pt x="227638" y="1862151"/>
                        <a:pt x="240649" y="1860336"/>
                        <a:pt x="244481" y="1856402"/>
                      </a:cubicBezTo>
                      <a:lnTo>
                        <a:pt x="244481" y="1856402"/>
                      </a:lnTo>
                      <a:cubicBezTo>
                        <a:pt x="262333" y="1838551"/>
                        <a:pt x="307417" y="1798207"/>
                        <a:pt x="309636" y="1748988"/>
                      </a:cubicBezTo>
                      <a:lnTo>
                        <a:pt x="309636" y="1748988"/>
                      </a:lnTo>
                      <a:cubicBezTo>
                        <a:pt x="313166" y="1695634"/>
                        <a:pt x="388406" y="1627958"/>
                        <a:pt x="408578" y="1624327"/>
                      </a:cubicBezTo>
                      <a:lnTo>
                        <a:pt x="408578" y="1624327"/>
                      </a:lnTo>
                      <a:cubicBezTo>
                        <a:pt x="409183" y="1624226"/>
                        <a:pt x="409990" y="1624024"/>
                        <a:pt x="410898" y="1624024"/>
                      </a:cubicBezTo>
                      <a:lnTo>
                        <a:pt x="410898" y="1624024"/>
                      </a:lnTo>
                      <a:cubicBezTo>
                        <a:pt x="431069" y="1624932"/>
                        <a:pt x="447610" y="1658619"/>
                        <a:pt x="466067" y="1665175"/>
                      </a:cubicBezTo>
                      <a:lnTo>
                        <a:pt x="466067" y="1665175"/>
                      </a:lnTo>
                      <a:cubicBezTo>
                        <a:pt x="489366" y="1675059"/>
                        <a:pt x="487752" y="1726194"/>
                        <a:pt x="498040" y="1747979"/>
                      </a:cubicBezTo>
                      <a:lnTo>
                        <a:pt x="498040" y="1747979"/>
                      </a:lnTo>
                      <a:cubicBezTo>
                        <a:pt x="506512" y="1767546"/>
                        <a:pt x="518816" y="1768151"/>
                        <a:pt x="518917" y="1792660"/>
                      </a:cubicBezTo>
                      <a:lnTo>
                        <a:pt x="518917" y="1792660"/>
                      </a:lnTo>
                      <a:cubicBezTo>
                        <a:pt x="518917" y="1794879"/>
                        <a:pt x="518816" y="1797198"/>
                        <a:pt x="518716" y="1800224"/>
                      </a:cubicBezTo>
                      <a:lnTo>
                        <a:pt x="518716" y="1800224"/>
                      </a:lnTo>
                      <a:cubicBezTo>
                        <a:pt x="518615" y="1801737"/>
                        <a:pt x="518514" y="1803250"/>
                        <a:pt x="518514" y="1804662"/>
                      </a:cubicBezTo>
                      <a:lnTo>
                        <a:pt x="518514" y="1804662"/>
                      </a:lnTo>
                      <a:cubicBezTo>
                        <a:pt x="518514" y="1830785"/>
                        <a:pt x="536870" y="1861445"/>
                        <a:pt x="551394" y="1861445"/>
                      </a:cubicBezTo>
                      <a:lnTo>
                        <a:pt x="551394" y="1861445"/>
                      </a:lnTo>
                      <a:cubicBezTo>
                        <a:pt x="552705" y="1861445"/>
                        <a:pt x="554218" y="1861244"/>
                        <a:pt x="555630" y="1861042"/>
                      </a:cubicBezTo>
                      <a:lnTo>
                        <a:pt x="555630" y="1861042"/>
                      </a:lnTo>
                      <a:cubicBezTo>
                        <a:pt x="572675" y="1856100"/>
                        <a:pt x="589821" y="1748887"/>
                        <a:pt x="602529" y="1729724"/>
                      </a:cubicBezTo>
                      <a:lnTo>
                        <a:pt x="602529" y="1729724"/>
                      </a:lnTo>
                      <a:cubicBezTo>
                        <a:pt x="615036" y="1712276"/>
                        <a:pt x="625021" y="1689684"/>
                        <a:pt x="624920" y="1672941"/>
                      </a:cubicBezTo>
                      <a:lnTo>
                        <a:pt x="624920" y="1672941"/>
                      </a:lnTo>
                      <a:cubicBezTo>
                        <a:pt x="624920" y="1667797"/>
                        <a:pt x="628450" y="1664065"/>
                        <a:pt x="633089" y="1664065"/>
                      </a:cubicBezTo>
                      <a:lnTo>
                        <a:pt x="633089" y="1664065"/>
                      </a:lnTo>
                      <a:cubicBezTo>
                        <a:pt x="645596" y="1664368"/>
                        <a:pt x="669701" y="1680304"/>
                        <a:pt x="693907" y="1680304"/>
                      </a:cubicBezTo>
                      <a:lnTo>
                        <a:pt x="693907" y="1680304"/>
                      </a:lnTo>
                      <a:cubicBezTo>
                        <a:pt x="723963" y="1680606"/>
                        <a:pt x="718920" y="1648533"/>
                        <a:pt x="727089" y="1630984"/>
                      </a:cubicBezTo>
                      <a:lnTo>
                        <a:pt x="727089" y="1630984"/>
                      </a:lnTo>
                      <a:cubicBezTo>
                        <a:pt x="734553" y="1615452"/>
                        <a:pt x="739293" y="1608694"/>
                        <a:pt x="777317" y="1601533"/>
                      </a:cubicBezTo>
                      <a:lnTo>
                        <a:pt x="777317" y="1601533"/>
                      </a:lnTo>
                      <a:cubicBezTo>
                        <a:pt x="780847" y="1600827"/>
                        <a:pt x="784175" y="1600323"/>
                        <a:pt x="787403" y="1600323"/>
                      </a:cubicBezTo>
                      <a:lnTo>
                        <a:pt x="787403" y="1600323"/>
                      </a:lnTo>
                      <a:cubicBezTo>
                        <a:pt x="820787" y="1600726"/>
                        <a:pt x="831478" y="1636128"/>
                        <a:pt x="831478" y="1657712"/>
                      </a:cubicBezTo>
                      <a:lnTo>
                        <a:pt x="831478" y="1657712"/>
                      </a:lnTo>
                      <a:cubicBezTo>
                        <a:pt x="831377" y="1679093"/>
                        <a:pt x="846203" y="1688977"/>
                        <a:pt x="854272" y="1712780"/>
                      </a:cubicBezTo>
                      <a:lnTo>
                        <a:pt x="854272" y="1712780"/>
                      </a:lnTo>
                      <a:cubicBezTo>
                        <a:pt x="856693" y="1721454"/>
                        <a:pt x="871115" y="1725286"/>
                        <a:pt x="888261" y="1725185"/>
                      </a:cubicBezTo>
                      <a:lnTo>
                        <a:pt x="888261" y="1725185"/>
                      </a:lnTo>
                      <a:cubicBezTo>
                        <a:pt x="906618" y="1725185"/>
                        <a:pt x="927092" y="1721050"/>
                        <a:pt x="934656" y="1718630"/>
                      </a:cubicBezTo>
                      <a:lnTo>
                        <a:pt x="934656" y="1718630"/>
                      </a:lnTo>
                      <a:cubicBezTo>
                        <a:pt x="936976" y="1717823"/>
                        <a:pt x="937581" y="1716714"/>
                        <a:pt x="937682" y="1713284"/>
                      </a:cubicBezTo>
                      <a:lnTo>
                        <a:pt x="937682" y="1713284"/>
                      </a:lnTo>
                      <a:cubicBezTo>
                        <a:pt x="937884" y="1703299"/>
                        <a:pt x="926991" y="1683127"/>
                        <a:pt x="926890" y="1668100"/>
                      </a:cubicBezTo>
                      <a:lnTo>
                        <a:pt x="926890" y="1668100"/>
                      </a:lnTo>
                      <a:cubicBezTo>
                        <a:pt x="926890" y="1665881"/>
                        <a:pt x="926991" y="1663864"/>
                        <a:pt x="927697" y="1662149"/>
                      </a:cubicBezTo>
                      <a:lnTo>
                        <a:pt x="927697" y="1662149"/>
                      </a:lnTo>
                      <a:cubicBezTo>
                        <a:pt x="929513" y="1655694"/>
                        <a:pt x="935867" y="1653475"/>
                        <a:pt x="942120" y="1653475"/>
                      </a:cubicBezTo>
                      <a:lnTo>
                        <a:pt x="942120" y="1653475"/>
                      </a:lnTo>
                      <a:cubicBezTo>
                        <a:pt x="958762" y="1653979"/>
                        <a:pt x="983674" y="1665578"/>
                        <a:pt x="984783" y="1680001"/>
                      </a:cubicBezTo>
                      <a:lnTo>
                        <a:pt x="984783" y="1680001"/>
                      </a:lnTo>
                      <a:cubicBezTo>
                        <a:pt x="984783" y="1681514"/>
                        <a:pt x="984481" y="1682926"/>
                        <a:pt x="983775" y="1684439"/>
                      </a:cubicBezTo>
                      <a:lnTo>
                        <a:pt x="983775" y="1684439"/>
                      </a:lnTo>
                      <a:cubicBezTo>
                        <a:pt x="982060" y="1687868"/>
                        <a:pt x="981051" y="1691902"/>
                        <a:pt x="981051" y="1695937"/>
                      </a:cubicBezTo>
                      <a:lnTo>
                        <a:pt x="981051" y="1695937"/>
                      </a:lnTo>
                      <a:cubicBezTo>
                        <a:pt x="981253" y="1706426"/>
                        <a:pt x="987103" y="1716310"/>
                        <a:pt x="1007476" y="1716613"/>
                      </a:cubicBezTo>
                      <a:lnTo>
                        <a:pt x="1007476" y="1716613"/>
                      </a:lnTo>
                      <a:cubicBezTo>
                        <a:pt x="1010199" y="1716613"/>
                        <a:pt x="1013326" y="1716411"/>
                        <a:pt x="1016554" y="1716209"/>
                      </a:cubicBezTo>
                      <a:lnTo>
                        <a:pt x="1016554" y="1716209"/>
                      </a:lnTo>
                      <a:cubicBezTo>
                        <a:pt x="1024723" y="1715200"/>
                        <a:pt x="1030775" y="1714394"/>
                        <a:pt x="1035818" y="1714394"/>
                      </a:cubicBezTo>
                      <a:lnTo>
                        <a:pt x="1035818" y="1714394"/>
                      </a:lnTo>
                      <a:cubicBezTo>
                        <a:pt x="1055384" y="1714293"/>
                        <a:pt x="1053770" y="1726900"/>
                        <a:pt x="1055283" y="1751812"/>
                      </a:cubicBezTo>
                      <a:lnTo>
                        <a:pt x="1055283" y="1751812"/>
                      </a:lnTo>
                      <a:cubicBezTo>
                        <a:pt x="1056796" y="1771984"/>
                        <a:pt x="1076161" y="1779750"/>
                        <a:pt x="1094013" y="1779851"/>
                      </a:cubicBezTo>
                      <a:lnTo>
                        <a:pt x="1094013" y="1779851"/>
                      </a:lnTo>
                      <a:cubicBezTo>
                        <a:pt x="1102485" y="1779851"/>
                        <a:pt x="1110251" y="1777935"/>
                        <a:pt x="1114588" y="1775211"/>
                      </a:cubicBezTo>
                      <a:lnTo>
                        <a:pt x="1114588" y="1775211"/>
                      </a:lnTo>
                      <a:cubicBezTo>
                        <a:pt x="1129414" y="1765428"/>
                        <a:pt x="1170060" y="1724580"/>
                        <a:pt x="1182970" y="1714293"/>
                      </a:cubicBezTo>
                      <a:lnTo>
                        <a:pt x="1182970" y="1714293"/>
                      </a:lnTo>
                      <a:cubicBezTo>
                        <a:pt x="1193661" y="1706527"/>
                        <a:pt x="1188114" y="1685448"/>
                        <a:pt x="1220389" y="1685649"/>
                      </a:cubicBezTo>
                      <a:lnTo>
                        <a:pt x="1220389" y="1685649"/>
                      </a:lnTo>
                      <a:cubicBezTo>
                        <a:pt x="1225432" y="1685649"/>
                        <a:pt x="1230172" y="1685649"/>
                        <a:pt x="1234609" y="1685649"/>
                      </a:cubicBezTo>
                      <a:lnTo>
                        <a:pt x="1234609" y="1685649"/>
                      </a:lnTo>
                      <a:cubicBezTo>
                        <a:pt x="1257404" y="1685347"/>
                        <a:pt x="1269507" y="1684237"/>
                        <a:pt x="1273642" y="1664973"/>
                      </a:cubicBezTo>
                      <a:lnTo>
                        <a:pt x="1273642" y="1664973"/>
                      </a:lnTo>
                      <a:cubicBezTo>
                        <a:pt x="1279895" y="1637338"/>
                        <a:pt x="1335670" y="1602542"/>
                        <a:pt x="1365726" y="1562097"/>
                      </a:cubicBezTo>
                      <a:lnTo>
                        <a:pt x="1365726" y="1562097"/>
                      </a:lnTo>
                      <a:cubicBezTo>
                        <a:pt x="1396286" y="1521452"/>
                        <a:pt x="1457406" y="1442378"/>
                        <a:pt x="1466988" y="1405464"/>
                      </a:cubicBezTo>
                      <a:lnTo>
                        <a:pt x="1466988" y="1405464"/>
                      </a:lnTo>
                      <a:cubicBezTo>
                        <a:pt x="1468299" y="1400522"/>
                        <a:pt x="1468803" y="1395580"/>
                        <a:pt x="1468803" y="1390638"/>
                      </a:cubicBezTo>
                      <a:lnTo>
                        <a:pt x="1468803" y="1390638"/>
                      </a:lnTo>
                      <a:cubicBezTo>
                        <a:pt x="1469005" y="1359573"/>
                        <a:pt x="1443891" y="1330627"/>
                        <a:pt x="1425535" y="1324777"/>
                      </a:cubicBezTo>
                      <a:lnTo>
                        <a:pt x="1425535" y="1324777"/>
                      </a:lnTo>
                      <a:lnTo>
                        <a:pt x="1426443" y="1322256"/>
                      </a:lnTo>
                      <a:lnTo>
                        <a:pt x="1427250" y="1319532"/>
                      </a:lnTo>
                      <a:cubicBezTo>
                        <a:pt x="1448430" y="1326693"/>
                        <a:pt x="1474149" y="1356548"/>
                        <a:pt x="1474350" y="1390638"/>
                      </a:cubicBezTo>
                      <a:lnTo>
                        <a:pt x="1474350" y="1390638"/>
                      </a:lnTo>
                      <a:cubicBezTo>
                        <a:pt x="1474350" y="1395882"/>
                        <a:pt x="1473644" y="1401430"/>
                        <a:pt x="1472333" y="1406876"/>
                      </a:cubicBezTo>
                      <a:lnTo>
                        <a:pt x="1472333" y="1406876"/>
                      </a:lnTo>
                      <a:cubicBezTo>
                        <a:pt x="1461642" y="1446211"/>
                        <a:pt x="1400623" y="1524578"/>
                        <a:pt x="1370163" y="1565426"/>
                      </a:cubicBezTo>
                      <a:lnTo>
                        <a:pt x="1370163" y="1565426"/>
                      </a:lnTo>
                      <a:cubicBezTo>
                        <a:pt x="1339200" y="1606374"/>
                        <a:pt x="1283123" y="1643188"/>
                        <a:pt x="1279088" y="1666183"/>
                      </a:cubicBezTo>
                      <a:lnTo>
                        <a:pt x="1279088" y="1666183"/>
                      </a:lnTo>
                      <a:cubicBezTo>
                        <a:pt x="1274449" y="1689179"/>
                        <a:pt x="1256798" y="1691600"/>
                        <a:pt x="1234609" y="1691297"/>
                      </a:cubicBezTo>
                      <a:lnTo>
                        <a:pt x="1234609" y="1691297"/>
                      </a:lnTo>
                      <a:cubicBezTo>
                        <a:pt x="1230172" y="1691297"/>
                        <a:pt x="1225432" y="1691297"/>
                        <a:pt x="1220389" y="1691297"/>
                      </a:cubicBezTo>
                      <a:lnTo>
                        <a:pt x="1220389" y="1691297"/>
                      </a:lnTo>
                      <a:cubicBezTo>
                        <a:pt x="1191543" y="1691499"/>
                        <a:pt x="1201225" y="1705821"/>
                        <a:pt x="1186500" y="1718630"/>
                      </a:cubicBezTo>
                      <a:lnTo>
                        <a:pt x="1186500" y="1718630"/>
                      </a:lnTo>
                      <a:cubicBezTo>
                        <a:pt x="1173994" y="1728716"/>
                        <a:pt x="1133550" y="1769361"/>
                        <a:pt x="1117614" y="1779952"/>
                      </a:cubicBezTo>
                      <a:lnTo>
                        <a:pt x="1117614" y="1779952"/>
                      </a:lnTo>
                      <a:cubicBezTo>
                        <a:pt x="1111966" y="1783482"/>
                        <a:pt x="1103393" y="1785398"/>
                        <a:pt x="1094114" y="1785600"/>
                      </a:cubicBezTo>
                      <a:lnTo>
                        <a:pt x="1094114" y="1785600"/>
                      </a:lnTo>
                      <a:cubicBezTo>
                        <a:pt x="1075051" y="1785801"/>
                        <a:pt x="1051753" y="1776825"/>
                        <a:pt x="1049837" y="1752417"/>
                      </a:cubicBezTo>
                      <a:lnTo>
                        <a:pt x="1049837" y="1752417"/>
                      </a:lnTo>
                      <a:cubicBezTo>
                        <a:pt x="1047114" y="1724883"/>
                        <a:pt x="1051148" y="1720344"/>
                        <a:pt x="1035818" y="1720142"/>
                      </a:cubicBezTo>
                      <a:lnTo>
                        <a:pt x="1035818" y="1720142"/>
                      </a:lnTo>
                      <a:cubicBezTo>
                        <a:pt x="1031279" y="1720142"/>
                        <a:pt x="1025227" y="1720748"/>
                        <a:pt x="1017260" y="1721857"/>
                      </a:cubicBezTo>
                      <a:lnTo>
                        <a:pt x="1017260" y="1721857"/>
                      </a:lnTo>
                      <a:cubicBezTo>
                        <a:pt x="1013730" y="1722160"/>
                        <a:pt x="1010603" y="1722362"/>
                        <a:pt x="1007476" y="1722362"/>
                      </a:cubicBezTo>
                      <a:lnTo>
                        <a:pt x="1007476" y="1722362"/>
                      </a:lnTo>
                      <a:cubicBezTo>
                        <a:pt x="984985" y="1722261"/>
                        <a:pt x="975605" y="1709048"/>
                        <a:pt x="975504" y="1696139"/>
                      </a:cubicBezTo>
                      <a:lnTo>
                        <a:pt x="975504" y="1696139"/>
                      </a:lnTo>
                      <a:cubicBezTo>
                        <a:pt x="975504" y="1691096"/>
                        <a:pt x="976714" y="1686254"/>
                        <a:pt x="978832" y="1682421"/>
                      </a:cubicBezTo>
                      <a:lnTo>
                        <a:pt x="978832" y="1682421"/>
                      </a:lnTo>
                      <a:cubicBezTo>
                        <a:pt x="979135" y="1681615"/>
                        <a:pt x="979337" y="1680909"/>
                        <a:pt x="979337" y="1680203"/>
                      </a:cubicBezTo>
                      <a:lnTo>
                        <a:pt x="979337" y="1680203"/>
                      </a:lnTo>
                      <a:cubicBezTo>
                        <a:pt x="979337" y="1672941"/>
                        <a:pt x="956341" y="1659325"/>
                        <a:pt x="942221" y="1659325"/>
                      </a:cubicBezTo>
                      <a:lnTo>
                        <a:pt x="942221" y="1659325"/>
                      </a:lnTo>
                      <a:cubicBezTo>
                        <a:pt x="936875" y="1659426"/>
                        <a:pt x="933950" y="1660938"/>
                        <a:pt x="933043" y="1664166"/>
                      </a:cubicBezTo>
                      <a:lnTo>
                        <a:pt x="933043" y="1664166"/>
                      </a:lnTo>
                      <a:cubicBezTo>
                        <a:pt x="932639" y="1665074"/>
                        <a:pt x="932438" y="1666687"/>
                        <a:pt x="932438" y="1668403"/>
                      </a:cubicBezTo>
                      <a:lnTo>
                        <a:pt x="932438" y="1668403"/>
                      </a:lnTo>
                      <a:cubicBezTo>
                        <a:pt x="932337" y="1681211"/>
                        <a:pt x="943129" y="1700879"/>
                        <a:pt x="943330" y="1713587"/>
                      </a:cubicBezTo>
                      <a:lnTo>
                        <a:pt x="943330" y="1713587"/>
                      </a:lnTo>
                      <a:cubicBezTo>
                        <a:pt x="943431" y="1717924"/>
                        <a:pt x="941414" y="1722765"/>
                        <a:pt x="936472" y="1724278"/>
                      </a:cubicBezTo>
                      <a:lnTo>
                        <a:pt x="936472" y="1724278"/>
                      </a:lnTo>
                      <a:cubicBezTo>
                        <a:pt x="928100" y="1726900"/>
                        <a:pt x="907525" y="1731035"/>
                        <a:pt x="888362" y="1731035"/>
                      </a:cubicBezTo>
                      <a:lnTo>
                        <a:pt x="888362" y="1731035"/>
                      </a:lnTo>
                      <a:cubicBezTo>
                        <a:pt x="870914" y="1730934"/>
                        <a:pt x="853970" y="1728212"/>
                        <a:pt x="849128" y="1714999"/>
                      </a:cubicBezTo>
                      <a:lnTo>
                        <a:pt x="849128" y="1714999"/>
                      </a:lnTo>
                      <a:cubicBezTo>
                        <a:pt x="842068" y="1693012"/>
                        <a:pt x="826133" y="1682522"/>
                        <a:pt x="826032" y="1658115"/>
                      </a:cubicBezTo>
                      <a:lnTo>
                        <a:pt x="826032" y="1658115"/>
                      </a:lnTo>
                      <a:cubicBezTo>
                        <a:pt x="826032" y="1637640"/>
                        <a:pt x="815744" y="1606374"/>
                        <a:pt x="787504" y="1606374"/>
                      </a:cubicBezTo>
                      <a:lnTo>
                        <a:pt x="787504" y="1606374"/>
                      </a:lnTo>
                      <a:cubicBezTo>
                        <a:pt x="784780" y="1606374"/>
                        <a:pt x="781755" y="1606677"/>
                        <a:pt x="778527" y="1607383"/>
                      </a:cubicBezTo>
                      <a:lnTo>
                        <a:pt x="778527" y="1607383"/>
                      </a:lnTo>
                      <a:cubicBezTo>
                        <a:pt x="740201" y="1615351"/>
                        <a:pt x="739999" y="1618881"/>
                        <a:pt x="732032" y="1633908"/>
                      </a:cubicBezTo>
                      <a:lnTo>
                        <a:pt x="732032" y="1633908"/>
                      </a:lnTo>
                      <a:cubicBezTo>
                        <a:pt x="725072" y="1646920"/>
                        <a:pt x="730115" y="1685851"/>
                        <a:pt x="694008" y="1686254"/>
                      </a:cubicBezTo>
                      <a:lnTo>
                        <a:pt x="694008" y="1686254"/>
                      </a:lnTo>
                      <a:cubicBezTo>
                        <a:pt x="667986" y="1686153"/>
                        <a:pt x="641965" y="1669713"/>
                        <a:pt x="633190" y="1670218"/>
                      </a:cubicBezTo>
                      <a:lnTo>
                        <a:pt x="633190" y="1670218"/>
                      </a:lnTo>
                      <a:cubicBezTo>
                        <a:pt x="630870" y="1670520"/>
                        <a:pt x="631173" y="1669814"/>
                        <a:pt x="630669" y="1673445"/>
                      </a:cubicBezTo>
                      <a:lnTo>
                        <a:pt x="630669" y="1673445"/>
                      </a:lnTo>
                      <a:cubicBezTo>
                        <a:pt x="630669" y="1692205"/>
                        <a:pt x="620280" y="1715301"/>
                        <a:pt x="607269" y="1733456"/>
                      </a:cubicBezTo>
                      <a:lnTo>
                        <a:pt x="607269" y="1733456"/>
                      </a:lnTo>
                      <a:cubicBezTo>
                        <a:pt x="594763" y="1749997"/>
                        <a:pt x="581147" y="1856402"/>
                        <a:pt x="557345" y="1866892"/>
                      </a:cubicBezTo>
                      <a:lnTo>
                        <a:pt x="557345" y="1866892"/>
                      </a:lnTo>
                      <a:cubicBezTo>
                        <a:pt x="555428" y="1867295"/>
                        <a:pt x="553411" y="1867699"/>
                        <a:pt x="551495" y="1867699"/>
                      </a:cubicBezTo>
                      <a:lnTo>
                        <a:pt x="551495" y="1867699"/>
                      </a:lnTo>
                      <a:cubicBezTo>
                        <a:pt x="530516" y="1866791"/>
                        <a:pt x="513269" y="1833407"/>
                        <a:pt x="512967" y="1805368"/>
                      </a:cubicBezTo>
                      <a:lnTo>
                        <a:pt x="512967" y="1805368"/>
                      </a:lnTo>
                      <a:cubicBezTo>
                        <a:pt x="512967" y="1803654"/>
                        <a:pt x="513067" y="1802040"/>
                        <a:pt x="513168" y="1800527"/>
                      </a:cubicBezTo>
                      <a:lnTo>
                        <a:pt x="513168" y="1800527"/>
                      </a:lnTo>
                      <a:cubicBezTo>
                        <a:pt x="513370" y="1797703"/>
                        <a:pt x="513572" y="1795383"/>
                        <a:pt x="513572" y="1793366"/>
                      </a:cubicBezTo>
                      <a:lnTo>
                        <a:pt x="513572" y="1793366"/>
                      </a:lnTo>
                      <a:cubicBezTo>
                        <a:pt x="513673" y="1771783"/>
                        <a:pt x="503284" y="1772993"/>
                        <a:pt x="493198" y="1751006"/>
                      </a:cubicBezTo>
                      <a:lnTo>
                        <a:pt x="493198" y="1751006"/>
                      </a:lnTo>
                      <a:cubicBezTo>
                        <a:pt x="483112" y="1727001"/>
                        <a:pt x="481600" y="1676370"/>
                        <a:pt x="464151" y="1671024"/>
                      </a:cubicBezTo>
                      <a:lnTo>
                        <a:pt x="464151" y="1671024"/>
                      </a:lnTo>
                      <a:cubicBezTo>
                        <a:pt x="443173" y="1662452"/>
                        <a:pt x="425220" y="1629471"/>
                        <a:pt x="410999" y="1630278"/>
                      </a:cubicBezTo>
                      <a:lnTo>
                        <a:pt x="410999" y="1630278"/>
                      </a:lnTo>
                      <a:cubicBezTo>
                        <a:pt x="410797" y="1630278"/>
                        <a:pt x="410293" y="1630480"/>
                        <a:pt x="409687" y="1630480"/>
                      </a:cubicBezTo>
                      <a:lnTo>
                        <a:pt x="409687" y="1630480"/>
                      </a:lnTo>
                      <a:cubicBezTo>
                        <a:pt x="394256" y="1631791"/>
                        <a:pt x="316998" y="1701484"/>
                        <a:pt x="315385" y="1749997"/>
                      </a:cubicBezTo>
                      <a:lnTo>
                        <a:pt x="315385" y="1749997"/>
                      </a:lnTo>
                      <a:cubicBezTo>
                        <a:pt x="312662" y="1802544"/>
                        <a:pt x="266166" y="1843392"/>
                        <a:pt x="248415" y="1861143"/>
                      </a:cubicBezTo>
                      <a:lnTo>
                        <a:pt x="248415" y="1861143"/>
                      </a:lnTo>
                      <a:cubicBezTo>
                        <a:pt x="241556" y="1867598"/>
                        <a:pt x="228142" y="1868304"/>
                        <a:pt x="211399" y="1868405"/>
                      </a:cubicBezTo>
                      <a:lnTo>
                        <a:pt x="211399" y="1868405"/>
                      </a:lnTo>
                      <a:cubicBezTo>
                        <a:pt x="196674" y="1868405"/>
                        <a:pt x="179528" y="1867598"/>
                        <a:pt x="162987" y="1867598"/>
                      </a:cubicBezTo>
                      <a:lnTo>
                        <a:pt x="162987" y="1867598"/>
                      </a:lnTo>
                      <a:cubicBezTo>
                        <a:pt x="134949" y="1867396"/>
                        <a:pt x="108524" y="1870725"/>
                        <a:pt x="98741" y="1883836"/>
                      </a:cubicBezTo>
                      <a:lnTo>
                        <a:pt x="98741" y="1883836"/>
                      </a:lnTo>
                      <a:cubicBezTo>
                        <a:pt x="85125" y="1901083"/>
                        <a:pt x="71005" y="1910765"/>
                        <a:pt x="59002" y="1910967"/>
                      </a:cubicBezTo>
                      <a:lnTo>
                        <a:pt x="59002" y="1910967"/>
                      </a:lnTo>
                      <a:cubicBezTo>
                        <a:pt x="48009" y="1909757"/>
                        <a:pt x="40646" y="1899973"/>
                        <a:pt x="40646" y="1883533"/>
                      </a:cubicBezTo>
                      <a:lnTo>
                        <a:pt x="40646" y="1883533"/>
                      </a:lnTo>
                      <a:close/>
                    </a:path>
                  </a:pathLst>
                </a:custGeom>
                <a:solidFill>
                  <a:srgbClr val="ABDEF6"/>
                </a:solidFill>
                <a:ln w="10085" cap="flat">
                  <a:solidFill>
                    <a:srgbClr val="FFFFFF"/>
                  </a:solidFill>
                  <a:prstDash val="solid"/>
                  <a:miter/>
                </a:ln>
              </p:spPr>
              <p:txBody>
                <a:bodyPr rtlCol="0" anchor="ctr"/>
                <a:lstStyle/>
                <a:p>
                  <a:endParaRPr lang="fr-FR" sz="900"/>
                </a:p>
              </p:txBody>
            </p:sp>
          </p:grpSp>
          <p:grpSp>
            <p:nvGrpSpPr>
              <p:cNvPr id="51" name="Graphique 17">
                <a:extLst>
                  <a:ext uri="{FF2B5EF4-FFF2-40B4-BE49-F238E27FC236}">
                    <a16:creationId xmlns:a16="http://schemas.microsoft.com/office/drawing/2014/main" id="{315FCDE6-91BC-7DCA-A3A4-5BEBB58EF3DB}"/>
                  </a:ext>
                </a:extLst>
              </p:cNvPr>
              <p:cNvGrpSpPr/>
              <p:nvPr/>
            </p:nvGrpSpPr>
            <p:grpSpPr>
              <a:xfrm>
                <a:off x="4774998" y="6010780"/>
                <a:ext cx="1190231" cy="983774"/>
                <a:chOff x="4774998" y="6010780"/>
                <a:chExt cx="1190231" cy="983774"/>
              </a:xfrm>
            </p:grpSpPr>
            <p:sp>
              <p:nvSpPr>
                <p:cNvPr id="52" name="Forme libre : forme 51">
                  <a:extLst>
                    <a:ext uri="{FF2B5EF4-FFF2-40B4-BE49-F238E27FC236}">
                      <a16:creationId xmlns:a16="http://schemas.microsoft.com/office/drawing/2014/main" id="{41959AAE-FF22-7994-3A10-34BD229A51FE}"/>
                    </a:ext>
                  </a:extLst>
                </p:cNvPr>
                <p:cNvSpPr/>
                <p:nvPr/>
              </p:nvSpPr>
              <p:spPr>
                <a:xfrm>
                  <a:off x="4781973" y="6016932"/>
                  <a:ext cx="1176376" cy="969712"/>
                </a:xfrm>
                <a:custGeom>
                  <a:avLst/>
                  <a:gdLst>
                    <a:gd name="connsiteX0" fmla="*/ 1146847 w 1176376"/>
                    <a:gd name="connsiteY0" fmla="*/ 426127 h 969712"/>
                    <a:gd name="connsiteX1" fmla="*/ 1150276 w 1176376"/>
                    <a:gd name="connsiteY1" fmla="*/ 318713 h 969712"/>
                    <a:gd name="connsiteX2" fmla="*/ 1108218 w 1176376"/>
                    <a:gd name="connsiteY2" fmla="*/ 284320 h 969712"/>
                    <a:gd name="connsiteX3" fmla="*/ 1028842 w 1176376"/>
                    <a:gd name="connsiteY3" fmla="*/ 222091 h 969712"/>
                    <a:gd name="connsiteX4" fmla="*/ 988096 w 1176376"/>
                    <a:gd name="connsiteY4" fmla="*/ 144833 h 969712"/>
                    <a:gd name="connsiteX5" fmla="*/ 940894 w 1176376"/>
                    <a:gd name="connsiteY5" fmla="*/ 82603 h 969712"/>
                    <a:gd name="connsiteX6" fmla="*/ 908720 w 1176376"/>
                    <a:gd name="connsiteY6" fmla="*/ 106204 h 969712"/>
                    <a:gd name="connsiteX7" fmla="*/ 852945 w 1176376"/>
                    <a:gd name="connsiteY7" fmla="*/ 121232 h 969712"/>
                    <a:gd name="connsiteX8" fmla="*/ 816535 w 1176376"/>
                    <a:gd name="connsiteY8" fmla="*/ 134041 h 969712"/>
                    <a:gd name="connsiteX9" fmla="*/ 769334 w 1176376"/>
                    <a:gd name="connsiteY9" fmla="*/ 119013 h 969712"/>
                    <a:gd name="connsiteX10" fmla="*/ 728587 w 1176376"/>
                    <a:gd name="connsiteY10" fmla="*/ 134041 h 969712"/>
                    <a:gd name="connsiteX11" fmla="*/ 664239 w 1176376"/>
                    <a:gd name="connsiteY11" fmla="*/ 106204 h 969712"/>
                    <a:gd name="connsiteX12" fmla="*/ 567717 w 1176376"/>
                    <a:gd name="connsiteY12" fmla="*/ 93294 h 969712"/>
                    <a:gd name="connsiteX13" fmla="*/ 496914 w 1176376"/>
                    <a:gd name="connsiteY13" fmla="*/ 50429 h 969712"/>
                    <a:gd name="connsiteX14" fmla="*/ 428331 w 1176376"/>
                    <a:gd name="connsiteY14" fmla="*/ 43974 h 969712"/>
                    <a:gd name="connsiteX15" fmla="*/ 301854 w 1176376"/>
                    <a:gd name="connsiteY15" fmla="*/ 56783 h 969712"/>
                    <a:gd name="connsiteX16" fmla="*/ 145221 w 1176376"/>
                    <a:gd name="connsiteY16" fmla="*/ 0 h 969712"/>
                    <a:gd name="connsiteX17" fmla="*/ 111635 w 1176376"/>
                    <a:gd name="connsiteY17" fmla="*/ 83309 h 969712"/>
                    <a:gd name="connsiteX18" fmla="*/ 39218 w 1176376"/>
                    <a:gd name="connsiteY18" fmla="*/ 134545 h 969712"/>
                    <a:gd name="connsiteX19" fmla="*/ 3918 w 1176376"/>
                    <a:gd name="connsiteY19" fmla="*/ 180436 h 969712"/>
                    <a:gd name="connsiteX20" fmla="*/ 16323 w 1176376"/>
                    <a:gd name="connsiteY20" fmla="*/ 226327 h 969712"/>
                    <a:gd name="connsiteX21" fmla="*/ 12390 w 1176376"/>
                    <a:gd name="connsiteY21" fmla="*/ 234799 h 969712"/>
                    <a:gd name="connsiteX22" fmla="*/ 33772 w 1176376"/>
                    <a:gd name="connsiteY22" fmla="*/ 262131 h 969712"/>
                    <a:gd name="connsiteX23" fmla="*/ 57776 w 1176376"/>
                    <a:gd name="connsiteY23" fmla="*/ 334245 h 969712"/>
                    <a:gd name="connsiteX24" fmla="*/ 78856 w 1176376"/>
                    <a:gd name="connsiteY24" fmla="*/ 415436 h 969712"/>
                    <a:gd name="connsiteX25" fmla="*/ 93884 w 1176376"/>
                    <a:gd name="connsiteY25" fmla="*/ 499553 h 969712"/>
                    <a:gd name="connsiteX26" fmla="*/ 133017 w 1176376"/>
                    <a:gd name="connsiteY26" fmla="*/ 559664 h 969712"/>
                    <a:gd name="connsiteX27" fmla="*/ 175075 w 1176376"/>
                    <a:gd name="connsiteY27" fmla="*/ 619776 h 969712"/>
                    <a:gd name="connsiteX28" fmla="*/ 232262 w 1176376"/>
                    <a:gd name="connsiteY28" fmla="*/ 676862 h 969712"/>
                    <a:gd name="connsiteX29" fmla="*/ 277245 w 1176376"/>
                    <a:gd name="connsiteY29" fmla="*/ 743025 h 969712"/>
                    <a:gd name="connsiteX30" fmla="*/ 304376 w 1176376"/>
                    <a:gd name="connsiteY30" fmla="*/ 815139 h 969712"/>
                    <a:gd name="connsiteX31" fmla="*/ 364487 w 1176376"/>
                    <a:gd name="connsiteY31" fmla="*/ 818165 h 969712"/>
                    <a:gd name="connsiteX32" fmla="*/ 445578 w 1176376"/>
                    <a:gd name="connsiteY32" fmla="*/ 785083 h 969712"/>
                    <a:gd name="connsiteX33" fmla="*/ 571852 w 1176376"/>
                    <a:gd name="connsiteY33" fmla="*/ 821090 h 969712"/>
                    <a:gd name="connsiteX34" fmla="*/ 598882 w 1176376"/>
                    <a:gd name="connsiteY34" fmla="*/ 914283 h 969712"/>
                    <a:gd name="connsiteX35" fmla="*/ 628938 w 1176376"/>
                    <a:gd name="connsiteY35" fmla="*/ 962393 h 969712"/>
                    <a:gd name="connsiteX36" fmla="*/ 722132 w 1176376"/>
                    <a:gd name="connsiteY36" fmla="*/ 965418 h 969712"/>
                    <a:gd name="connsiteX37" fmla="*/ 803323 w 1176376"/>
                    <a:gd name="connsiteY37" fmla="*/ 932337 h 969712"/>
                    <a:gd name="connsiteX38" fmla="*/ 854458 w 1176376"/>
                    <a:gd name="connsiteY38" fmla="*/ 920334 h 969712"/>
                    <a:gd name="connsiteX39" fmla="*/ 902568 w 1176376"/>
                    <a:gd name="connsiteY39" fmla="*/ 860223 h 969712"/>
                    <a:gd name="connsiteX40" fmla="*/ 920621 w 1176376"/>
                    <a:gd name="connsiteY40" fmla="*/ 773081 h 969712"/>
                    <a:gd name="connsiteX41" fmla="*/ 986785 w 1176376"/>
                    <a:gd name="connsiteY41" fmla="*/ 734049 h 969712"/>
                    <a:gd name="connsiteX42" fmla="*/ 1100957 w 1176376"/>
                    <a:gd name="connsiteY42" fmla="*/ 740100 h 969712"/>
                    <a:gd name="connsiteX43" fmla="*/ 1125465 w 1176376"/>
                    <a:gd name="connsiteY43" fmla="*/ 731326 h 969712"/>
                    <a:gd name="connsiteX44" fmla="*/ 1114472 w 1176376"/>
                    <a:gd name="connsiteY44" fmla="*/ 681098 h 969712"/>
                    <a:gd name="connsiteX45" fmla="*/ 1174583 w 1176376"/>
                    <a:gd name="connsiteY45" fmla="*/ 545947 h 969712"/>
                    <a:gd name="connsiteX46" fmla="*/ 1146847 w 1176376"/>
                    <a:gd name="connsiteY46" fmla="*/ 426127 h 969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176376" h="969712">
                      <a:moveTo>
                        <a:pt x="1146847" y="426127"/>
                      </a:moveTo>
                      <a:cubicBezTo>
                        <a:pt x="1139081" y="398089"/>
                        <a:pt x="1145939" y="345642"/>
                        <a:pt x="1150276" y="318713"/>
                      </a:cubicBezTo>
                      <a:cubicBezTo>
                        <a:pt x="1136459" y="316696"/>
                        <a:pt x="1120321" y="302475"/>
                        <a:pt x="1108218" y="284320"/>
                      </a:cubicBezTo>
                      <a:cubicBezTo>
                        <a:pt x="1090971" y="258602"/>
                        <a:pt x="1052443" y="254265"/>
                        <a:pt x="1028842" y="222091"/>
                      </a:cubicBezTo>
                      <a:cubicBezTo>
                        <a:pt x="1005343" y="189917"/>
                        <a:pt x="992332" y="183462"/>
                        <a:pt x="988096" y="144833"/>
                      </a:cubicBezTo>
                      <a:cubicBezTo>
                        <a:pt x="983860" y="106204"/>
                        <a:pt x="964394" y="86940"/>
                        <a:pt x="940894" y="82603"/>
                      </a:cubicBezTo>
                      <a:cubicBezTo>
                        <a:pt x="917394" y="78367"/>
                        <a:pt x="908720" y="106204"/>
                        <a:pt x="908720" y="106204"/>
                      </a:cubicBezTo>
                      <a:cubicBezTo>
                        <a:pt x="908720" y="106204"/>
                        <a:pt x="867973" y="101867"/>
                        <a:pt x="852945" y="121232"/>
                      </a:cubicBezTo>
                      <a:cubicBezTo>
                        <a:pt x="838018" y="140496"/>
                        <a:pt x="816535" y="134041"/>
                        <a:pt x="816535" y="134041"/>
                      </a:cubicBezTo>
                      <a:cubicBezTo>
                        <a:pt x="816535" y="134041"/>
                        <a:pt x="797271" y="101867"/>
                        <a:pt x="769334" y="119013"/>
                      </a:cubicBezTo>
                      <a:cubicBezTo>
                        <a:pt x="741497" y="136159"/>
                        <a:pt x="750070" y="140496"/>
                        <a:pt x="728587" y="134041"/>
                      </a:cubicBezTo>
                      <a:cubicBezTo>
                        <a:pt x="707205" y="127586"/>
                        <a:pt x="711441" y="97631"/>
                        <a:pt x="664239" y="106204"/>
                      </a:cubicBezTo>
                      <a:cubicBezTo>
                        <a:pt x="617138" y="114777"/>
                        <a:pt x="591318" y="110440"/>
                        <a:pt x="567717" y="93294"/>
                      </a:cubicBezTo>
                      <a:cubicBezTo>
                        <a:pt x="544116" y="76148"/>
                        <a:pt x="539779" y="33183"/>
                        <a:pt x="496914" y="50429"/>
                      </a:cubicBezTo>
                      <a:cubicBezTo>
                        <a:pt x="454050" y="67575"/>
                        <a:pt x="469077" y="63238"/>
                        <a:pt x="428331" y="43974"/>
                      </a:cubicBezTo>
                      <a:cubicBezTo>
                        <a:pt x="387584" y="24710"/>
                        <a:pt x="340483" y="28947"/>
                        <a:pt x="301854" y="56783"/>
                      </a:cubicBezTo>
                      <a:cubicBezTo>
                        <a:pt x="268671" y="80788"/>
                        <a:pt x="170435" y="22290"/>
                        <a:pt x="145221" y="0"/>
                      </a:cubicBezTo>
                      <a:cubicBezTo>
                        <a:pt x="119603" y="10590"/>
                        <a:pt x="116173" y="47404"/>
                        <a:pt x="111635" y="83309"/>
                      </a:cubicBezTo>
                      <a:cubicBezTo>
                        <a:pt x="106390" y="125670"/>
                        <a:pt x="74519" y="138075"/>
                        <a:pt x="39218" y="134545"/>
                      </a:cubicBezTo>
                      <a:cubicBezTo>
                        <a:pt x="3918" y="131015"/>
                        <a:pt x="-6672" y="143421"/>
                        <a:pt x="3918" y="180436"/>
                      </a:cubicBezTo>
                      <a:cubicBezTo>
                        <a:pt x="14508" y="217552"/>
                        <a:pt x="16323" y="226327"/>
                        <a:pt x="16323" y="226327"/>
                      </a:cubicBezTo>
                      <a:cubicBezTo>
                        <a:pt x="16323" y="226327"/>
                        <a:pt x="14508" y="229958"/>
                        <a:pt x="12390" y="234799"/>
                      </a:cubicBezTo>
                      <a:cubicBezTo>
                        <a:pt x="20257" y="239539"/>
                        <a:pt x="28225" y="247709"/>
                        <a:pt x="33772" y="262131"/>
                      </a:cubicBezTo>
                      <a:cubicBezTo>
                        <a:pt x="48800" y="301164"/>
                        <a:pt x="57776" y="310241"/>
                        <a:pt x="57776" y="334245"/>
                      </a:cubicBezTo>
                      <a:cubicBezTo>
                        <a:pt x="57776" y="358351"/>
                        <a:pt x="66853" y="379329"/>
                        <a:pt x="78856" y="415436"/>
                      </a:cubicBezTo>
                      <a:cubicBezTo>
                        <a:pt x="90858" y="451544"/>
                        <a:pt x="69879" y="475548"/>
                        <a:pt x="93884" y="499553"/>
                      </a:cubicBezTo>
                      <a:cubicBezTo>
                        <a:pt x="117989" y="523658"/>
                        <a:pt x="99935" y="532634"/>
                        <a:pt x="133017" y="559664"/>
                      </a:cubicBezTo>
                      <a:cubicBezTo>
                        <a:pt x="166099" y="586694"/>
                        <a:pt x="175075" y="595772"/>
                        <a:pt x="175075" y="619776"/>
                      </a:cubicBezTo>
                      <a:cubicBezTo>
                        <a:pt x="175075" y="643780"/>
                        <a:pt x="190103" y="664860"/>
                        <a:pt x="232262" y="676862"/>
                      </a:cubicBezTo>
                      <a:cubicBezTo>
                        <a:pt x="274320" y="688864"/>
                        <a:pt x="271294" y="715894"/>
                        <a:pt x="277245" y="743025"/>
                      </a:cubicBezTo>
                      <a:cubicBezTo>
                        <a:pt x="283296" y="770055"/>
                        <a:pt x="298324" y="788109"/>
                        <a:pt x="304376" y="815139"/>
                      </a:cubicBezTo>
                      <a:cubicBezTo>
                        <a:pt x="310427" y="842169"/>
                        <a:pt x="319403" y="842270"/>
                        <a:pt x="364487" y="818165"/>
                      </a:cubicBezTo>
                      <a:cubicBezTo>
                        <a:pt x="409571" y="794060"/>
                        <a:pt x="388492" y="776107"/>
                        <a:pt x="445578" y="785083"/>
                      </a:cubicBezTo>
                      <a:cubicBezTo>
                        <a:pt x="502663" y="794060"/>
                        <a:pt x="553799" y="779032"/>
                        <a:pt x="571852" y="821090"/>
                      </a:cubicBezTo>
                      <a:cubicBezTo>
                        <a:pt x="589805" y="863148"/>
                        <a:pt x="604934" y="872124"/>
                        <a:pt x="598882" y="914283"/>
                      </a:cubicBezTo>
                      <a:cubicBezTo>
                        <a:pt x="592831" y="956442"/>
                        <a:pt x="580829" y="983472"/>
                        <a:pt x="628938" y="962393"/>
                      </a:cubicBezTo>
                      <a:cubicBezTo>
                        <a:pt x="677048" y="941313"/>
                        <a:pt x="689050" y="974395"/>
                        <a:pt x="722132" y="965418"/>
                      </a:cubicBezTo>
                      <a:cubicBezTo>
                        <a:pt x="755213" y="956442"/>
                        <a:pt x="788295" y="926386"/>
                        <a:pt x="803323" y="932337"/>
                      </a:cubicBezTo>
                      <a:cubicBezTo>
                        <a:pt x="818351" y="938388"/>
                        <a:pt x="821377" y="923360"/>
                        <a:pt x="854458" y="920334"/>
                      </a:cubicBezTo>
                      <a:cubicBezTo>
                        <a:pt x="887540" y="917309"/>
                        <a:pt x="860409" y="872225"/>
                        <a:pt x="902568" y="860223"/>
                      </a:cubicBezTo>
                      <a:cubicBezTo>
                        <a:pt x="944626" y="848221"/>
                        <a:pt x="920621" y="791034"/>
                        <a:pt x="920621" y="773081"/>
                      </a:cubicBezTo>
                      <a:cubicBezTo>
                        <a:pt x="920621" y="755027"/>
                        <a:pt x="956729" y="724971"/>
                        <a:pt x="986785" y="734049"/>
                      </a:cubicBezTo>
                      <a:cubicBezTo>
                        <a:pt x="1016840" y="743025"/>
                        <a:pt x="1019765" y="758053"/>
                        <a:pt x="1100957" y="740100"/>
                      </a:cubicBezTo>
                      <a:cubicBezTo>
                        <a:pt x="1109025" y="738285"/>
                        <a:pt x="1117296" y="734856"/>
                        <a:pt x="1125465" y="731326"/>
                      </a:cubicBezTo>
                      <a:cubicBezTo>
                        <a:pt x="1116892" y="717407"/>
                        <a:pt x="1112353" y="701572"/>
                        <a:pt x="1114472" y="681098"/>
                      </a:cubicBezTo>
                      <a:cubicBezTo>
                        <a:pt x="1121027" y="620986"/>
                        <a:pt x="1166010" y="593149"/>
                        <a:pt x="1174583" y="545947"/>
                      </a:cubicBezTo>
                      <a:cubicBezTo>
                        <a:pt x="1183358" y="499048"/>
                        <a:pt x="1157639" y="464756"/>
                        <a:pt x="1146847" y="426127"/>
                      </a:cubicBezTo>
                      <a:close/>
                    </a:path>
                  </a:pathLst>
                </a:custGeom>
                <a:solidFill>
                  <a:srgbClr val="E4002B"/>
                </a:solidFill>
                <a:ln w="10085" cap="flat">
                  <a:noFill/>
                  <a:prstDash val="solid"/>
                  <a:miter/>
                </a:ln>
              </p:spPr>
              <p:txBody>
                <a:bodyPr rtlCol="0" anchor="ctr"/>
                <a:lstStyle/>
                <a:p>
                  <a:endParaRPr lang="fr-FR" sz="900"/>
                </a:p>
              </p:txBody>
            </p:sp>
            <p:sp>
              <p:nvSpPr>
                <p:cNvPr id="53" name="Forme libre : forme 52">
                  <a:extLst>
                    <a:ext uri="{FF2B5EF4-FFF2-40B4-BE49-F238E27FC236}">
                      <a16:creationId xmlns:a16="http://schemas.microsoft.com/office/drawing/2014/main" id="{2ADE1B2B-833A-5AEC-7E69-B7B921A21DF7}"/>
                    </a:ext>
                  </a:extLst>
                </p:cNvPr>
                <p:cNvSpPr/>
                <p:nvPr/>
              </p:nvSpPr>
              <p:spPr>
                <a:xfrm>
                  <a:off x="4774998" y="6010780"/>
                  <a:ext cx="1190231" cy="983774"/>
                </a:xfrm>
                <a:custGeom>
                  <a:avLst/>
                  <a:gdLst>
                    <a:gd name="connsiteX0" fmla="*/ 593250 w 1190231"/>
                    <a:gd name="connsiteY0" fmla="*/ 962392 h 983774"/>
                    <a:gd name="connsiteX1" fmla="*/ 599201 w 1190231"/>
                    <a:gd name="connsiteY1" fmla="*/ 919729 h 983774"/>
                    <a:gd name="connsiteX2" fmla="*/ 599201 w 1190231"/>
                    <a:gd name="connsiteY2" fmla="*/ 919729 h 983774"/>
                    <a:gd name="connsiteX3" fmla="*/ 600411 w 1190231"/>
                    <a:gd name="connsiteY3" fmla="*/ 903390 h 983774"/>
                    <a:gd name="connsiteX4" fmla="*/ 600411 w 1190231"/>
                    <a:gd name="connsiteY4" fmla="*/ 903390 h 983774"/>
                    <a:gd name="connsiteX5" fmla="*/ 572574 w 1190231"/>
                    <a:gd name="connsiteY5" fmla="*/ 830268 h 983774"/>
                    <a:gd name="connsiteX6" fmla="*/ 572574 w 1190231"/>
                    <a:gd name="connsiteY6" fmla="*/ 830268 h 983774"/>
                    <a:gd name="connsiteX7" fmla="*/ 451544 w 1190231"/>
                    <a:gd name="connsiteY7" fmla="*/ 798396 h 983774"/>
                    <a:gd name="connsiteX8" fmla="*/ 451544 w 1190231"/>
                    <a:gd name="connsiteY8" fmla="*/ 798396 h 983774"/>
                    <a:gd name="connsiteX9" fmla="*/ 428649 w 1190231"/>
                    <a:gd name="connsiteY9" fmla="*/ 795976 h 983774"/>
                    <a:gd name="connsiteX10" fmla="*/ 428649 w 1190231"/>
                    <a:gd name="connsiteY10" fmla="*/ 795976 h 983774"/>
                    <a:gd name="connsiteX11" fmla="*/ 374891 w 1190231"/>
                    <a:gd name="connsiteY11" fmla="*/ 830772 h 983774"/>
                    <a:gd name="connsiteX12" fmla="*/ 374891 w 1190231"/>
                    <a:gd name="connsiteY12" fmla="*/ 830772 h 983774"/>
                    <a:gd name="connsiteX13" fmla="*/ 327588 w 1190231"/>
                    <a:gd name="connsiteY13" fmla="*/ 849128 h 983774"/>
                    <a:gd name="connsiteX14" fmla="*/ 327588 w 1190231"/>
                    <a:gd name="connsiteY14" fmla="*/ 849128 h 983774"/>
                    <a:gd name="connsiteX15" fmla="*/ 304694 w 1190231"/>
                    <a:gd name="connsiteY15" fmla="*/ 823006 h 983774"/>
                    <a:gd name="connsiteX16" fmla="*/ 304694 w 1190231"/>
                    <a:gd name="connsiteY16" fmla="*/ 823006 h 983774"/>
                    <a:gd name="connsiteX17" fmla="*/ 277563 w 1190231"/>
                    <a:gd name="connsiteY17" fmla="*/ 750892 h 983774"/>
                    <a:gd name="connsiteX18" fmla="*/ 277563 w 1190231"/>
                    <a:gd name="connsiteY18" fmla="*/ 750892 h 983774"/>
                    <a:gd name="connsiteX19" fmla="*/ 237320 w 1190231"/>
                    <a:gd name="connsiteY19" fmla="*/ 689973 h 983774"/>
                    <a:gd name="connsiteX20" fmla="*/ 237320 w 1190231"/>
                    <a:gd name="connsiteY20" fmla="*/ 689973 h 983774"/>
                    <a:gd name="connsiteX21" fmla="*/ 175191 w 1190231"/>
                    <a:gd name="connsiteY21" fmla="*/ 626231 h 983774"/>
                    <a:gd name="connsiteX22" fmla="*/ 175191 w 1190231"/>
                    <a:gd name="connsiteY22" fmla="*/ 626231 h 983774"/>
                    <a:gd name="connsiteX23" fmla="*/ 135554 w 1190231"/>
                    <a:gd name="connsiteY23" fmla="*/ 571565 h 983774"/>
                    <a:gd name="connsiteX24" fmla="*/ 135554 w 1190231"/>
                    <a:gd name="connsiteY24" fmla="*/ 571565 h 983774"/>
                    <a:gd name="connsiteX25" fmla="*/ 96017 w 1190231"/>
                    <a:gd name="connsiteY25" fmla="*/ 510949 h 983774"/>
                    <a:gd name="connsiteX26" fmla="*/ 96017 w 1190231"/>
                    <a:gd name="connsiteY26" fmla="*/ 510949 h 983774"/>
                    <a:gd name="connsiteX27" fmla="*/ 81696 w 1190231"/>
                    <a:gd name="connsiteY27" fmla="*/ 474943 h 983774"/>
                    <a:gd name="connsiteX28" fmla="*/ 81696 w 1190231"/>
                    <a:gd name="connsiteY28" fmla="*/ 474943 h 983774"/>
                    <a:gd name="connsiteX29" fmla="*/ 82906 w 1190231"/>
                    <a:gd name="connsiteY29" fmla="*/ 448115 h 983774"/>
                    <a:gd name="connsiteX30" fmla="*/ 82906 w 1190231"/>
                    <a:gd name="connsiteY30" fmla="*/ 448115 h 983774"/>
                    <a:gd name="connsiteX31" fmla="*/ 79275 w 1190231"/>
                    <a:gd name="connsiteY31" fmla="*/ 424009 h 983774"/>
                    <a:gd name="connsiteX32" fmla="*/ 79275 w 1190231"/>
                    <a:gd name="connsiteY32" fmla="*/ 424009 h 983774"/>
                    <a:gd name="connsiteX33" fmla="*/ 57893 w 1190231"/>
                    <a:gd name="connsiteY33" fmla="*/ 340700 h 983774"/>
                    <a:gd name="connsiteX34" fmla="*/ 57893 w 1190231"/>
                    <a:gd name="connsiteY34" fmla="*/ 340700 h 983774"/>
                    <a:gd name="connsiteX35" fmla="*/ 34393 w 1190231"/>
                    <a:gd name="connsiteY35" fmla="*/ 271007 h 983774"/>
                    <a:gd name="connsiteX36" fmla="*/ 34393 w 1190231"/>
                    <a:gd name="connsiteY36" fmla="*/ 271007 h 983774"/>
                    <a:gd name="connsiteX37" fmla="*/ 15835 w 1190231"/>
                    <a:gd name="connsiteY37" fmla="*/ 247103 h 983774"/>
                    <a:gd name="connsiteX38" fmla="*/ 15835 w 1190231"/>
                    <a:gd name="connsiteY38" fmla="*/ 247103 h 983774"/>
                    <a:gd name="connsiteX39" fmla="*/ 13011 w 1190231"/>
                    <a:gd name="connsiteY39" fmla="*/ 238430 h 983774"/>
                    <a:gd name="connsiteX40" fmla="*/ 13011 w 1190231"/>
                    <a:gd name="connsiteY40" fmla="*/ 238430 h 983774"/>
                    <a:gd name="connsiteX41" fmla="*/ 16036 w 1190231"/>
                    <a:gd name="connsiteY41" fmla="*/ 231874 h 983774"/>
                    <a:gd name="connsiteX42" fmla="*/ 16036 w 1190231"/>
                    <a:gd name="connsiteY42" fmla="*/ 231874 h 983774"/>
                    <a:gd name="connsiteX43" fmla="*/ 4236 w 1190231"/>
                    <a:gd name="connsiteY43" fmla="*/ 188706 h 983774"/>
                    <a:gd name="connsiteX44" fmla="*/ 4236 w 1190231"/>
                    <a:gd name="connsiteY44" fmla="*/ 188706 h 983774"/>
                    <a:gd name="connsiteX45" fmla="*/ 0 w 1190231"/>
                    <a:gd name="connsiteY45" fmla="*/ 163794 h 983774"/>
                    <a:gd name="connsiteX46" fmla="*/ 0 w 1190231"/>
                    <a:gd name="connsiteY46" fmla="*/ 163794 h 983774"/>
                    <a:gd name="connsiteX47" fmla="*/ 35502 w 1190231"/>
                    <a:gd name="connsiteY47" fmla="*/ 133335 h 983774"/>
                    <a:gd name="connsiteX48" fmla="*/ 35502 w 1190231"/>
                    <a:gd name="connsiteY48" fmla="*/ 133335 h 983774"/>
                    <a:gd name="connsiteX49" fmla="*/ 46798 w 1190231"/>
                    <a:gd name="connsiteY49" fmla="*/ 133940 h 983774"/>
                    <a:gd name="connsiteX50" fmla="*/ 46798 w 1190231"/>
                    <a:gd name="connsiteY50" fmla="*/ 133940 h 983774"/>
                    <a:gd name="connsiteX51" fmla="*/ 57288 w 1190231"/>
                    <a:gd name="connsiteY51" fmla="*/ 134545 h 983774"/>
                    <a:gd name="connsiteX52" fmla="*/ 57288 w 1190231"/>
                    <a:gd name="connsiteY52" fmla="*/ 134545 h 983774"/>
                    <a:gd name="connsiteX53" fmla="*/ 111650 w 1190231"/>
                    <a:gd name="connsiteY53" fmla="*/ 88856 h 983774"/>
                    <a:gd name="connsiteX54" fmla="*/ 111650 w 1190231"/>
                    <a:gd name="connsiteY54" fmla="*/ 88856 h 983774"/>
                    <a:gd name="connsiteX55" fmla="*/ 149472 w 1190231"/>
                    <a:gd name="connsiteY55" fmla="*/ 0 h 983774"/>
                    <a:gd name="connsiteX56" fmla="*/ 149472 w 1190231"/>
                    <a:gd name="connsiteY56" fmla="*/ 0 h 983774"/>
                    <a:gd name="connsiteX57" fmla="*/ 156734 w 1190231"/>
                    <a:gd name="connsiteY57" fmla="*/ 1210 h 983774"/>
                    <a:gd name="connsiteX58" fmla="*/ 287548 w 1190231"/>
                    <a:gd name="connsiteY58" fmla="*/ 61826 h 983774"/>
                    <a:gd name="connsiteX59" fmla="*/ 287548 w 1190231"/>
                    <a:gd name="connsiteY59" fmla="*/ 61826 h 983774"/>
                    <a:gd name="connsiteX60" fmla="*/ 304593 w 1190231"/>
                    <a:gd name="connsiteY60" fmla="*/ 57489 h 983774"/>
                    <a:gd name="connsiteX61" fmla="*/ 304593 w 1190231"/>
                    <a:gd name="connsiteY61" fmla="*/ 57489 h 983774"/>
                    <a:gd name="connsiteX62" fmla="*/ 382960 w 1190231"/>
                    <a:gd name="connsiteY62" fmla="*/ 31468 h 983774"/>
                    <a:gd name="connsiteX63" fmla="*/ 382960 w 1190231"/>
                    <a:gd name="connsiteY63" fmla="*/ 31468 h 983774"/>
                    <a:gd name="connsiteX64" fmla="*/ 438130 w 1190231"/>
                    <a:gd name="connsiteY64" fmla="*/ 43974 h 983774"/>
                    <a:gd name="connsiteX65" fmla="*/ 438130 w 1190231"/>
                    <a:gd name="connsiteY65" fmla="*/ 43974 h 983774"/>
                    <a:gd name="connsiteX66" fmla="*/ 471715 w 1190231"/>
                    <a:gd name="connsiteY66" fmla="*/ 60414 h 983774"/>
                    <a:gd name="connsiteX67" fmla="*/ 471715 w 1190231"/>
                    <a:gd name="connsiteY67" fmla="*/ 60414 h 983774"/>
                    <a:gd name="connsiteX68" fmla="*/ 501267 w 1190231"/>
                    <a:gd name="connsiteY68" fmla="*/ 50228 h 983774"/>
                    <a:gd name="connsiteX69" fmla="*/ 501267 w 1190231"/>
                    <a:gd name="connsiteY69" fmla="*/ 50228 h 983774"/>
                    <a:gd name="connsiteX70" fmla="*/ 521943 w 1190231"/>
                    <a:gd name="connsiteY70" fmla="*/ 45790 h 983774"/>
                    <a:gd name="connsiteX71" fmla="*/ 521943 w 1190231"/>
                    <a:gd name="connsiteY71" fmla="*/ 45790 h 983774"/>
                    <a:gd name="connsiteX72" fmla="*/ 578827 w 1190231"/>
                    <a:gd name="connsiteY72" fmla="*/ 93899 h 983774"/>
                    <a:gd name="connsiteX73" fmla="*/ 578827 w 1190231"/>
                    <a:gd name="connsiteY73" fmla="*/ 93899 h 983774"/>
                    <a:gd name="connsiteX74" fmla="*/ 630467 w 1190231"/>
                    <a:gd name="connsiteY74" fmla="*/ 109734 h 983774"/>
                    <a:gd name="connsiteX75" fmla="*/ 630467 w 1190231"/>
                    <a:gd name="connsiteY75" fmla="*/ 109734 h 983774"/>
                    <a:gd name="connsiteX76" fmla="*/ 669902 w 1190231"/>
                    <a:gd name="connsiteY76" fmla="*/ 105599 h 983774"/>
                    <a:gd name="connsiteX77" fmla="*/ 669902 w 1190231"/>
                    <a:gd name="connsiteY77" fmla="*/ 105599 h 983774"/>
                    <a:gd name="connsiteX78" fmla="*/ 686544 w 1190231"/>
                    <a:gd name="connsiteY78" fmla="*/ 103884 h 983774"/>
                    <a:gd name="connsiteX79" fmla="*/ 686544 w 1190231"/>
                    <a:gd name="connsiteY79" fmla="*/ 103884 h 983774"/>
                    <a:gd name="connsiteX80" fmla="*/ 737579 w 1190231"/>
                    <a:gd name="connsiteY80" fmla="*/ 133638 h 983774"/>
                    <a:gd name="connsiteX81" fmla="*/ 737579 w 1190231"/>
                    <a:gd name="connsiteY81" fmla="*/ 133638 h 983774"/>
                    <a:gd name="connsiteX82" fmla="*/ 748270 w 1190231"/>
                    <a:gd name="connsiteY82" fmla="*/ 136159 h 983774"/>
                    <a:gd name="connsiteX83" fmla="*/ 748270 w 1190231"/>
                    <a:gd name="connsiteY83" fmla="*/ 136159 h 983774"/>
                    <a:gd name="connsiteX84" fmla="*/ 772677 w 1190231"/>
                    <a:gd name="connsiteY84" fmla="*/ 119417 h 983774"/>
                    <a:gd name="connsiteX85" fmla="*/ 772677 w 1190231"/>
                    <a:gd name="connsiteY85" fmla="*/ 119417 h 983774"/>
                    <a:gd name="connsiteX86" fmla="*/ 792748 w 1190231"/>
                    <a:gd name="connsiteY86" fmla="*/ 113264 h 983774"/>
                    <a:gd name="connsiteX87" fmla="*/ 792748 w 1190231"/>
                    <a:gd name="connsiteY87" fmla="*/ 113264 h 983774"/>
                    <a:gd name="connsiteX88" fmla="*/ 827645 w 1190231"/>
                    <a:gd name="connsiteY88" fmla="*/ 134041 h 983774"/>
                    <a:gd name="connsiteX89" fmla="*/ 827645 w 1190231"/>
                    <a:gd name="connsiteY89" fmla="*/ 134041 h 983774"/>
                    <a:gd name="connsiteX90" fmla="*/ 831982 w 1190231"/>
                    <a:gd name="connsiteY90" fmla="*/ 134344 h 983774"/>
                    <a:gd name="connsiteX91" fmla="*/ 831982 w 1190231"/>
                    <a:gd name="connsiteY91" fmla="*/ 134344 h 983774"/>
                    <a:gd name="connsiteX92" fmla="*/ 854474 w 1190231"/>
                    <a:gd name="connsiteY92" fmla="*/ 123249 h 983774"/>
                    <a:gd name="connsiteX93" fmla="*/ 854474 w 1190231"/>
                    <a:gd name="connsiteY93" fmla="*/ 123249 h 983774"/>
                    <a:gd name="connsiteX94" fmla="*/ 906113 w 1190231"/>
                    <a:gd name="connsiteY94" fmla="*/ 104994 h 983774"/>
                    <a:gd name="connsiteX95" fmla="*/ 906113 w 1190231"/>
                    <a:gd name="connsiteY95" fmla="*/ 104994 h 983774"/>
                    <a:gd name="connsiteX96" fmla="*/ 911156 w 1190231"/>
                    <a:gd name="connsiteY96" fmla="*/ 105095 h 983774"/>
                    <a:gd name="connsiteX97" fmla="*/ 911156 w 1190231"/>
                    <a:gd name="connsiteY97" fmla="*/ 105095 h 983774"/>
                    <a:gd name="connsiteX98" fmla="*/ 943128 w 1190231"/>
                    <a:gd name="connsiteY98" fmla="*/ 81292 h 983774"/>
                    <a:gd name="connsiteX99" fmla="*/ 943128 w 1190231"/>
                    <a:gd name="connsiteY99" fmla="*/ 81292 h 983774"/>
                    <a:gd name="connsiteX100" fmla="*/ 949180 w 1190231"/>
                    <a:gd name="connsiteY100" fmla="*/ 81998 h 983774"/>
                    <a:gd name="connsiteX101" fmla="*/ 949180 w 1190231"/>
                    <a:gd name="connsiteY101" fmla="*/ 81998 h 983774"/>
                    <a:gd name="connsiteX102" fmla="*/ 1002030 w 1190231"/>
                    <a:gd name="connsiteY102" fmla="*/ 150279 h 983774"/>
                    <a:gd name="connsiteX103" fmla="*/ 1002030 w 1190231"/>
                    <a:gd name="connsiteY103" fmla="*/ 150279 h 983774"/>
                    <a:gd name="connsiteX104" fmla="*/ 1041566 w 1190231"/>
                    <a:gd name="connsiteY104" fmla="*/ 224108 h 983774"/>
                    <a:gd name="connsiteX105" fmla="*/ 1041566 w 1190231"/>
                    <a:gd name="connsiteY105" fmla="*/ 224108 h 983774"/>
                    <a:gd name="connsiteX106" fmla="*/ 1121043 w 1190231"/>
                    <a:gd name="connsiteY106" fmla="*/ 286539 h 983774"/>
                    <a:gd name="connsiteX107" fmla="*/ 1121043 w 1190231"/>
                    <a:gd name="connsiteY107" fmla="*/ 286539 h 983774"/>
                    <a:gd name="connsiteX108" fmla="*/ 1158361 w 1190231"/>
                    <a:gd name="connsiteY108" fmla="*/ 317906 h 983774"/>
                    <a:gd name="connsiteX109" fmla="*/ 1158361 w 1190231"/>
                    <a:gd name="connsiteY109" fmla="*/ 317906 h 983774"/>
                    <a:gd name="connsiteX110" fmla="*/ 1162899 w 1190231"/>
                    <a:gd name="connsiteY110" fmla="*/ 320730 h 983774"/>
                    <a:gd name="connsiteX111" fmla="*/ 1162899 w 1190231"/>
                    <a:gd name="connsiteY111" fmla="*/ 320730 h 983774"/>
                    <a:gd name="connsiteX112" fmla="*/ 1164109 w 1190231"/>
                    <a:gd name="connsiteY112" fmla="*/ 325975 h 983774"/>
                    <a:gd name="connsiteX113" fmla="*/ 1164109 w 1190231"/>
                    <a:gd name="connsiteY113" fmla="*/ 325975 h 983774"/>
                    <a:gd name="connsiteX114" fmla="*/ 1157150 w 1190231"/>
                    <a:gd name="connsiteY114" fmla="*/ 398492 h 983774"/>
                    <a:gd name="connsiteX115" fmla="*/ 1157150 w 1190231"/>
                    <a:gd name="connsiteY115" fmla="*/ 398492 h 983774"/>
                    <a:gd name="connsiteX116" fmla="*/ 1160479 w 1190231"/>
                    <a:gd name="connsiteY116" fmla="*/ 430363 h 983774"/>
                    <a:gd name="connsiteX117" fmla="*/ 1160479 w 1190231"/>
                    <a:gd name="connsiteY117" fmla="*/ 430363 h 983774"/>
                    <a:gd name="connsiteX118" fmla="*/ 1153721 w 1190231"/>
                    <a:gd name="connsiteY118" fmla="*/ 432280 h 983774"/>
                    <a:gd name="connsiteX119" fmla="*/ 1146964 w 1190231"/>
                    <a:gd name="connsiteY119" fmla="*/ 434095 h 983774"/>
                    <a:gd name="connsiteX120" fmla="*/ 1143232 w 1190231"/>
                    <a:gd name="connsiteY120" fmla="*/ 398492 h 983774"/>
                    <a:gd name="connsiteX121" fmla="*/ 1143232 w 1190231"/>
                    <a:gd name="connsiteY121" fmla="*/ 398492 h 983774"/>
                    <a:gd name="connsiteX122" fmla="*/ 1149384 w 1190231"/>
                    <a:gd name="connsiteY122" fmla="*/ 329908 h 983774"/>
                    <a:gd name="connsiteX123" fmla="*/ 1149384 w 1190231"/>
                    <a:gd name="connsiteY123" fmla="*/ 329908 h 983774"/>
                    <a:gd name="connsiteX124" fmla="*/ 1109343 w 1190231"/>
                    <a:gd name="connsiteY124" fmla="*/ 294305 h 983774"/>
                    <a:gd name="connsiteX125" fmla="*/ 1109343 w 1190231"/>
                    <a:gd name="connsiteY125" fmla="*/ 294305 h 983774"/>
                    <a:gd name="connsiteX126" fmla="*/ 1030169 w 1190231"/>
                    <a:gd name="connsiteY126" fmla="*/ 232479 h 983774"/>
                    <a:gd name="connsiteX127" fmla="*/ 1030169 w 1190231"/>
                    <a:gd name="connsiteY127" fmla="*/ 232479 h 983774"/>
                    <a:gd name="connsiteX128" fmla="*/ 988111 w 1190231"/>
                    <a:gd name="connsiteY128" fmla="*/ 151792 h 983774"/>
                    <a:gd name="connsiteX129" fmla="*/ 988111 w 1190231"/>
                    <a:gd name="connsiteY129" fmla="*/ 151792 h 983774"/>
                    <a:gd name="connsiteX130" fmla="*/ 946558 w 1190231"/>
                    <a:gd name="connsiteY130" fmla="*/ 95715 h 983774"/>
                    <a:gd name="connsiteX131" fmla="*/ 946558 w 1190231"/>
                    <a:gd name="connsiteY131" fmla="*/ 95715 h 983774"/>
                    <a:gd name="connsiteX132" fmla="*/ 943028 w 1190231"/>
                    <a:gd name="connsiteY132" fmla="*/ 95311 h 983774"/>
                    <a:gd name="connsiteX133" fmla="*/ 943028 w 1190231"/>
                    <a:gd name="connsiteY133" fmla="*/ 95311 h 983774"/>
                    <a:gd name="connsiteX134" fmla="*/ 922351 w 1190231"/>
                    <a:gd name="connsiteY134" fmla="*/ 114575 h 983774"/>
                    <a:gd name="connsiteX135" fmla="*/ 922351 w 1190231"/>
                    <a:gd name="connsiteY135" fmla="*/ 114575 h 983774"/>
                    <a:gd name="connsiteX136" fmla="*/ 914989 w 1190231"/>
                    <a:gd name="connsiteY136" fmla="*/ 119517 h 983774"/>
                    <a:gd name="connsiteX137" fmla="*/ 914989 w 1190231"/>
                    <a:gd name="connsiteY137" fmla="*/ 119517 h 983774"/>
                    <a:gd name="connsiteX138" fmla="*/ 906113 w 1190231"/>
                    <a:gd name="connsiteY138" fmla="*/ 119013 h 983774"/>
                    <a:gd name="connsiteX139" fmla="*/ 906113 w 1190231"/>
                    <a:gd name="connsiteY139" fmla="*/ 119013 h 983774"/>
                    <a:gd name="connsiteX140" fmla="*/ 865568 w 1190231"/>
                    <a:gd name="connsiteY140" fmla="*/ 131822 h 983774"/>
                    <a:gd name="connsiteX141" fmla="*/ 865568 w 1190231"/>
                    <a:gd name="connsiteY141" fmla="*/ 131822 h 983774"/>
                    <a:gd name="connsiteX142" fmla="*/ 832083 w 1190231"/>
                    <a:gd name="connsiteY142" fmla="*/ 148363 h 983774"/>
                    <a:gd name="connsiteX143" fmla="*/ 832083 w 1190231"/>
                    <a:gd name="connsiteY143" fmla="*/ 148363 h 983774"/>
                    <a:gd name="connsiteX144" fmla="*/ 821594 w 1190231"/>
                    <a:gd name="connsiteY144" fmla="*/ 147153 h 983774"/>
                    <a:gd name="connsiteX145" fmla="*/ 821594 w 1190231"/>
                    <a:gd name="connsiteY145" fmla="*/ 147153 h 983774"/>
                    <a:gd name="connsiteX146" fmla="*/ 817560 w 1190231"/>
                    <a:gd name="connsiteY146" fmla="*/ 144127 h 983774"/>
                    <a:gd name="connsiteX147" fmla="*/ 810298 w 1190231"/>
                    <a:gd name="connsiteY147" fmla="*/ 135655 h 983774"/>
                    <a:gd name="connsiteX148" fmla="*/ 810298 w 1190231"/>
                    <a:gd name="connsiteY148" fmla="*/ 135655 h 983774"/>
                    <a:gd name="connsiteX149" fmla="*/ 792748 w 1190231"/>
                    <a:gd name="connsiteY149" fmla="*/ 127384 h 983774"/>
                    <a:gd name="connsiteX150" fmla="*/ 792748 w 1190231"/>
                    <a:gd name="connsiteY150" fmla="*/ 127384 h 983774"/>
                    <a:gd name="connsiteX151" fmla="*/ 779939 w 1190231"/>
                    <a:gd name="connsiteY151" fmla="*/ 131419 h 983774"/>
                    <a:gd name="connsiteX152" fmla="*/ 779939 w 1190231"/>
                    <a:gd name="connsiteY152" fmla="*/ 131419 h 983774"/>
                    <a:gd name="connsiteX153" fmla="*/ 748270 w 1190231"/>
                    <a:gd name="connsiteY153" fmla="*/ 150279 h 983774"/>
                    <a:gd name="connsiteX154" fmla="*/ 748270 w 1190231"/>
                    <a:gd name="connsiteY154" fmla="*/ 150279 h 983774"/>
                    <a:gd name="connsiteX155" fmla="*/ 733544 w 1190231"/>
                    <a:gd name="connsiteY155" fmla="*/ 147253 h 983774"/>
                    <a:gd name="connsiteX156" fmla="*/ 733544 w 1190231"/>
                    <a:gd name="connsiteY156" fmla="*/ 147253 h 983774"/>
                    <a:gd name="connsiteX157" fmla="*/ 686443 w 1190231"/>
                    <a:gd name="connsiteY157" fmla="*/ 118105 h 983774"/>
                    <a:gd name="connsiteX158" fmla="*/ 686443 w 1190231"/>
                    <a:gd name="connsiteY158" fmla="*/ 118105 h 983774"/>
                    <a:gd name="connsiteX159" fmla="*/ 672424 w 1190231"/>
                    <a:gd name="connsiteY159" fmla="*/ 119618 h 983774"/>
                    <a:gd name="connsiteX160" fmla="*/ 672424 w 1190231"/>
                    <a:gd name="connsiteY160" fmla="*/ 119618 h 983774"/>
                    <a:gd name="connsiteX161" fmla="*/ 630366 w 1190231"/>
                    <a:gd name="connsiteY161" fmla="*/ 123955 h 983774"/>
                    <a:gd name="connsiteX162" fmla="*/ 630366 w 1190231"/>
                    <a:gd name="connsiteY162" fmla="*/ 123955 h 983774"/>
                    <a:gd name="connsiteX163" fmla="*/ 570557 w 1190231"/>
                    <a:gd name="connsiteY163" fmla="*/ 105599 h 983774"/>
                    <a:gd name="connsiteX164" fmla="*/ 570557 w 1190231"/>
                    <a:gd name="connsiteY164" fmla="*/ 105599 h 983774"/>
                    <a:gd name="connsiteX165" fmla="*/ 521943 w 1190231"/>
                    <a:gd name="connsiteY165" fmla="*/ 60011 h 983774"/>
                    <a:gd name="connsiteX166" fmla="*/ 521943 w 1190231"/>
                    <a:gd name="connsiteY166" fmla="*/ 60011 h 983774"/>
                    <a:gd name="connsiteX167" fmla="*/ 506411 w 1190231"/>
                    <a:gd name="connsiteY167" fmla="*/ 63440 h 983774"/>
                    <a:gd name="connsiteX168" fmla="*/ 506411 w 1190231"/>
                    <a:gd name="connsiteY168" fmla="*/ 63440 h 983774"/>
                    <a:gd name="connsiteX169" fmla="*/ 471816 w 1190231"/>
                    <a:gd name="connsiteY169" fmla="*/ 74635 h 983774"/>
                    <a:gd name="connsiteX170" fmla="*/ 471816 w 1190231"/>
                    <a:gd name="connsiteY170" fmla="*/ 74635 h 983774"/>
                    <a:gd name="connsiteX171" fmla="*/ 432280 w 1190231"/>
                    <a:gd name="connsiteY171" fmla="*/ 56884 h 983774"/>
                    <a:gd name="connsiteX172" fmla="*/ 432280 w 1190231"/>
                    <a:gd name="connsiteY172" fmla="*/ 56884 h 983774"/>
                    <a:gd name="connsiteX173" fmla="*/ 383061 w 1190231"/>
                    <a:gd name="connsiteY173" fmla="*/ 45689 h 983774"/>
                    <a:gd name="connsiteX174" fmla="*/ 383061 w 1190231"/>
                    <a:gd name="connsiteY174" fmla="*/ 45689 h 983774"/>
                    <a:gd name="connsiteX175" fmla="*/ 312863 w 1190231"/>
                    <a:gd name="connsiteY175" fmla="*/ 69088 h 983774"/>
                    <a:gd name="connsiteX176" fmla="*/ 312863 w 1190231"/>
                    <a:gd name="connsiteY176" fmla="*/ 69088 h 983774"/>
                    <a:gd name="connsiteX177" fmla="*/ 287548 w 1190231"/>
                    <a:gd name="connsiteY177" fmla="*/ 76047 h 983774"/>
                    <a:gd name="connsiteX178" fmla="*/ 287548 w 1190231"/>
                    <a:gd name="connsiteY178" fmla="*/ 76047 h 983774"/>
                    <a:gd name="connsiteX179" fmla="*/ 151086 w 1190231"/>
                    <a:gd name="connsiteY179" fmla="*/ 14927 h 983774"/>
                    <a:gd name="connsiteX180" fmla="*/ 151086 w 1190231"/>
                    <a:gd name="connsiteY180" fmla="*/ 14927 h 983774"/>
                    <a:gd name="connsiteX181" fmla="*/ 125569 w 1190231"/>
                    <a:gd name="connsiteY181" fmla="*/ 90874 h 983774"/>
                    <a:gd name="connsiteX182" fmla="*/ 125569 w 1190231"/>
                    <a:gd name="connsiteY182" fmla="*/ 90874 h 983774"/>
                    <a:gd name="connsiteX183" fmla="*/ 57288 w 1190231"/>
                    <a:gd name="connsiteY183" fmla="*/ 148766 h 983774"/>
                    <a:gd name="connsiteX184" fmla="*/ 57288 w 1190231"/>
                    <a:gd name="connsiteY184" fmla="*/ 148766 h 983774"/>
                    <a:gd name="connsiteX185" fmla="*/ 45386 w 1190231"/>
                    <a:gd name="connsiteY185" fmla="*/ 148161 h 983774"/>
                    <a:gd name="connsiteX186" fmla="*/ 45386 w 1190231"/>
                    <a:gd name="connsiteY186" fmla="*/ 148161 h 983774"/>
                    <a:gd name="connsiteX187" fmla="*/ 35502 w 1190231"/>
                    <a:gd name="connsiteY187" fmla="*/ 147556 h 983774"/>
                    <a:gd name="connsiteX188" fmla="*/ 35502 w 1190231"/>
                    <a:gd name="connsiteY188" fmla="*/ 147556 h 983774"/>
                    <a:gd name="connsiteX189" fmla="*/ 13818 w 1190231"/>
                    <a:gd name="connsiteY189" fmla="*/ 164097 h 983774"/>
                    <a:gd name="connsiteX190" fmla="*/ 13818 w 1190231"/>
                    <a:gd name="connsiteY190" fmla="*/ 164097 h 983774"/>
                    <a:gd name="connsiteX191" fmla="*/ 17549 w 1190231"/>
                    <a:gd name="connsiteY191" fmla="*/ 185176 h 983774"/>
                    <a:gd name="connsiteX192" fmla="*/ 17549 w 1190231"/>
                    <a:gd name="connsiteY192" fmla="*/ 185176 h 983774"/>
                    <a:gd name="connsiteX193" fmla="*/ 30056 w 1190231"/>
                    <a:gd name="connsiteY193" fmla="*/ 231571 h 983774"/>
                    <a:gd name="connsiteX194" fmla="*/ 30056 w 1190231"/>
                    <a:gd name="connsiteY194" fmla="*/ 231571 h 983774"/>
                    <a:gd name="connsiteX195" fmla="*/ 29451 w 1190231"/>
                    <a:gd name="connsiteY195" fmla="*/ 236211 h 983774"/>
                    <a:gd name="connsiteX196" fmla="*/ 28039 w 1190231"/>
                    <a:gd name="connsiteY196" fmla="*/ 239136 h 983774"/>
                    <a:gd name="connsiteX197" fmla="*/ 28039 w 1190231"/>
                    <a:gd name="connsiteY197" fmla="*/ 239136 h 983774"/>
                    <a:gd name="connsiteX198" fmla="*/ 47101 w 1190231"/>
                    <a:gd name="connsiteY198" fmla="*/ 266367 h 983774"/>
                    <a:gd name="connsiteX199" fmla="*/ 47101 w 1190231"/>
                    <a:gd name="connsiteY199" fmla="*/ 266367 h 983774"/>
                    <a:gd name="connsiteX200" fmla="*/ 71610 w 1190231"/>
                    <a:gd name="connsiteY200" fmla="*/ 341104 h 983774"/>
                    <a:gd name="connsiteX201" fmla="*/ 71610 w 1190231"/>
                    <a:gd name="connsiteY201" fmla="*/ 341104 h 983774"/>
                    <a:gd name="connsiteX202" fmla="*/ 92286 w 1190231"/>
                    <a:gd name="connsiteY202" fmla="*/ 420076 h 983774"/>
                    <a:gd name="connsiteX203" fmla="*/ 92286 w 1190231"/>
                    <a:gd name="connsiteY203" fmla="*/ 420076 h 983774"/>
                    <a:gd name="connsiteX204" fmla="*/ 96622 w 1190231"/>
                    <a:gd name="connsiteY204" fmla="*/ 448518 h 983774"/>
                    <a:gd name="connsiteX205" fmla="*/ 96622 w 1190231"/>
                    <a:gd name="connsiteY205" fmla="*/ 448518 h 983774"/>
                    <a:gd name="connsiteX206" fmla="*/ 95412 w 1190231"/>
                    <a:gd name="connsiteY206" fmla="*/ 475346 h 983774"/>
                    <a:gd name="connsiteX207" fmla="*/ 95412 w 1190231"/>
                    <a:gd name="connsiteY207" fmla="*/ 475346 h 983774"/>
                    <a:gd name="connsiteX208" fmla="*/ 105700 w 1190231"/>
                    <a:gd name="connsiteY208" fmla="*/ 501469 h 983774"/>
                    <a:gd name="connsiteX209" fmla="*/ 105700 w 1190231"/>
                    <a:gd name="connsiteY209" fmla="*/ 501469 h 983774"/>
                    <a:gd name="connsiteX210" fmla="*/ 144329 w 1190231"/>
                    <a:gd name="connsiteY210" fmla="*/ 561177 h 983774"/>
                    <a:gd name="connsiteX211" fmla="*/ 144329 w 1190231"/>
                    <a:gd name="connsiteY211" fmla="*/ 561177 h 983774"/>
                    <a:gd name="connsiteX212" fmla="*/ 188908 w 1190231"/>
                    <a:gd name="connsiteY212" fmla="*/ 626735 h 983774"/>
                    <a:gd name="connsiteX213" fmla="*/ 188908 w 1190231"/>
                    <a:gd name="connsiteY213" fmla="*/ 626735 h 983774"/>
                    <a:gd name="connsiteX214" fmla="*/ 241052 w 1190231"/>
                    <a:gd name="connsiteY214" fmla="*/ 677063 h 983774"/>
                    <a:gd name="connsiteX215" fmla="*/ 241052 w 1190231"/>
                    <a:gd name="connsiteY215" fmla="*/ 677063 h 983774"/>
                    <a:gd name="connsiteX216" fmla="*/ 290977 w 1190231"/>
                    <a:gd name="connsiteY216" fmla="*/ 748371 h 983774"/>
                    <a:gd name="connsiteX217" fmla="*/ 290977 w 1190231"/>
                    <a:gd name="connsiteY217" fmla="*/ 748371 h 983774"/>
                    <a:gd name="connsiteX218" fmla="*/ 318108 w 1190231"/>
                    <a:gd name="connsiteY218" fmla="*/ 820585 h 983774"/>
                    <a:gd name="connsiteX219" fmla="*/ 318108 w 1190231"/>
                    <a:gd name="connsiteY219" fmla="*/ 820585 h 983774"/>
                    <a:gd name="connsiteX220" fmla="*/ 327488 w 1190231"/>
                    <a:gd name="connsiteY220" fmla="*/ 835714 h 983774"/>
                    <a:gd name="connsiteX221" fmla="*/ 327488 w 1190231"/>
                    <a:gd name="connsiteY221" fmla="*/ 835714 h 983774"/>
                    <a:gd name="connsiteX222" fmla="*/ 368134 w 1190231"/>
                    <a:gd name="connsiteY222" fmla="*/ 818972 h 983774"/>
                    <a:gd name="connsiteX223" fmla="*/ 368134 w 1190231"/>
                    <a:gd name="connsiteY223" fmla="*/ 818972 h 983774"/>
                    <a:gd name="connsiteX224" fmla="*/ 428548 w 1190231"/>
                    <a:gd name="connsiteY224" fmla="*/ 782662 h 983774"/>
                    <a:gd name="connsiteX225" fmla="*/ 428548 w 1190231"/>
                    <a:gd name="connsiteY225" fmla="*/ 782662 h 983774"/>
                    <a:gd name="connsiteX226" fmla="*/ 453763 w 1190231"/>
                    <a:gd name="connsiteY226" fmla="*/ 785184 h 983774"/>
                    <a:gd name="connsiteX227" fmla="*/ 453763 w 1190231"/>
                    <a:gd name="connsiteY227" fmla="*/ 785184 h 983774"/>
                    <a:gd name="connsiteX228" fmla="*/ 585383 w 1190231"/>
                    <a:gd name="connsiteY228" fmla="*/ 825426 h 983774"/>
                    <a:gd name="connsiteX229" fmla="*/ 585383 w 1190231"/>
                    <a:gd name="connsiteY229" fmla="*/ 825426 h 983774"/>
                    <a:gd name="connsiteX230" fmla="*/ 614229 w 1190231"/>
                    <a:gd name="connsiteY230" fmla="*/ 903995 h 983774"/>
                    <a:gd name="connsiteX231" fmla="*/ 614229 w 1190231"/>
                    <a:gd name="connsiteY231" fmla="*/ 903995 h 983774"/>
                    <a:gd name="connsiteX232" fmla="*/ 612917 w 1190231"/>
                    <a:gd name="connsiteY232" fmla="*/ 922251 h 983774"/>
                    <a:gd name="connsiteX233" fmla="*/ 612917 w 1190231"/>
                    <a:gd name="connsiteY233" fmla="*/ 922251 h 983774"/>
                    <a:gd name="connsiteX234" fmla="*/ 607068 w 1190231"/>
                    <a:gd name="connsiteY234" fmla="*/ 962897 h 983774"/>
                    <a:gd name="connsiteX235" fmla="*/ 607068 w 1190231"/>
                    <a:gd name="connsiteY235" fmla="*/ 962897 h 983774"/>
                    <a:gd name="connsiteX236" fmla="*/ 610900 w 1190231"/>
                    <a:gd name="connsiteY236" fmla="*/ 969654 h 983774"/>
                    <a:gd name="connsiteX237" fmla="*/ 610900 w 1190231"/>
                    <a:gd name="connsiteY237" fmla="*/ 969654 h 983774"/>
                    <a:gd name="connsiteX238" fmla="*/ 633291 w 1190231"/>
                    <a:gd name="connsiteY238" fmla="*/ 962997 h 983774"/>
                    <a:gd name="connsiteX239" fmla="*/ 633291 w 1190231"/>
                    <a:gd name="connsiteY239" fmla="*/ 962997 h 983774"/>
                    <a:gd name="connsiteX240" fmla="*/ 666171 w 1190231"/>
                    <a:gd name="connsiteY240" fmla="*/ 955231 h 983774"/>
                    <a:gd name="connsiteX241" fmla="*/ 666171 w 1190231"/>
                    <a:gd name="connsiteY241" fmla="*/ 955231 h 983774"/>
                    <a:gd name="connsiteX242" fmla="*/ 717609 w 1190231"/>
                    <a:gd name="connsiteY242" fmla="*/ 966830 h 983774"/>
                    <a:gd name="connsiteX243" fmla="*/ 717609 w 1190231"/>
                    <a:gd name="connsiteY243" fmla="*/ 966830 h 983774"/>
                    <a:gd name="connsiteX244" fmla="*/ 727291 w 1190231"/>
                    <a:gd name="connsiteY244" fmla="*/ 965620 h 983774"/>
                    <a:gd name="connsiteX245" fmla="*/ 727291 w 1190231"/>
                    <a:gd name="connsiteY245" fmla="*/ 965620 h 983774"/>
                    <a:gd name="connsiteX246" fmla="*/ 805860 w 1190231"/>
                    <a:gd name="connsiteY246" fmla="*/ 931530 h 983774"/>
                    <a:gd name="connsiteX247" fmla="*/ 805860 w 1190231"/>
                    <a:gd name="connsiteY247" fmla="*/ 931530 h 983774"/>
                    <a:gd name="connsiteX248" fmla="*/ 812920 w 1190231"/>
                    <a:gd name="connsiteY248" fmla="*/ 932740 h 983774"/>
                    <a:gd name="connsiteX249" fmla="*/ 812920 w 1190231"/>
                    <a:gd name="connsiteY249" fmla="*/ 932740 h 983774"/>
                    <a:gd name="connsiteX250" fmla="*/ 816853 w 1190231"/>
                    <a:gd name="connsiteY250" fmla="*/ 933648 h 983774"/>
                    <a:gd name="connsiteX251" fmla="*/ 816853 w 1190231"/>
                    <a:gd name="connsiteY251" fmla="*/ 933648 h 983774"/>
                    <a:gd name="connsiteX252" fmla="*/ 860727 w 1190231"/>
                    <a:gd name="connsiteY252" fmla="*/ 920334 h 983774"/>
                    <a:gd name="connsiteX253" fmla="*/ 860727 w 1190231"/>
                    <a:gd name="connsiteY253" fmla="*/ 920334 h 983774"/>
                    <a:gd name="connsiteX254" fmla="*/ 907626 w 1190231"/>
                    <a:gd name="connsiteY254" fmla="*/ 860424 h 983774"/>
                    <a:gd name="connsiteX255" fmla="*/ 907626 w 1190231"/>
                    <a:gd name="connsiteY255" fmla="*/ 860424 h 983774"/>
                    <a:gd name="connsiteX256" fmla="*/ 927294 w 1190231"/>
                    <a:gd name="connsiteY256" fmla="*/ 829360 h 983774"/>
                    <a:gd name="connsiteX257" fmla="*/ 927294 w 1190231"/>
                    <a:gd name="connsiteY257" fmla="*/ 829360 h 983774"/>
                    <a:gd name="connsiteX258" fmla="*/ 920536 w 1190231"/>
                    <a:gd name="connsiteY258" fmla="*/ 780040 h 983774"/>
                    <a:gd name="connsiteX259" fmla="*/ 920536 w 1190231"/>
                    <a:gd name="connsiteY259" fmla="*/ 780040 h 983774"/>
                    <a:gd name="connsiteX260" fmla="*/ 982060 w 1190231"/>
                    <a:gd name="connsiteY260" fmla="*/ 732334 h 983774"/>
                    <a:gd name="connsiteX261" fmla="*/ 982060 w 1190231"/>
                    <a:gd name="connsiteY261" fmla="*/ 732334 h 983774"/>
                    <a:gd name="connsiteX262" fmla="*/ 995575 w 1190231"/>
                    <a:gd name="connsiteY262" fmla="*/ 734250 h 983774"/>
                    <a:gd name="connsiteX263" fmla="*/ 995575 w 1190231"/>
                    <a:gd name="connsiteY263" fmla="*/ 734250 h 983774"/>
                    <a:gd name="connsiteX264" fmla="*/ 1047819 w 1190231"/>
                    <a:gd name="connsiteY264" fmla="*/ 748371 h 983774"/>
                    <a:gd name="connsiteX265" fmla="*/ 1047819 w 1190231"/>
                    <a:gd name="connsiteY265" fmla="*/ 748371 h 983774"/>
                    <a:gd name="connsiteX266" fmla="*/ 1106318 w 1190231"/>
                    <a:gd name="connsiteY266" fmla="*/ 740201 h 983774"/>
                    <a:gd name="connsiteX267" fmla="*/ 1106318 w 1190231"/>
                    <a:gd name="connsiteY267" fmla="*/ 740201 h 983774"/>
                    <a:gd name="connsiteX268" fmla="*/ 1122455 w 1190231"/>
                    <a:gd name="connsiteY268" fmla="*/ 734755 h 983774"/>
                    <a:gd name="connsiteX269" fmla="*/ 1122455 w 1190231"/>
                    <a:gd name="connsiteY269" fmla="*/ 734755 h 983774"/>
                    <a:gd name="connsiteX270" fmla="*/ 1113882 w 1190231"/>
                    <a:gd name="connsiteY270" fmla="*/ 697739 h 983774"/>
                    <a:gd name="connsiteX271" fmla="*/ 1113882 w 1190231"/>
                    <a:gd name="connsiteY271" fmla="*/ 697739 h 983774"/>
                    <a:gd name="connsiteX272" fmla="*/ 1114487 w 1190231"/>
                    <a:gd name="connsiteY272" fmla="*/ 687250 h 983774"/>
                    <a:gd name="connsiteX273" fmla="*/ 1114487 w 1190231"/>
                    <a:gd name="connsiteY273" fmla="*/ 687250 h 983774"/>
                    <a:gd name="connsiteX274" fmla="*/ 1174599 w 1190231"/>
                    <a:gd name="connsiteY274" fmla="*/ 551696 h 983774"/>
                    <a:gd name="connsiteX275" fmla="*/ 1174599 w 1190231"/>
                    <a:gd name="connsiteY275" fmla="*/ 551696 h 983774"/>
                    <a:gd name="connsiteX276" fmla="*/ 1176112 w 1190231"/>
                    <a:gd name="connsiteY276" fmla="*/ 533945 h 983774"/>
                    <a:gd name="connsiteX277" fmla="*/ 1176112 w 1190231"/>
                    <a:gd name="connsiteY277" fmla="*/ 533945 h 983774"/>
                    <a:gd name="connsiteX278" fmla="*/ 1146863 w 1190231"/>
                    <a:gd name="connsiteY278" fmla="*/ 434700 h 983774"/>
                    <a:gd name="connsiteX279" fmla="*/ 1146863 w 1190231"/>
                    <a:gd name="connsiteY279" fmla="*/ 434700 h 983774"/>
                    <a:gd name="connsiteX280" fmla="*/ 1153620 w 1190231"/>
                    <a:gd name="connsiteY280" fmla="*/ 432885 h 983774"/>
                    <a:gd name="connsiteX281" fmla="*/ 1160378 w 1190231"/>
                    <a:gd name="connsiteY281" fmla="*/ 430969 h 983774"/>
                    <a:gd name="connsiteX282" fmla="*/ 1190232 w 1190231"/>
                    <a:gd name="connsiteY282" fmla="*/ 533945 h 983774"/>
                    <a:gd name="connsiteX283" fmla="*/ 1190232 w 1190231"/>
                    <a:gd name="connsiteY283" fmla="*/ 533945 h 983774"/>
                    <a:gd name="connsiteX284" fmla="*/ 1188416 w 1190231"/>
                    <a:gd name="connsiteY284" fmla="*/ 554117 h 983774"/>
                    <a:gd name="connsiteX285" fmla="*/ 1188416 w 1190231"/>
                    <a:gd name="connsiteY285" fmla="*/ 554117 h 983774"/>
                    <a:gd name="connsiteX286" fmla="*/ 1128406 w 1190231"/>
                    <a:gd name="connsiteY286" fmla="*/ 688864 h 983774"/>
                    <a:gd name="connsiteX287" fmla="*/ 1128406 w 1190231"/>
                    <a:gd name="connsiteY287" fmla="*/ 688864 h 983774"/>
                    <a:gd name="connsiteX288" fmla="*/ 1127901 w 1190231"/>
                    <a:gd name="connsiteY288" fmla="*/ 697739 h 983774"/>
                    <a:gd name="connsiteX289" fmla="*/ 1127901 w 1190231"/>
                    <a:gd name="connsiteY289" fmla="*/ 697739 h 983774"/>
                    <a:gd name="connsiteX290" fmla="*/ 1138391 w 1190231"/>
                    <a:gd name="connsiteY290" fmla="*/ 734654 h 983774"/>
                    <a:gd name="connsiteX291" fmla="*/ 1138391 w 1190231"/>
                    <a:gd name="connsiteY291" fmla="*/ 734654 h 983774"/>
                    <a:gd name="connsiteX292" fmla="*/ 1139097 w 1190231"/>
                    <a:gd name="connsiteY292" fmla="*/ 740302 h 983774"/>
                    <a:gd name="connsiteX293" fmla="*/ 1139097 w 1190231"/>
                    <a:gd name="connsiteY293" fmla="*/ 740302 h 983774"/>
                    <a:gd name="connsiteX294" fmla="*/ 1135163 w 1190231"/>
                    <a:gd name="connsiteY294" fmla="*/ 744639 h 983774"/>
                    <a:gd name="connsiteX295" fmla="*/ 1135163 w 1190231"/>
                    <a:gd name="connsiteY295" fmla="*/ 744639 h 983774"/>
                    <a:gd name="connsiteX296" fmla="*/ 1109444 w 1190231"/>
                    <a:gd name="connsiteY296" fmla="*/ 753817 h 983774"/>
                    <a:gd name="connsiteX297" fmla="*/ 1109444 w 1190231"/>
                    <a:gd name="connsiteY297" fmla="*/ 753817 h 983774"/>
                    <a:gd name="connsiteX298" fmla="*/ 1047920 w 1190231"/>
                    <a:gd name="connsiteY298" fmla="*/ 762390 h 983774"/>
                    <a:gd name="connsiteX299" fmla="*/ 1047920 w 1190231"/>
                    <a:gd name="connsiteY299" fmla="*/ 762390 h 983774"/>
                    <a:gd name="connsiteX300" fmla="*/ 991641 w 1190231"/>
                    <a:gd name="connsiteY300" fmla="*/ 747664 h 983774"/>
                    <a:gd name="connsiteX301" fmla="*/ 991641 w 1190231"/>
                    <a:gd name="connsiteY301" fmla="*/ 747664 h 983774"/>
                    <a:gd name="connsiteX302" fmla="*/ 982161 w 1190231"/>
                    <a:gd name="connsiteY302" fmla="*/ 746353 h 983774"/>
                    <a:gd name="connsiteX303" fmla="*/ 982161 w 1190231"/>
                    <a:gd name="connsiteY303" fmla="*/ 746353 h 983774"/>
                    <a:gd name="connsiteX304" fmla="*/ 934556 w 1190231"/>
                    <a:gd name="connsiteY304" fmla="*/ 780141 h 983774"/>
                    <a:gd name="connsiteX305" fmla="*/ 934556 w 1190231"/>
                    <a:gd name="connsiteY305" fmla="*/ 780141 h 983774"/>
                    <a:gd name="connsiteX306" fmla="*/ 941313 w 1190231"/>
                    <a:gd name="connsiteY306" fmla="*/ 829461 h 983774"/>
                    <a:gd name="connsiteX307" fmla="*/ 941313 w 1190231"/>
                    <a:gd name="connsiteY307" fmla="*/ 829461 h 983774"/>
                    <a:gd name="connsiteX308" fmla="*/ 911459 w 1190231"/>
                    <a:gd name="connsiteY308" fmla="*/ 874040 h 983774"/>
                    <a:gd name="connsiteX309" fmla="*/ 911459 w 1190231"/>
                    <a:gd name="connsiteY309" fmla="*/ 874040 h 983774"/>
                    <a:gd name="connsiteX310" fmla="*/ 862139 w 1190231"/>
                    <a:gd name="connsiteY310" fmla="*/ 934455 h 983774"/>
                    <a:gd name="connsiteX311" fmla="*/ 862139 w 1190231"/>
                    <a:gd name="connsiteY311" fmla="*/ 934455 h 983774"/>
                    <a:gd name="connsiteX312" fmla="*/ 816954 w 1190231"/>
                    <a:gd name="connsiteY312" fmla="*/ 947768 h 983774"/>
                    <a:gd name="connsiteX313" fmla="*/ 816954 w 1190231"/>
                    <a:gd name="connsiteY313" fmla="*/ 947768 h 983774"/>
                    <a:gd name="connsiteX314" fmla="*/ 807675 w 1190231"/>
                    <a:gd name="connsiteY314" fmla="*/ 945852 h 983774"/>
                    <a:gd name="connsiteX315" fmla="*/ 807675 w 1190231"/>
                    <a:gd name="connsiteY315" fmla="*/ 945852 h 983774"/>
                    <a:gd name="connsiteX316" fmla="*/ 805961 w 1190231"/>
                    <a:gd name="connsiteY316" fmla="*/ 945650 h 983774"/>
                    <a:gd name="connsiteX317" fmla="*/ 805961 w 1190231"/>
                    <a:gd name="connsiteY317" fmla="*/ 945650 h 983774"/>
                    <a:gd name="connsiteX318" fmla="*/ 730922 w 1190231"/>
                    <a:gd name="connsiteY318" fmla="*/ 979337 h 983774"/>
                    <a:gd name="connsiteX319" fmla="*/ 730922 w 1190231"/>
                    <a:gd name="connsiteY319" fmla="*/ 979337 h 983774"/>
                    <a:gd name="connsiteX320" fmla="*/ 717710 w 1190231"/>
                    <a:gd name="connsiteY320" fmla="*/ 981051 h 983774"/>
                    <a:gd name="connsiteX321" fmla="*/ 717710 w 1190231"/>
                    <a:gd name="connsiteY321" fmla="*/ 981051 h 983774"/>
                    <a:gd name="connsiteX322" fmla="*/ 666272 w 1190231"/>
                    <a:gd name="connsiteY322" fmla="*/ 969452 h 983774"/>
                    <a:gd name="connsiteX323" fmla="*/ 666272 w 1190231"/>
                    <a:gd name="connsiteY323" fmla="*/ 969452 h 983774"/>
                    <a:gd name="connsiteX324" fmla="*/ 638939 w 1190231"/>
                    <a:gd name="connsiteY324" fmla="*/ 976008 h 983774"/>
                    <a:gd name="connsiteX325" fmla="*/ 638939 w 1190231"/>
                    <a:gd name="connsiteY325" fmla="*/ 976008 h 983774"/>
                    <a:gd name="connsiteX326" fmla="*/ 611001 w 1190231"/>
                    <a:gd name="connsiteY326" fmla="*/ 983774 h 983774"/>
                    <a:gd name="connsiteX327" fmla="*/ 611001 w 1190231"/>
                    <a:gd name="connsiteY327" fmla="*/ 983774 h 983774"/>
                    <a:gd name="connsiteX328" fmla="*/ 593250 w 1190231"/>
                    <a:gd name="connsiteY328" fmla="*/ 962392 h 983774"/>
                    <a:gd name="connsiteX329" fmla="*/ 593250 w 1190231"/>
                    <a:gd name="connsiteY329" fmla="*/ 962392 h 983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Lst>
                  <a:rect l="l" t="t" r="r" b="b"/>
                  <a:pathLst>
                    <a:path w="1190231" h="983774">
                      <a:moveTo>
                        <a:pt x="593250" y="962392"/>
                      </a:moveTo>
                      <a:cubicBezTo>
                        <a:pt x="593250" y="950995"/>
                        <a:pt x="596780" y="936472"/>
                        <a:pt x="599201" y="919729"/>
                      </a:cubicBezTo>
                      <a:lnTo>
                        <a:pt x="599201" y="919729"/>
                      </a:lnTo>
                      <a:cubicBezTo>
                        <a:pt x="600108" y="913476"/>
                        <a:pt x="600411" y="908130"/>
                        <a:pt x="600411" y="903390"/>
                      </a:cubicBezTo>
                      <a:lnTo>
                        <a:pt x="600411" y="903390"/>
                      </a:lnTo>
                      <a:cubicBezTo>
                        <a:pt x="600613" y="877772"/>
                        <a:pt x="588510" y="867081"/>
                        <a:pt x="572574" y="830268"/>
                      </a:cubicBezTo>
                      <a:lnTo>
                        <a:pt x="572574" y="830268"/>
                      </a:lnTo>
                      <a:cubicBezTo>
                        <a:pt x="558857" y="794463"/>
                        <a:pt x="511655" y="806869"/>
                        <a:pt x="451544" y="798396"/>
                      </a:cubicBezTo>
                      <a:lnTo>
                        <a:pt x="451544" y="798396"/>
                      </a:lnTo>
                      <a:cubicBezTo>
                        <a:pt x="441559" y="796682"/>
                        <a:pt x="434095" y="795976"/>
                        <a:pt x="428649" y="795976"/>
                      </a:cubicBezTo>
                      <a:lnTo>
                        <a:pt x="428649" y="795976"/>
                      </a:lnTo>
                      <a:cubicBezTo>
                        <a:pt x="406258" y="794967"/>
                        <a:pt x="414730" y="808381"/>
                        <a:pt x="374891" y="830772"/>
                      </a:cubicBezTo>
                      <a:lnTo>
                        <a:pt x="374891" y="830772"/>
                      </a:lnTo>
                      <a:cubicBezTo>
                        <a:pt x="352702" y="842270"/>
                        <a:pt x="339490" y="848927"/>
                        <a:pt x="327588" y="849128"/>
                      </a:cubicBezTo>
                      <a:lnTo>
                        <a:pt x="327588" y="849128"/>
                      </a:lnTo>
                      <a:cubicBezTo>
                        <a:pt x="313569" y="849229"/>
                        <a:pt x="307215" y="836823"/>
                        <a:pt x="304694" y="823006"/>
                      </a:cubicBezTo>
                      <a:lnTo>
                        <a:pt x="304694" y="823006"/>
                      </a:lnTo>
                      <a:cubicBezTo>
                        <a:pt x="299247" y="797791"/>
                        <a:pt x="284219" y="779838"/>
                        <a:pt x="277563" y="750892"/>
                      </a:cubicBezTo>
                      <a:lnTo>
                        <a:pt x="277563" y="750892"/>
                      </a:lnTo>
                      <a:cubicBezTo>
                        <a:pt x="270704" y="721340"/>
                        <a:pt x="275445" y="701471"/>
                        <a:pt x="237320" y="689973"/>
                      </a:cubicBezTo>
                      <a:lnTo>
                        <a:pt x="237320" y="689973"/>
                      </a:lnTo>
                      <a:cubicBezTo>
                        <a:pt x="193749" y="677971"/>
                        <a:pt x="174889" y="653664"/>
                        <a:pt x="175191" y="626231"/>
                      </a:cubicBezTo>
                      <a:lnTo>
                        <a:pt x="175191" y="626231"/>
                      </a:lnTo>
                      <a:cubicBezTo>
                        <a:pt x="174889" y="604950"/>
                        <a:pt x="169039" y="599302"/>
                        <a:pt x="135554" y="571565"/>
                      </a:cubicBezTo>
                      <a:lnTo>
                        <a:pt x="135554" y="571565"/>
                      </a:lnTo>
                      <a:cubicBezTo>
                        <a:pt x="100253" y="541711"/>
                        <a:pt x="117299" y="530516"/>
                        <a:pt x="96017" y="510949"/>
                      </a:cubicBezTo>
                      <a:lnTo>
                        <a:pt x="96017" y="510949"/>
                      </a:lnTo>
                      <a:cubicBezTo>
                        <a:pt x="84419" y="499552"/>
                        <a:pt x="81595" y="486643"/>
                        <a:pt x="81696" y="474943"/>
                      </a:cubicBezTo>
                      <a:lnTo>
                        <a:pt x="81696" y="474943"/>
                      </a:lnTo>
                      <a:cubicBezTo>
                        <a:pt x="81696" y="465866"/>
                        <a:pt x="82906" y="457192"/>
                        <a:pt x="82906" y="448115"/>
                      </a:cubicBezTo>
                      <a:lnTo>
                        <a:pt x="82906" y="448115"/>
                      </a:lnTo>
                      <a:cubicBezTo>
                        <a:pt x="82906" y="440550"/>
                        <a:pt x="82099" y="432683"/>
                        <a:pt x="79275" y="424009"/>
                      </a:cubicBezTo>
                      <a:lnTo>
                        <a:pt x="79275" y="424009"/>
                      </a:lnTo>
                      <a:cubicBezTo>
                        <a:pt x="67474" y="388205"/>
                        <a:pt x="57994" y="366722"/>
                        <a:pt x="57893" y="340700"/>
                      </a:cubicBezTo>
                      <a:lnTo>
                        <a:pt x="57893" y="340700"/>
                      </a:lnTo>
                      <a:cubicBezTo>
                        <a:pt x="58094" y="319016"/>
                        <a:pt x="49925" y="311048"/>
                        <a:pt x="34393" y="271007"/>
                      </a:cubicBezTo>
                      <a:lnTo>
                        <a:pt x="34393" y="271007"/>
                      </a:lnTo>
                      <a:cubicBezTo>
                        <a:pt x="29249" y="257895"/>
                        <a:pt x="22391" y="251037"/>
                        <a:pt x="15835" y="247103"/>
                      </a:cubicBezTo>
                      <a:lnTo>
                        <a:pt x="15835" y="247103"/>
                      </a:lnTo>
                      <a:cubicBezTo>
                        <a:pt x="12910" y="245288"/>
                        <a:pt x="11599" y="241556"/>
                        <a:pt x="13011" y="238430"/>
                      </a:cubicBezTo>
                      <a:lnTo>
                        <a:pt x="13011" y="238430"/>
                      </a:lnTo>
                      <a:cubicBezTo>
                        <a:pt x="14221" y="235807"/>
                        <a:pt x="15229" y="233488"/>
                        <a:pt x="16036" y="231874"/>
                      </a:cubicBezTo>
                      <a:lnTo>
                        <a:pt x="16036" y="231874"/>
                      </a:lnTo>
                      <a:cubicBezTo>
                        <a:pt x="15028" y="227537"/>
                        <a:pt x="12002" y="215837"/>
                        <a:pt x="4236" y="188706"/>
                      </a:cubicBezTo>
                      <a:lnTo>
                        <a:pt x="4236" y="188706"/>
                      </a:lnTo>
                      <a:cubicBezTo>
                        <a:pt x="1513" y="179125"/>
                        <a:pt x="0" y="171056"/>
                        <a:pt x="0" y="163794"/>
                      </a:cubicBezTo>
                      <a:lnTo>
                        <a:pt x="0" y="163794"/>
                      </a:lnTo>
                      <a:cubicBezTo>
                        <a:pt x="0" y="143925"/>
                        <a:pt x="14927" y="133335"/>
                        <a:pt x="35502" y="133335"/>
                      </a:cubicBezTo>
                      <a:lnTo>
                        <a:pt x="35502" y="133335"/>
                      </a:lnTo>
                      <a:cubicBezTo>
                        <a:pt x="39133" y="133335"/>
                        <a:pt x="42966" y="133537"/>
                        <a:pt x="46798" y="133940"/>
                      </a:cubicBezTo>
                      <a:lnTo>
                        <a:pt x="46798" y="133940"/>
                      </a:lnTo>
                      <a:cubicBezTo>
                        <a:pt x="50328" y="134344"/>
                        <a:pt x="53858" y="134545"/>
                        <a:pt x="57288" y="134545"/>
                      </a:cubicBezTo>
                      <a:lnTo>
                        <a:pt x="57288" y="134545"/>
                      </a:lnTo>
                      <a:cubicBezTo>
                        <a:pt x="86133" y="133839"/>
                        <a:pt x="107011" y="123249"/>
                        <a:pt x="111650" y="88856"/>
                      </a:cubicBezTo>
                      <a:lnTo>
                        <a:pt x="111650" y="88856"/>
                      </a:lnTo>
                      <a:cubicBezTo>
                        <a:pt x="116592" y="53657"/>
                        <a:pt x="118408" y="14019"/>
                        <a:pt x="149472" y="0"/>
                      </a:cubicBezTo>
                      <a:lnTo>
                        <a:pt x="149472" y="0"/>
                      </a:lnTo>
                      <a:lnTo>
                        <a:pt x="156734" y="1210"/>
                      </a:lnTo>
                      <a:cubicBezTo>
                        <a:pt x="175998" y="18659"/>
                        <a:pt x="249120" y="62431"/>
                        <a:pt x="287548" y="61826"/>
                      </a:cubicBezTo>
                      <a:lnTo>
                        <a:pt x="287548" y="61826"/>
                      </a:lnTo>
                      <a:cubicBezTo>
                        <a:pt x="295213" y="61826"/>
                        <a:pt x="300861" y="60313"/>
                        <a:pt x="304593" y="57489"/>
                      </a:cubicBezTo>
                      <a:lnTo>
                        <a:pt x="304593" y="57489"/>
                      </a:lnTo>
                      <a:cubicBezTo>
                        <a:pt x="328496" y="40142"/>
                        <a:pt x="355728" y="31468"/>
                        <a:pt x="382960" y="31468"/>
                      </a:cubicBezTo>
                      <a:lnTo>
                        <a:pt x="382960" y="31468"/>
                      </a:lnTo>
                      <a:cubicBezTo>
                        <a:pt x="401820" y="31468"/>
                        <a:pt x="420580" y="35704"/>
                        <a:pt x="438130" y="43974"/>
                      </a:cubicBezTo>
                      <a:lnTo>
                        <a:pt x="438130" y="43974"/>
                      </a:lnTo>
                      <a:cubicBezTo>
                        <a:pt x="462033" y="55472"/>
                        <a:pt x="468085" y="61221"/>
                        <a:pt x="471715" y="60414"/>
                      </a:cubicBezTo>
                      <a:lnTo>
                        <a:pt x="471715" y="60414"/>
                      </a:lnTo>
                      <a:cubicBezTo>
                        <a:pt x="475044" y="60616"/>
                        <a:pt x="482911" y="57691"/>
                        <a:pt x="501267" y="50228"/>
                      </a:cubicBezTo>
                      <a:lnTo>
                        <a:pt x="501267" y="50228"/>
                      </a:lnTo>
                      <a:cubicBezTo>
                        <a:pt x="508831" y="47101"/>
                        <a:pt x="515589" y="45689"/>
                        <a:pt x="521943" y="45790"/>
                      </a:cubicBezTo>
                      <a:lnTo>
                        <a:pt x="521943" y="45790"/>
                      </a:lnTo>
                      <a:cubicBezTo>
                        <a:pt x="555529" y="47101"/>
                        <a:pt x="561681" y="83309"/>
                        <a:pt x="578827" y="93899"/>
                      </a:cubicBezTo>
                      <a:lnTo>
                        <a:pt x="578827" y="93899"/>
                      </a:lnTo>
                      <a:cubicBezTo>
                        <a:pt x="593553" y="104489"/>
                        <a:pt x="608177" y="109633"/>
                        <a:pt x="630467" y="109734"/>
                      </a:cubicBezTo>
                      <a:lnTo>
                        <a:pt x="630467" y="109734"/>
                      </a:lnTo>
                      <a:cubicBezTo>
                        <a:pt x="641662" y="109734"/>
                        <a:pt x="654572" y="108423"/>
                        <a:pt x="669902" y="105599"/>
                      </a:cubicBezTo>
                      <a:lnTo>
                        <a:pt x="669902" y="105599"/>
                      </a:lnTo>
                      <a:cubicBezTo>
                        <a:pt x="676156" y="104389"/>
                        <a:pt x="681602" y="103884"/>
                        <a:pt x="686544" y="103884"/>
                      </a:cubicBezTo>
                      <a:lnTo>
                        <a:pt x="686544" y="103884"/>
                      </a:lnTo>
                      <a:cubicBezTo>
                        <a:pt x="722551" y="104590"/>
                        <a:pt x="724971" y="132225"/>
                        <a:pt x="737579" y="133638"/>
                      </a:cubicBezTo>
                      <a:lnTo>
                        <a:pt x="737579" y="133638"/>
                      </a:lnTo>
                      <a:cubicBezTo>
                        <a:pt x="743630" y="135453"/>
                        <a:pt x="747160" y="136260"/>
                        <a:pt x="748270" y="136159"/>
                      </a:cubicBezTo>
                      <a:lnTo>
                        <a:pt x="748270" y="136159"/>
                      </a:lnTo>
                      <a:cubicBezTo>
                        <a:pt x="749177" y="137369"/>
                        <a:pt x="752304" y="132528"/>
                        <a:pt x="772677" y="119417"/>
                      </a:cubicBezTo>
                      <a:lnTo>
                        <a:pt x="772677" y="119417"/>
                      </a:lnTo>
                      <a:cubicBezTo>
                        <a:pt x="779435" y="115080"/>
                        <a:pt x="786394" y="113264"/>
                        <a:pt x="792748" y="113264"/>
                      </a:cubicBezTo>
                      <a:lnTo>
                        <a:pt x="792748" y="113264"/>
                      </a:lnTo>
                      <a:cubicBezTo>
                        <a:pt x="811710" y="113768"/>
                        <a:pt x="823409" y="127989"/>
                        <a:pt x="827645" y="134041"/>
                      </a:cubicBezTo>
                      <a:lnTo>
                        <a:pt x="827645" y="134041"/>
                      </a:lnTo>
                      <a:cubicBezTo>
                        <a:pt x="828654" y="134243"/>
                        <a:pt x="830167" y="134344"/>
                        <a:pt x="831982" y="134344"/>
                      </a:cubicBezTo>
                      <a:lnTo>
                        <a:pt x="831982" y="134344"/>
                      </a:lnTo>
                      <a:cubicBezTo>
                        <a:pt x="838336" y="134243"/>
                        <a:pt x="847010" y="132730"/>
                        <a:pt x="854474" y="123249"/>
                      </a:cubicBezTo>
                      <a:lnTo>
                        <a:pt x="854474" y="123249"/>
                      </a:lnTo>
                      <a:cubicBezTo>
                        <a:pt x="868089" y="106305"/>
                        <a:pt x="892396" y="105296"/>
                        <a:pt x="906113" y="104994"/>
                      </a:cubicBezTo>
                      <a:lnTo>
                        <a:pt x="906113" y="104994"/>
                      </a:lnTo>
                      <a:cubicBezTo>
                        <a:pt x="908030" y="104994"/>
                        <a:pt x="909744" y="105095"/>
                        <a:pt x="911156" y="105095"/>
                      </a:cubicBezTo>
                      <a:lnTo>
                        <a:pt x="911156" y="105095"/>
                      </a:lnTo>
                      <a:cubicBezTo>
                        <a:pt x="914787" y="96925"/>
                        <a:pt x="923865" y="81998"/>
                        <a:pt x="943128" y="81292"/>
                      </a:cubicBezTo>
                      <a:lnTo>
                        <a:pt x="943128" y="81292"/>
                      </a:lnTo>
                      <a:cubicBezTo>
                        <a:pt x="945045" y="81292"/>
                        <a:pt x="947263" y="81494"/>
                        <a:pt x="949180" y="81998"/>
                      </a:cubicBezTo>
                      <a:lnTo>
                        <a:pt x="949180" y="81998"/>
                      </a:lnTo>
                      <a:cubicBezTo>
                        <a:pt x="975907" y="86637"/>
                        <a:pt x="997895" y="109633"/>
                        <a:pt x="1002030" y="150279"/>
                      </a:cubicBezTo>
                      <a:lnTo>
                        <a:pt x="1002030" y="150279"/>
                      </a:lnTo>
                      <a:cubicBezTo>
                        <a:pt x="1006266" y="186992"/>
                        <a:pt x="1017058" y="190623"/>
                        <a:pt x="1041566" y="224108"/>
                      </a:cubicBezTo>
                      <a:lnTo>
                        <a:pt x="1041566" y="224108"/>
                      </a:lnTo>
                      <a:cubicBezTo>
                        <a:pt x="1062646" y="253962"/>
                        <a:pt x="1100468" y="257492"/>
                        <a:pt x="1121043" y="286539"/>
                      </a:cubicBezTo>
                      <a:lnTo>
                        <a:pt x="1121043" y="286539"/>
                      </a:lnTo>
                      <a:cubicBezTo>
                        <a:pt x="1132339" y="303887"/>
                        <a:pt x="1148073" y="316696"/>
                        <a:pt x="1158361" y="317906"/>
                      </a:cubicBezTo>
                      <a:lnTo>
                        <a:pt x="1158361" y="317906"/>
                      </a:lnTo>
                      <a:cubicBezTo>
                        <a:pt x="1160176" y="318108"/>
                        <a:pt x="1161891" y="319217"/>
                        <a:pt x="1162899" y="320730"/>
                      </a:cubicBezTo>
                      <a:lnTo>
                        <a:pt x="1162899" y="320730"/>
                      </a:lnTo>
                      <a:cubicBezTo>
                        <a:pt x="1164009" y="322243"/>
                        <a:pt x="1164513" y="324159"/>
                        <a:pt x="1164109" y="325975"/>
                      </a:cubicBezTo>
                      <a:lnTo>
                        <a:pt x="1164109" y="325975"/>
                      </a:lnTo>
                      <a:cubicBezTo>
                        <a:pt x="1161185" y="343726"/>
                        <a:pt x="1157150" y="372975"/>
                        <a:pt x="1157150" y="398492"/>
                      </a:cubicBezTo>
                      <a:lnTo>
                        <a:pt x="1157150" y="398492"/>
                      </a:lnTo>
                      <a:cubicBezTo>
                        <a:pt x="1157150" y="410797"/>
                        <a:pt x="1158159" y="422194"/>
                        <a:pt x="1160479" y="430363"/>
                      </a:cubicBezTo>
                      <a:lnTo>
                        <a:pt x="1160479" y="430363"/>
                      </a:lnTo>
                      <a:lnTo>
                        <a:pt x="1153721" y="432280"/>
                      </a:lnTo>
                      <a:lnTo>
                        <a:pt x="1146964" y="434095"/>
                      </a:lnTo>
                      <a:cubicBezTo>
                        <a:pt x="1144240" y="423808"/>
                        <a:pt x="1143232" y="411503"/>
                        <a:pt x="1143232" y="398492"/>
                      </a:cubicBezTo>
                      <a:lnTo>
                        <a:pt x="1143232" y="398492"/>
                      </a:lnTo>
                      <a:cubicBezTo>
                        <a:pt x="1143232" y="374589"/>
                        <a:pt x="1146560" y="348265"/>
                        <a:pt x="1149384" y="329908"/>
                      </a:cubicBezTo>
                      <a:lnTo>
                        <a:pt x="1149384" y="329908"/>
                      </a:lnTo>
                      <a:cubicBezTo>
                        <a:pt x="1134457" y="324664"/>
                        <a:pt x="1120539" y="310846"/>
                        <a:pt x="1109343" y="294305"/>
                      </a:cubicBezTo>
                      <a:lnTo>
                        <a:pt x="1109343" y="294305"/>
                      </a:lnTo>
                      <a:cubicBezTo>
                        <a:pt x="1095425" y="272015"/>
                        <a:pt x="1056191" y="266972"/>
                        <a:pt x="1030169" y="232479"/>
                      </a:cubicBezTo>
                      <a:lnTo>
                        <a:pt x="1030169" y="232479"/>
                      </a:lnTo>
                      <a:cubicBezTo>
                        <a:pt x="1007577" y="201616"/>
                        <a:pt x="992347" y="192337"/>
                        <a:pt x="988111" y="151792"/>
                      </a:cubicBezTo>
                      <a:lnTo>
                        <a:pt x="988111" y="151792"/>
                      </a:lnTo>
                      <a:cubicBezTo>
                        <a:pt x="983774" y="115180"/>
                        <a:pt x="966830" y="99648"/>
                        <a:pt x="946558" y="95715"/>
                      </a:cubicBezTo>
                      <a:lnTo>
                        <a:pt x="946558" y="95715"/>
                      </a:lnTo>
                      <a:cubicBezTo>
                        <a:pt x="945246" y="95513"/>
                        <a:pt x="944036" y="95412"/>
                        <a:pt x="943028" y="95311"/>
                      </a:cubicBezTo>
                      <a:lnTo>
                        <a:pt x="943028" y="95311"/>
                      </a:lnTo>
                      <a:cubicBezTo>
                        <a:pt x="929613" y="94403"/>
                        <a:pt x="922351" y="114474"/>
                        <a:pt x="922351" y="114575"/>
                      </a:cubicBezTo>
                      <a:lnTo>
                        <a:pt x="922351" y="114575"/>
                      </a:lnTo>
                      <a:cubicBezTo>
                        <a:pt x="921343" y="117803"/>
                        <a:pt x="918216" y="119820"/>
                        <a:pt x="914989" y="119517"/>
                      </a:cubicBezTo>
                      <a:lnTo>
                        <a:pt x="914989" y="119517"/>
                      </a:lnTo>
                      <a:cubicBezTo>
                        <a:pt x="914989" y="119517"/>
                        <a:pt x="911459" y="119013"/>
                        <a:pt x="906113" y="119013"/>
                      </a:cubicBezTo>
                      <a:lnTo>
                        <a:pt x="906113" y="119013"/>
                      </a:lnTo>
                      <a:cubicBezTo>
                        <a:pt x="893708" y="118811"/>
                        <a:pt x="872527" y="121736"/>
                        <a:pt x="865568" y="131822"/>
                      </a:cubicBezTo>
                      <a:lnTo>
                        <a:pt x="865568" y="131822"/>
                      </a:lnTo>
                      <a:cubicBezTo>
                        <a:pt x="855079" y="145438"/>
                        <a:pt x="840959" y="148464"/>
                        <a:pt x="832083" y="148363"/>
                      </a:cubicBezTo>
                      <a:lnTo>
                        <a:pt x="832083" y="148363"/>
                      </a:lnTo>
                      <a:cubicBezTo>
                        <a:pt x="826032" y="148363"/>
                        <a:pt x="822098" y="147253"/>
                        <a:pt x="821594" y="147153"/>
                      </a:cubicBezTo>
                      <a:lnTo>
                        <a:pt x="821594" y="147153"/>
                      </a:lnTo>
                      <a:lnTo>
                        <a:pt x="817560" y="144127"/>
                      </a:lnTo>
                      <a:cubicBezTo>
                        <a:pt x="817459" y="144127"/>
                        <a:pt x="814635" y="139891"/>
                        <a:pt x="810298" y="135655"/>
                      </a:cubicBezTo>
                      <a:lnTo>
                        <a:pt x="810298" y="135655"/>
                      </a:lnTo>
                      <a:cubicBezTo>
                        <a:pt x="805759" y="131318"/>
                        <a:pt x="799506" y="126981"/>
                        <a:pt x="792748" y="127384"/>
                      </a:cubicBezTo>
                      <a:lnTo>
                        <a:pt x="792748" y="127384"/>
                      </a:lnTo>
                      <a:cubicBezTo>
                        <a:pt x="789016" y="127384"/>
                        <a:pt x="784881" y="128393"/>
                        <a:pt x="779939" y="131419"/>
                      </a:cubicBezTo>
                      <a:lnTo>
                        <a:pt x="779939" y="131419"/>
                      </a:lnTo>
                      <a:cubicBezTo>
                        <a:pt x="760978" y="142715"/>
                        <a:pt x="761079" y="149069"/>
                        <a:pt x="748270" y="150279"/>
                      </a:cubicBezTo>
                      <a:lnTo>
                        <a:pt x="748270" y="150279"/>
                      </a:lnTo>
                      <a:cubicBezTo>
                        <a:pt x="743832" y="150279"/>
                        <a:pt x="739999" y="149069"/>
                        <a:pt x="733544" y="147253"/>
                      </a:cubicBezTo>
                      <a:lnTo>
                        <a:pt x="733544" y="147253"/>
                      </a:lnTo>
                      <a:cubicBezTo>
                        <a:pt x="708531" y="137369"/>
                        <a:pt x="713070" y="117399"/>
                        <a:pt x="686443" y="118105"/>
                      </a:cubicBezTo>
                      <a:lnTo>
                        <a:pt x="686443" y="118105"/>
                      </a:lnTo>
                      <a:cubicBezTo>
                        <a:pt x="682510" y="118105"/>
                        <a:pt x="677870" y="118610"/>
                        <a:pt x="672424" y="119618"/>
                      </a:cubicBezTo>
                      <a:lnTo>
                        <a:pt x="672424" y="119618"/>
                      </a:lnTo>
                      <a:cubicBezTo>
                        <a:pt x="656488" y="122442"/>
                        <a:pt x="642671" y="123955"/>
                        <a:pt x="630366" y="123955"/>
                      </a:cubicBezTo>
                      <a:lnTo>
                        <a:pt x="630366" y="123955"/>
                      </a:lnTo>
                      <a:cubicBezTo>
                        <a:pt x="605857" y="124056"/>
                        <a:pt x="587199" y="117702"/>
                        <a:pt x="570557" y="105599"/>
                      </a:cubicBezTo>
                      <a:lnTo>
                        <a:pt x="570557" y="105599"/>
                      </a:lnTo>
                      <a:cubicBezTo>
                        <a:pt x="548166" y="87343"/>
                        <a:pt x="541812" y="58599"/>
                        <a:pt x="521943" y="60011"/>
                      </a:cubicBezTo>
                      <a:lnTo>
                        <a:pt x="521943" y="60011"/>
                      </a:lnTo>
                      <a:cubicBezTo>
                        <a:pt x="517707" y="60011"/>
                        <a:pt x="512664" y="60919"/>
                        <a:pt x="506411" y="63440"/>
                      </a:cubicBezTo>
                      <a:lnTo>
                        <a:pt x="506411" y="63440"/>
                      </a:lnTo>
                      <a:cubicBezTo>
                        <a:pt x="488054" y="70702"/>
                        <a:pt x="480591" y="74534"/>
                        <a:pt x="471816" y="74635"/>
                      </a:cubicBezTo>
                      <a:lnTo>
                        <a:pt x="471816" y="74635"/>
                      </a:lnTo>
                      <a:cubicBezTo>
                        <a:pt x="459209" y="73929"/>
                        <a:pt x="455074" y="67373"/>
                        <a:pt x="432280" y="56884"/>
                      </a:cubicBezTo>
                      <a:lnTo>
                        <a:pt x="432280" y="56884"/>
                      </a:lnTo>
                      <a:cubicBezTo>
                        <a:pt x="416546" y="49521"/>
                        <a:pt x="399803" y="45689"/>
                        <a:pt x="383061" y="45689"/>
                      </a:cubicBezTo>
                      <a:lnTo>
                        <a:pt x="383061" y="45689"/>
                      </a:lnTo>
                      <a:cubicBezTo>
                        <a:pt x="358855" y="45689"/>
                        <a:pt x="334548" y="53354"/>
                        <a:pt x="312863" y="69088"/>
                      </a:cubicBezTo>
                      <a:lnTo>
                        <a:pt x="312863" y="69088"/>
                      </a:lnTo>
                      <a:cubicBezTo>
                        <a:pt x="305702" y="74232"/>
                        <a:pt x="296928" y="76047"/>
                        <a:pt x="287548" y="76047"/>
                      </a:cubicBezTo>
                      <a:lnTo>
                        <a:pt x="287548" y="76047"/>
                      </a:lnTo>
                      <a:cubicBezTo>
                        <a:pt x="243170" y="75543"/>
                        <a:pt x="176805" y="35401"/>
                        <a:pt x="151086" y="14927"/>
                      </a:cubicBezTo>
                      <a:lnTo>
                        <a:pt x="151086" y="14927"/>
                      </a:lnTo>
                      <a:cubicBezTo>
                        <a:pt x="134041" y="24811"/>
                        <a:pt x="129401" y="56783"/>
                        <a:pt x="125569" y="90874"/>
                      </a:cubicBezTo>
                      <a:lnTo>
                        <a:pt x="125569" y="90874"/>
                      </a:lnTo>
                      <a:cubicBezTo>
                        <a:pt x="120929" y="132225"/>
                        <a:pt x="89764" y="149372"/>
                        <a:pt x="57288" y="148766"/>
                      </a:cubicBezTo>
                      <a:lnTo>
                        <a:pt x="57288" y="148766"/>
                      </a:lnTo>
                      <a:cubicBezTo>
                        <a:pt x="53253" y="148766"/>
                        <a:pt x="49421" y="148565"/>
                        <a:pt x="45386" y="148161"/>
                      </a:cubicBezTo>
                      <a:lnTo>
                        <a:pt x="45386" y="148161"/>
                      </a:lnTo>
                      <a:cubicBezTo>
                        <a:pt x="41755" y="147859"/>
                        <a:pt x="38427" y="147556"/>
                        <a:pt x="35502" y="147556"/>
                      </a:cubicBezTo>
                      <a:lnTo>
                        <a:pt x="35502" y="147556"/>
                      </a:lnTo>
                      <a:cubicBezTo>
                        <a:pt x="17348" y="148766"/>
                        <a:pt x="14927" y="150985"/>
                        <a:pt x="13818" y="164097"/>
                      </a:cubicBezTo>
                      <a:lnTo>
                        <a:pt x="13818" y="164097"/>
                      </a:lnTo>
                      <a:cubicBezTo>
                        <a:pt x="13818" y="169341"/>
                        <a:pt x="14927" y="176402"/>
                        <a:pt x="17549" y="185176"/>
                      </a:cubicBezTo>
                      <a:lnTo>
                        <a:pt x="17549" y="185176"/>
                      </a:lnTo>
                      <a:cubicBezTo>
                        <a:pt x="28139" y="222393"/>
                        <a:pt x="29955" y="231168"/>
                        <a:pt x="30056" y="231571"/>
                      </a:cubicBezTo>
                      <a:lnTo>
                        <a:pt x="30056" y="231571"/>
                      </a:lnTo>
                      <a:lnTo>
                        <a:pt x="29451" y="236211"/>
                      </a:lnTo>
                      <a:cubicBezTo>
                        <a:pt x="29451" y="236211"/>
                        <a:pt x="28845" y="237320"/>
                        <a:pt x="28039" y="239136"/>
                      </a:cubicBezTo>
                      <a:lnTo>
                        <a:pt x="28039" y="239136"/>
                      </a:lnTo>
                      <a:cubicBezTo>
                        <a:pt x="35300" y="244885"/>
                        <a:pt x="42360" y="253659"/>
                        <a:pt x="47101" y="266367"/>
                      </a:cubicBezTo>
                      <a:lnTo>
                        <a:pt x="47101" y="266367"/>
                      </a:lnTo>
                      <a:cubicBezTo>
                        <a:pt x="61725" y="304593"/>
                        <a:pt x="71509" y="314578"/>
                        <a:pt x="71610" y="341104"/>
                      </a:cubicBezTo>
                      <a:lnTo>
                        <a:pt x="71610" y="341104"/>
                      </a:lnTo>
                      <a:cubicBezTo>
                        <a:pt x="71610" y="363192"/>
                        <a:pt x="80182" y="383565"/>
                        <a:pt x="92286" y="420076"/>
                      </a:cubicBezTo>
                      <a:lnTo>
                        <a:pt x="92286" y="420076"/>
                      </a:lnTo>
                      <a:cubicBezTo>
                        <a:pt x="95715" y="430464"/>
                        <a:pt x="96723" y="439945"/>
                        <a:pt x="96622" y="448518"/>
                      </a:cubicBezTo>
                      <a:lnTo>
                        <a:pt x="96622" y="448518"/>
                      </a:lnTo>
                      <a:cubicBezTo>
                        <a:pt x="96622" y="458806"/>
                        <a:pt x="95412" y="467681"/>
                        <a:pt x="95412" y="475346"/>
                      </a:cubicBezTo>
                      <a:lnTo>
                        <a:pt x="95412" y="475346"/>
                      </a:lnTo>
                      <a:cubicBezTo>
                        <a:pt x="95513" y="485331"/>
                        <a:pt x="97026" y="492593"/>
                        <a:pt x="105700" y="501469"/>
                      </a:cubicBezTo>
                      <a:lnTo>
                        <a:pt x="105700" y="501469"/>
                      </a:lnTo>
                      <a:cubicBezTo>
                        <a:pt x="132629" y="530012"/>
                        <a:pt x="113567" y="536769"/>
                        <a:pt x="144329" y="561177"/>
                      </a:cubicBezTo>
                      <a:lnTo>
                        <a:pt x="144329" y="561177"/>
                      </a:lnTo>
                      <a:cubicBezTo>
                        <a:pt x="176906" y="587501"/>
                        <a:pt x="189210" y="600008"/>
                        <a:pt x="188908" y="626735"/>
                      </a:cubicBezTo>
                      <a:lnTo>
                        <a:pt x="188908" y="626735"/>
                      </a:lnTo>
                      <a:cubicBezTo>
                        <a:pt x="189210" y="647310"/>
                        <a:pt x="200406" y="664960"/>
                        <a:pt x="241052" y="677063"/>
                      </a:cubicBezTo>
                      <a:lnTo>
                        <a:pt x="241052" y="677063"/>
                      </a:lnTo>
                      <a:cubicBezTo>
                        <a:pt x="287043" y="689671"/>
                        <a:pt x="285833" y="723761"/>
                        <a:pt x="290977" y="748371"/>
                      </a:cubicBezTo>
                      <a:lnTo>
                        <a:pt x="290977" y="748371"/>
                      </a:lnTo>
                      <a:cubicBezTo>
                        <a:pt x="296423" y="773585"/>
                        <a:pt x="311451" y="791538"/>
                        <a:pt x="318108" y="820585"/>
                      </a:cubicBezTo>
                      <a:lnTo>
                        <a:pt x="318108" y="820585"/>
                      </a:lnTo>
                      <a:cubicBezTo>
                        <a:pt x="321739" y="834605"/>
                        <a:pt x="323151" y="835613"/>
                        <a:pt x="327488" y="835714"/>
                      </a:cubicBezTo>
                      <a:lnTo>
                        <a:pt x="327488" y="835714"/>
                      </a:lnTo>
                      <a:cubicBezTo>
                        <a:pt x="333035" y="835916"/>
                        <a:pt x="346651" y="830469"/>
                        <a:pt x="368134" y="818972"/>
                      </a:cubicBezTo>
                      <a:lnTo>
                        <a:pt x="368134" y="818972"/>
                      </a:lnTo>
                      <a:cubicBezTo>
                        <a:pt x="402224" y="801725"/>
                        <a:pt x="395567" y="783671"/>
                        <a:pt x="428548" y="782662"/>
                      </a:cubicBezTo>
                      <a:lnTo>
                        <a:pt x="428548" y="782662"/>
                      </a:lnTo>
                      <a:cubicBezTo>
                        <a:pt x="435104" y="782662"/>
                        <a:pt x="443273" y="783469"/>
                        <a:pt x="453763" y="785184"/>
                      </a:cubicBezTo>
                      <a:lnTo>
                        <a:pt x="453763" y="785184"/>
                      </a:lnTo>
                      <a:cubicBezTo>
                        <a:pt x="508025" y="794665"/>
                        <a:pt x="562892" y="777115"/>
                        <a:pt x="585383" y="825426"/>
                      </a:cubicBezTo>
                      <a:lnTo>
                        <a:pt x="585383" y="825426"/>
                      </a:lnTo>
                      <a:cubicBezTo>
                        <a:pt x="599806" y="859819"/>
                        <a:pt x="614128" y="872830"/>
                        <a:pt x="614229" y="903995"/>
                      </a:cubicBezTo>
                      <a:lnTo>
                        <a:pt x="614229" y="903995"/>
                      </a:lnTo>
                      <a:cubicBezTo>
                        <a:pt x="614229" y="909441"/>
                        <a:pt x="613724" y="915392"/>
                        <a:pt x="612917" y="922251"/>
                      </a:cubicBezTo>
                      <a:lnTo>
                        <a:pt x="612917" y="922251"/>
                      </a:lnTo>
                      <a:cubicBezTo>
                        <a:pt x="610396" y="939598"/>
                        <a:pt x="606967" y="954425"/>
                        <a:pt x="607068" y="962897"/>
                      </a:cubicBezTo>
                      <a:lnTo>
                        <a:pt x="607068" y="962897"/>
                      </a:lnTo>
                      <a:cubicBezTo>
                        <a:pt x="608177" y="970864"/>
                        <a:pt x="606664" y="968746"/>
                        <a:pt x="610900" y="969654"/>
                      </a:cubicBezTo>
                      <a:lnTo>
                        <a:pt x="610900" y="969654"/>
                      </a:lnTo>
                      <a:cubicBezTo>
                        <a:pt x="614531" y="969755"/>
                        <a:pt x="622197" y="967839"/>
                        <a:pt x="633291" y="962997"/>
                      </a:cubicBezTo>
                      <a:lnTo>
                        <a:pt x="633291" y="962997"/>
                      </a:lnTo>
                      <a:cubicBezTo>
                        <a:pt x="645999" y="957349"/>
                        <a:pt x="656791" y="955231"/>
                        <a:pt x="666171" y="955231"/>
                      </a:cubicBezTo>
                      <a:lnTo>
                        <a:pt x="666171" y="955231"/>
                      </a:lnTo>
                      <a:cubicBezTo>
                        <a:pt x="690074" y="955736"/>
                        <a:pt x="703085" y="967435"/>
                        <a:pt x="717609" y="966830"/>
                      </a:cubicBezTo>
                      <a:lnTo>
                        <a:pt x="717609" y="966830"/>
                      </a:lnTo>
                      <a:cubicBezTo>
                        <a:pt x="720534" y="966830"/>
                        <a:pt x="723761" y="966527"/>
                        <a:pt x="727291" y="965620"/>
                      </a:cubicBezTo>
                      <a:lnTo>
                        <a:pt x="727291" y="965620"/>
                      </a:lnTo>
                      <a:cubicBezTo>
                        <a:pt x="755834" y="958358"/>
                        <a:pt x="783873" y="932538"/>
                        <a:pt x="805860" y="931530"/>
                      </a:cubicBezTo>
                      <a:lnTo>
                        <a:pt x="805860" y="931530"/>
                      </a:lnTo>
                      <a:cubicBezTo>
                        <a:pt x="807978" y="931530"/>
                        <a:pt x="810499" y="931731"/>
                        <a:pt x="812920" y="932740"/>
                      </a:cubicBezTo>
                      <a:lnTo>
                        <a:pt x="812920" y="932740"/>
                      </a:lnTo>
                      <a:cubicBezTo>
                        <a:pt x="814635" y="933446"/>
                        <a:pt x="815744" y="933648"/>
                        <a:pt x="816853" y="933648"/>
                      </a:cubicBezTo>
                      <a:lnTo>
                        <a:pt x="816853" y="933648"/>
                      </a:lnTo>
                      <a:cubicBezTo>
                        <a:pt x="821291" y="934858"/>
                        <a:pt x="831478" y="923057"/>
                        <a:pt x="860727" y="920334"/>
                      </a:cubicBezTo>
                      <a:lnTo>
                        <a:pt x="860727" y="920334"/>
                      </a:lnTo>
                      <a:cubicBezTo>
                        <a:pt x="884227" y="924268"/>
                        <a:pt x="859416" y="878175"/>
                        <a:pt x="907626" y="860424"/>
                      </a:cubicBezTo>
                      <a:lnTo>
                        <a:pt x="907626" y="860424"/>
                      </a:lnTo>
                      <a:cubicBezTo>
                        <a:pt x="923562" y="855482"/>
                        <a:pt x="926890" y="844993"/>
                        <a:pt x="927294" y="829360"/>
                      </a:cubicBezTo>
                      <a:lnTo>
                        <a:pt x="927294" y="829360"/>
                      </a:lnTo>
                      <a:cubicBezTo>
                        <a:pt x="927394" y="811609"/>
                        <a:pt x="920839" y="791841"/>
                        <a:pt x="920536" y="780040"/>
                      </a:cubicBezTo>
                      <a:lnTo>
                        <a:pt x="920536" y="780040"/>
                      </a:lnTo>
                      <a:cubicBezTo>
                        <a:pt x="922049" y="757649"/>
                        <a:pt x="951096" y="733343"/>
                        <a:pt x="982060" y="732334"/>
                      </a:cubicBezTo>
                      <a:lnTo>
                        <a:pt x="982060" y="732334"/>
                      </a:lnTo>
                      <a:cubicBezTo>
                        <a:pt x="986498" y="732334"/>
                        <a:pt x="991036" y="732939"/>
                        <a:pt x="995575" y="734250"/>
                      </a:cubicBezTo>
                      <a:lnTo>
                        <a:pt x="995575" y="734250"/>
                      </a:lnTo>
                      <a:cubicBezTo>
                        <a:pt x="1017159" y="740907"/>
                        <a:pt x="1023109" y="748371"/>
                        <a:pt x="1047819" y="748371"/>
                      </a:cubicBezTo>
                      <a:lnTo>
                        <a:pt x="1047819" y="748371"/>
                      </a:lnTo>
                      <a:cubicBezTo>
                        <a:pt x="1060629" y="748371"/>
                        <a:pt x="1078783" y="746152"/>
                        <a:pt x="1106318" y="740201"/>
                      </a:cubicBezTo>
                      <a:lnTo>
                        <a:pt x="1106318" y="740201"/>
                      </a:lnTo>
                      <a:cubicBezTo>
                        <a:pt x="1111361" y="739092"/>
                        <a:pt x="1116807" y="737074"/>
                        <a:pt x="1122455" y="734755"/>
                      </a:cubicBezTo>
                      <a:lnTo>
                        <a:pt x="1122455" y="734755"/>
                      </a:lnTo>
                      <a:cubicBezTo>
                        <a:pt x="1117109" y="723963"/>
                        <a:pt x="1113680" y="711759"/>
                        <a:pt x="1113882" y="697739"/>
                      </a:cubicBezTo>
                      <a:lnTo>
                        <a:pt x="1113882" y="697739"/>
                      </a:lnTo>
                      <a:cubicBezTo>
                        <a:pt x="1113882" y="694411"/>
                        <a:pt x="1113983" y="690780"/>
                        <a:pt x="1114487" y="687250"/>
                      </a:cubicBezTo>
                      <a:lnTo>
                        <a:pt x="1114487" y="687250"/>
                      </a:lnTo>
                      <a:cubicBezTo>
                        <a:pt x="1121850" y="623709"/>
                        <a:pt x="1167539" y="594864"/>
                        <a:pt x="1174599" y="551696"/>
                      </a:cubicBezTo>
                      <a:lnTo>
                        <a:pt x="1174599" y="551696"/>
                      </a:lnTo>
                      <a:cubicBezTo>
                        <a:pt x="1175708" y="545544"/>
                        <a:pt x="1176112" y="539593"/>
                        <a:pt x="1176112" y="533945"/>
                      </a:cubicBezTo>
                      <a:lnTo>
                        <a:pt x="1176112" y="533945"/>
                      </a:lnTo>
                      <a:cubicBezTo>
                        <a:pt x="1176314" y="498746"/>
                        <a:pt x="1156747" y="469295"/>
                        <a:pt x="1146863" y="434700"/>
                      </a:cubicBezTo>
                      <a:lnTo>
                        <a:pt x="1146863" y="434700"/>
                      </a:lnTo>
                      <a:lnTo>
                        <a:pt x="1153620" y="432885"/>
                      </a:lnTo>
                      <a:lnTo>
                        <a:pt x="1160378" y="430969"/>
                      </a:lnTo>
                      <a:cubicBezTo>
                        <a:pt x="1168951" y="462638"/>
                        <a:pt x="1190030" y="493501"/>
                        <a:pt x="1190232" y="533945"/>
                      </a:cubicBezTo>
                      <a:lnTo>
                        <a:pt x="1190232" y="533945"/>
                      </a:lnTo>
                      <a:cubicBezTo>
                        <a:pt x="1190232" y="540299"/>
                        <a:pt x="1189627" y="547158"/>
                        <a:pt x="1188416" y="554117"/>
                      </a:cubicBezTo>
                      <a:lnTo>
                        <a:pt x="1188416" y="554117"/>
                      </a:lnTo>
                      <a:cubicBezTo>
                        <a:pt x="1178230" y="605252"/>
                        <a:pt x="1134054" y="632181"/>
                        <a:pt x="1128406" y="688864"/>
                      </a:cubicBezTo>
                      <a:lnTo>
                        <a:pt x="1128406" y="688864"/>
                      </a:lnTo>
                      <a:cubicBezTo>
                        <a:pt x="1128103" y="691789"/>
                        <a:pt x="1127901" y="694815"/>
                        <a:pt x="1127901" y="697739"/>
                      </a:cubicBezTo>
                      <a:lnTo>
                        <a:pt x="1127901" y="697739"/>
                      </a:lnTo>
                      <a:cubicBezTo>
                        <a:pt x="1127901" y="712263"/>
                        <a:pt x="1131734" y="723862"/>
                        <a:pt x="1138391" y="734654"/>
                      </a:cubicBezTo>
                      <a:lnTo>
                        <a:pt x="1138391" y="734654"/>
                      </a:lnTo>
                      <a:cubicBezTo>
                        <a:pt x="1139399" y="736368"/>
                        <a:pt x="1139802" y="738385"/>
                        <a:pt x="1139097" y="740302"/>
                      </a:cubicBezTo>
                      <a:lnTo>
                        <a:pt x="1139097" y="740302"/>
                      </a:lnTo>
                      <a:cubicBezTo>
                        <a:pt x="1138492" y="742218"/>
                        <a:pt x="1137180" y="743832"/>
                        <a:pt x="1135163" y="744639"/>
                      </a:cubicBezTo>
                      <a:lnTo>
                        <a:pt x="1135163" y="744639"/>
                      </a:lnTo>
                      <a:cubicBezTo>
                        <a:pt x="1126994" y="748169"/>
                        <a:pt x="1118421" y="751800"/>
                        <a:pt x="1109444" y="753817"/>
                      </a:cubicBezTo>
                      <a:lnTo>
                        <a:pt x="1109444" y="753817"/>
                      </a:lnTo>
                      <a:cubicBezTo>
                        <a:pt x="1081406" y="759969"/>
                        <a:pt x="1062444" y="762390"/>
                        <a:pt x="1047920" y="762390"/>
                      </a:cubicBezTo>
                      <a:lnTo>
                        <a:pt x="1047920" y="762390"/>
                      </a:lnTo>
                      <a:cubicBezTo>
                        <a:pt x="1019781" y="762390"/>
                        <a:pt x="1009695" y="752909"/>
                        <a:pt x="991641" y="747664"/>
                      </a:cubicBezTo>
                      <a:lnTo>
                        <a:pt x="991641" y="747664"/>
                      </a:lnTo>
                      <a:cubicBezTo>
                        <a:pt x="988616" y="746757"/>
                        <a:pt x="985489" y="746353"/>
                        <a:pt x="982161" y="746353"/>
                      </a:cubicBezTo>
                      <a:lnTo>
                        <a:pt x="982161" y="746353"/>
                      </a:lnTo>
                      <a:cubicBezTo>
                        <a:pt x="959165" y="746353"/>
                        <a:pt x="934656" y="771064"/>
                        <a:pt x="934556" y="780141"/>
                      </a:cubicBezTo>
                      <a:lnTo>
                        <a:pt x="934556" y="780141"/>
                      </a:lnTo>
                      <a:cubicBezTo>
                        <a:pt x="934354" y="787302"/>
                        <a:pt x="941313" y="809087"/>
                        <a:pt x="941313" y="829461"/>
                      </a:cubicBezTo>
                      <a:lnTo>
                        <a:pt x="941313" y="829461"/>
                      </a:lnTo>
                      <a:cubicBezTo>
                        <a:pt x="941918" y="847212"/>
                        <a:pt x="934757" y="867585"/>
                        <a:pt x="911459" y="874040"/>
                      </a:cubicBezTo>
                      <a:lnTo>
                        <a:pt x="911459" y="874040"/>
                      </a:lnTo>
                      <a:cubicBezTo>
                        <a:pt x="875351" y="880294"/>
                        <a:pt x="904701" y="924369"/>
                        <a:pt x="862139" y="934455"/>
                      </a:cubicBezTo>
                      <a:lnTo>
                        <a:pt x="862139" y="934455"/>
                      </a:lnTo>
                      <a:cubicBezTo>
                        <a:pt x="835815" y="936472"/>
                        <a:pt x="832890" y="946558"/>
                        <a:pt x="816954" y="947768"/>
                      </a:cubicBezTo>
                      <a:lnTo>
                        <a:pt x="816954" y="947768"/>
                      </a:lnTo>
                      <a:cubicBezTo>
                        <a:pt x="814029" y="947768"/>
                        <a:pt x="810903" y="947163"/>
                        <a:pt x="807675" y="945852"/>
                      </a:cubicBezTo>
                      <a:lnTo>
                        <a:pt x="807675" y="945852"/>
                      </a:lnTo>
                      <a:cubicBezTo>
                        <a:pt x="807373" y="945751"/>
                        <a:pt x="806869" y="945650"/>
                        <a:pt x="805961" y="945650"/>
                      </a:cubicBezTo>
                      <a:lnTo>
                        <a:pt x="805961" y="945650"/>
                      </a:lnTo>
                      <a:cubicBezTo>
                        <a:pt x="794866" y="944540"/>
                        <a:pt x="762692" y="970259"/>
                        <a:pt x="730922" y="979337"/>
                      </a:cubicBezTo>
                      <a:lnTo>
                        <a:pt x="730922" y="979337"/>
                      </a:lnTo>
                      <a:cubicBezTo>
                        <a:pt x="726282" y="980446"/>
                        <a:pt x="721845" y="981152"/>
                        <a:pt x="717710" y="981051"/>
                      </a:cubicBezTo>
                      <a:lnTo>
                        <a:pt x="717710" y="981051"/>
                      </a:lnTo>
                      <a:cubicBezTo>
                        <a:pt x="696327" y="980648"/>
                        <a:pt x="684325" y="968948"/>
                        <a:pt x="666272" y="969452"/>
                      </a:cubicBezTo>
                      <a:lnTo>
                        <a:pt x="666272" y="969452"/>
                      </a:lnTo>
                      <a:cubicBezTo>
                        <a:pt x="659010" y="969452"/>
                        <a:pt x="650336" y="971066"/>
                        <a:pt x="638939" y="976008"/>
                      </a:cubicBezTo>
                      <a:lnTo>
                        <a:pt x="638939" y="976008"/>
                      </a:lnTo>
                      <a:cubicBezTo>
                        <a:pt x="626937" y="981152"/>
                        <a:pt x="618465" y="983774"/>
                        <a:pt x="611001" y="983774"/>
                      </a:cubicBezTo>
                      <a:lnTo>
                        <a:pt x="611001" y="983774"/>
                      </a:lnTo>
                      <a:cubicBezTo>
                        <a:pt x="598797" y="983068"/>
                        <a:pt x="593250" y="971772"/>
                        <a:pt x="593250" y="962392"/>
                      </a:cubicBezTo>
                      <a:lnTo>
                        <a:pt x="593250" y="962392"/>
                      </a:lnTo>
                      <a:close/>
                    </a:path>
                  </a:pathLst>
                </a:custGeom>
                <a:solidFill>
                  <a:srgbClr val="ABDEF6"/>
                </a:solidFill>
                <a:ln w="10085" cap="flat">
                  <a:solidFill>
                    <a:srgbClr val="FFFFFF"/>
                  </a:solidFill>
                  <a:prstDash val="solid"/>
                  <a:miter/>
                </a:ln>
              </p:spPr>
              <p:txBody>
                <a:bodyPr rtlCol="0" anchor="ctr"/>
                <a:lstStyle/>
                <a:p>
                  <a:endParaRPr lang="fr-FR" sz="900"/>
                </a:p>
              </p:txBody>
            </p:sp>
          </p:grpSp>
          <p:sp>
            <p:nvSpPr>
              <p:cNvPr id="54" name="Forme libre : forme 53">
                <a:extLst>
                  <a:ext uri="{FF2B5EF4-FFF2-40B4-BE49-F238E27FC236}">
                    <a16:creationId xmlns:a16="http://schemas.microsoft.com/office/drawing/2014/main" id="{30D788C3-0C27-DDE8-D931-7703CA46C604}"/>
                  </a:ext>
                </a:extLst>
              </p:cNvPr>
              <p:cNvSpPr/>
              <p:nvPr/>
            </p:nvSpPr>
            <p:spPr>
              <a:xfrm>
                <a:off x="1113429" y="4335822"/>
                <a:ext cx="10085" cy="10085"/>
              </a:xfrm>
              <a:custGeom>
                <a:avLst/>
                <a:gdLst/>
                <a:ahLst/>
                <a:cxnLst/>
                <a:rect l="l" t="t" r="r" b="b"/>
                <a:pathLst>
                  <a:path w="10085" h="10085"/>
                </a:pathLst>
              </a:custGeom>
              <a:solidFill>
                <a:srgbClr val="ABDEF6"/>
              </a:solidFill>
              <a:ln w="10085" cap="flat">
                <a:solidFill>
                  <a:srgbClr val="FFFFFF"/>
                </a:solidFill>
                <a:prstDash val="solid"/>
                <a:miter/>
              </a:ln>
            </p:spPr>
            <p:txBody>
              <a:bodyPr rtlCol="0" anchor="ctr"/>
              <a:lstStyle/>
              <a:p>
                <a:endParaRPr lang="fr-FR" sz="900"/>
              </a:p>
            </p:txBody>
          </p:sp>
          <p:grpSp>
            <p:nvGrpSpPr>
              <p:cNvPr id="55" name="Graphique 17">
                <a:extLst>
                  <a:ext uri="{FF2B5EF4-FFF2-40B4-BE49-F238E27FC236}">
                    <a16:creationId xmlns:a16="http://schemas.microsoft.com/office/drawing/2014/main" id="{39C8C8C1-228C-E52E-5047-C23335637DA1}"/>
                  </a:ext>
                </a:extLst>
              </p:cNvPr>
              <p:cNvGrpSpPr/>
              <p:nvPr/>
            </p:nvGrpSpPr>
            <p:grpSpPr>
              <a:xfrm>
                <a:off x="4855987" y="4340958"/>
                <a:ext cx="1513685" cy="1009097"/>
                <a:chOff x="4855987" y="4340958"/>
                <a:chExt cx="1513685" cy="1009097"/>
              </a:xfrm>
            </p:grpSpPr>
            <p:sp>
              <p:nvSpPr>
                <p:cNvPr id="56" name="Forme libre : forme 55">
                  <a:extLst>
                    <a:ext uri="{FF2B5EF4-FFF2-40B4-BE49-F238E27FC236}">
                      <a16:creationId xmlns:a16="http://schemas.microsoft.com/office/drawing/2014/main" id="{BC856D1F-8972-12D3-9093-00C60A4D353E}"/>
                    </a:ext>
                  </a:extLst>
                </p:cNvPr>
                <p:cNvSpPr/>
                <p:nvPr/>
              </p:nvSpPr>
              <p:spPr>
                <a:xfrm>
                  <a:off x="4858856" y="4343733"/>
                  <a:ext cx="1507641" cy="1003780"/>
                </a:xfrm>
                <a:custGeom>
                  <a:avLst/>
                  <a:gdLst>
                    <a:gd name="connsiteX0" fmla="*/ 8226 w 1507641"/>
                    <a:gd name="connsiteY0" fmla="*/ 666429 h 1003780"/>
                    <a:gd name="connsiteX1" fmla="*/ 8226 w 1507641"/>
                    <a:gd name="connsiteY1" fmla="*/ 550643 h 1003780"/>
                    <a:gd name="connsiteX2" fmla="*/ 23254 w 1507641"/>
                    <a:gd name="connsiteY2" fmla="*/ 484177 h 1003780"/>
                    <a:gd name="connsiteX3" fmla="*/ 6108 w 1507641"/>
                    <a:gd name="connsiteY3" fmla="*/ 319072 h 1003780"/>
                    <a:gd name="connsiteX4" fmla="*/ 21035 w 1507641"/>
                    <a:gd name="connsiteY4" fmla="*/ 229005 h 1003780"/>
                    <a:gd name="connsiteX5" fmla="*/ 78928 w 1507641"/>
                    <a:gd name="connsiteY5" fmla="*/ 173230 h 1003780"/>
                    <a:gd name="connsiteX6" fmla="*/ 162640 w 1507641"/>
                    <a:gd name="connsiteY6" fmla="*/ 98191 h 1003780"/>
                    <a:gd name="connsiteX7" fmla="*/ 332083 w 1507641"/>
                    <a:gd name="connsiteY7" fmla="*/ 61681 h 1003780"/>
                    <a:gd name="connsiteX8" fmla="*/ 428604 w 1507641"/>
                    <a:gd name="connsiteY8" fmla="*/ 48872 h 1003780"/>
                    <a:gd name="connsiteX9" fmla="*/ 505761 w 1507641"/>
                    <a:gd name="connsiteY9" fmla="*/ 25271 h 1003780"/>
                    <a:gd name="connsiteX10" fmla="*/ 550744 w 1507641"/>
                    <a:gd name="connsiteY10" fmla="*/ 6007 h 1003780"/>
                    <a:gd name="connsiteX11" fmla="*/ 565772 w 1507641"/>
                    <a:gd name="connsiteY11" fmla="*/ 70354 h 1003780"/>
                    <a:gd name="connsiteX12" fmla="*/ 587255 w 1507641"/>
                    <a:gd name="connsiteY12" fmla="*/ 134702 h 1003780"/>
                    <a:gd name="connsiteX13" fmla="*/ 589373 w 1507641"/>
                    <a:gd name="connsiteY13" fmla="*/ 239797 h 1003780"/>
                    <a:gd name="connsiteX14" fmla="*/ 649384 w 1507641"/>
                    <a:gd name="connsiteY14" fmla="*/ 282662 h 1003780"/>
                    <a:gd name="connsiteX15" fmla="*/ 715849 w 1507641"/>
                    <a:gd name="connsiteY15" fmla="*/ 353464 h 1003780"/>
                    <a:gd name="connsiteX16" fmla="*/ 750142 w 1507641"/>
                    <a:gd name="connsiteY16" fmla="*/ 340555 h 1003780"/>
                    <a:gd name="connsiteX17" fmla="*/ 851000 w 1507641"/>
                    <a:gd name="connsiteY17" fmla="*/ 278325 h 1003780"/>
                    <a:gd name="connsiteX18" fmla="*/ 911011 w 1507641"/>
                    <a:gd name="connsiteY18" fmla="*/ 331982 h 1003780"/>
                    <a:gd name="connsiteX19" fmla="*/ 951758 w 1507641"/>
                    <a:gd name="connsiteY19" fmla="*/ 357701 h 1003780"/>
                    <a:gd name="connsiteX20" fmla="*/ 951758 w 1507641"/>
                    <a:gd name="connsiteY20" fmla="*/ 430621 h 1003780"/>
                    <a:gd name="connsiteX21" fmla="*/ 981814 w 1507641"/>
                    <a:gd name="connsiteY21" fmla="*/ 522907 h 1003780"/>
                    <a:gd name="connsiteX22" fmla="*/ 1123318 w 1507641"/>
                    <a:gd name="connsiteY22" fmla="*/ 535716 h 1003780"/>
                    <a:gd name="connsiteX23" fmla="*/ 1176975 w 1507641"/>
                    <a:gd name="connsiteY23" fmla="*/ 690130 h 1003780"/>
                    <a:gd name="connsiteX24" fmla="*/ 1221958 w 1507641"/>
                    <a:gd name="connsiteY24" fmla="*/ 688012 h 1003780"/>
                    <a:gd name="connsiteX25" fmla="*/ 1279851 w 1507641"/>
                    <a:gd name="connsiteY25" fmla="*/ 653720 h 1003780"/>
                    <a:gd name="connsiteX26" fmla="*/ 1324833 w 1507641"/>
                    <a:gd name="connsiteY26" fmla="*/ 688012 h 1003780"/>
                    <a:gd name="connsiteX27" fmla="*/ 1363462 w 1507641"/>
                    <a:gd name="connsiteY27" fmla="*/ 651501 h 1003780"/>
                    <a:gd name="connsiteX28" fmla="*/ 1408445 w 1507641"/>
                    <a:gd name="connsiteY28" fmla="*/ 681557 h 1003780"/>
                    <a:gd name="connsiteX29" fmla="*/ 1440619 w 1507641"/>
                    <a:gd name="connsiteY29" fmla="*/ 718068 h 1003780"/>
                    <a:gd name="connsiteX30" fmla="*/ 1507085 w 1507641"/>
                    <a:gd name="connsiteY30" fmla="*/ 748124 h 1003780"/>
                    <a:gd name="connsiteX31" fmla="*/ 1455546 w 1507641"/>
                    <a:gd name="connsiteY31" fmla="*/ 788871 h 1003780"/>
                    <a:gd name="connsiteX32" fmla="*/ 1455546 w 1507641"/>
                    <a:gd name="connsiteY32" fmla="*/ 851101 h 1003780"/>
                    <a:gd name="connsiteX33" fmla="*/ 1483484 w 1507641"/>
                    <a:gd name="connsiteY33" fmla="*/ 900521 h 1003780"/>
                    <a:gd name="connsiteX34" fmla="*/ 1457765 w 1507641"/>
                    <a:gd name="connsiteY34" fmla="*/ 941268 h 1003780"/>
                    <a:gd name="connsiteX35" fmla="*/ 1444855 w 1507641"/>
                    <a:gd name="connsiteY35" fmla="*/ 1003498 h 1003780"/>
                    <a:gd name="connsiteX36" fmla="*/ 1378389 w 1507641"/>
                    <a:gd name="connsiteY36" fmla="*/ 969206 h 1003780"/>
                    <a:gd name="connsiteX37" fmla="*/ 1326952 w 1507641"/>
                    <a:gd name="connsiteY37" fmla="*/ 949942 h 1003780"/>
                    <a:gd name="connsiteX38" fmla="*/ 1264722 w 1507641"/>
                    <a:gd name="connsiteY38" fmla="*/ 930678 h 1003780"/>
                    <a:gd name="connsiteX39" fmla="*/ 1187464 w 1507641"/>
                    <a:gd name="connsiteY39" fmla="*/ 939251 h 1003780"/>
                    <a:gd name="connsiteX40" fmla="*/ 1103852 w 1507641"/>
                    <a:gd name="connsiteY40" fmla="*/ 928560 h 1003780"/>
                    <a:gd name="connsiteX41" fmla="*/ 1058769 w 1507641"/>
                    <a:gd name="connsiteY41" fmla="*/ 975661 h 1003780"/>
                    <a:gd name="connsiteX42" fmla="*/ 887208 w 1507641"/>
                    <a:gd name="connsiteY42" fmla="*/ 956397 h 1003780"/>
                    <a:gd name="connsiteX43" fmla="*/ 805714 w 1507641"/>
                    <a:gd name="connsiteY43" fmla="*/ 939251 h 1003780"/>
                    <a:gd name="connsiteX44" fmla="*/ 730676 w 1507641"/>
                    <a:gd name="connsiteY44" fmla="*/ 958515 h 1003780"/>
                    <a:gd name="connsiteX45" fmla="*/ 702738 w 1507641"/>
                    <a:gd name="connsiteY45" fmla="*/ 928459 h 1003780"/>
                    <a:gd name="connsiteX46" fmla="*/ 655536 w 1507641"/>
                    <a:gd name="connsiteY46" fmla="*/ 917667 h 1003780"/>
                    <a:gd name="connsiteX47" fmla="*/ 559014 w 1507641"/>
                    <a:gd name="connsiteY47" fmla="*/ 870465 h 1003780"/>
                    <a:gd name="connsiteX48" fmla="*/ 499003 w 1507641"/>
                    <a:gd name="connsiteY48" fmla="*/ 902639 h 1003780"/>
                    <a:gd name="connsiteX49" fmla="*/ 447566 w 1507641"/>
                    <a:gd name="connsiteY49" fmla="*/ 848983 h 1003780"/>
                    <a:gd name="connsiteX50" fmla="*/ 486195 w 1507641"/>
                    <a:gd name="connsiteY50" fmla="*/ 788972 h 1003780"/>
                    <a:gd name="connsiteX51" fmla="*/ 368190 w 1507641"/>
                    <a:gd name="connsiteY51" fmla="*/ 806118 h 1003780"/>
                    <a:gd name="connsiteX52" fmla="*/ 252404 w 1507641"/>
                    <a:gd name="connsiteY52" fmla="*/ 761135 h 1003780"/>
                    <a:gd name="connsiteX53" fmla="*/ 130164 w 1507641"/>
                    <a:gd name="connsiteY53" fmla="*/ 668950 h 1003780"/>
                    <a:gd name="connsiteX54" fmla="*/ 50788 w 1507641"/>
                    <a:gd name="connsiteY54" fmla="*/ 686096 h 1003780"/>
                    <a:gd name="connsiteX55" fmla="*/ 8226 w 1507641"/>
                    <a:gd name="connsiteY55" fmla="*/ 666429 h 1003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507641" h="1003780">
                      <a:moveTo>
                        <a:pt x="8226" y="666429"/>
                      </a:moveTo>
                      <a:cubicBezTo>
                        <a:pt x="8226" y="666429"/>
                        <a:pt x="6007" y="580598"/>
                        <a:pt x="8226" y="550643"/>
                      </a:cubicBezTo>
                      <a:cubicBezTo>
                        <a:pt x="10445" y="520688"/>
                        <a:pt x="27490" y="509896"/>
                        <a:pt x="23254" y="484177"/>
                      </a:cubicBezTo>
                      <a:cubicBezTo>
                        <a:pt x="18917" y="458458"/>
                        <a:pt x="-13156" y="366273"/>
                        <a:pt x="6108" y="319072"/>
                      </a:cubicBezTo>
                      <a:cubicBezTo>
                        <a:pt x="25372" y="271870"/>
                        <a:pt x="18917" y="250387"/>
                        <a:pt x="21035" y="229005"/>
                      </a:cubicBezTo>
                      <a:cubicBezTo>
                        <a:pt x="23254" y="207623"/>
                        <a:pt x="42417" y="194713"/>
                        <a:pt x="78928" y="173230"/>
                      </a:cubicBezTo>
                      <a:cubicBezTo>
                        <a:pt x="115438" y="151747"/>
                        <a:pt x="113320" y="108882"/>
                        <a:pt x="162640" y="98191"/>
                      </a:cubicBezTo>
                      <a:cubicBezTo>
                        <a:pt x="211960" y="87400"/>
                        <a:pt x="293454" y="81045"/>
                        <a:pt x="332083" y="61681"/>
                      </a:cubicBezTo>
                      <a:cubicBezTo>
                        <a:pt x="370711" y="42417"/>
                        <a:pt x="428604" y="48872"/>
                        <a:pt x="428604" y="48872"/>
                      </a:cubicBezTo>
                      <a:cubicBezTo>
                        <a:pt x="428604" y="48872"/>
                        <a:pt x="475806" y="48872"/>
                        <a:pt x="505761" y="25271"/>
                      </a:cubicBezTo>
                      <a:cubicBezTo>
                        <a:pt x="535817" y="1670"/>
                        <a:pt x="548626" y="-6903"/>
                        <a:pt x="550744" y="6007"/>
                      </a:cubicBezTo>
                      <a:cubicBezTo>
                        <a:pt x="552963" y="18816"/>
                        <a:pt x="548525" y="57445"/>
                        <a:pt x="565772" y="70354"/>
                      </a:cubicBezTo>
                      <a:cubicBezTo>
                        <a:pt x="582918" y="83264"/>
                        <a:pt x="589373" y="111101"/>
                        <a:pt x="587255" y="134702"/>
                      </a:cubicBezTo>
                      <a:cubicBezTo>
                        <a:pt x="585036" y="158303"/>
                        <a:pt x="570109" y="231224"/>
                        <a:pt x="589373" y="239797"/>
                      </a:cubicBezTo>
                      <a:cubicBezTo>
                        <a:pt x="608637" y="248370"/>
                        <a:pt x="628002" y="250488"/>
                        <a:pt x="649384" y="282662"/>
                      </a:cubicBezTo>
                      <a:cubicBezTo>
                        <a:pt x="670766" y="314836"/>
                        <a:pt x="709395" y="349128"/>
                        <a:pt x="715849" y="353464"/>
                      </a:cubicBezTo>
                      <a:cubicBezTo>
                        <a:pt x="722304" y="357801"/>
                        <a:pt x="739451" y="364155"/>
                        <a:pt x="750142" y="340555"/>
                      </a:cubicBezTo>
                      <a:cubicBezTo>
                        <a:pt x="760933" y="316954"/>
                        <a:pt x="820944" y="282662"/>
                        <a:pt x="851000" y="278325"/>
                      </a:cubicBezTo>
                      <a:cubicBezTo>
                        <a:pt x="881056" y="274089"/>
                        <a:pt x="898202" y="308381"/>
                        <a:pt x="911011" y="331982"/>
                      </a:cubicBezTo>
                      <a:cubicBezTo>
                        <a:pt x="923820" y="355582"/>
                        <a:pt x="945202" y="342673"/>
                        <a:pt x="951758" y="357701"/>
                      </a:cubicBezTo>
                      <a:cubicBezTo>
                        <a:pt x="958212" y="372728"/>
                        <a:pt x="953775" y="424166"/>
                        <a:pt x="951758" y="430621"/>
                      </a:cubicBezTo>
                      <a:cubicBezTo>
                        <a:pt x="949640" y="437076"/>
                        <a:pt x="945404" y="501424"/>
                        <a:pt x="981814" y="522907"/>
                      </a:cubicBezTo>
                      <a:cubicBezTo>
                        <a:pt x="1018223" y="544390"/>
                        <a:pt x="1028914" y="499306"/>
                        <a:pt x="1123318" y="535716"/>
                      </a:cubicBezTo>
                      <a:cubicBezTo>
                        <a:pt x="1217722" y="572227"/>
                        <a:pt x="1157610" y="666529"/>
                        <a:pt x="1176975" y="690130"/>
                      </a:cubicBezTo>
                      <a:cubicBezTo>
                        <a:pt x="1196239" y="713731"/>
                        <a:pt x="1219941" y="715950"/>
                        <a:pt x="1221958" y="688012"/>
                      </a:cubicBezTo>
                      <a:cubicBezTo>
                        <a:pt x="1224076" y="660075"/>
                        <a:pt x="1247778" y="640811"/>
                        <a:pt x="1279851" y="653720"/>
                      </a:cubicBezTo>
                      <a:cubicBezTo>
                        <a:pt x="1312025" y="666630"/>
                        <a:pt x="1309907" y="700922"/>
                        <a:pt x="1324833" y="688012"/>
                      </a:cubicBezTo>
                      <a:cubicBezTo>
                        <a:pt x="1339761" y="675102"/>
                        <a:pt x="1327052" y="649383"/>
                        <a:pt x="1363462" y="651501"/>
                      </a:cubicBezTo>
                      <a:cubicBezTo>
                        <a:pt x="1399872" y="653620"/>
                        <a:pt x="1404108" y="660075"/>
                        <a:pt x="1408445" y="681557"/>
                      </a:cubicBezTo>
                      <a:cubicBezTo>
                        <a:pt x="1412782" y="703040"/>
                        <a:pt x="1419237" y="718068"/>
                        <a:pt x="1440619" y="718068"/>
                      </a:cubicBezTo>
                      <a:cubicBezTo>
                        <a:pt x="1462102" y="718068"/>
                        <a:pt x="1513540" y="735214"/>
                        <a:pt x="1507085" y="748124"/>
                      </a:cubicBezTo>
                      <a:cubicBezTo>
                        <a:pt x="1500630" y="761034"/>
                        <a:pt x="1455546" y="773843"/>
                        <a:pt x="1455546" y="788871"/>
                      </a:cubicBezTo>
                      <a:cubicBezTo>
                        <a:pt x="1455546" y="803899"/>
                        <a:pt x="1440518" y="831736"/>
                        <a:pt x="1455546" y="851101"/>
                      </a:cubicBezTo>
                      <a:cubicBezTo>
                        <a:pt x="1470574" y="870365"/>
                        <a:pt x="1489838" y="879038"/>
                        <a:pt x="1483484" y="900521"/>
                      </a:cubicBezTo>
                      <a:cubicBezTo>
                        <a:pt x="1477029" y="921903"/>
                        <a:pt x="1457765" y="900420"/>
                        <a:pt x="1457765" y="941268"/>
                      </a:cubicBezTo>
                      <a:cubicBezTo>
                        <a:pt x="1457765" y="982015"/>
                        <a:pt x="1472692" y="1001279"/>
                        <a:pt x="1444855" y="1003498"/>
                      </a:cubicBezTo>
                      <a:cubicBezTo>
                        <a:pt x="1416917" y="1005717"/>
                        <a:pt x="1382626" y="994925"/>
                        <a:pt x="1378389" y="969206"/>
                      </a:cubicBezTo>
                      <a:cubicBezTo>
                        <a:pt x="1374153" y="943487"/>
                        <a:pt x="1335625" y="943487"/>
                        <a:pt x="1326952" y="949942"/>
                      </a:cubicBezTo>
                      <a:cubicBezTo>
                        <a:pt x="1318278" y="956397"/>
                        <a:pt x="1269059" y="943487"/>
                        <a:pt x="1264722" y="930678"/>
                      </a:cubicBezTo>
                      <a:cubicBezTo>
                        <a:pt x="1260385" y="917768"/>
                        <a:pt x="1193919" y="932897"/>
                        <a:pt x="1187464" y="939251"/>
                      </a:cubicBezTo>
                      <a:cubicBezTo>
                        <a:pt x="1181009" y="945706"/>
                        <a:pt x="1120998" y="917768"/>
                        <a:pt x="1103852" y="928560"/>
                      </a:cubicBezTo>
                      <a:cubicBezTo>
                        <a:pt x="1086707" y="939251"/>
                        <a:pt x="1088724" y="975661"/>
                        <a:pt x="1058769" y="975661"/>
                      </a:cubicBezTo>
                      <a:cubicBezTo>
                        <a:pt x="1028813" y="975661"/>
                        <a:pt x="919382" y="971425"/>
                        <a:pt x="887208" y="956397"/>
                      </a:cubicBezTo>
                      <a:cubicBezTo>
                        <a:pt x="855034" y="941369"/>
                        <a:pt x="818624" y="928560"/>
                        <a:pt x="805714" y="939251"/>
                      </a:cubicBezTo>
                      <a:cubicBezTo>
                        <a:pt x="792805" y="949942"/>
                        <a:pt x="743485" y="971425"/>
                        <a:pt x="730676" y="958515"/>
                      </a:cubicBezTo>
                      <a:cubicBezTo>
                        <a:pt x="717766" y="945605"/>
                        <a:pt x="717766" y="919886"/>
                        <a:pt x="702738" y="928459"/>
                      </a:cubicBezTo>
                      <a:cubicBezTo>
                        <a:pt x="687710" y="937032"/>
                        <a:pt x="683474" y="937032"/>
                        <a:pt x="655536" y="917667"/>
                      </a:cubicBezTo>
                      <a:cubicBezTo>
                        <a:pt x="627598" y="898403"/>
                        <a:pt x="589070" y="870465"/>
                        <a:pt x="559014" y="870465"/>
                      </a:cubicBezTo>
                      <a:cubicBezTo>
                        <a:pt x="528958" y="870465"/>
                        <a:pt x="522605" y="894066"/>
                        <a:pt x="499003" y="902639"/>
                      </a:cubicBezTo>
                      <a:cubicBezTo>
                        <a:pt x="475403" y="911212"/>
                        <a:pt x="421746" y="885493"/>
                        <a:pt x="447566" y="848983"/>
                      </a:cubicBezTo>
                      <a:cubicBezTo>
                        <a:pt x="473285" y="812573"/>
                        <a:pt x="511913" y="825483"/>
                        <a:pt x="486195" y="788972"/>
                      </a:cubicBezTo>
                      <a:cubicBezTo>
                        <a:pt x="460375" y="752461"/>
                        <a:pt x="436875" y="806118"/>
                        <a:pt x="368190" y="806118"/>
                      </a:cubicBezTo>
                      <a:cubicBezTo>
                        <a:pt x="299606" y="806118"/>
                        <a:pt x="308179" y="795427"/>
                        <a:pt x="252404" y="761135"/>
                      </a:cubicBezTo>
                      <a:cubicBezTo>
                        <a:pt x="196630" y="726843"/>
                        <a:pt x="170911" y="671068"/>
                        <a:pt x="130164" y="668950"/>
                      </a:cubicBezTo>
                      <a:cubicBezTo>
                        <a:pt x="89417" y="666731"/>
                        <a:pt x="89417" y="686096"/>
                        <a:pt x="50788" y="686096"/>
                      </a:cubicBezTo>
                      <a:cubicBezTo>
                        <a:pt x="12663" y="685793"/>
                        <a:pt x="8226" y="666429"/>
                        <a:pt x="8226" y="666429"/>
                      </a:cubicBezTo>
                      <a:close/>
                    </a:path>
                  </a:pathLst>
                </a:custGeom>
                <a:solidFill>
                  <a:srgbClr val="E4002B"/>
                </a:solidFill>
                <a:ln w="10085" cap="flat">
                  <a:noFill/>
                  <a:prstDash val="solid"/>
                  <a:miter/>
                </a:ln>
              </p:spPr>
              <p:txBody>
                <a:bodyPr rtlCol="0" anchor="ctr"/>
                <a:lstStyle/>
                <a:p>
                  <a:endParaRPr lang="fr-FR" sz="900"/>
                </a:p>
              </p:txBody>
            </p:sp>
            <p:sp>
              <p:nvSpPr>
                <p:cNvPr id="57" name="Forme libre : forme 56">
                  <a:extLst>
                    <a:ext uri="{FF2B5EF4-FFF2-40B4-BE49-F238E27FC236}">
                      <a16:creationId xmlns:a16="http://schemas.microsoft.com/office/drawing/2014/main" id="{F77A9B06-0C4A-1107-548D-199E435A7C4F}"/>
                    </a:ext>
                  </a:extLst>
                </p:cNvPr>
                <p:cNvSpPr/>
                <p:nvPr/>
              </p:nvSpPr>
              <p:spPr>
                <a:xfrm>
                  <a:off x="4855987" y="4340958"/>
                  <a:ext cx="1513685" cy="1009097"/>
                </a:xfrm>
                <a:custGeom>
                  <a:avLst/>
                  <a:gdLst>
                    <a:gd name="connsiteX0" fmla="*/ 1378736 w 1513685"/>
                    <a:gd name="connsiteY0" fmla="*/ 972082 h 1009097"/>
                    <a:gd name="connsiteX1" fmla="*/ 1346260 w 1513685"/>
                    <a:gd name="connsiteY1" fmla="*/ 951406 h 1009097"/>
                    <a:gd name="connsiteX2" fmla="*/ 1346260 w 1513685"/>
                    <a:gd name="connsiteY2" fmla="*/ 951406 h 1009097"/>
                    <a:gd name="connsiteX3" fmla="*/ 1331736 w 1513685"/>
                    <a:gd name="connsiteY3" fmla="*/ 954432 h 1009097"/>
                    <a:gd name="connsiteX4" fmla="*/ 1331736 w 1513685"/>
                    <a:gd name="connsiteY4" fmla="*/ 954432 h 1009097"/>
                    <a:gd name="connsiteX5" fmla="*/ 1321751 w 1513685"/>
                    <a:gd name="connsiteY5" fmla="*/ 956752 h 1009097"/>
                    <a:gd name="connsiteX6" fmla="*/ 1321751 w 1513685"/>
                    <a:gd name="connsiteY6" fmla="*/ 956752 h 1009097"/>
                    <a:gd name="connsiteX7" fmla="*/ 1265372 w 1513685"/>
                    <a:gd name="connsiteY7" fmla="*/ 933958 h 1009097"/>
                    <a:gd name="connsiteX8" fmla="*/ 1265372 w 1513685"/>
                    <a:gd name="connsiteY8" fmla="*/ 933958 h 1009097"/>
                    <a:gd name="connsiteX9" fmla="*/ 1252058 w 1513685"/>
                    <a:gd name="connsiteY9" fmla="*/ 930629 h 1009097"/>
                    <a:gd name="connsiteX10" fmla="*/ 1252058 w 1513685"/>
                    <a:gd name="connsiteY10" fmla="*/ 930629 h 1009097"/>
                    <a:gd name="connsiteX11" fmla="*/ 1192653 w 1513685"/>
                    <a:gd name="connsiteY11" fmla="*/ 943539 h 1009097"/>
                    <a:gd name="connsiteX12" fmla="*/ 1192653 w 1513685"/>
                    <a:gd name="connsiteY12" fmla="*/ 943539 h 1009097"/>
                    <a:gd name="connsiteX13" fmla="*/ 1187005 w 1513685"/>
                    <a:gd name="connsiteY13" fmla="*/ 945254 h 1009097"/>
                    <a:gd name="connsiteX14" fmla="*/ 1187005 w 1513685"/>
                    <a:gd name="connsiteY14" fmla="*/ 945254 h 1009097"/>
                    <a:gd name="connsiteX15" fmla="*/ 1118521 w 1513685"/>
                    <a:gd name="connsiteY15" fmla="*/ 931033 h 1009097"/>
                    <a:gd name="connsiteX16" fmla="*/ 1118521 w 1513685"/>
                    <a:gd name="connsiteY16" fmla="*/ 931033 h 1009097"/>
                    <a:gd name="connsiteX17" fmla="*/ 1108537 w 1513685"/>
                    <a:gd name="connsiteY17" fmla="*/ 933252 h 1009097"/>
                    <a:gd name="connsiteX18" fmla="*/ 1108537 w 1513685"/>
                    <a:gd name="connsiteY18" fmla="*/ 933252 h 1009097"/>
                    <a:gd name="connsiteX19" fmla="*/ 1061940 w 1513685"/>
                    <a:gd name="connsiteY19" fmla="*/ 980857 h 1009097"/>
                    <a:gd name="connsiteX20" fmla="*/ 1061940 w 1513685"/>
                    <a:gd name="connsiteY20" fmla="*/ 980857 h 1009097"/>
                    <a:gd name="connsiteX21" fmla="*/ 889169 w 1513685"/>
                    <a:gd name="connsiteY21" fmla="*/ 961290 h 1009097"/>
                    <a:gd name="connsiteX22" fmla="*/ 889169 w 1513685"/>
                    <a:gd name="connsiteY22" fmla="*/ 961290 h 1009097"/>
                    <a:gd name="connsiteX23" fmla="*/ 823107 w 1513685"/>
                    <a:gd name="connsiteY23" fmla="*/ 940413 h 1009097"/>
                    <a:gd name="connsiteX24" fmla="*/ 823107 w 1513685"/>
                    <a:gd name="connsiteY24" fmla="*/ 940413 h 1009097"/>
                    <a:gd name="connsiteX25" fmla="*/ 810701 w 1513685"/>
                    <a:gd name="connsiteY25" fmla="*/ 943741 h 1009097"/>
                    <a:gd name="connsiteX26" fmla="*/ 810701 w 1513685"/>
                    <a:gd name="connsiteY26" fmla="*/ 943741 h 1009097"/>
                    <a:gd name="connsiteX27" fmla="*/ 746757 w 1513685"/>
                    <a:gd name="connsiteY27" fmla="*/ 967644 h 1009097"/>
                    <a:gd name="connsiteX28" fmla="*/ 746757 w 1513685"/>
                    <a:gd name="connsiteY28" fmla="*/ 967644 h 1009097"/>
                    <a:gd name="connsiteX29" fmla="*/ 731931 w 1513685"/>
                    <a:gd name="connsiteY29" fmla="*/ 962904 h 1009097"/>
                    <a:gd name="connsiteX30" fmla="*/ 731931 w 1513685"/>
                    <a:gd name="connsiteY30" fmla="*/ 962904 h 1009097"/>
                    <a:gd name="connsiteX31" fmla="*/ 711355 w 1513685"/>
                    <a:gd name="connsiteY31" fmla="*/ 931941 h 1009097"/>
                    <a:gd name="connsiteX32" fmla="*/ 711355 w 1513685"/>
                    <a:gd name="connsiteY32" fmla="*/ 931941 h 1009097"/>
                    <a:gd name="connsiteX33" fmla="*/ 707321 w 1513685"/>
                    <a:gd name="connsiteY33" fmla="*/ 933353 h 1009097"/>
                    <a:gd name="connsiteX34" fmla="*/ 707321 w 1513685"/>
                    <a:gd name="connsiteY34" fmla="*/ 933353 h 1009097"/>
                    <a:gd name="connsiteX35" fmla="*/ 690881 w 1513685"/>
                    <a:gd name="connsiteY35" fmla="*/ 939102 h 1009097"/>
                    <a:gd name="connsiteX36" fmla="*/ 690881 w 1513685"/>
                    <a:gd name="connsiteY36" fmla="*/ 939102 h 1009097"/>
                    <a:gd name="connsiteX37" fmla="*/ 657295 w 1513685"/>
                    <a:gd name="connsiteY37" fmla="*/ 922561 h 1009097"/>
                    <a:gd name="connsiteX38" fmla="*/ 657295 w 1513685"/>
                    <a:gd name="connsiteY38" fmla="*/ 922561 h 1009097"/>
                    <a:gd name="connsiteX39" fmla="*/ 562387 w 1513685"/>
                    <a:gd name="connsiteY39" fmla="*/ 875762 h 1009097"/>
                    <a:gd name="connsiteX40" fmla="*/ 562387 w 1513685"/>
                    <a:gd name="connsiteY40" fmla="*/ 875762 h 1009097"/>
                    <a:gd name="connsiteX41" fmla="*/ 503284 w 1513685"/>
                    <a:gd name="connsiteY41" fmla="*/ 907735 h 1009097"/>
                    <a:gd name="connsiteX42" fmla="*/ 503284 w 1513685"/>
                    <a:gd name="connsiteY42" fmla="*/ 907735 h 1009097"/>
                    <a:gd name="connsiteX43" fmla="*/ 491786 w 1513685"/>
                    <a:gd name="connsiteY43" fmla="*/ 909550 h 1009097"/>
                    <a:gd name="connsiteX44" fmla="*/ 491786 w 1513685"/>
                    <a:gd name="connsiteY44" fmla="*/ 909550 h 1009097"/>
                    <a:gd name="connsiteX45" fmla="*/ 441155 w 1513685"/>
                    <a:gd name="connsiteY45" fmla="*/ 870518 h 1009097"/>
                    <a:gd name="connsiteX46" fmla="*/ 441155 w 1513685"/>
                    <a:gd name="connsiteY46" fmla="*/ 870518 h 1009097"/>
                    <a:gd name="connsiteX47" fmla="*/ 448619 w 1513685"/>
                    <a:gd name="connsiteY47" fmla="*/ 849943 h 1009097"/>
                    <a:gd name="connsiteX48" fmla="*/ 448619 w 1513685"/>
                    <a:gd name="connsiteY48" fmla="*/ 849943 h 1009097"/>
                    <a:gd name="connsiteX49" fmla="*/ 495216 w 1513685"/>
                    <a:gd name="connsiteY49" fmla="*/ 810103 h 1009097"/>
                    <a:gd name="connsiteX50" fmla="*/ 495216 w 1513685"/>
                    <a:gd name="connsiteY50" fmla="*/ 810103 h 1009097"/>
                    <a:gd name="connsiteX51" fmla="*/ 487248 w 1513685"/>
                    <a:gd name="connsiteY51" fmla="*/ 793058 h 1009097"/>
                    <a:gd name="connsiteX52" fmla="*/ 487248 w 1513685"/>
                    <a:gd name="connsiteY52" fmla="*/ 793058 h 1009097"/>
                    <a:gd name="connsiteX53" fmla="*/ 469497 w 1513685"/>
                    <a:gd name="connsiteY53" fmla="*/ 781460 h 1009097"/>
                    <a:gd name="connsiteX54" fmla="*/ 469497 w 1513685"/>
                    <a:gd name="connsiteY54" fmla="*/ 781460 h 1009097"/>
                    <a:gd name="connsiteX55" fmla="*/ 371563 w 1513685"/>
                    <a:gd name="connsiteY55" fmla="*/ 811415 h 1009097"/>
                    <a:gd name="connsiteX56" fmla="*/ 371563 w 1513685"/>
                    <a:gd name="connsiteY56" fmla="*/ 811415 h 1009097"/>
                    <a:gd name="connsiteX57" fmla="*/ 254264 w 1513685"/>
                    <a:gd name="connsiteY57" fmla="*/ 765927 h 1009097"/>
                    <a:gd name="connsiteX58" fmla="*/ 254264 w 1513685"/>
                    <a:gd name="connsiteY58" fmla="*/ 765927 h 1009097"/>
                    <a:gd name="connsiteX59" fmla="*/ 133234 w 1513685"/>
                    <a:gd name="connsiteY59" fmla="*/ 674247 h 1009097"/>
                    <a:gd name="connsiteX60" fmla="*/ 133234 w 1513685"/>
                    <a:gd name="connsiteY60" fmla="*/ 674247 h 1009097"/>
                    <a:gd name="connsiteX61" fmla="*/ 127183 w 1513685"/>
                    <a:gd name="connsiteY61" fmla="*/ 674045 h 1009097"/>
                    <a:gd name="connsiteX62" fmla="*/ 127183 w 1513685"/>
                    <a:gd name="connsiteY62" fmla="*/ 674045 h 1009097"/>
                    <a:gd name="connsiteX63" fmla="*/ 54060 w 1513685"/>
                    <a:gd name="connsiteY63" fmla="*/ 691393 h 1009097"/>
                    <a:gd name="connsiteX64" fmla="*/ 54060 w 1513685"/>
                    <a:gd name="connsiteY64" fmla="*/ 691393 h 1009097"/>
                    <a:gd name="connsiteX65" fmla="*/ 8371 w 1513685"/>
                    <a:gd name="connsiteY65" fmla="*/ 669809 h 1009097"/>
                    <a:gd name="connsiteX66" fmla="*/ 8371 w 1513685"/>
                    <a:gd name="connsiteY66" fmla="*/ 669809 h 1009097"/>
                    <a:gd name="connsiteX67" fmla="*/ 11095 w 1513685"/>
                    <a:gd name="connsiteY67" fmla="*/ 669204 h 1009097"/>
                    <a:gd name="connsiteX68" fmla="*/ 8371 w 1513685"/>
                    <a:gd name="connsiteY68" fmla="*/ 669204 h 1009097"/>
                    <a:gd name="connsiteX69" fmla="*/ 7362 w 1513685"/>
                    <a:gd name="connsiteY69" fmla="*/ 596687 h 1009097"/>
                    <a:gd name="connsiteX70" fmla="*/ 7362 w 1513685"/>
                    <a:gd name="connsiteY70" fmla="*/ 596687 h 1009097"/>
                    <a:gd name="connsiteX71" fmla="*/ 8371 w 1513685"/>
                    <a:gd name="connsiteY71" fmla="*/ 553217 h 1009097"/>
                    <a:gd name="connsiteX72" fmla="*/ 8371 w 1513685"/>
                    <a:gd name="connsiteY72" fmla="*/ 553217 h 1009097"/>
                    <a:gd name="connsiteX73" fmla="*/ 23903 w 1513685"/>
                    <a:gd name="connsiteY73" fmla="*/ 494820 h 1009097"/>
                    <a:gd name="connsiteX74" fmla="*/ 23903 w 1513685"/>
                    <a:gd name="connsiteY74" fmla="*/ 494820 h 1009097"/>
                    <a:gd name="connsiteX75" fmla="*/ 23399 w 1513685"/>
                    <a:gd name="connsiteY75" fmla="*/ 487356 h 1009097"/>
                    <a:gd name="connsiteX76" fmla="*/ 23399 w 1513685"/>
                    <a:gd name="connsiteY76" fmla="*/ 487356 h 1009097"/>
                    <a:gd name="connsiteX77" fmla="*/ 0 w 1513685"/>
                    <a:gd name="connsiteY77" fmla="*/ 359669 h 1009097"/>
                    <a:gd name="connsiteX78" fmla="*/ 0 w 1513685"/>
                    <a:gd name="connsiteY78" fmla="*/ 359669 h 1009097"/>
                    <a:gd name="connsiteX79" fmla="*/ 6455 w 1513685"/>
                    <a:gd name="connsiteY79" fmla="*/ 320738 h 1009097"/>
                    <a:gd name="connsiteX80" fmla="*/ 6455 w 1513685"/>
                    <a:gd name="connsiteY80" fmla="*/ 320738 h 1009097"/>
                    <a:gd name="connsiteX81" fmla="*/ 20575 w 1513685"/>
                    <a:gd name="connsiteY81" fmla="*/ 250137 h 1009097"/>
                    <a:gd name="connsiteX82" fmla="*/ 20575 w 1513685"/>
                    <a:gd name="connsiteY82" fmla="*/ 250137 h 1009097"/>
                    <a:gd name="connsiteX83" fmla="*/ 20474 w 1513685"/>
                    <a:gd name="connsiteY83" fmla="*/ 246203 h 1009097"/>
                    <a:gd name="connsiteX84" fmla="*/ 20474 w 1513685"/>
                    <a:gd name="connsiteY84" fmla="*/ 246203 h 1009097"/>
                    <a:gd name="connsiteX85" fmla="*/ 21180 w 1513685"/>
                    <a:gd name="connsiteY85" fmla="*/ 231478 h 1009097"/>
                    <a:gd name="connsiteX86" fmla="*/ 21180 w 1513685"/>
                    <a:gd name="connsiteY86" fmla="*/ 231478 h 1009097"/>
                    <a:gd name="connsiteX87" fmla="*/ 80485 w 1513685"/>
                    <a:gd name="connsiteY87" fmla="*/ 173686 h 1009097"/>
                    <a:gd name="connsiteX88" fmla="*/ 80485 w 1513685"/>
                    <a:gd name="connsiteY88" fmla="*/ 173686 h 1009097"/>
                    <a:gd name="connsiteX89" fmla="*/ 164904 w 1513685"/>
                    <a:gd name="connsiteY89" fmla="*/ 98244 h 1009097"/>
                    <a:gd name="connsiteX90" fmla="*/ 164904 w 1513685"/>
                    <a:gd name="connsiteY90" fmla="*/ 98244 h 1009097"/>
                    <a:gd name="connsiteX91" fmla="*/ 333741 w 1513685"/>
                    <a:gd name="connsiteY91" fmla="*/ 62035 h 1009097"/>
                    <a:gd name="connsiteX92" fmla="*/ 333741 w 1513685"/>
                    <a:gd name="connsiteY92" fmla="*/ 62035 h 1009097"/>
                    <a:gd name="connsiteX93" fmla="*/ 408578 w 1513685"/>
                    <a:gd name="connsiteY93" fmla="*/ 47814 h 1009097"/>
                    <a:gd name="connsiteX94" fmla="*/ 408578 w 1513685"/>
                    <a:gd name="connsiteY94" fmla="*/ 47814 h 1009097"/>
                    <a:gd name="connsiteX95" fmla="*/ 431473 w 1513685"/>
                    <a:gd name="connsiteY95" fmla="*/ 48823 h 1009097"/>
                    <a:gd name="connsiteX96" fmla="*/ 431473 w 1513685"/>
                    <a:gd name="connsiteY96" fmla="*/ 48823 h 1009097"/>
                    <a:gd name="connsiteX97" fmla="*/ 507016 w 1513685"/>
                    <a:gd name="connsiteY97" fmla="*/ 25827 h 1009097"/>
                    <a:gd name="connsiteX98" fmla="*/ 507016 w 1513685"/>
                    <a:gd name="connsiteY98" fmla="*/ 25827 h 1009097"/>
                    <a:gd name="connsiteX99" fmla="*/ 548368 w 1513685"/>
                    <a:gd name="connsiteY99" fmla="*/ 7 h 1009097"/>
                    <a:gd name="connsiteX100" fmla="*/ 548368 w 1513685"/>
                    <a:gd name="connsiteY100" fmla="*/ 7 h 1009097"/>
                    <a:gd name="connsiteX101" fmla="*/ 556538 w 1513685"/>
                    <a:gd name="connsiteY101" fmla="*/ 8278 h 1009097"/>
                    <a:gd name="connsiteX102" fmla="*/ 556538 w 1513685"/>
                    <a:gd name="connsiteY102" fmla="*/ 8278 h 1009097"/>
                    <a:gd name="connsiteX103" fmla="*/ 570557 w 1513685"/>
                    <a:gd name="connsiteY103" fmla="*/ 70810 h 1009097"/>
                    <a:gd name="connsiteX104" fmla="*/ 570557 w 1513685"/>
                    <a:gd name="connsiteY104" fmla="*/ 70810 h 1009097"/>
                    <a:gd name="connsiteX105" fmla="*/ 593452 w 1513685"/>
                    <a:gd name="connsiteY105" fmla="*/ 128501 h 1009097"/>
                    <a:gd name="connsiteX106" fmla="*/ 593452 w 1513685"/>
                    <a:gd name="connsiteY106" fmla="*/ 128501 h 1009097"/>
                    <a:gd name="connsiteX107" fmla="*/ 592947 w 1513685"/>
                    <a:gd name="connsiteY107" fmla="*/ 137679 h 1009097"/>
                    <a:gd name="connsiteX108" fmla="*/ 592947 w 1513685"/>
                    <a:gd name="connsiteY108" fmla="*/ 137679 h 1009097"/>
                    <a:gd name="connsiteX109" fmla="*/ 585383 w 1513685"/>
                    <a:gd name="connsiteY109" fmla="*/ 210903 h 1009097"/>
                    <a:gd name="connsiteX110" fmla="*/ 585383 w 1513685"/>
                    <a:gd name="connsiteY110" fmla="*/ 210903 h 1009097"/>
                    <a:gd name="connsiteX111" fmla="*/ 593553 w 1513685"/>
                    <a:gd name="connsiteY111" fmla="*/ 239950 h 1009097"/>
                    <a:gd name="connsiteX112" fmla="*/ 593553 w 1513685"/>
                    <a:gd name="connsiteY112" fmla="*/ 239950 h 1009097"/>
                    <a:gd name="connsiteX113" fmla="*/ 654774 w 1513685"/>
                    <a:gd name="connsiteY113" fmla="*/ 283823 h 1009097"/>
                    <a:gd name="connsiteX114" fmla="*/ 654774 w 1513685"/>
                    <a:gd name="connsiteY114" fmla="*/ 283823 h 1009097"/>
                    <a:gd name="connsiteX115" fmla="*/ 720433 w 1513685"/>
                    <a:gd name="connsiteY115" fmla="*/ 353819 h 1009097"/>
                    <a:gd name="connsiteX116" fmla="*/ 720433 w 1513685"/>
                    <a:gd name="connsiteY116" fmla="*/ 353819 h 1009097"/>
                    <a:gd name="connsiteX117" fmla="*/ 732132 w 1513685"/>
                    <a:gd name="connsiteY117" fmla="*/ 357450 h 1009097"/>
                    <a:gd name="connsiteX118" fmla="*/ 732132 w 1513685"/>
                    <a:gd name="connsiteY118" fmla="*/ 357450 h 1009097"/>
                    <a:gd name="connsiteX119" fmla="*/ 750791 w 1513685"/>
                    <a:gd name="connsiteY119" fmla="*/ 342120 h 1009097"/>
                    <a:gd name="connsiteX120" fmla="*/ 750791 w 1513685"/>
                    <a:gd name="connsiteY120" fmla="*/ 342120 h 1009097"/>
                    <a:gd name="connsiteX121" fmla="*/ 853667 w 1513685"/>
                    <a:gd name="connsiteY121" fmla="*/ 278276 h 1009097"/>
                    <a:gd name="connsiteX122" fmla="*/ 853667 w 1513685"/>
                    <a:gd name="connsiteY122" fmla="*/ 278276 h 1009097"/>
                    <a:gd name="connsiteX123" fmla="*/ 859214 w 1513685"/>
                    <a:gd name="connsiteY123" fmla="*/ 277873 h 1009097"/>
                    <a:gd name="connsiteX124" fmla="*/ 859214 w 1513685"/>
                    <a:gd name="connsiteY124" fmla="*/ 277873 h 1009097"/>
                    <a:gd name="connsiteX125" fmla="*/ 916703 w 1513685"/>
                    <a:gd name="connsiteY125" fmla="*/ 333345 h 1009097"/>
                    <a:gd name="connsiteX126" fmla="*/ 916703 w 1513685"/>
                    <a:gd name="connsiteY126" fmla="*/ 333345 h 1009097"/>
                    <a:gd name="connsiteX127" fmla="*/ 957551 w 1513685"/>
                    <a:gd name="connsiteY127" fmla="*/ 359366 h 1009097"/>
                    <a:gd name="connsiteX128" fmla="*/ 957551 w 1513685"/>
                    <a:gd name="connsiteY128" fmla="*/ 359366 h 1009097"/>
                    <a:gd name="connsiteX129" fmla="*/ 961081 w 1513685"/>
                    <a:gd name="connsiteY129" fmla="*/ 389826 h 1009097"/>
                    <a:gd name="connsiteX130" fmla="*/ 961081 w 1513685"/>
                    <a:gd name="connsiteY130" fmla="*/ 389826 h 1009097"/>
                    <a:gd name="connsiteX131" fmla="*/ 957551 w 1513685"/>
                    <a:gd name="connsiteY131" fmla="*/ 434204 h 1009097"/>
                    <a:gd name="connsiteX132" fmla="*/ 957551 w 1513685"/>
                    <a:gd name="connsiteY132" fmla="*/ 434204 h 1009097"/>
                    <a:gd name="connsiteX133" fmla="*/ 956341 w 1513685"/>
                    <a:gd name="connsiteY133" fmla="*/ 449837 h 1009097"/>
                    <a:gd name="connsiteX134" fmla="*/ 956341 w 1513685"/>
                    <a:gd name="connsiteY134" fmla="*/ 449837 h 1009097"/>
                    <a:gd name="connsiteX135" fmla="*/ 986397 w 1513685"/>
                    <a:gd name="connsiteY135" fmla="*/ 523161 h 1009097"/>
                    <a:gd name="connsiteX136" fmla="*/ 986397 w 1513685"/>
                    <a:gd name="connsiteY136" fmla="*/ 523161 h 1009097"/>
                    <a:gd name="connsiteX137" fmla="*/ 1005560 w 1513685"/>
                    <a:gd name="connsiteY137" fmla="*/ 528809 h 1009097"/>
                    <a:gd name="connsiteX138" fmla="*/ 1005560 w 1513685"/>
                    <a:gd name="connsiteY138" fmla="*/ 528809 h 1009097"/>
                    <a:gd name="connsiteX139" fmla="*/ 1059217 w 1513685"/>
                    <a:gd name="connsiteY139" fmla="*/ 520639 h 1009097"/>
                    <a:gd name="connsiteX140" fmla="*/ 1059217 w 1513685"/>
                    <a:gd name="connsiteY140" fmla="*/ 520639 h 1009097"/>
                    <a:gd name="connsiteX141" fmla="*/ 1127498 w 1513685"/>
                    <a:gd name="connsiteY141" fmla="*/ 535869 h 1009097"/>
                    <a:gd name="connsiteX142" fmla="*/ 1127498 w 1513685"/>
                    <a:gd name="connsiteY142" fmla="*/ 535869 h 1009097"/>
                    <a:gd name="connsiteX143" fmla="*/ 1184281 w 1513685"/>
                    <a:gd name="connsiteY143" fmla="*/ 616657 h 1009097"/>
                    <a:gd name="connsiteX144" fmla="*/ 1184281 w 1513685"/>
                    <a:gd name="connsiteY144" fmla="*/ 616657 h 1009097"/>
                    <a:gd name="connsiteX145" fmla="*/ 1178734 w 1513685"/>
                    <a:gd name="connsiteY145" fmla="*/ 676567 h 1009097"/>
                    <a:gd name="connsiteX146" fmla="*/ 1178734 w 1513685"/>
                    <a:gd name="connsiteY146" fmla="*/ 676567 h 1009097"/>
                    <a:gd name="connsiteX147" fmla="*/ 1182365 w 1513685"/>
                    <a:gd name="connsiteY147" fmla="*/ 690989 h 1009097"/>
                    <a:gd name="connsiteX148" fmla="*/ 1182365 w 1513685"/>
                    <a:gd name="connsiteY148" fmla="*/ 690989 h 1009097"/>
                    <a:gd name="connsiteX149" fmla="*/ 1209193 w 1513685"/>
                    <a:gd name="connsiteY149" fmla="*/ 708135 h 1009097"/>
                    <a:gd name="connsiteX150" fmla="*/ 1209193 w 1513685"/>
                    <a:gd name="connsiteY150" fmla="*/ 708135 h 1009097"/>
                    <a:gd name="connsiteX151" fmla="*/ 1222507 w 1513685"/>
                    <a:gd name="connsiteY151" fmla="*/ 690384 h 1009097"/>
                    <a:gd name="connsiteX152" fmla="*/ 1222507 w 1513685"/>
                    <a:gd name="connsiteY152" fmla="*/ 690384 h 1009097"/>
                    <a:gd name="connsiteX153" fmla="*/ 1263556 w 1513685"/>
                    <a:gd name="connsiteY153" fmla="*/ 649335 h 1009097"/>
                    <a:gd name="connsiteX154" fmla="*/ 1263556 w 1513685"/>
                    <a:gd name="connsiteY154" fmla="*/ 649335 h 1009097"/>
                    <a:gd name="connsiteX155" fmla="*/ 1284232 w 1513685"/>
                    <a:gd name="connsiteY155" fmla="*/ 653672 h 1009097"/>
                    <a:gd name="connsiteX156" fmla="*/ 1284232 w 1513685"/>
                    <a:gd name="connsiteY156" fmla="*/ 653672 h 1009097"/>
                    <a:gd name="connsiteX157" fmla="*/ 1322256 w 1513685"/>
                    <a:gd name="connsiteY157" fmla="*/ 690586 h 1009097"/>
                    <a:gd name="connsiteX158" fmla="*/ 1322256 w 1513685"/>
                    <a:gd name="connsiteY158" fmla="*/ 690586 h 1009097"/>
                    <a:gd name="connsiteX159" fmla="*/ 1326290 w 1513685"/>
                    <a:gd name="connsiteY159" fmla="*/ 688468 h 1009097"/>
                    <a:gd name="connsiteX160" fmla="*/ 1326290 w 1513685"/>
                    <a:gd name="connsiteY160" fmla="*/ 688468 h 1009097"/>
                    <a:gd name="connsiteX161" fmla="*/ 1362498 w 1513685"/>
                    <a:gd name="connsiteY161" fmla="*/ 651251 h 1009097"/>
                    <a:gd name="connsiteX162" fmla="*/ 1362498 w 1513685"/>
                    <a:gd name="connsiteY162" fmla="*/ 651251 h 1009097"/>
                    <a:gd name="connsiteX163" fmla="*/ 1366936 w 1513685"/>
                    <a:gd name="connsiteY163" fmla="*/ 651352 h 1009097"/>
                    <a:gd name="connsiteX164" fmla="*/ 1366936 w 1513685"/>
                    <a:gd name="connsiteY164" fmla="*/ 651352 h 1009097"/>
                    <a:gd name="connsiteX165" fmla="*/ 1414541 w 1513685"/>
                    <a:gd name="connsiteY165" fmla="*/ 683627 h 1009097"/>
                    <a:gd name="connsiteX166" fmla="*/ 1414541 w 1513685"/>
                    <a:gd name="connsiteY166" fmla="*/ 683627 h 1009097"/>
                    <a:gd name="connsiteX167" fmla="*/ 1443891 w 1513685"/>
                    <a:gd name="connsiteY167" fmla="*/ 717919 h 1009097"/>
                    <a:gd name="connsiteX168" fmla="*/ 1443891 w 1513685"/>
                    <a:gd name="connsiteY168" fmla="*/ 717919 h 1009097"/>
                    <a:gd name="connsiteX169" fmla="*/ 1513686 w 1513685"/>
                    <a:gd name="connsiteY169" fmla="*/ 748378 h 1009097"/>
                    <a:gd name="connsiteX170" fmla="*/ 1513686 w 1513685"/>
                    <a:gd name="connsiteY170" fmla="*/ 748378 h 1009097"/>
                    <a:gd name="connsiteX171" fmla="*/ 1512879 w 1513685"/>
                    <a:gd name="connsiteY171" fmla="*/ 752009 h 1009097"/>
                    <a:gd name="connsiteX172" fmla="*/ 1512879 w 1513685"/>
                    <a:gd name="connsiteY172" fmla="*/ 752009 h 1009097"/>
                    <a:gd name="connsiteX173" fmla="*/ 1461743 w 1513685"/>
                    <a:gd name="connsiteY173" fmla="*/ 791545 h 1009097"/>
                    <a:gd name="connsiteX174" fmla="*/ 1461743 w 1513685"/>
                    <a:gd name="connsiteY174" fmla="*/ 791545 h 1009097"/>
                    <a:gd name="connsiteX175" fmla="*/ 1454986 w 1513685"/>
                    <a:gd name="connsiteY175" fmla="*/ 832292 h 1009097"/>
                    <a:gd name="connsiteX176" fmla="*/ 1454986 w 1513685"/>
                    <a:gd name="connsiteY176" fmla="*/ 832292 h 1009097"/>
                    <a:gd name="connsiteX177" fmla="*/ 1461138 w 1513685"/>
                    <a:gd name="connsiteY177" fmla="*/ 852061 h 1009097"/>
                    <a:gd name="connsiteX178" fmla="*/ 1461138 w 1513685"/>
                    <a:gd name="connsiteY178" fmla="*/ 852061 h 1009097"/>
                    <a:gd name="connsiteX179" fmla="*/ 1490891 w 1513685"/>
                    <a:gd name="connsiteY179" fmla="*/ 895026 h 1009097"/>
                    <a:gd name="connsiteX180" fmla="*/ 1490891 w 1513685"/>
                    <a:gd name="connsiteY180" fmla="*/ 895026 h 1009097"/>
                    <a:gd name="connsiteX181" fmla="*/ 1489580 w 1513685"/>
                    <a:gd name="connsiteY181" fmla="*/ 904003 h 1009097"/>
                    <a:gd name="connsiteX182" fmla="*/ 1489580 w 1513685"/>
                    <a:gd name="connsiteY182" fmla="*/ 904003 h 1009097"/>
                    <a:gd name="connsiteX183" fmla="*/ 1464063 w 1513685"/>
                    <a:gd name="connsiteY183" fmla="*/ 943842 h 1009097"/>
                    <a:gd name="connsiteX184" fmla="*/ 1464063 w 1513685"/>
                    <a:gd name="connsiteY184" fmla="*/ 943842 h 1009097"/>
                    <a:gd name="connsiteX185" fmla="*/ 1467996 w 1513685"/>
                    <a:gd name="connsiteY185" fmla="*/ 990539 h 1009097"/>
                    <a:gd name="connsiteX186" fmla="*/ 1467996 w 1513685"/>
                    <a:gd name="connsiteY186" fmla="*/ 990539 h 1009097"/>
                    <a:gd name="connsiteX187" fmla="*/ 1448430 w 1513685"/>
                    <a:gd name="connsiteY187" fmla="*/ 1008795 h 1009097"/>
                    <a:gd name="connsiteX188" fmla="*/ 1448430 w 1513685"/>
                    <a:gd name="connsiteY188" fmla="*/ 1008795 h 1009097"/>
                    <a:gd name="connsiteX189" fmla="*/ 1441168 w 1513685"/>
                    <a:gd name="connsiteY189" fmla="*/ 1009097 h 1009097"/>
                    <a:gd name="connsiteX190" fmla="*/ 1441168 w 1513685"/>
                    <a:gd name="connsiteY190" fmla="*/ 1009097 h 1009097"/>
                    <a:gd name="connsiteX191" fmla="*/ 1378736 w 1513685"/>
                    <a:gd name="connsiteY191" fmla="*/ 972082 h 1009097"/>
                    <a:gd name="connsiteX192" fmla="*/ 1378736 w 1513685"/>
                    <a:gd name="connsiteY192" fmla="*/ 972082 h 1009097"/>
                    <a:gd name="connsiteX193" fmla="*/ 1384284 w 1513685"/>
                    <a:gd name="connsiteY193" fmla="*/ 971175 h 1009097"/>
                    <a:gd name="connsiteX194" fmla="*/ 1440966 w 1513685"/>
                    <a:gd name="connsiteY194" fmla="*/ 1003348 h 1009097"/>
                    <a:gd name="connsiteX195" fmla="*/ 1440966 w 1513685"/>
                    <a:gd name="connsiteY195" fmla="*/ 1003348 h 1009097"/>
                    <a:gd name="connsiteX196" fmla="*/ 1447926 w 1513685"/>
                    <a:gd name="connsiteY196" fmla="*/ 1003147 h 1009097"/>
                    <a:gd name="connsiteX197" fmla="*/ 1447926 w 1513685"/>
                    <a:gd name="connsiteY197" fmla="*/ 1003147 h 1009097"/>
                    <a:gd name="connsiteX198" fmla="*/ 1462247 w 1513685"/>
                    <a:gd name="connsiteY198" fmla="*/ 990439 h 1009097"/>
                    <a:gd name="connsiteX199" fmla="*/ 1462247 w 1513685"/>
                    <a:gd name="connsiteY199" fmla="*/ 990439 h 1009097"/>
                    <a:gd name="connsiteX200" fmla="*/ 1458213 w 1513685"/>
                    <a:gd name="connsiteY200" fmla="*/ 943741 h 1009097"/>
                    <a:gd name="connsiteX201" fmla="*/ 1458213 w 1513685"/>
                    <a:gd name="connsiteY201" fmla="*/ 943741 h 1009097"/>
                    <a:gd name="connsiteX202" fmla="*/ 1484033 w 1513685"/>
                    <a:gd name="connsiteY202" fmla="*/ 902288 h 1009097"/>
                    <a:gd name="connsiteX203" fmla="*/ 1484033 w 1513685"/>
                    <a:gd name="connsiteY203" fmla="*/ 902288 h 1009097"/>
                    <a:gd name="connsiteX204" fmla="*/ 1485142 w 1513685"/>
                    <a:gd name="connsiteY204" fmla="*/ 894925 h 1009097"/>
                    <a:gd name="connsiteX205" fmla="*/ 1485142 w 1513685"/>
                    <a:gd name="connsiteY205" fmla="*/ 894925 h 1009097"/>
                    <a:gd name="connsiteX206" fmla="*/ 1456498 w 1513685"/>
                    <a:gd name="connsiteY206" fmla="*/ 855288 h 1009097"/>
                    <a:gd name="connsiteX207" fmla="*/ 1456498 w 1513685"/>
                    <a:gd name="connsiteY207" fmla="*/ 855288 h 1009097"/>
                    <a:gd name="connsiteX208" fmla="*/ 1449237 w 1513685"/>
                    <a:gd name="connsiteY208" fmla="*/ 832191 h 1009097"/>
                    <a:gd name="connsiteX209" fmla="*/ 1449237 w 1513685"/>
                    <a:gd name="connsiteY209" fmla="*/ 832191 h 1009097"/>
                    <a:gd name="connsiteX210" fmla="*/ 1455893 w 1513685"/>
                    <a:gd name="connsiteY210" fmla="*/ 791445 h 1009097"/>
                    <a:gd name="connsiteX211" fmla="*/ 1455893 w 1513685"/>
                    <a:gd name="connsiteY211" fmla="*/ 791445 h 1009097"/>
                    <a:gd name="connsiteX212" fmla="*/ 1507533 w 1513685"/>
                    <a:gd name="connsiteY212" fmla="*/ 749689 h 1009097"/>
                    <a:gd name="connsiteX213" fmla="*/ 1507533 w 1513685"/>
                    <a:gd name="connsiteY213" fmla="*/ 749689 h 1009097"/>
                    <a:gd name="connsiteX214" fmla="*/ 1507836 w 1513685"/>
                    <a:gd name="connsiteY214" fmla="*/ 748378 h 1009097"/>
                    <a:gd name="connsiteX215" fmla="*/ 1507836 w 1513685"/>
                    <a:gd name="connsiteY215" fmla="*/ 748378 h 1009097"/>
                    <a:gd name="connsiteX216" fmla="*/ 1483730 w 1513685"/>
                    <a:gd name="connsiteY216" fmla="*/ 732442 h 1009097"/>
                    <a:gd name="connsiteX217" fmla="*/ 1483730 w 1513685"/>
                    <a:gd name="connsiteY217" fmla="*/ 732442 h 1009097"/>
                    <a:gd name="connsiteX218" fmla="*/ 1443589 w 1513685"/>
                    <a:gd name="connsiteY218" fmla="*/ 723466 h 1009097"/>
                    <a:gd name="connsiteX219" fmla="*/ 1443589 w 1513685"/>
                    <a:gd name="connsiteY219" fmla="*/ 723466 h 1009097"/>
                    <a:gd name="connsiteX220" fmla="*/ 1408691 w 1513685"/>
                    <a:gd name="connsiteY220" fmla="*/ 684736 h 1009097"/>
                    <a:gd name="connsiteX221" fmla="*/ 1408691 w 1513685"/>
                    <a:gd name="connsiteY221" fmla="*/ 684736 h 1009097"/>
                    <a:gd name="connsiteX222" fmla="*/ 1366129 w 1513685"/>
                    <a:gd name="connsiteY222" fmla="*/ 656899 h 1009097"/>
                    <a:gd name="connsiteX223" fmla="*/ 1366129 w 1513685"/>
                    <a:gd name="connsiteY223" fmla="*/ 656899 h 1009097"/>
                    <a:gd name="connsiteX224" fmla="*/ 1362196 w 1513685"/>
                    <a:gd name="connsiteY224" fmla="*/ 656798 h 1009097"/>
                    <a:gd name="connsiteX225" fmla="*/ 1362196 w 1513685"/>
                    <a:gd name="connsiteY225" fmla="*/ 656798 h 1009097"/>
                    <a:gd name="connsiteX226" fmla="*/ 1329618 w 1513685"/>
                    <a:gd name="connsiteY226" fmla="*/ 692805 h 1009097"/>
                    <a:gd name="connsiteX227" fmla="*/ 1329618 w 1513685"/>
                    <a:gd name="connsiteY227" fmla="*/ 692805 h 1009097"/>
                    <a:gd name="connsiteX228" fmla="*/ 1321953 w 1513685"/>
                    <a:gd name="connsiteY228" fmla="*/ 696234 h 1009097"/>
                    <a:gd name="connsiteX229" fmla="*/ 1321953 w 1513685"/>
                    <a:gd name="connsiteY229" fmla="*/ 696234 h 1009097"/>
                    <a:gd name="connsiteX230" fmla="*/ 1281812 w 1513685"/>
                    <a:gd name="connsiteY230" fmla="*/ 658916 h 1009097"/>
                    <a:gd name="connsiteX231" fmla="*/ 1281812 w 1513685"/>
                    <a:gd name="connsiteY231" fmla="*/ 658916 h 1009097"/>
                    <a:gd name="connsiteX232" fmla="*/ 1263254 w 1513685"/>
                    <a:gd name="connsiteY232" fmla="*/ 655084 h 1009097"/>
                    <a:gd name="connsiteX233" fmla="*/ 1263254 w 1513685"/>
                    <a:gd name="connsiteY233" fmla="*/ 655084 h 1009097"/>
                    <a:gd name="connsiteX234" fmla="*/ 1227751 w 1513685"/>
                    <a:gd name="connsiteY234" fmla="*/ 690989 h 1009097"/>
                    <a:gd name="connsiteX235" fmla="*/ 1227751 w 1513685"/>
                    <a:gd name="connsiteY235" fmla="*/ 690989 h 1009097"/>
                    <a:gd name="connsiteX236" fmla="*/ 1208891 w 1513685"/>
                    <a:gd name="connsiteY236" fmla="*/ 713783 h 1009097"/>
                    <a:gd name="connsiteX237" fmla="*/ 1208891 w 1513685"/>
                    <a:gd name="connsiteY237" fmla="*/ 713783 h 1009097"/>
                    <a:gd name="connsiteX238" fmla="*/ 1177826 w 1513685"/>
                    <a:gd name="connsiteY238" fmla="*/ 694620 h 1009097"/>
                    <a:gd name="connsiteX239" fmla="*/ 1177826 w 1513685"/>
                    <a:gd name="connsiteY239" fmla="*/ 694620 h 1009097"/>
                    <a:gd name="connsiteX240" fmla="*/ 1172985 w 1513685"/>
                    <a:gd name="connsiteY240" fmla="*/ 676668 h 1009097"/>
                    <a:gd name="connsiteX241" fmla="*/ 1172985 w 1513685"/>
                    <a:gd name="connsiteY241" fmla="*/ 676668 h 1009097"/>
                    <a:gd name="connsiteX242" fmla="*/ 1178532 w 1513685"/>
                    <a:gd name="connsiteY242" fmla="*/ 616758 h 1009097"/>
                    <a:gd name="connsiteX243" fmla="*/ 1178532 w 1513685"/>
                    <a:gd name="connsiteY243" fmla="*/ 616758 h 1009097"/>
                    <a:gd name="connsiteX244" fmla="*/ 1125279 w 1513685"/>
                    <a:gd name="connsiteY244" fmla="*/ 541013 h 1009097"/>
                    <a:gd name="connsiteX245" fmla="*/ 1125279 w 1513685"/>
                    <a:gd name="connsiteY245" fmla="*/ 541013 h 1009097"/>
                    <a:gd name="connsiteX246" fmla="*/ 1059116 w 1513685"/>
                    <a:gd name="connsiteY246" fmla="*/ 526287 h 1009097"/>
                    <a:gd name="connsiteX247" fmla="*/ 1059116 w 1513685"/>
                    <a:gd name="connsiteY247" fmla="*/ 526287 h 1009097"/>
                    <a:gd name="connsiteX248" fmla="*/ 1005459 w 1513685"/>
                    <a:gd name="connsiteY248" fmla="*/ 534457 h 1009097"/>
                    <a:gd name="connsiteX249" fmla="*/ 1005459 w 1513685"/>
                    <a:gd name="connsiteY249" fmla="*/ 534457 h 1009097"/>
                    <a:gd name="connsiteX250" fmla="*/ 983472 w 1513685"/>
                    <a:gd name="connsiteY250" fmla="*/ 528002 h 1009097"/>
                    <a:gd name="connsiteX251" fmla="*/ 983472 w 1513685"/>
                    <a:gd name="connsiteY251" fmla="*/ 528002 h 1009097"/>
                    <a:gd name="connsiteX252" fmla="*/ 950693 w 1513685"/>
                    <a:gd name="connsiteY252" fmla="*/ 449937 h 1009097"/>
                    <a:gd name="connsiteX253" fmla="*/ 950693 w 1513685"/>
                    <a:gd name="connsiteY253" fmla="*/ 449937 h 1009097"/>
                    <a:gd name="connsiteX254" fmla="*/ 952206 w 1513685"/>
                    <a:gd name="connsiteY254" fmla="*/ 432691 h 1009097"/>
                    <a:gd name="connsiteX255" fmla="*/ 952206 w 1513685"/>
                    <a:gd name="connsiteY255" fmla="*/ 432691 h 1009097"/>
                    <a:gd name="connsiteX256" fmla="*/ 955534 w 1513685"/>
                    <a:gd name="connsiteY256" fmla="*/ 389927 h 1009097"/>
                    <a:gd name="connsiteX257" fmla="*/ 955534 w 1513685"/>
                    <a:gd name="connsiteY257" fmla="*/ 389927 h 1009097"/>
                    <a:gd name="connsiteX258" fmla="*/ 952508 w 1513685"/>
                    <a:gd name="connsiteY258" fmla="*/ 361686 h 1009097"/>
                    <a:gd name="connsiteX259" fmla="*/ 952508 w 1513685"/>
                    <a:gd name="connsiteY259" fmla="*/ 361686 h 1009097"/>
                    <a:gd name="connsiteX260" fmla="*/ 911862 w 1513685"/>
                    <a:gd name="connsiteY260" fmla="*/ 336169 h 1009097"/>
                    <a:gd name="connsiteX261" fmla="*/ 911862 w 1513685"/>
                    <a:gd name="connsiteY261" fmla="*/ 336169 h 1009097"/>
                    <a:gd name="connsiteX262" fmla="*/ 859315 w 1513685"/>
                    <a:gd name="connsiteY262" fmla="*/ 283622 h 1009097"/>
                    <a:gd name="connsiteX263" fmla="*/ 859315 w 1513685"/>
                    <a:gd name="connsiteY263" fmla="*/ 283622 h 1009097"/>
                    <a:gd name="connsiteX264" fmla="*/ 854675 w 1513685"/>
                    <a:gd name="connsiteY264" fmla="*/ 283924 h 1009097"/>
                    <a:gd name="connsiteX265" fmla="*/ 854675 w 1513685"/>
                    <a:gd name="connsiteY265" fmla="*/ 283924 h 1009097"/>
                    <a:gd name="connsiteX266" fmla="*/ 756036 w 1513685"/>
                    <a:gd name="connsiteY266" fmla="*/ 344540 h 1009097"/>
                    <a:gd name="connsiteX267" fmla="*/ 756036 w 1513685"/>
                    <a:gd name="connsiteY267" fmla="*/ 344540 h 1009097"/>
                    <a:gd name="connsiteX268" fmla="*/ 732334 w 1513685"/>
                    <a:gd name="connsiteY268" fmla="*/ 363199 h 1009097"/>
                    <a:gd name="connsiteX269" fmla="*/ 732334 w 1513685"/>
                    <a:gd name="connsiteY269" fmla="*/ 363199 h 1009097"/>
                    <a:gd name="connsiteX270" fmla="*/ 717609 w 1513685"/>
                    <a:gd name="connsiteY270" fmla="*/ 358660 h 1009097"/>
                    <a:gd name="connsiteX271" fmla="*/ 717609 w 1513685"/>
                    <a:gd name="connsiteY271" fmla="*/ 358660 h 1009097"/>
                    <a:gd name="connsiteX272" fmla="*/ 650437 w 1513685"/>
                    <a:gd name="connsiteY272" fmla="*/ 287051 h 1009097"/>
                    <a:gd name="connsiteX273" fmla="*/ 650437 w 1513685"/>
                    <a:gd name="connsiteY273" fmla="*/ 287051 h 1009097"/>
                    <a:gd name="connsiteX274" fmla="*/ 591636 w 1513685"/>
                    <a:gd name="connsiteY274" fmla="*/ 245295 h 1009097"/>
                    <a:gd name="connsiteX275" fmla="*/ 591636 w 1513685"/>
                    <a:gd name="connsiteY275" fmla="*/ 245295 h 1009097"/>
                    <a:gd name="connsiteX276" fmla="*/ 580138 w 1513685"/>
                    <a:gd name="connsiteY276" fmla="*/ 211104 h 1009097"/>
                    <a:gd name="connsiteX277" fmla="*/ 580138 w 1513685"/>
                    <a:gd name="connsiteY277" fmla="*/ 211104 h 1009097"/>
                    <a:gd name="connsiteX278" fmla="*/ 587703 w 1513685"/>
                    <a:gd name="connsiteY278" fmla="*/ 137377 h 1009097"/>
                    <a:gd name="connsiteX279" fmla="*/ 587703 w 1513685"/>
                    <a:gd name="connsiteY279" fmla="*/ 137377 h 1009097"/>
                    <a:gd name="connsiteX280" fmla="*/ 588106 w 1513685"/>
                    <a:gd name="connsiteY280" fmla="*/ 128602 h 1009097"/>
                    <a:gd name="connsiteX281" fmla="*/ 588106 w 1513685"/>
                    <a:gd name="connsiteY281" fmla="*/ 128602 h 1009097"/>
                    <a:gd name="connsiteX282" fmla="*/ 567329 w 1513685"/>
                    <a:gd name="connsiteY282" fmla="*/ 75349 h 1009097"/>
                    <a:gd name="connsiteX283" fmla="*/ 567329 w 1513685"/>
                    <a:gd name="connsiteY283" fmla="*/ 75349 h 1009097"/>
                    <a:gd name="connsiteX284" fmla="*/ 551192 w 1513685"/>
                    <a:gd name="connsiteY284" fmla="*/ 9286 h 1009097"/>
                    <a:gd name="connsiteX285" fmla="*/ 551192 w 1513685"/>
                    <a:gd name="connsiteY285" fmla="*/ 9286 h 1009097"/>
                    <a:gd name="connsiteX286" fmla="*/ 548570 w 1513685"/>
                    <a:gd name="connsiteY286" fmla="*/ 5656 h 1009097"/>
                    <a:gd name="connsiteX287" fmla="*/ 548570 w 1513685"/>
                    <a:gd name="connsiteY287" fmla="*/ 5656 h 1009097"/>
                    <a:gd name="connsiteX288" fmla="*/ 510647 w 1513685"/>
                    <a:gd name="connsiteY288" fmla="*/ 30265 h 1009097"/>
                    <a:gd name="connsiteX289" fmla="*/ 510647 w 1513685"/>
                    <a:gd name="connsiteY289" fmla="*/ 30265 h 1009097"/>
                    <a:gd name="connsiteX290" fmla="*/ 431372 w 1513685"/>
                    <a:gd name="connsiteY290" fmla="*/ 54471 h 1009097"/>
                    <a:gd name="connsiteX291" fmla="*/ 431372 w 1513685"/>
                    <a:gd name="connsiteY291" fmla="*/ 54471 h 1009097"/>
                    <a:gd name="connsiteX292" fmla="*/ 408780 w 1513685"/>
                    <a:gd name="connsiteY292" fmla="*/ 53462 h 1009097"/>
                    <a:gd name="connsiteX293" fmla="*/ 408780 w 1513685"/>
                    <a:gd name="connsiteY293" fmla="*/ 53462 h 1009097"/>
                    <a:gd name="connsiteX294" fmla="*/ 336464 w 1513685"/>
                    <a:gd name="connsiteY294" fmla="*/ 67078 h 1009097"/>
                    <a:gd name="connsiteX295" fmla="*/ 336464 w 1513685"/>
                    <a:gd name="connsiteY295" fmla="*/ 67078 h 1009097"/>
                    <a:gd name="connsiteX296" fmla="*/ 166417 w 1513685"/>
                    <a:gd name="connsiteY296" fmla="*/ 103791 h 1009097"/>
                    <a:gd name="connsiteX297" fmla="*/ 166417 w 1513685"/>
                    <a:gd name="connsiteY297" fmla="*/ 103791 h 1009097"/>
                    <a:gd name="connsiteX298" fmla="*/ 83511 w 1513685"/>
                    <a:gd name="connsiteY298" fmla="*/ 178527 h 1009097"/>
                    <a:gd name="connsiteX299" fmla="*/ 83511 w 1513685"/>
                    <a:gd name="connsiteY299" fmla="*/ 178527 h 1009097"/>
                    <a:gd name="connsiteX300" fmla="*/ 26828 w 1513685"/>
                    <a:gd name="connsiteY300" fmla="*/ 232184 h 1009097"/>
                    <a:gd name="connsiteX301" fmla="*/ 26828 w 1513685"/>
                    <a:gd name="connsiteY301" fmla="*/ 232184 h 1009097"/>
                    <a:gd name="connsiteX302" fmla="*/ 26223 w 1513685"/>
                    <a:gd name="connsiteY302" fmla="*/ 246304 h 1009097"/>
                    <a:gd name="connsiteX303" fmla="*/ 26223 w 1513685"/>
                    <a:gd name="connsiteY303" fmla="*/ 246304 h 1009097"/>
                    <a:gd name="connsiteX304" fmla="*/ 26324 w 1513685"/>
                    <a:gd name="connsiteY304" fmla="*/ 250238 h 1009097"/>
                    <a:gd name="connsiteX305" fmla="*/ 26324 w 1513685"/>
                    <a:gd name="connsiteY305" fmla="*/ 250238 h 1009097"/>
                    <a:gd name="connsiteX306" fmla="*/ 11700 w 1513685"/>
                    <a:gd name="connsiteY306" fmla="*/ 322957 h 1009097"/>
                    <a:gd name="connsiteX307" fmla="*/ 11700 w 1513685"/>
                    <a:gd name="connsiteY307" fmla="*/ 322957 h 1009097"/>
                    <a:gd name="connsiteX308" fmla="*/ 5749 w 1513685"/>
                    <a:gd name="connsiteY308" fmla="*/ 359770 h 1009097"/>
                    <a:gd name="connsiteX309" fmla="*/ 5749 w 1513685"/>
                    <a:gd name="connsiteY309" fmla="*/ 359770 h 1009097"/>
                    <a:gd name="connsiteX310" fmla="*/ 29047 w 1513685"/>
                    <a:gd name="connsiteY310" fmla="*/ 486549 h 1009097"/>
                    <a:gd name="connsiteX311" fmla="*/ 29047 w 1513685"/>
                    <a:gd name="connsiteY311" fmla="*/ 486549 h 1009097"/>
                    <a:gd name="connsiteX312" fmla="*/ 29753 w 1513685"/>
                    <a:gd name="connsiteY312" fmla="*/ 494920 h 1009097"/>
                    <a:gd name="connsiteX313" fmla="*/ 29753 w 1513685"/>
                    <a:gd name="connsiteY313" fmla="*/ 494920 h 1009097"/>
                    <a:gd name="connsiteX314" fmla="*/ 14120 w 1513685"/>
                    <a:gd name="connsiteY314" fmla="*/ 553620 h 1009097"/>
                    <a:gd name="connsiteX315" fmla="*/ 14120 w 1513685"/>
                    <a:gd name="connsiteY315" fmla="*/ 553620 h 1009097"/>
                    <a:gd name="connsiteX316" fmla="*/ 13111 w 1513685"/>
                    <a:gd name="connsiteY316" fmla="*/ 596788 h 1009097"/>
                    <a:gd name="connsiteX317" fmla="*/ 13111 w 1513685"/>
                    <a:gd name="connsiteY317" fmla="*/ 596788 h 1009097"/>
                    <a:gd name="connsiteX318" fmla="*/ 14120 w 1513685"/>
                    <a:gd name="connsiteY318" fmla="*/ 668901 h 1009097"/>
                    <a:gd name="connsiteX319" fmla="*/ 14120 w 1513685"/>
                    <a:gd name="connsiteY319" fmla="*/ 668901 h 1009097"/>
                    <a:gd name="connsiteX320" fmla="*/ 54262 w 1513685"/>
                    <a:gd name="connsiteY320" fmla="*/ 685846 h 1009097"/>
                    <a:gd name="connsiteX321" fmla="*/ 54262 w 1513685"/>
                    <a:gd name="connsiteY321" fmla="*/ 685846 h 1009097"/>
                    <a:gd name="connsiteX322" fmla="*/ 127384 w 1513685"/>
                    <a:gd name="connsiteY322" fmla="*/ 668498 h 1009097"/>
                    <a:gd name="connsiteX323" fmla="*/ 127384 w 1513685"/>
                    <a:gd name="connsiteY323" fmla="*/ 668498 h 1009097"/>
                    <a:gd name="connsiteX324" fmla="*/ 133738 w 1513685"/>
                    <a:gd name="connsiteY324" fmla="*/ 668700 h 1009097"/>
                    <a:gd name="connsiteX325" fmla="*/ 133738 w 1513685"/>
                    <a:gd name="connsiteY325" fmla="*/ 668700 h 1009097"/>
                    <a:gd name="connsiteX326" fmla="*/ 257391 w 1513685"/>
                    <a:gd name="connsiteY326" fmla="*/ 761187 h 1009097"/>
                    <a:gd name="connsiteX327" fmla="*/ 257391 w 1513685"/>
                    <a:gd name="connsiteY327" fmla="*/ 761187 h 1009097"/>
                    <a:gd name="connsiteX328" fmla="*/ 371664 w 1513685"/>
                    <a:gd name="connsiteY328" fmla="*/ 805867 h 1009097"/>
                    <a:gd name="connsiteX329" fmla="*/ 371664 w 1513685"/>
                    <a:gd name="connsiteY329" fmla="*/ 805867 h 1009097"/>
                    <a:gd name="connsiteX330" fmla="*/ 469597 w 1513685"/>
                    <a:gd name="connsiteY330" fmla="*/ 775912 h 1009097"/>
                    <a:gd name="connsiteX331" fmla="*/ 469597 w 1513685"/>
                    <a:gd name="connsiteY331" fmla="*/ 775912 h 1009097"/>
                    <a:gd name="connsiteX332" fmla="*/ 491887 w 1513685"/>
                    <a:gd name="connsiteY332" fmla="*/ 789932 h 1009097"/>
                    <a:gd name="connsiteX333" fmla="*/ 491887 w 1513685"/>
                    <a:gd name="connsiteY333" fmla="*/ 789932 h 1009097"/>
                    <a:gd name="connsiteX334" fmla="*/ 500864 w 1513685"/>
                    <a:gd name="connsiteY334" fmla="*/ 810103 h 1009097"/>
                    <a:gd name="connsiteX335" fmla="*/ 500864 w 1513685"/>
                    <a:gd name="connsiteY335" fmla="*/ 810103 h 1009097"/>
                    <a:gd name="connsiteX336" fmla="*/ 453157 w 1513685"/>
                    <a:gd name="connsiteY336" fmla="*/ 853170 h 1009097"/>
                    <a:gd name="connsiteX337" fmla="*/ 453157 w 1513685"/>
                    <a:gd name="connsiteY337" fmla="*/ 853170 h 1009097"/>
                    <a:gd name="connsiteX338" fmla="*/ 446803 w 1513685"/>
                    <a:gd name="connsiteY338" fmla="*/ 870518 h 1009097"/>
                    <a:gd name="connsiteX339" fmla="*/ 446803 w 1513685"/>
                    <a:gd name="connsiteY339" fmla="*/ 870518 h 1009097"/>
                    <a:gd name="connsiteX340" fmla="*/ 491887 w 1513685"/>
                    <a:gd name="connsiteY340" fmla="*/ 904003 h 1009097"/>
                    <a:gd name="connsiteX341" fmla="*/ 491887 w 1513685"/>
                    <a:gd name="connsiteY341" fmla="*/ 904003 h 1009097"/>
                    <a:gd name="connsiteX342" fmla="*/ 501469 w 1513685"/>
                    <a:gd name="connsiteY342" fmla="*/ 902490 h 1009097"/>
                    <a:gd name="connsiteX343" fmla="*/ 501469 w 1513685"/>
                    <a:gd name="connsiteY343" fmla="*/ 902490 h 1009097"/>
                    <a:gd name="connsiteX344" fmla="*/ 562589 w 1513685"/>
                    <a:gd name="connsiteY344" fmla="*/ 870114 h 1009097"/>
                    <a:gd name="connsiteX345" fmla="*/ 562589 w 1513685"/>
                    <a:gd name="connsiteY345" fmla="*/ 870114 h 1009097"/>
                    <a:gd name="connsiteX346" fmla="*/ 660624 w 1513685"/>
                    <a:gd name="connsiteY346" fmla="*/ 917820 h 1009097"/>
                    <a:gd name="connsiteX347" fmla="*/ 660624 w 1513685"/>
                    <a:gd name="connsiteY347" fmla="*/ 917820 h 1009097"/>
                    <a:gd name="connsiteX348" fmla="*/ 691083 w 1513685"/>
                    <a:gd name="connsiteY348" fmla="*/ 933453 h 1009097"/>
                    <a:gd name="connsiteX349" fmla="*/ 691083 w 1513685"/>
                    <a:gd name="connsiteY349" fmla="*/ 933453 h 1009097"/>
                    <a:gd name="connsiteX350" fmla="*/ 704699 w 1513685"/>
                    <a:gd name="connsiteY350" fmla="*/ 928410 h 1009097"/>
                    <a:gd name="connsiteX351" fmla="*/ 704699 w 1513685"/>
                    <a:gd name="connsiteY351" fmla="*/ 928410 h 1009097"/>
                    <a:gd name="connsiteX352" fmla="*/ 711658 w 1513685"/>
                    <a:gd name="connsiteY352" fmla="*/ 926292 h 1009097"/>
                    <a:gd name="connsiteX353" fmla="*/ 711658 w 1513685"/>
                    <a:gd name="connsiteY353" fmla="*/ 926292 h 1009097"/>
                    <a:gd name="connsiteX354" fmla="*/ 736066 w 1513685"/>
                    <a:gd name="connsiteY354" fmla="*/ 958870 h 1009097"/>
                    <a:gd name="connsiteX355" fmla="*/ 736066 w 1513685"/>
                    <a:gd name="connsiteY355" fmla="*/ 958870 h 1009097"/>
                    <a:gd name="connsiteX356" fmla="*/ 747059 w 1513685"/>
                    <a:gd name="connsiteY356" fmla="*/ 962097 h 1009097"/>
                    <a:gd name="connsiteX357" fmla="*/ 747059 w 1513685"/>
                    <a:gd name="connsiteY357" fmla="*/ 962097 h 1009097"/>
                    <a:gd name="connsiteX358" fmla="*/ 807373 w 1513685"/>
                    <a:gd name="connsiteY358" fmla="*/ 939505 h 1009097"/>
                    <a:gd name="connsiteX359" fmla="*/ 807373 w 1513685"/>
                    <a:gd name="connsiteY359" fmla="*/ 939505 h 1009097"/>
                    <a:gd name="connsiteX360" fmla="*/ 823409 w 1513685"/>
                    <a:gd name="connsiteY360" fmla="*/ 934865 h 1009097"/>
                    <a:gd name="connsiteX361" fmla="*/ 823409 w 1513685"/>
                    <a:gd name="connsiteY361" fmla="*/ 934865 h 1009097"/>
                    <a:gd name="connsiteX362" fmla="*/ 891892 w 1513685"/>
                    <a:gd name="connsiteY362" fmla="*/ 956247 h 1009097"/>
                    <a:gd name="connsiteX363" fmla="*/ 891892 w 1513685"/>
                    <a:gd name="connsiteY363" fmla="*/ 956247 h 1009097"/>
                    <a:gd name="connsiteX364" fmla="*/ 1062343 w 1513685"/>
                    <a:gd name="connsiteY364" fmla="*/ 975310 h 1009097"/>
                    <a:gd name="connsiteX365" fmla="*/ 1062343 w 1513685"/>
                    <a:gd name="connsiteY365" fmla="*/ 975310 h 1009097"/>
                    <a:gd name="connsiteX366" fmla="*/ 1105914 w 1513685"/>
                    <a:gd name="connsiteY366" fmla="*/ 928713 h 1009097"/>
                    <a:gd name="connsiteX367" fmla="*/ 1105914 w 1513685"/>
                    <a:gd name="connsiteY367" fmla="*/ 928713 h 1009097"/>
                    <a:gd name="connsiteX368" fmla="*/ 1118824 w 1513685"/>
                    <a:gd name="connsiteY368" fmla="*/ 925687 h 1009097"/>
                    <a:gd name="connsiteX369" fmla="*/ 1118824 w 1513685"/>
                    <a:gd name="connsiteY369" fmla="*/ 925687 h 1009097"/>
                    <a:gd name="connsiteX370" fmla="*/ 1187307 w 1513685"/>
                    <a:gd name="connsiteY370" fmla="*/ 939908 h 1009097"/>
                    <a:gd name="connsiteX371" fmla="*/ 1187307 w 1513685"/>
                    <a:gd name="connsiteY371" fmla="*/ 939908 h 1009097"/>
                    <a:gd name="connsiteX372" fmla="*/ 1189022 w 1513685"/>
                    <a:gd name="connsiteY372" fmla="*/ 939808 h 1009097"/>
                    <a:gd name="connsiteX373" fmla="*/ 1189022 w 1513685"/>
                    <a:gd name="connsiteY373" fmla="*/ 939808 h 1009097"/>
                    <a:gd name="connsiteX374" fmla="*/ 1252361 w 1513685"/>
                    <a:gd name="connsiteY374" fmla="*/ 925284 h 1009097"/>
                    <a:gd name="connsiteX375" fmla="*/ 1252361 w 1513685"/>
                    <a:gd name="connsiteY375" fmla="*/ 925284 h 1009097"/>
                    <a:gd name="connsiteX376" fmla="*/ 1270818 w 1513685"/>
                    <a:gd name="connsiteY376" fmla="*/ 932344 h 1009097"/>
                    <a:gd name="connsiteX377" fmla="*/ 1270818 w 1513685"/>
                    <a:gd name="connsiteY377" fmla="*/ 932344 h 1009097"/>
                    <a:gd name="connsiteX378" fmla="*/ 1322054 w 1513685"/>
                    <a:gd name="connsiteY378" fmla="*/ 951406 h 1009097"/>
                    <a:gd name="connsiteX379" fmla="*/ 1322054 w 1513685"/>
                    <a:gd name="connsiteY379" fmla="*/ 951406 h 1009097"/>
                    <a:gd name="connsiteX380" fmla="*/ 1328812 w 1513685"/>
                    <a:gd name="connsiteY380" fmla="*/ 950297 h 1009097"/>
                    <a:gd name="connsiteX381" fmla="*/ 1328812 w 1513685"/>
                    <a:gd name="connsiteY381" fmla="*/ 950297 h 1009097"/>
                    <a:gd name="connsiteX382" fmla="*/ 1346663 w 1513685"/>
                    <a:gd name="connsiteY382" fmla="*/ 946061 h 1009097"/>
                    <a:gd name="connsiteX383" fmla="*/ 1346663 w 1513685"/>
                    <a:gd name="connsiteY383" fmla="*/ 946061 h 1009097"/>
                    <a:gd name="connsiteX384" fmla="*/ 1384284 w 1513685"/>
                    <a:gd name="connsiteY384" fmla="*/ 971175 h 1009097"/>
                    <a:gd name="connsiteX385" fmla="*/ 1384284 w 1513685"/>
                    <a:gd name="connsiteY385" fmla="*/ 971175 h 1009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Lst>
                  <a:rect l="l" t="t" r="r" b="b"/>
                  <a:pathLst>
                    <a:path w="1513685" h="1009097">
                      <a:moveTo>
                        <a:pt x="1378736" y="972082"/>
                      </a:moveTo>
                      <a:cubicBezTo>
                        <a:pt x="1376518" y="956953"/>
                        <a:pt x="1360078" y="951406"/>
                        <a:pt x="1346260" y="951406"/>
                      </a:cubicBezTo>
                      <a:lnTo>
                        <a:pt x="1346260" y="951406"/>
                      </a:lnTo>
                      <a:cubicBezTo>
                        <a:pt x="1339604" y="951305"/>
                        <a:pt x="1333552" y="953020"/>
                        <a:pt x="1331736" y="954432"/>
                      </a:cubicBezTo>
                      <a:lnTo>
                        <a:pt x="1331736" y="954432"/>
                      </a:lnTo>
                      <a:cubicBezTo>
                        <a:pt x="1329114" y="956247"/>
                        <a:pt x="1325887" y="956651"/>
                        <a:pt x="1321751" y="956752"/>
                      </a:cubicBezTo>
                      <a:lnTo>
                        <a:pt x="1321751" y="956752"/>
                      </a:lnTo>
                      <a:cubicBezTo>
                        <a:pt x="1303799" y="956147"/>
                        <a:pt x="1270818" y="947170"/>
                        <a:pt x="1265372" y="933958"/>
                      </a:cubicBezTo>
                      <a:lnTo>
                        <a:pt x="1265372" y="933958"/>
                      </a:lnTo>
                      <a:cubicBezTo>
                        <a:pt x="1265372" y="932848"/>
                        <a:pt x="1260430" y="930529"/>
                        <a:pt x="1252058" y="930629"/>
                      </a:cubicBezTo>
                      <a:lnTo>
                        <a:pt x="1252058" y="930629"/>
                      </a:lnTo>
                      <a:cubicBezTo>
                        <a:pt x="1231685" y="930428"/>
                        <a:pt x="1195174" y="940312"/>
                        <a:pt x="1192653" y="943539"/>
                      </a:cubicBezTo>
                      <a:lnTo>
                        <a:pt x="1192653" y="943539"/>
                      </a:lnTo>
                      <a:cubicBezTo>
                        <a:pt x="1190837" y="945153"/>
                        <a:pt x="1189022" y="945254"/>
                        <a:pt x="1187005" y="945254"/>
                      </a:cubicBezTo>
                      <a:lnTo>
                        <a:pt x="1187005" y="945254"/>
                      </a:lnTo>
                      <a:cubicBezTo>
                        <a:pt x="1173590" y="945153"/>
                        <a:pt x="1138592" y="930932"/>
                        <a:pt x="1118521" y="931033"/>
                      </a:cubicBezTo>
                      <a:lnTo>
                        <a:pt x="1118521" y="931033"/>
                      </a:lnTo>
                      <a:cubicBezTo>
                        <a:pt x="1114185" y="931033"/>
                        <a:pt x="1110655" y="931739"/>
                        <a:pt x="1108537" y="933252"/>
                      </a:cubicBezTo>
                      <a:lnTo>
                        <a:pt x="1108537" y="933252"/>
                      </a:lnTo>
                      <a:cubicBezTo>
                        <a:pt x="1093206" y="941421"/>
                        <a:pt x="1094921" y="980151"/>
                        <a:pt x="1061940" y="980857"/>
                      </a:cubicBezTo>
                      <a:lnTo>
                        <a:pt x="1061940" y="980857"/>
                      </a:lnTo>
                      <a:cubicBezTo>
                        <a:pt x="1031581" y="980756"/>
                        <a:pt x="922755" y="976823"/>
                        <a:pt x="889169" y="961290"/>
                      </a:cubicBezTo>
                      <a:lnTo>
                        <a:pt x="889169" y="961290"/>
                      </a:lnTo>
                      <a:cubicBezTo>
                        <a:pt x="865568" y="950196"/>
                        <a:pt x="839345" y="940312"/>
                        <a:pt x="823107" y="940413"/>
                      </a:cubicBezTo>
                      <a:lnTo>
                        <a:pt x="823107" y="940413"/>
                      </a:lnTo>
                      <a:cubicBezTo>
                        <a:pt x="817459" y="940413"/>
                        <a:pt x="813223" y="941522"/>
                        <a:pt x="810701" y="943741"/>
                      </a:cubicBezTo>
                      <a:lnTo>
                        <a:pt x="810701" y="943741"/>
                      </a:lnTo>
                      <a:cubicBezTo>
                        <a:pt x="799808" y="952617"/>
                        <a:pt x="767836" y="967544"/>
                        <a:pt x="746757" y="967644"/>
                      </a:cubicBezTo>
                      <a:lnTo>
                        <a:pt x="746757" y="967644"/>
                      </a:lnTo>
                      <a:cubicBezTo>
                        <a:pt x="740705" y="967644"/>
                        <a:pt x="735561" y="966434"/>
                        <a:pt x="731931" y="962904"/>
                      </a:cubicBezTo>
                      <a:lnTo>
                        <a:pt x="731931" y="962904"/>
                      </a:lnTo>
                      <a:cubicBezTo>
                        <a:pt x="720433" y="950297"/>
                        <a:pt x="717104" y="930226"/>
                        <a:pt x="711355" y="931941"/>
                      </a:cubicBezTo>
                      <a:lnTo>
                        <a:pt x="711355" y="931941"/>
                      </a:lnTo>
                      <a:cubicBezTo>
                        <a:pt x="710347" y="931941"/>
                        <a:pt x="709036" y="932142"/>
                        <a:pt x="707321" y="933353"/>
                      </a:cubicBezTo>
                      <a:lnTo>
                        <a:pt x="707321" y="933353"/>
                      </a:lnTo>
                      <a:cubicBezTo>
                        <a:pt x="701270" y="936782"/>
                        <a:pt x="696529" y="939102"/>
                        <a:pt x="690881" y="939102"/>
                      </a:cubicBezTo>
                      <a:lnTo>
                        <a:pt x="690881" y="939102"/>
                      </a:lnTo>
                      <a:cubicBezTo>
                        <a:pt x="682409" y="939001"/>
                        <a:pt x="673937" y="933958"/>
                        <a:pt x="657295" y="922561"/>
                      </a:cubicBezTo>
                      <a:lnTo>
                        <a:pt x="657295" y="922561"/>
                      </a:lnTo>
                      <a:cubicBezTo>
                        <a:pt x="629458" y="903196"/>
                        <a:pt x="590829" y="875662"/>
                        <a:pt x="562387" y="875762"/>
                      </a:cubicBezTo>
                      <a:lnTo>
                        <a:pt x="562387" y="875762"/>
                      </a:lnTo>
                      <a:cubicBezTo>
                        <a:pt x="534248" y="875561"/>
                        <a:pt x="528499" y="898153"/>
                        <a:pt x="503284" y="907735"/>
                      </a:cubicBezTo>
                      <a:lnTo>
                        <a:pt x="503284" y="907735"/>
                      </a:lnTo>
                      <a:cubicBezTo>
                        <a:pt x="499754" y="908945"/>
                        <a:pt x="495921" y="909550"/>
                        <a:pt x="491786" y="909550"/>
                      </a:cubicBezTo>
                      <a:lnTo>
                        <a:pt x="491786" y="909550"/>
                      </a:lnTo>
                      <a:cubicBezTo>
                        <a:pt x="470404" y="909449"/>
                        <a:pt x="441659" y="894825"/>
                        <a:pt x="441155" y="870518"/>
                      </a:cubicBezTo>
                      <a:lnTo>
                        <a:pt x="441155" y="870518"/>
                      </a:lnTo>
                      <a:cubicBezTo>
                        <a:pt x="441155" y="864063"/>
                        <a:pt x="443475" y="857003"/>
                        <a:pt x="448619" y="849943"/>
                      </a:cubicBezTo>
                      <a:lnTo>
                        <a:pt x="448619" y="849943"/>
                      </a:lnTo>
                      <a:cubicBezTo>
                        <a:pt x="469497" y="821400"/>
                        <a:pt x="496930" y="820593"/>
                        <a:pt x="495216" y="810103"/>
                      </a:cubicBezTo>
                      <a:lnTo>
                        <a:pt x="495216" y="810103"/>
                      </a:lnTo>
                      <a:cubicBezTo>
                        <a:pt x="495216" y="806775"/>
                        <a:pt x="492997" y="801228"/>
                        <a:pt x="487248" y="793058"/>
                      </a:cubicBezTo>
                      <a:lnTo>
                        <a:pt x="487248" y="793058"/>
                      </a:lnTo>
                      <a:cubicBezTo>
                        <a:pt x="480894" y="784183"/>
                        <a:pt x="475548" y="781560"/>
                        <a:pt x="469497" y="781460"/>
                      </a:cubicBezTo>
                      <a:lnTo>
                        <a:pt x="469497" y="781460"/>
                      </a:lnTo>
                      <a:cubicBezTo>
                        <a:pt x="451140" y="780854"/>
                        <a:pt x="423505" y="811314"/>
                        <a:pt x="371563" y="811415"/>
                      </a:cubicBezTo>
                      <a:lnTo>
                        <a:pt x="371563" y="811415"/>
                      </a:lnTo>
                      <a:cubicBezTo>
                        <a:pt x="302576" y="811616"/>
                        <a:pt x="309131" y="799715"/>
                        <a:pt x="254264" y="765927"/>
                      </a:cubicBezTo>
                      <a:lnTo>
                        <a:pt x="254264" y="765927"/>
                      </a:lnTo>
                      <a:cubicBezTo>
                        <a:pt x="197884" y="730829"/>
                        <a:pt x="171560" y="675558"/>
                        <a:pt x="133234" y="674247"/>
                      </a:cubicBezTo>
                      <a:lnTo>
                        <a:pt x="133234" y="674247"/>
                      </a:lnTo>
                      <a:cubicBezTo>
                        <a:pt x="131217" y="674146"/>
                        <a:pt x="129200" y="674045"/>
                        <a:pt x="127183" y="674045"/>
                      </a:cubicBezTo>
                      <a:lnTo>
                        <a:pt x="127183" y="674045"/>
                      </a:lnTo>
                      <a:cubicBezTo>
                        <a:pt x="94000" y="673743"/>
                        <a:pt x="91983" y="691090"/>
                        <a:pt x="54060" y="691393"/>
                      </a:cubicBezTo>
                      <a:lnTo>
                        <a:pt x="54060" y="691393"/>
                      </a:lnTo>
                      <a:cubicBezTo>
                        <a:pt x="14423" y="691595"/>
                        <a:pt x="8371" y="670717"/>
                        <a:pt x="8371" y="669809"/>
                      </a:cubicBezTo>
                      <a:lnTo>
                        <a:pt x="8371" y="669809"/>
                      </a:lnTo>
                      <a:lnTo>
                        <a:pt x="11095" y="669204"/>
                      </a:lnTo>
                      <a:lnTo>
                        <a:pt x="8371" y="669204"/>
                      </a:lnTo>
                      <a:cubicBezTo>
                        <a:pt x="8371" y="669204"/>
                        <a:pt x="7362" y="631079"/>
                        <a:pt x="7362" y="596687"/>
                      </a:cubicBezTo>
                      <a:lnTo>
                        <a:pt x="7362" y="596687"/>
                      </a:lnTo>
                      <a:cubicBezTo>
                        <a:pt x="7362" y="579541"/>
                        <a:pt x="7564" y="563303"/>
                        <a:pt x="8371" y="553217"/>
                      </a:cubicBezTo>
                      <a:lnTo>
                        <a:pt x="8371" y="553217"/>
                      </a:lnTo>
                      <a:cubicBezTo>
                        <a:pt x="10489" y="525481"/>
                        <a:pt x="24206" y="513680"/>
                        <a:pt x="23903" y="494820"/>
                      </a:cubicBezTo>
                      <a:lnTo>
                        <a:pt x="23903" y="494820"/>
                      </a:lnTo>
                      <a:cubicBezTo>
                        <a:pt x="23903" y="492500"/>
                        <a:pt x="23802" y="489978"/>
                        <a:pt x="23399" y="487356"/>
                      </a:cubicBezTo>
                      <a:lnTo>
                        <a:pt x="23399" y="487356"/>
                      </a:lnTo>
                      <a:cubicBezTo>
                        <a:pt x="20172" y="467991"/>
                        <a:pt x="101" y="408081"/>
                        <a:pt x="0" y="359669"/>
                      </a:cubicBezTo>
                      <a:lnTo>
                        <a:pt x="0" y="359669"/>
                      </a:lnTo>
                      <a:cubicBezTo>
                        <a:pt x="0" y="345347"/>
                        <a:pt x="1714" y="331933"/>
                        <a:pt x="6455" y="320738"/>
                      </a:cubicBezTo>
                      <a:lnTo>
                        <a:pt x="6455" y="320738"/>
                      </a:lnTo>
                      <a:cubicBezTo>
                        <a:pt x="20172" y="286950"/>
                        <a:pt x="20474" y="266879"/>
                        <a:pt x="20575" y="250137"/>
                      </a:cubicBezTo>
                      <a:lnTo>
                        <a:pt x="20575" y="250137"/>
                      </a:lnTo>
                      <a:cubicBezTo>
                        <a:pt x="20575" y="248926"/>
                        <a:pt x="20474" y="247514"/>
                        <a:pt x="20474" y="246203"/>
                      </a:cubicBezTo>
                      <a:lnTo>
                        <a:pt x="20474" y="246203"/>
                      </a:lnTo>
                      <a:cubicBezTo>
                        <a:pt x="20474" y="241160"/>
                        <a:pt x="20575" y="236319"/>
                        <a:pt x="21180" y="231478"/>
                      </a:cubicBezTo>
                      <a:lnTo>
                        <a:pt x="21180" y="231478"/>
                      </a:lnTo>
                      <a:cubicBezTo>
                        <a:pt x="23702" y="208180"/>
                        <a:pt x="44176" y="195068"/>
                        <a:pt x="80485" y="173686"/>
                      </a:cubicBezTo>
                      <a:lnTo>
                        <a:pt x="80485" y="173686"/>
                      </a:lnTo>
                      <a:cubicBezTo>
                        <a:pt x="115382" y="153817"/>
                        <a:pt x="113768" y="109742"/>
                        <a:pt x="164904" y="98244"/>
                      </a:cubicBezTo>
                      <a:lnTo>
                        <a:pt x="164904" y="98244"/>
                      </a:lnTo>
                      <a:cubicBezTo>
                        <a:pt x="214526" y="87553"/>
                        <a:pt x="296020" y="80997"/>
                        <a:pt x="333741" y="62035"/>
                      </a:cubicBezTo>
                      <a:lnTo>
                        <a:pt x="333741" y="62035"/>
                      </a:lnTo>
                      <a:cubicBezTo>
                        <a:pt x="357543" y="50134"/>
                        <a:pt x="388003" y="47814"/>
                        <a:pt x="408578" y="47814"/>
                      </a:cubicBezTo>
                      <a:lnTo>
                        <a:pt x="408578" y="47814"/>
                      </a:lnTo>
                      <a:cubicBezTo>
                        <a:pt x="422295" y="47814"/>
                        <a:pt x="431776" y="48823"/>
                        <a:pt x="431473" y="48823"/>
                      </a:cubicBezTo>
                      <a:lnTo>
                        <a:pt x="431473" y="48823"/>
                      </a:lnTo>
                      <a:cubicBezTo>
                        <a:pt x="431574" y="48722"/>
                        <a:pt x="478171" y="48722"/>
                        <a:pt x="507016" y="25827"/>
                      </a:cubicBezTo>
                      <a:lnTo>
                        <a:pt x="507016" y="25827"/>
                      </a:lnTo>
                      <a:cubicBezTo>
                        <a:pt x="527793" y="9690"/>
                        <a:pt x="539593" y="310"/>
                        <a:pt x="548368" y="7"/>
                      </a:cubicBezTo>
                      <a:lnTo>
                        <a:pt x="548368" y="7"/>
                      </a:lnTo>
                      <a:cubicBezTo>
                        <a:pt x="552806" y="-194"/>
                        <a:pt x="555932" y="3739"/>
                        <a:pt x="556538" y="8278"/>
                      </a:cubicBezTo>
                      <a:lnTo>
                        <a:pt x="556538" y="8278"/>
                      </a:lnTo>
                      <a:cubicBezTo>
                        <a:pt x="558454" y="21995"/>
                        <a:pt x="555025" y="60018"/>
                        <a:pt x="570557" y="70810"/>
                      </a:cubicBezTo>
                      <a:lnTo>
                        <a:pt x="570557" y="70810"/>
                      </a:lnTo>
                      <a:cubicBezTo>
                        <a:pt x="586694" y="83115"/>
                        <a:pt x="593351" y="106716"/>
                        <a:pt x="593452" y="128501"/>
                      </a:cubicBezTo>
                      <a:lnTo>
                        <a:pt x="593452" y="128501"/>
                      </a:lnTo>
                      <a:cubicBezTo>
                        <a:pt x="593452" y="131527"/>
                        <a:pt x="593250" y="134654"/>
                        <a:pt x="592947" y="137679"/>
                      </a:cubicBezTo>
                      <a:lnTo>
                        <a:pt x="592947" y="137679"/>
                      </a:lnTo>
                      <a:cubicBezTo>
                        <a:pt x="591636" y="152405"/>
                        <a:pt x="585383" y="185789"/>
                        <a:pt x="585383" y="210903"/>
                      </a:cubicBezTo>
                      <a:lnTo>
                        <a:pt x="585383" y="210903"/>
                      </a:lnTo>
                      <a:cubicBezTo>
                        <a:pt x="585282" y="226435"/>
                        <a:pt x="588308" y="238135"/>
                        <a:pt x="593553" y="239950"/>
                      </a:cubicBezTo>
                      <a:lnTo>
                        <a:pt x="593553" y="239950"/>
                      </a:lnTo>
                      <a:cubicBezTo>
                        <a:pt x="612211" y="248220"/>
                        <a:pt x="632988" y="250944"/>
                        <a:pt x="654774" y="283823"/>
                      </a:cubicBezTo>
                      <a:lnTo>
                        <a:pt x="654774" y="283823"/>
                      </a:lnTo>
                      <a:cubicBezTo>
                        <a:pt x="675752" y="315493"/>
                        <a:pt x="714583" y="349987"/>
                        <a:pt x="720433" y="353819"/>
                      </a:cubicBezTo>
                      <a:lnTo>
                        <a:pt x="720433" y="353819"/>
                      </a:lnTo>
                      <a:cubicBezTo>
                        <a:pt x="722954" y="355534"/>
                        <a:pt x="727493" y="357551"/>
                        <a:pt x="732132" y="357450"/>
                      </a:cubicBezTo>
                      <a:lnTo>
                        <a:pt x="732132" y="357450"/>
                      </a:lnTo>
                      <a:cubicBezTo>
                        <a:pt x="738083" y="357450"/>
                        <a:pt x="744841" y="354626"/>
                        <a:pt x="750791" y="342120"/>
                      </a:cubicBezTo>
                      <a:lnTo>
                        <a:pt x="750791" y="342120"/>
                      </a:lnTo>
                      <a:cubicBezTo>
                        <a:pt x="762793" y="316703"/>
                        <a:pt x="822401" y="283117"/>
                        <a:pt x="853667" y="278276"/>
                      </a:cubicBezTo>
                      <a:lnTo>
                        <a:pt x="853667" y="278276"/>
                      </a:lnTo>
                      <a:cubicBezTo>
                        <a:pt x="855583" y="277974"/>
                        <a:pt x="857398" y="277873"/>
                        <a:pt x="859214" y="277873"/>
                      </a:cubicBezTo>
                      <a:lnTo>
                        <a:pt x="859214" y="277873"/>
                      </a:lnTo>
                      <a:cubicBezTo>
                        <a:pt x="888665" y="278175"/>
                        <a:pt x="904500" y="311358"/>
                        <a:pt x="916703" y="333345"/>
                      </a:cubicBezTo>
                      <a:lnTo>
                        <a:pt x="916703" y="333345"/>
                      </a:lnTo>
                      <a:cubicBezTo>
                        <a:pt x="927798" y="355332"/>
                        <a:pt x="947869" y="341515"/>
                        <a:pt x="957551" y="359366"/>
                      </a:cubicBezTo>
                      <a:lnTo>
                        <a:pt x="957551" y="359366"/>
                      </a:lnTo>
                      <a:cubicBezTo>
                        <a:pt x="960274" y="366124"/>
                        <a:pt x="961081" y="377521"/>
                        <a:pt x="961081" y="389826"/>
                      </a:cubicBezTo>
                      <a:lnTo>
                        <a:pt x="961081" y="389826"/>
                      </a:lnTo>
                      <a:cubicBezTo>
                        <a:pt x="961081" y="408989"/>
                        <a:pt x="958963" y="429362"/>
                        <a:pt x="957551" y="434204"/>
                      </a:cubicBezTo>
                      <a:lnTo>
                        <a:pt x="957551" y="434204"/>
                      </a:lnTo>
                      <a:cubicBezTo>
                        <a:pt x="957148" y="435212"/>
                        <a:pt x="956341" y="441566"/>
                        <a:pt x="956341" y="449837"/>
                      </a:cubicBezTo>
                      <a:lnTo>
                        <a:pt x="956341" y="449837"/>
                      </a:lnTo>
                      <a:cubicBezTo>
                        <a:pt x="956341" y="471723"/>
                        <a:pt x="961686" y="508738"/>
                        <a:pt x="986397" y="523161"/>
                      </a:cubicBezTo>
                      <a:lnTo>
                        <a:pt x="986397" y="523161"/>
                      </a:lnTo>
                      <a:cubicBezTo>
                        <a:pt x="993759" y="527498"/>
                        <a:pt x="999710" y="528809"/>
                        <a:pt x="1005560" y="528809"/>
                      </a:cubicBezTo>
                      <a:lnTo>
                        <a:pt x="1005560" y="528809"/>
                      </a:lnTo>
                      <a:cubicBezTo>
                        <a:pt x="1019075" y="528910"/>
                        <a:pt x="1033397" y="520740"/>
                        <a:pt x="1059217" y="520639"/>
                      </a:cubicBezTo>
                      <a:lnTo>
                        <a:pt x="1059217" y="520639"/>
                      </a:lnTo>
                      <a:cubicBezTo>
                        <a:pt x="1076060" y="520639"/>
                        <a:pt x="1097745" y="524270"/>
                        <a:pt x="1127498" y="535869"/>
                      </a:cubicBezTo>
                      <a:lnTo>
                        <a:pt x="1127498" y="535869"/>
                      </a:lnTo>
                      <a:cubicBezTo>
                        <a:pt x="1173792" y="553418"/>
                        <a:pt x="1184483" y="586197"/>
                        <a:pt x="1184281" y="616657"/>
                      </a:cubicBezTo>
                      <a:lnTo>
                        <a:pt x="1184281" y="616657"/>
                      </a:lnTo>
                      <a:cubicBezTo>
                        <a:pt x="1184281" y="639552"/>
                        <a:pt x="1178734" y="661741"/>
                        <a:pt x="1178734" y="676567"/>
                      </a:cubicBezTo>
                      <a:lnTo>
                        <a:pt x="1178734" y="676567"/>
                      </a:lnTo>
                      <a:cubicBezTo>
                        <a:pt x="1178734" y="683122"/>
                        <a:pt x="1179843" y="688065"/>
                        <a:pt x="1182365" y="690989"/>
                      </a:cubicBezTo>
                      <a:lnTo>
                        <a:pt x="1182365" y="690989"/>
                      </a:lnTo>
                      <a:cubicBezTo>
                        <a:pt x="1191644" y="702487"/>
                        <a:pt x="1202032" y="708236"/>
                        <a:pt x="1209193" y="708135"/>
                      </a:cubicBezTo>
                      <a:lnTo>
                        <a:pt x="1209193" y="708135"/>
                      </a:lnTo>
                      <a:cubicBezTo>
                        <a:pt x="1216052" y="708035"/>
                        <a:pt x="1221195" y="703597"/>
                        <a:pt x="1222507" y="690384"/>
                      </a:cubicBezTo>
                      <a:lnTo>
                        <a:pt x="1222507" y="690384"/>
                      </a:lnTo>
                      <a:cubicBezTo>
                        <a:pt x="1224120" y="667389"/>
                        <a:pt x="1240258" y="649234"/>
                        <a:pt x="1263556" y="649335"/>
                      </a:cubicBezTo>
                      <a:lnTo>
                        <a:pt x="1263556" y="649335"/>
                      </a:lnTo>
                      <a:cubicBezTo>
                        <a:pt x="1269910" y="649335"/>
                        <a:pt x="1276870" y="650545"/>
                        <a:pt x="1284232" y="653672"/>
                      </a:cubicBezTo>
                      <a:lnTo>
                        <a:pt x="1284232" y="653672"/>
                      </a:lnTo>
                      <a:cubicBezTo>
                        <a:pt x="1312170" y="665271"/>
                        <a:pt x="1317516" y="692805"/>
                        <a:pt x="1322256" y="690586"/>
                      </a:cubicBezTo>
                      <a:lnTo>
                        <a:pt x="1322256" y="690586"/>
                      </a:lnTo>
                      <a:cubicBezTo>
                        <a:pt x="1322962" y="690586"/>
                        <a:pt x="1324273" y="690082"/>
                        <a:pt x="1326290" y="688468"/>
                      </a:cubicBezTo>
                      <a:lnTo>
                        <a:pt x="1326290" y="688468"/>
                      </a:lnTo>
                      <a:cubicBezTo>
                        <a:pt x="1338797" y="679290"/>
                        <a:pt x="1328812" y="651453"/>
                        <a:pt x="1362498" y="651251"/>
                      </a:cubicBezTo>
                      <a:lnTo>
                        <a:pt x="1362498" y="651251"/>
                      </a:lnTo>
                      <a:cubicBezTo>
                        <a:pt x="1363810" y="651251"/>
                        <a:pt x="1365322" y="651251"/>
                        <a:pt x="1366936" y="651352"/>
                      </a:cubicBezTo>
                      <a:lnTo>
                        <a:pt x="1366936" y="651352"/>
                      </a:lnTo>
                      <a:cubicBezTo>
                        <a:pt x="1403245" y="652865"/>
                        <a:pt x="1410810" y="661640"/>
                        <a:pt x="1414541" y="683627"/>
                      </a:cubicBezTo>
                      <a:lnTo>
                        <a:pt x="1414541" y="683627"/>
                      </a:lnTo>
                      <a:cubicBezTo>
                        <a:pt x="1419080" y="705211"/>
                        <a:pt x="1424324" y="717717"/>
                        <a:pt x="1443891" y="717919"/>
                      </a:cubicBezTo>
                      <a:lnTo>
                        <a:pt x="1443891" y="717919"/>
                      </a:lnTo>
                      <a:cubicBezTo>
                        <a:pt x="1465273" y="718826"/>
                        <a:pt x="1511567" y="731232"/>
                        <a:pt x="1513686" y="748378"/>
                      </a:cubicBezTo>
                      <a:lnTo>
                        <a:pt x="1513686" y="748378"/>
                      </a:lnTo>
                      <a:cubicBezTo>
                        <a:pt x="1513686" y="749689"/>
                        <a:pt x="1513282" y="750698"/>
                        <a:pt x="1512879" y="752009"/>
                      </a:cubicBezTo>
                      <a:lnTo>
                        <a:pt x="1512879" y="752009"/>
                      </a:lnTo>
                      <a:cubicBezTo>
                        <a:pt x="1504507" y="766331"/>
                        <a:pt x="1460130" y="780350"/>
                        <a:pt x="1461743" y="791545"/>
                      </a:cubicBezTo>
                      <a:lnTo>
                        <a:pt x="1461743" y="791545"/>
                      </a:lnTo>
                      <a:cubicBezTo>
                        <a:pt x="1461642" y="802539"/>
                        <a:pt x="1454885" y="817870"/>
                        <a:pt x="1454986" y="832292"/>
                      </a:cubicBezTo>
                      <a:lnTo>
                        <a:pt x="1454986" y="832292"/>
                      </a:lnTo>
                      <a:cubicBezTo>
                        <a:pt x="1454986" y="839453"/>
                        <a:pt x="1456498" y="846009"/>
                        <a:pt x="1461138" y="852061"/>
                      </a:cubicBezTo>
                      <a:lnTo>
                        <a:pt x="1461138" y="852061"/>
                      </a:lnTo>
                      <a:cubicBezTo>
                        <a:pt x="1473543" y="868198"/>
                        <a:pt x="1490488" y="876872"/>
                        <a:pt x="1490891" y="895026"/>
                      </a:cubicBezTo>
                      <a:lnTo>
                        <a:pt x="1490891" y="895026"/>
                      </a:lnTo>
                      <a:cubicBezTo>
                        <a:pt x="1490891" y="897850"/>
                        <a:pt x="1490488" y="900674"/>
                        <a:pt x="1489580" y="904003"/>
                      </a:cubicBezTo>
                      <a:lnTo>
                        <a:pt x="1489580" y="904003"/>
                      </a:lnTo>
                      <a:cubicBezTo>
                        <a:pt x="1479999" y="929116"/>
                        <a:pt x="1463861" y="904709"/>
                        <a:pt x="1464063" y="943842"/>
                      </a:cubicBezTo>
                      <a:lnTo>
                        <a:pt x="1464063" y="943842"/>
                      </a:lnTo>
                      <a:cubicBezTo>
                        <a:pt x="1463962" y="964619"/>
                        <a:pt x="1467895" y="979647"/>
                        <a:pt x="1467996" y="990539"/>
                      </a:cubicBezTo>
                      <a:lnTo>
                        <a:pt x="1467996" y="990539"/>
                      </a:lnTo>
                      <a:cubicBezTo>
                        <a:pt x="1468500" y="1000726"/>
                        <a:pt x="1462550" y="1008190"/>
                        <a:pt x="1448430" y="1008795"/>
                      </a:cubicBezTo>
                      <a:lnTo>
                        <a:pt x="1448430" y="1008795"/>
                      </a:lnTo>
                      <a:cubicBezTo>
                        <a:pt x="1446009" y="1008997"/>
                        <a:pt x="1443589" y="1009097"/>
                        <a:pt x="1441168" y="1009097"/>
                      </a:cubicBezTo>
                      <a:lnTo>
                        <a:pt x="1441168" y="1009097"/>
                      </a:lnTo>
                      <a:cubicBezTo>
                        <a:pt x="1413936" y="1008896"/>
                        <a:pt x="1383376" y="997902"/>
                        <a:pt x="1378736" y="972082"/>
                      </a:cubicBezTo>
                      <a:lnTo>
                        <a:pt x="1378736" y="972082"/>
                      </a:lnTo>
                      <a:close/>
                      <a:moveTo>
                        <a:pt x="1384284" y="971175"/>
                      </a:moveTo>
                      <a:cubicBezTo>
                        <a:pt x="1387410" y="992254"/>
                        <a:pt x="1415147" y="1003449"/>
                        <a:pt x="1440966" y="1003348"/>
                      </a:cubicBezTo>
                      <a:lnTo>
                        <a:pt x="1440966" y="1003348"/>
                      </a:lnTo>
                      <a:cubicBezTo>
                        <a:pt x="1443185" y="1003348"/>
                        <a:pt x="1445606" y="1003348"/>
                        <a:pt x="1447926" y="1003147"/>
                      </a:cubicBezTo>
                      <a:lnTo>
                        <a:pt x="1447926" y="1003147"/>
                      </a:lnTo>
                      <a:cubicBezTo>
                        <a:pt x="1460634" y="1001533"/>
                        <a:pt x="1461642" y="999112"/>
                        <a:pt x="1462247" y="990439"/>
                      </a:cubicBezTo>
                      <a:lnTo>
                        <a:pt x="1462247" y="990439"/>
                      </a:lnTo>
                      <a:cubicBezTo>
                        <a:pt x="1462247" y="980857"/>
                        <a:pt x="1458213" y="965224"/>
                        <a:pt x="1458213" y="943741"/>
                      </a:cubicBezTo>
                      <a:lnTo>
                        <a:pt x="1458213" y="943741"/>
                      </a:lnTo>
                      <a:cubicBezTo>
                        <a:pt x="1458314" y="901380"/>
                        <a:pt x="1480907" y="920039"/>
                        <a:pt x="1484033" y="902288"/>
                      </a:cubicBezTo>
                      <a:lnTo>
                        <a:pt x="1484033" y="902288"/>
                      </a:lnTo>
                      <a:cubicBezTo>
                        <a:pt x="1484840" y="899464"/>
                        <a:pt x="1485142" y="897043"/>
                        <a:pt x="1485142" y="894925"/>
                      </a:cubicBezTo>
                      <a:lnTo>
                        <a:pt x="1485142" y="894925"/>
                      </a:lnTo>
                      <a:cubicBezTo>
                        <a:pt x="1485445" y="881310"/>
                        <a:pt x="1470316" y="872535"/>
                        <a:pt x="1456498" y="855288"/>
                      </a:cubicBezTo>
                      <a:lnTo>
                        <a:pt x="1456498" y="855288"/>
                      </a:lnTo>
                      <a:cubicBezTo>
                        <a:pt x="1450951" y="848228"/>
                        <a:pt x="1449237" y="840159"/>
                        <a:pt x="1449237" y="832191"/>
                      </a:cubicBezTo>
                      <a:lnTo>
                        <a:pt x="1449237" y="832191"/>
                      </a:lnTo>
                      <a:cubicBezTo>
                        <a:pt x="1449237" y="816458"/>
                        <a:pt x="1455994" y="800320"/>
                        <a:pt x="1455893" y="791445"/>
                      </a:cubicBezTo>
                      <a:lnTo>
                        <a:pt x="1455893" y="791445"/>
                      </a:lnTo>
                      <a:cubicBezTo>
                        <a:pt x="1457507" y="772483"/>
                        <a:pt x="1503196" y="760784"/>
                        <a:pt x="1507533" y="749689"/>
                      </a:cubicBezTo>
                      <a:lnTo>
                        <a:pt x="1507533" y="749689"/>
                      </a:lnTo>
                      <a:cubicBezTo>
                        <a:pt x="1507735" y="748983"/>
                        <a:pt x="1507836" y="748580"/>
                        <a:pt x="1507836" y="748378"/>
                      </a:cubicBezTo>
                      <a:lnTo>
                        <a:pt x="1507836" y="748378"/>
                      </a:lnTo>
                      <a:cubicBezTo>
                        <a:pt x="1508743" y="745453"/>
                        <a:pt x="1497851" y="737384"/>
                        <a:pt x="1483730" y="732442"/>
                      </a:cubicBezTo>
                      <a:lnTo>
                        <a:pt x="1483730" y="732442"/>
                      </a:lnTo>
                      <a:cubicBezTo>
                        <a:pt x="1469711" y="727097"/>
                        <a:pt x="1453069" y="723466"/>
                        <a:pt x="1443589" y="723466"/>
                      </a:cubicBezTo>
                      <a:lnTo>
                        <a:pt x="1443589" y="723466"/>
                      </a:lnTo>
                      <a:cubicBezTo>
                        <a:pt x="1420391" y="723567"/>
                        <a:pt x="1412726" y="706219"/>
                        <a:pt x="1408691" y="684736"/>
                      </a:cubicBezTo>
                      <a:lnTo>
                        <a:pt x="1408691" y="684736"/>
                      </a:lnTo>
                      <a:cubicBezTo>
                        <a:pt x="1403850" y="663758"/>
                        <a:pt x="1402640" y="659723"/>
                        <a:pt x="1366129" y="656899"/>
                      </a:cubicBezTo>
                      <a:lnTo>
                        <a:pt x="1366129" y="656899"/>
                      </a:lnTo>
                      <a:cubicBezTo>
                        <a:pt x="1364818" y="656798"/>
                        <a:pt x="1363507" y="656798"/>
                        <a:pt x="1362196" y="656798"/>
                      </a:cubicBezTo>
                      <a:lnTo>
                        <a:pt x="1362196" y="656798"/>
                      </a:lnTo>
                      <a:cubicBezTo>
                        <a:pt x="1333451" y="656597"/>
                        <a:pt x="1345857" y="677172"/>
                        <a:pt x="1329618" y="692805"/>
                      </a:cubicBezTo>
                      <a:lnTo>
                        <a:pt x="1329618" y="692805"/>
                      </a:lnTo>
                      <a:cubicBezTo>
                        <a:pt x="1326996" y="694822"/>
                        <a:pt x="1324676" y="696234"/>
                        <a:pt x="1321953" y="696234"/>
                      </a:cubicBezTo>
                      <a:lnTo>
                        <a:pt x="1321953" y="696234"/>
                      </a:lnTo>
                      <a:cubicBezTo>
                        <a:pt x="1308236" y="694015"/>
                        <a:pt x="1308337" y="669103"/>
                        <a:pt x="1281812" y="658916"/>
                      </a:cubicBezTo>
                      <a:lnTo>
                        <a:pt x="1281812" y="658916"/>
                      </a:lnTo>
                      <a:cubicBezTo>
                        <a:pt x="1275054" y="656193"/>
                        <a:pt x="1269003" y="655084"/>
                        <a:pt x="1263254" y="655084"/>
                      </a:cubicBezTo>
                      <a:lnTo>
                        <a:pt x="1263254" y="655084"/>
                      </a:lnTo>
                      <a:cubicBezTo>
                        <a:pt x="1243082" y="655084"/>
                        <a:pt x="1229466" y="670213"/>
                        <a:pt x="1227751" y="690989"/>
                      </a:cubicBezTo>
                      <a:lnTo>
                        <a:pt x="1227751" y="690989"/>
                      </a:lnTo>
                      <a:cubicBezTo>
                        <a:pt x="1226843" y="705513"/>
                        <a:pt x="1219178" y="714086"/>
                        <a:pt x="1208891" y="713783"/>
                      </a:cubicBezTo>
                      <a:lnTo>
                        <a:pt x="1208891" y="713783"/>
                      </a:lnTo>
                      <a:cubicBezTo>
                        <a:pt x="1198906" y="713783"/>
                        <a:pt x="1187811" y="706723"/>
                        <a:pt x="1177826" y="694620"/>
                      </a:cubicBezTo>
                      <a:lnTo>
                        <a:pt x="1177826" y="694620"/>
                      </a:lnTo>
                      <a:cubicBezTo>
                        <a:pt x="1173994" y="689981"/>
                        <a:pt x="1172985" y="683828"/>
                        <a:pt x="1172985" y="676668"/>
                      </a:cubicBezTo>
                      <a:lnTo>
                        <a:pt x="1172985" y="676668"/>
                      </a:lnTo>
                      <a:cubicBezTo>
                        <a:pt x="1173086" y="660631"/>
                        <a:pt x="1178532" y="638745"/>
                        <a:pt x="1178532" y="616758"/>
                      </a:cubicBezTo>
                      <a:lnTo>
                        <a:pt x="1178532" y="616758"/>
                      </a:lnTo>
                      <a:cubicBezTo>
                        <a:pt x="1178331" y="587408"/>
                        <a:pt x="1169556" y="558260"/>
                        <a:pt x="1125279" y="541013"/>
                      </a:cubicBezTo>
                      <a:lnTo>
                        <a:pt x="1125279" y="541013"/>
                      </a:lnTo>
                      <a:cubicBezTo>
                        <a:pt x="1096131" y="529717"/>
                        <a:pt x="1075152" y="526287"/>
                        <a:pt x="1059116" y="526287"/>
                      </a:cubicBezTo>
                      <a:lnTo>
                        <a:pt x="1059116" y="526287"/>
                      </a:lnTo>
                      <a:cubicBezTo>
                        <a:pt x="1034506" y="526287"/>
                        <a:pt x="1021092" y="534356"/>
                        <a:pt x="1005459" y="534457"/>
                      </a:cubicBezTo>
                      <a:lnTo>
                        <a:pt x="1005459" y="534457"/>
                      </a:lnTo>
                      <a:cubicBezTo>
                        <a:pt x="998600" y="534457"/>
                        <a:pt x="991440" y="532742"/>
                        <a:pt x="983472" y="528002"/>
                      </a:cubicBezTo>
                      <a:lnTo>
                        <a:pt x="983472" y="528002"/>
                      </a:lnTo>
                      <a:cubicBezTo>
                        <a:pt x="955534" y="511159"/>
                        <a:pt x="950794" y="472530"/>
                        <a:pt x="950693" y="449937"/>
                      </a:cubicBezTo>
                      <a:lnTo>
                        <a:pt x="950693" y="449937"/>
                      </a:lnTo>
                      <a:cubicBezTo>
                        <a:pt x="950794" y="441163"/>
                        <a:pt x="951500" y="435111"/>
                        <a:pt x="952206" y="432691"/>
                      </a:cubicBezTo>
                      <a:lnTo>
                        <a:pt x="952206" y="432691"/>
                      </a:lnTo>
                      <a:cubicBezTo>
                        <a:pt x="953214" y="429463"/>
                        <a:pt x="955534" y="408384"/>
                        <a:pt x="955534" y="389927"/>
                      </a:cubicBezTo>
                      <a:lnTo>
                        <a:pt x="955534" y="389927"/>
                      </a:lnTo>
                      <a:cubicBezTo>
                        <a:pt x="955534" y="378025"/>
                        <a:pt x="954626" y="366628"/>
                        <a:pt x="952508" y="361686"/>
                      </a:cubicBezTo>
                      <a:lnTo>
                        <a:pt x="952508" y="361686"/>
                      </a:lnTo>
                      <a:cubicBezTo>
                        <a:pt x="948978" y="349382"/>
                        <a:pt x="926285" y="361182"/>
                        <a:pt x="911862" y="336169"/>
                      </a:cubicBezTo>
                      <a:lnTo>
                        <a:pt x="911862" y="336169"/>
                      </a:lnTo>
                      <a:cubicBezTo>
                        <a:pt x="899658" y="313678"/>
                        <a:pt x="883723" y="283319"/>
                        <a:pt x="859315" y="283622"/>
                      </a:cubicBezTo>
                      <a:lnTo>
                        <a:pt x="859315" y="283622"/>
                      </a:lnTo>
                      <a:cubicBezTo>
                        <a:pt x="857701" y="283622"/>
                        <a:pt x="856289" y="283723"/>
                        <a:pt x="854675" y="283924"/>
                      </a:cubicBezTo>
                      <a:lnTo>
                        <a:pt x="854675" y="283924"/>
                      </a:lnTo>
                      <a:cubicBezTo>
                        <a:pt x="825830" y="287757"/>
                        <a:pt x="765416" y="322755"/>
                        <a:pt x="756036" y="344540"/>
                      </a:cubicBezTo>
                      <a:lnTo>
                        <a:pt x="756036" y="344540"/>
                      </a:lnTo>
                      <a:cubicBezTo>
                        <a:pt x="749783" y="358560"/>
                        <a:pt x="740403" y="363300"/>
                        <a:pt x="732334" y="363199"/>
                      </a:cubicBezTo>
                      <a:lnTo>
                        <a:pt x="732334" y="363199"/>
                      </a:lnTo>
                      <a:cubicBezTo>
                        <a:pt x="726081" y="363199"/>
                        <a:pt x="720735" y="360678"/>
                        <a:pt x="717609" y="358660"/>
                      </a:cubicBezTo>
                      <a:lnTo>
                        <a:pt x="717609" y="358660"/>
                      </a:lnTo>
                      <a:cubicBezTo>
                        <a:pt x="710649" y="353920"/>
                        <a:pt x="672323" y="319830"/>
                        <a:pt x="650437" y="287051"/>
                      </a:cubicBezTo>
                      <a:lnTo>
                        <a:pt x="650437" y="287051"/>
                      </a:lnTo>
                      <a:cubicBezTo>
                        <a:pt x="629357" y="255583"/>
                        <a:pt x="611506" y="253969"/>
                        <a:pt x="591636" y="245295"/>
                      </a:cubicBezTo>
                      <a:lnTo>
                        <a:pt x="591636" y="245295"/>
                      </a:lnTo>
                      <a:cubicBezTo>
                        <a:pt x="581954" y="240454"/>
                        <a:pt x="580340" y="226939"/>
                        <a:pt x="580138" y="211104"/>
                      </a:cubicBezTo>
                      <a:lnTo>
                        <a:pt x="580138" y="211104"/>
                      </a:lnTo>
                      <a:cubicBezTo>
                        <a:pt x="580138" y="185184"/>
                        <a:pt x="586493" y="151699"/>
                        <a:pt x="587703" y="137377"/>
                      </a:cubicBezTo>
                      <a:lnTo>
                        <a:pt x="587703" y="137377"/>
                      </a:lnTo>
                      <a:cubicBezTo>
                        <a:pt x="587904" y="134452"/>
                        <a:pt x="588106" y="131628"/>
                        <a:pt x="588106" y="128602"/>
                      </a:cubicBezTo>
                      <a:lnTo>
                        <a:pt x="588106" y="128602"/>
                      </a:lnTo>
                      <a:cubicBezTo>
                        <a:pt x="588106" y="107825"/>
                        <a:pt x="581349" y="85838"/>
                        <a:pt x="567329" y="75349"/>
                      </a:cubicBezTo>
                      <a:lnTo>
                        <a:pt x="567329" y="75349"/>
                      </a:lnTo>
                      <a:cubicBezTo>
                        <a:pt x="548267" y="60523"/>
                        <a:pt x="553613" y="21289"/>
                        <a:pt x="551192" y="9286"/>
                      </a:cubicBezTo>
                      <a:lnTo>
                        <a:pt x="551192" y="9286"/>
                      </a:lnTo>
                      <a:cubicBezTo>
                        <a:pt x="550284" y="5656"/>
                        <a:pt x="550082" y="5857"/>
                        <a:pt x="548570" y="5656"/>
                      </a:cubicBezTo>
                      <a:lnTo>
                        <a:pt x="548570" y="5656"/>
                      </a:lnTo>
                      <a:cubicBezTo>
                        <a:pt x="544132" y="5353"/>
                        <a:pt x="531020" y="14128"/>
                        <a:pt x="510647" y="30265"/>
                      </a:cubicBezTo>
                      <a:lnTo>
                        <a:pt x="510647" y="30265"/>
                      </a:lnTo>
                      <a:cubicBezTo>
                        <a:pt x="479582" y="54673"/>
                        <a:pt x="431977" y="54471"/>
                        <a:pt x="431372" y="54471"/>
                      </a:cubicBezTo>
                      <a:lnTo>
                        <a:pt x="431372" y="54471"/>
                      </a:lnTo>
                      <a:cubicBezTo>
                        <a:pt x="431372" y="54572"/>
                        <a:pt x="422194" y="53462"/>
                        <a:pt x="408780" y="53462"/>
                      </a:cubicBezTo>
                      <a:lnTo>
                        <a:pt x="408780" y="53462"/>
                      </a:lnTo>
                      <a:cubicBezTo>
                        <a:pt x="388709" y="53462"/>
                        <a:pt x="358855" y="55782"/>
                        <a:pt x="336464" y="67078"/>
                      </a:cubicBezTo>
                      <a:lnTo>
                        <a:pt x="336464" y="67078"/>
                      </a:lnTo>
                      <a:cubicBezTo>
                        <a:pt x="296827" y="86847"/>
                        <a:pt x="215434" y="93100"/>
                        <a:pt x="166417" y="103791"/>
                      </a:cubicBezTo>
                      <a:lnTo>
                        <a:pt x="166417" y="103791"/>
                      </a:lnTo>
                      <a:cubicBezTo>
                        <a:pt x="119013" y="113675"/>
                        <a:pt x="121534" y="155430"/>
                        <a:pt x="83511" y="178527"/>
                      </a:cubicBezTo>
                      <a:lnTo>
                        <a:pt x="83511" y="178527"/>
                      </a:lnTo>
                      <a:cubicBezTo>
                        <a:pt x="46798" y="200010"/>
                        <a:pt x="28644" y="212617"/>
                        <a:pt x="26828" y="232184"/>
                      </a:cubicBezTo>
                      <a:lnTo>
                        <a:pt x="26828" y="232184"/>
                      </a:lnTo>
                      <a:cubicBezTo>
                        <a:pt x="26324" y="236722"/>
                        <a:pt x="26223" y="241362"/>
                        <a:pt x="26223" y="246304"/>
                      </a:cubicBezTo>
                      <a:lnTo>
                        <a:pt x="26223" y="246304"/>
                      </a:lnTo>
                      <a:cubicBezTo>
                        <a:pt x="26223" y="247514"/>
                        <a:pt x="26324" y="248926"/>
                        <a:pt x="26324" y="250238"/>
                      </a:cubicBezTo>
                      <a:lnTo>
                        <a:pt x="26324" y="250238"/>
                      </a:lnTo>
                      <a:cubicBezTo>
                        <a:pt x="26324" y="267283"/>
                        <a:pt x="25719" y="288564"/>
                        <a:pt x="11700" y="322957"/>
                      </a:cubicBezTo>
                      <a:lnTo>
                        <a:pt x="11700" y="322957"/>
                      </a:lnTo>
                      <a:cubicBezTo>
                        <a:pt x="7362" y="333042"/>
                        <a:pt x="5749" y="345952"/>
                        <a:pt x="5749" y="359770"/>
                      </a:cubicBezTo>
                      <a:lnTo>
                        <a:pt x="5749" y="359770"/>
                      </a:lnTo>
                      <a:cubicBezTo>
                        <a:pt x="5648" y="406972"/>
                        <a:pt x="25517" y="466277"/>
                        <a:pt x="29047" y="486549"/>
                      </a:cubicBezTo>
                      <a:lnTo>
                        <a:pt x="29047" y="486549"/>
                      </a:lnTo>
                      <a:cubicBezTo>
                        <a:pt x="29350" y="489474"/>
                        <a:pt x="29753" y="492298"/>
                        <a:pt x="29753" y="494920"/>
                      </a:cubicBezTo>
                      <a:lnTo>
                        <a:pt x="29753" y="494920"/>
                      </a:lnTo>
                      <a:cubicBezTo>
                        <a:pt x="29451" y="516807"/>
                        <a:pt x="15734" y="528002"/>
                        <a:pt x="14120" y="553620"/>
                      </a:cubicBezTo>
                      <a:lnTo>
                        <a:pt x="14120" y="553620"/>
                      </a:lnTo>
                      <a:cubicBezTo>
                        <a:pt x="13313" y="563504"/>
                        <a:pt x="13111" y="579642"/>
                        <a:pt x="13111" y="596788"/>
                      </a:cubicBezTo>
                      <a:lnTo>
                        <a:pt x="13111" y="596788"/>
                      </a:lnTo>
                      <a:cubicBezTo>
                        <a:pt x="13111" y="629365"/>
                        <a:pt x="14019" y="665371"/>
                        <a:pt x="14120" y="668901"/>
                      </a:cubicBezTo>
                      <a:lnTo>
                        <a:pt x="14120" y="668901"/>
                      </a:lnTo>
                      <a:cubicBezTo>
                        <a:pt x="14826" y="671120"/>
                        <a:pt x="19567" y="685644"/>
                        <a:pt x="54262" y="685846"/>
                      </a:cubicBezTo>
                      <a:lnTo>
                        <a:pt x="54262" y="685846"/>
                      </a:lnTo>
                      <a:cubicBezTo>
                        <a:pt x="89361" y="686047"/>
                        <a:pt x="91277" y="668700"/>
                        <a:pt x="127384" y="668498"/>
                      </a:cubicBezTo>
                      <a:lnTo>
                        <a:pt x="127384" y="668498"/>
                      </a:lnTo>
                      <a:cubicBezTo>
                        <a:pt x="129401" y="668498"/>
                        <a:pt x="131620" y="668498"/>
                        <a:pt x="133738" y="668700"/>
                      </a:cubicBezTo>
                      <a:lnTo>
                        <a:pt x="133738" y="668700"/>
                      </a:lnTo>
                      <a:cubicBezTo>
                        <a:pt x="177108" y="671524"/>
                        <a:pt x="202120" y="727702"/>
                        <a:pt x="257391" y="761187"/>
                      </a:cubicBezTo>
                      <a:lnTo>
                        <a:pt x="257391" y="761187"/>
                      </a:lnTo>
                      <a:cubicBezTo>
                        <a:pt x="314073" y="795983"/>
                        <a:pt x="303382" y="805666"/>
                        <a:pt x="371664" y="805867"/>
                      </a:cubicBezTo>
                      <a:lnTo>
                        <a:pt x="371664" y="805867"/>
                      </a:lnTo>
                      <a:cubicBezTo>
                        <a:pt x="421791" y="805867"/>
                        <a:pt x="446501" y="776518"/>
                        <a:pt x="469597" y="775912"/>
                      </a:cubicBezTo>
                      <a:lnTo>
                        <a:pt x="469597" y="775912"/>
                      </a:lnTo>
                      <a:cubicBezTo>
                        <a:pt x="477666" y="775912"/>
                        <a:pt x="485029" y="780148"/>
                        <a:pt x="491887" y="789932"/>
                      </a:cubicBezTo>
                      <a:lnTo>
                        <a:pt x="491887" y="789932"/>
                      </a:lnTo>
                      <a:cubicBezTo>
                        <a:pt x="497939" y="798505"/>
                        <a:pt x="500763" y="804657"/>
                        <a:pt x="500864" y="810103"/>
                      </a:cubicBezTo>
                      <a:lnTo>
                        <a:pt x="500864" y="810103"/>
                      </a:lnTo>
                      <a:cubicBezTo>
                        <a:pt x="499048" y="828762"/>
                        <a:pt x="471917" y="825636"/>
                        <a:pt x="453157" y="853170"/>
                      </a:cubicBezTo>
                      <a:lnTo>
                        <a:pt x="453157" y="853170"/>
                      </a:lnTo>
                      <a:cubicBezTo>
                        <a:pt x="448619" y="859524"/>
                        <a:pt x="446803" y="865475"/>
                        <a:pt x="446803" y="870518"/>
                      </a:cubicBezTo>
                      <a:lnTo>
                        <a:pt x="446803" y="870518"/>
                      </a:lnTo>
                      <a:cubicBezTo>
                        <a:pt x="446803" y="889580"/>
                        <a:pt x="472623" y="903902"/>
                        <a:pt x="491887" y="904003"/>
                      </a:cubicBezTo>
                      <a:lnTo>
                        <a:pt x="491887" y="904003"/>
                      </a:lnTo>
                      <a:cubicBezTo>
                        <a:pt x="495518" y="904003"/>
                        <a:pt x="498846" y="903498"/>
                        <a:pt x="501469" y="902490"/>
                      </a:cubicBezTo>
                      <a:lnTo>
                        <a:pt x="501469" y="902490"/>
                      </a:lnTo>
                      <a:cubicBezTo>
                        <a:pt x="523557" y="895026"/>
                        <a:pt x="530617" y="870518"/>
                        <a:pt x="562589" y="870114"/>
                      </a:cubicBezTo>
                      <a:lnTo>
                        <a:pt x="562589" y="870114"/>
                      </a:lnTo>
                      <a:cubicBezTo>
                        <a:pt x="594259" y="870316"/>
                        <a:pt x="632787" y="898657"/>
                        <a:pt x="660624" y="917820"/>
                      </a:cubicBezTo>
                      <a:lnTo>
                        <a:pt x="660624" y="917820"/>
                      </a:lnTo>
                      <a:cubicBezTo>
                        <a:pt x="677164" y="929419"/>
                        <a:pt x="685233" y="933554"/>
                        <a:pt x="691083" y="933453"/>
                      </a:cubicBezTo>
                      <a:lnTo>
                        <a:pt x="691083" y="933453"/>
                      </a:lnTo>
                      <a:cubicBezTo>
                        <a:pt x="695016" y="933453"/>
                        <a:pt x="698950" y="931739"/>
                        <a:pt x="704699" y="928410"/>
                      </a:cubicBezTo>
                      <a:lnTo>
                        <a:pt x="704699" y="928410"/>
                      </a:lnTo>
                      <a:cubicBezTo>
                        <a:pt x="707119" y="926898"/>
                        <a:pt x="709439" y="926292"/>
                        <a:pt x="711658" y="926292"/>
                      </a:cubicBezTo>
                      <a:lnTo>
                        <a:pt x="711658" y="926292"/>
                      </a:lnTo>
                      <a:cubicBezTo>
                        <a:pt x="725577" y="927906"/>
                        <a:pt x="725375" y="949187"/>
                        <a:pt x="736066" y="958870"/>
                      </a:cubicBezTo>
                      <a:lnTo>
                        <a:pt x="736066" y="958870"/>
                      </a:lnTo>
                      <a:cubicBezTo>
                        <a:pt x="737982" y="960786"/>
                        <a:pt x="741815" y="962097"/>
                        <a:pt x="747059" y="962097"/>
                      </a:cubicBezTo>
                      <a:lnTo>
                        <a:pt x="747059" y="962097"/>
                      </a:lnTo>
                      <a:cubicBezTo>
                        <a:pt x="765617" y="962198"/>
                        <a:pt x="798195" y="947271"/>
                        <a:pt x="807373" y="939505"/>
                      </a:cubicBezTo>
                      <a:lnTo>
                        <a:pt x="807373" y="939505"/>
                      </a:lnTo>
                      <a:cubicBezTo>
                        <a:pt x="811508" y="935975"/>
                        <a:pt x="817055" y="934865"/>
                        <a:pt x="823409" y="934865"/>
                      </a:cubicBezTo>
                      <a:lnTo>
                        <a:pt x="823409" y="934865"/>
                      </a:lnTo>
                      <a:cubicBezTo>
                        <a:pt x="841564" y="934865"/>
                        <a:pt x="867787" y="944951"/>
                        <a:pt x="891892" y="956247"/>
                      </a:cubicBezTo>
                      <a:lnTo>
                        <a:pt x="891892" y="956247"/>
                      </a:lnTo>
                      <a:cubicBezTo>
                        <a:pt x="922654" y="970771"/>
                        <a:pt x="1032792" y="975310"/>
                        <a:pt x="1062343" y="975310"/>
                      </a:cubicBezTo>
                      <a:lnTo>
                        <a:pt x="1062343" y="975310"/>
                      </a:lnTo>
                      <a:cubicBezTo>
                        <a:pt x="1089373" y="976016"/>
                        <a:pt x="1086953" y="941825"/>
                        <a:pt x="1105914" y="928713"/>
                      </a:cubicBezTo>
                      <a:lnTo>
                        <a:pt x="1105914" y="928713"/>
                      </a:lnTo>
                      <a:cubicBezTo>
                        <a:pt x="1109444" y="926292"/>
                        <a:pt x="1113983" y="925687"/>
                        <a:pt x="1118824" y="925687"/>
                      </a:cubicBezTo>
                      <a:lnTo>
                        <a:pt x="1118824" y="925687"/>
                      </a:lnTo>
                      <a:cubicBezTo>
                        <a:pt x="1140610" y="925687"/>
                        <a:pt x="1176414" y="940009"/>
                        <a:pt x="1187307" y="939908"/>
                      </a:cubicBezTo>
                      <a:lnTo>
                        <a:pt x="1187307" y="939908"/>
                      </a:lnTo>
                      <a:cubicBezTo>
                        <a:pt x="1188820" y="939908"/>
                        <a:pt x="1189122" y="939808"/>
                        <a:pt x="1189022" y="939808"/>
                      </a:cubicBezTo>
                      <a:lnTo>
                        <a:pt x="1189022" y="939808"/>
                      </a:lnTo>
                      <a:cubicBezTo>
                        <a:pt x="1195779" y="933756"/>
                        <a:pt x="1229970" y="925586"/>
                        <a:pt x="1252361" y="925284"/>
                      </a:cubicBezTo>
                      <a:lnTo>
                        <a:pt x="1252361" y="925284"/>
                      </a:lnTo>
                      <a:cubicBezTo>
                        <a:pt x="1260833" y="925486"/>
                        <a:pt x="1268095" y="926192"/>
                        <a:pt x="1270818" y="932344"/>
                      </a:cubicBezTo>
                      <a:lnTo>
                        <a:pt x="1270818" y="932344"/>
                      </a:lnTo>
                      <a:cubicBezTo>
                        <a:pt x="1272129" y="939808"/>
                        <a:pt x="1306118" y="952011"/>
                        <a:pt x="1322054" y="951406"/>
                      </a:cubicBezTo>
                      <a:lnTo>
                        <a:pt x="1322054" y="951406"/>
                      </a:lnTo>
                      <a:cubicBezTo>
                        <a:pt x="1325584" y="951406"/>
                        <a:pt x="1328207" y="950700"/>
                        <a:pt x="1328812" y="950297"/>
                      </a:cubicBezTo>
                      <a:lnTo>
                        <a:pt x="1328812" y="950297"/>
                      </a:lnTo>
                      <a:cubicBezTo>
                        <a:pt x="1332644" y="947372"/>
                        <a:pt x="1339099" y="946162"/>
                        <a:pt x="1346663" y="946061"/>
                      </a:cubicBezTo>
                      <a:lnTo>
                        <a:pt x="1346663" y="946061"/>
                      </a:lnTo>
                      <a:cubicBezTo>
                        <a:pt x="1360986" y="945859"/>
                        <a:pt x="1380855" y="951911"/>
                        <a:pt x="1384284" y="971175"/>
                      </a:cubicBezTo>
                      <a:lnTo>
                        <a:pt x="1384284" y="971175"/>
                      </a:lnTo>
                      <a:close/>
                    </a:path>
                  </a:pathLst>
                </a:custGeom>
                <a:solidFill>
                  <a:srgbClr val="ABDEF6"/>
                </a:solidFill>
                <a:ln w="10085" cap="flat">
                  <a:solidFill>
                    <a:srgbClr val="FFFFFF"/>
                  </a:solidFill>
                  <a:prstDash val="solid"/>
                  <a:miter/>
                </a:ln>
              </p:spPr>
              <p:txBody>
                <a:bodyPr rtlCol="0" anchor="ctr"/>
                <a:lstStyle/>
                <a:p>
                  <a:endParaRPr lang="fr-FR" sz="900"/>
                </a:p>
              </p:txBody>
            </p:sp>
          </p:grpSp>
          <p:grpSp>
            <p:nvGrpSpPr>
              <p:cNvPr id="58" name="Graphique 17">
                <a:extLst>
                  <a:ext uri="{FF2B5EF4-FFF2-40B4-BE49-F238E27FC236}">
                    <a16:creationId xmlns:a16="http://schemas.microsoft.com/office/drawing/2014/main" id="{0BA4BEBA-667D-60A8-2831-C00F4A9CBC31}"/>
                  </a:ext>
                </a:extLst>
              </p:cNvPr>
              <p:cNvGrpSpPr/>
              <p:nvPr/>
            </p:nvGrpSpPr>
            <p:grpSpPr>
              <a:xfrm>
                <a:off x="4754624" y="5009456"/>
                <a:ext cx="1642179" cy="1330223"/>
                <a:chOff x="4754624" y="5009456"/>
                <a:chExt cx="1642179" cy="1330223"/>
              </a:xfrm>
            </p:grpSpPr>
            <p:sp>
              <p:nvSpPr>
                <p:cNvPr id="59" name="Forme libre : forme 58">
                  <a:extLst>
                    <a:ext uri="{FF2B5EF4-FFF2-40B4-BE49-F238E27FC236}">
                      <a16:creationId xmlns:a16="http://schemas.microsoft.com/office/drawing/2014/main" id="{8AAD6685-78EB-8545-DEB6-14067BF53B19}"/>
                    </a:ext>
                  </a:extLst>
                </p:cNvPr>
                <p:cNvSpPr/>
                <p:nvPr/>
              </p:nvSpPr>
              <p:spPr>
                <a:xfrm>
                  <a:off x="4757414" y="5012103"/>
                  <a:ext cx="1636461" cy="1324571"/>
                </a:xfrm>
                <a:custGeom>
                  <a:avLst/>
                  <a:gdLst>
                    <a:gd name="connsiteX0" fmla="*/ 1632531 w 1636461"/>
                    <a:gd name="connsiteY0" fmla="*/ 439920 h 1324571"/>
                    <a:gd name="connsiteX1" fmla="*/ 1615285 w 1636461"/>
                    <a:gd name="connsiteY1" fmla="*/ 384146 h 1324571"/>
                    <a:gd name="connsiteX2" fmla="*/ 1585228 w 1636461"/>
                    <a:gd name="connsiteY2" fmla="*/ 336944 h 1324571"/>
                    <a:gd name="connsiteX3" fmla="*/ 1562435 w 1636461"/>
                    <a:gd name="connsiteY3" fmla="*/ 307796 h 1324571"/>
                    <a:gd name="connsiteX4" fmla="*/ 1546499 w 1636461"/>
                    <a:gd name="connsiteY4" fmla="*/ 334725 h 1324571"/>
                    <a:gd name="connsiteX5" fmla="*/ 1480033 w 1636461"/>
                    <a:gd name="connsiteY5" fmla="*/ 300433 h 1324571"/>
                    <a:gd name="connsiteX6" fmla="*/ 1428595 w 1636461"/>
                    <a:gd name="connsiteY6" fmla="*/ 281169 h 1324571"/>
                    <a:gd name="connsiteX7" fmla="*/ 1366365 w 1636461"/>
                    <a:gd name="connsiteY7" fmla="*/ 261905 h 1324571"/>
                    <a:gd name="connsiteX8" fmla="*/ 1289108 w 1636461"/>
                    <a:gd name="connsiteY8" fmla="*/ 270478 h 1324571"/>
                    <a:gd name="connsiteX9" fmla="*/ 1205496 w 1636461"/>
                    <a:gd name="connsiteY9" fmla="*/ 259787 h 1324571"/>
                    <a:gd name="connsiteX10" fmla="*/ 1160412 w 1636461"/>
                    <a:gd name="connsiteY10" fmla="*/ 306888 h 1324571"/>
                    <a:gd name="connsiteX11" fmla="*/ 988852 w 1636461"/>
                    <a:gd name="connsiteY11" fmla="*/ 287624 h 1324571"/>
                    <a:gd name="connsiteX12" fmla="*/ 907358 w 1636461"/>
                    <a:gd name="connsiteY12" fmla="*/ 270478 h 1324571"/>
                    <a:gd name="connsiteX13" fmla="*/ 832319 w 1636461"/>
                    <a:gd name="connsiteY13" fmla="*/ 289742 h 1324571"/>
                    <a:gd name="connsiteX14" fmla="*/ 804381 w 1636461"/>
                    <a:gd name="connsiteY14" fmla="*/ 259686 h 1324571"/>
                    <a:gd name="connsiteX15" fmla="*/ 757180 w 1636461"/>
                    <a:gd name="connsiteY15" fmla="*/ 248894 h 1324571"/>
                    <a:gd name="connsiteX16" fmla="*/ 660658 w 1636461"/>
                    <a:gd name="connsiteY16" fmla="*/ 201693 h 1324571"/>
                    <a:gd name="connsiteX17" fmla="*/ 600647 w 1636461"/>
                    <a:gd name="connsiteY17" fmla="*/ 233866 h 1324571"/>
                    <a:gd name="connsiteX18" fmla="*/ 549209 w 1636461"/>
                    <a:gd name="connsiteY18" fmla="*/ 180210 h 1324571"/>
                    <a:gd name="connsiteX19" fmla="*/ 587838 w 1636461"/>
                    <a:gd name="connsiteY19" fmla="*/ 120199 h 1324571"/>
                    <a:gd name="connsiteX20" fmla="*/ 469834 w 1636461"/>
                    <a:gd name="connsiteY20" fmla="*/ 137345 h 1324571"/>
                    <a:gd name="connsiteX21" fmla="*/ 354048 w 1636461"/>
                    <a:gd name="connsiteY21" fmla="*/ 92362 h 1324571"/>
                    <a:gd name="connsiteX22" fmla="*/ 231807 w 1636461"/>
                    <a:gd name="connsiteY22" fmla="*/ 177 h 1324571"/>
                    <a:gd name="connsiteX23" fmla="*/ 152432 w 1636461"/>
                    <a:gd name="connsiteY23" fmla="*/ 17323 h 1324571"/>
                    <a:gd name="connsiteX24" fmla="*/ 110475 w 1636461"/>
                    <a:gd name="connsiteY24" fmla="*/ 480 h 1324571"/>
                    <a:gd name="connsiteX25" fmla="*/ 88084 w 1636461"/>
                    <a:gd name="connsiteY25" fmla="*/ 51615 h 1324571"/>
                    <a:gd name="connsiteX26" fmla="*/ 154550 w 1636461"/>
                    <a:gd name="connsiteY26" fmla="*/ 133109 h 1324571"/>
                    <a:gd name="connsiteX27" fmla="*/ 118140 w 1636461"/>
                    <a:gd name="connsiteY27" fmla="*/ 150255 h 1324571"/>
                    <a:gd name="connsiteX28" fmla="*/ 56011 w 1636461"/>
                    <a:gd name="connsiteY28" fmla="*/ 152474 h 1324571"/>
                    <a:gd name="connsiteX29" fmla="*/ 10927 w 1636461"/>
                    <a:gd name="connsiteY29" fmla="*/ 233967 h 1324571"/>
                    <a:gd name="connsiteX30" fmla="*/ 15264 w 1636461"/>
                    <a:gd name="connsiteY30" fmla="*/ 270377 h 1324571"/>
                    <a:gd name="connsiteX31" fmla="*/ 118241 w 1636461"/>
                    <a:gd name="connsiteY31" fmla="*/ 334725 h 1324571"/>
                    <a:gd name="connsiteX32" fmla="*/ 176134 w 1636461"/>
                    <a:gd name="connsiteY32" fmla="*/ 426910 h 1324571"/>
                    <a:gd name="connsiteX33" fmla="*/ 188943 w 1636461"/>
                    <a:gd name="connsiteY33" fmla="*/ 532004 h 1324571"/>
                    <a:gd name="connsiteX34" fmla="*/ 171796 w 1636461"/>
                    <a:gd name="connsiteY34" fmla="*/ 609161 h 1324571"/>
                    <a:gd name="connsiteX35" fmla="*/ 184606 w 1636461"/>
                    <a:gd name="connsiteY35" fmla="*/ 752985 h 1324571"/>
                    <a:gd name="connsiteX36" fmla="*/ 188337 w 1636461"/>
                    <a:gd name="connsiteY36" fmla="*/ 811383 h 1324571"/>
                    <a:gd name="connsiteX37" fmla="*/ 212442 w 1636461"/>
                    <a:gd name="connsiteY37" fmla="*/ 943810 h 1324571"/>
                    <a:gd name="connsiteX38" fmla="*/ 197415 w 1636461"/>
                    <a:gd name="connsiteY38" fmla="*/ 980220 h 1324571"/>
                    <a:gd name="connsiteX39" fmla="*/ 163123 w 1636461"/>
                    <a:gd name="connsiteY39" fmla="*/ 997366 h 1324571"/>
                    <a:gd name="connsiteX40" fmla="*/ 326110 w 1636461"/>
                    <a:gd name="connsiteY40" fmla="*/ 1061714 h 1324571"/>
                    <a:gd name="connsiteX41" fmla="*/ 452587 w 1636461"/>
                    <a:gd name="connsiteY41" fmla="*/ 1048905 h 1324571"/>
                    <a:gd name="connsiteX42" fmla="*/ 521171 w 1636461"/>
                    <a:gd name="connsiteY42" fmla="*/ 1055359 h 1324571"/>
                    <a:gd name="connsiteX43" fmla="*/ 591973 w 1636461"/>
                    <a:gd name="connsiteY43" fmla="*/ 1098224 h 1324571"/>
                    <a:gd name="connsiteX44" fmla="*/ 688495 w 1636461"/>
                    <a:gd name="connsiteY44" fmla="*/ 1111134 h 1324571"/>
                    <a:gd name="connsiteX45" fmla="*/ 752843 w 1636461"/>
                    <a:gd name="connsiteY45" fmla="*/ 1138971 h 1324571"/>
                    <a:gd name="connsiteX46" fmla="*/ 793590 w 1636461"/>
                    <a:gd name="connsiteY46" fmla="*/ 1123943 h 1324571"/>
                    <a:gd name="connsiteX47" fmla="*/ 840792 w 1636461"/>
                    <a:gd name="connsiteY47" fmla="*/ 1138971 h 1324571"/>
                    <a:gd name="connsiteX48" fmla="*/ 877201 w 1636461"/>
                    <a:gd name="connsiteY48" fmla="*/ 1126162 h 1324571"/>
                    <a:gd name="connsiteX49" fmla="*/ 932976 w 1636461"/>
                    <a:gd name="connsiteY49" fmla="*/ 1111134 h 1324571"/>
                    <a:gd name="connsiteX50" fmla="*/ 965150 w 1636461"/>
                    <a:gd name="connsiteY50" fmla="*/ 1087533 h 1324571"/>
                    <a:gd name="connsiteX51" fmla="*/ 1012352 w 1636461"/>
                    <a:gd name="connsiteY51" fmla="*/ 1149763 h 1324571"/>
                    <a:gd name="connsiteX52" fmla="*/ 1053099 w 1636461"/>
                    <a:gd name="connsiteY52" fmla="*/ 1227021 h 1324571"/>
                    <a:gd name="connsiteX53" fmla="*/ 1132474 w 1636461"/>
                    <a:gd name="connsiteY53" fmla="*/ 1289250 h 1324571"/>
                    <a:gd name="connsiteX54" fmla="*/ 1190367 w 1636461"/>
                    <a:gd name="connsiteY54" fmla="*/ 1319306 h 1324571"/>
                    <a:gd name="connsiteX55" fmla="*/ 1233333 w 1636461"/>
                    <a:gd name="connsiteY55" fmla="*/ 1254958 h 1324571"/>
                    <a:gd name="connsiteX56" fmla="*/ 1295563 w 1636461"/>
                    <a:gd name="connsiteY56" fmla="*/ 1179920 h 1324571"/>
                    <a:gd name="connsiteX57" fmla="*/ 1267625 w 1636461"/>
                    <a:gd name="connsiteY57" fmla="*/ 1109117 h 1324571"/>
                    <a:gd name="connsiteX58" fmla="*/ 1327636 w 1636461"/>
                    <a:gd name="connsiteY58" fmla="*/ 1053342 h 1324571"/>
                    <a:gd name="connsiteX59" fmla="*/ 1325518 w 1636461"/>
                    <a:gd name="connsiteY59" fmla="*/ 1001904 h 1324571"/>
                    <a:gd name="connsiteX60" fmla="*/ 1308372 w 1636461"/>
                    <a:gd name="connsiteY60" fmla="*/ 907501 h 1324571"/>
                    <a:gd name="connsiteX61" fmla="*/ 1389966 w 1636461"/>
                    <a:gd name="connsiteY61" fmla="*/ 883900 h 1324571"/>
                    <a:gd name="connsiteX62" fmla="*/ 1449977 w 1636461"/>
                    <a:gd name="connsiteY62" fmla="*/ 864636 h 1324571"/>
                    <a:gd name="connsiteX63" fmla="*/ 1531471 w 1636461"/>
                    <a:gd name="connsiteY63" fmla="*/ 853945 h 1324571"/>
                    <a:gd name="connsiteX64" fmla="*/ 1522898 w 1636461"/>
                    <a:gd name="connsiteY64" fmla="*/ 701648 h 1324571"/>
                    <a:gd name="connsiteX65" fmla="*/ 1578673 w 1636461"/>
                    <a:gd name="connsiteY65" fmla="*/ 585863 h 1324571"/>
                    <a:gd name="connsiteX66" fmla="*/ 1617302 w 1636461"/>
                    <a:gd name="connsiteY66" fmla="*/ 498015 h 1324571"/>
                    <a:gd name="connsiteX67" fmla="*/ 1632531 w 1636461"/>
                    <a:gd name="connsiteY67" fmla="*/ 439920 h 1324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1636461" h="1324571">
                      <a:moveTo>
                        <a:pt x="1632531" y="439920"/>
                      </a:moveTo>
                      <a:cubicBezTo>
                        <a:pt x="1643222" y="433465"/>
                        <a:pt x="1630312" y="390601"/>
                        <a:pt x="1615285" y="384146"/>
                      </a:cubicBezTo>
                      <a:cubicBezTo>
                        <a:pt x="1600357" y="377691"/>
                        <a:pt x="1591683" y="349854"/>
                        <a:pt x="1585228" y="336944"/>
                      </a:cubicBezTo>
                      <a:cubicBezTo>
                        <a:pt x="1583010" y="332607"/>
                        <a:pt x="1573630" y="320907"/>
                        <a:pt x="1562435" y="307796"/>
                      </a:cubicBezTo>
                      <a:cubicBezTo>
                        <a:pt x="1564552" y="324639"/>
                        <a:pt x="1564451" y="333313"/>
                        <a:pt x="1546499" y="334725"/>
                      </a:cubicBezTo>
                      <a:cubicBezTo>
                        <a:pt x="1518561" y="336944"/>
                        <a:pt x="1484269" y="326152"/>
                        <a:pt x="1480033" y="300433"/>
                      </a:cubicBezTo>
                      <a:cubicBezTo>
                        <a:pt x="1475797" y="274714"/>
                        <a:pt x="1437269" y="274714"/>
                        <a:pt x="1428595" y="281169"/>
                      </a:cubicBezTo>
                      <a:cubicBezTo>
                        <a:pt x="1419921" y="287624"/>
                        <a:pt x="1370703" y="274714"/>
                        <a:pt x="1366365" y="261905"/>
                      </a:cubicBezTo>
                      <a:cubicBezTo>
                        <a:pt x="1362029" y="248995"/>
                        <a:pt x="1295563" y="264124"/>
                        <a:pt x="1289108" y="270478"/>
                      </a:cubicBezTo>
                      <a:cubicBezTo>
                        <a:pt x="1282653" y="276933"/>
                        <a:pt x="1222642" y="248995"/>
                        <a:pt x="1205496" y="259787"/>
                      </a:cubicBezTo>
                      <a:cubicBezTo>
                        <a:pt x="1188350" y="270478"/>
                        <a:pt x="1190367" y="306888"/>
                        <a:pt x="1160412" y="306888"/>
                      </a:cubicBezTo>
                      <a:cubicBezTo>
                        <a:pt x="1130457" y="306888"/>
                        <a:pt x="1021026" y="302652"/>
                        <a:pt x="988852" y="287624"/>
                      </a:cubicBezTo>
                      <a:cubicBezTo>
                        <a:pt x="956678" y="272596"/>
                        <a:pt x="920268" y="259787"/>
                        <a:pt x="907358" y="270478"/>
                      </a:cubicBezTo>
                      <a:cubicBezTo>
                        <a:pt x="894448" y="281169"/>
                        <a:pt x="845128" y="302652"/>
                        <a:pt x="832319" y="289742"/>
                      </a:cubicBezTo>
                      <a:cubicBezTo>
                        <a:pt x="819410" y="276832"/>
                        <a:pt x="819410" y="251113"/>
                        <a:pt x="804381" y="259686"/>
                      </a:cubicBezTo>
                      <a:cubicBezTo>
                        <a:pt x="789354" y="268259"/>
                        <a:pt x="785118" y="268259"/>
                        <a:pt x="757180" y="248894"/>
                      </a:cubicBezTo>
                      <a:cubicBezTo>
                        <a:pt x="729242" y="229630"/>
                        <a:pt x="690714" y="201693"/>
                        <a:pt x="660658" y="201693"/>
                      </a:cubicBezTo>
                      <a:cubicBezTo>
                        <a:pt x="630602" y="201693"/>
                        <a:pt x="624248" y="225293"/>
                        <a:pt x="600647" y="233866"/>
                      </a:cubicBezTo>
                      <a:cubicBezTo>
                        <a:pt x="577046" y="242439"/>
                        <a:pt x="523390" y="216720"/>
                        <a:pt x="549209" y="180210"/>
                      </a:cubicBezTo>
                      <a:cubicBezTo>
                        <a:pt x="574928" y="143800"/>
                        <a:pt x="613557" y="156710"/>
                        <a:pt x="587838" y="120199"/>
                      </a:cubicBezTo>
                      <a:cubicBezTo>
                        <a:pt x="562018" y="83688"/>
                        <a:pt x="538518" y="137345"/>
                        <a:pt x="469834" y="137345"/>
                      </a:cubicBezTo>
                      <a:cubicBezTo>
                        <a:pt x="401250" y="137345"/>
                        <a:pt x="409823" y="126654"/>
                        <a:pt x="354048" y="92362"/>
                      </a:cubicBezTo>
                      <a:cubicBezTo>
                        <a:pt x="298273" y="58070"/>
                        <a:pt x="272554" y="2295"/>
                        <a:pt x="231807" y="177"/>
                      </a:cubicBezTo>
                      <a:cubicBezTo>
                        <a:pt x="191060" y="-2042"/>
                        <a:pt x="191060" y="17323"/>
                        <a:pt x="152432" y="17323"/>
                      </a:cubicBezTo>
                      <a:cubicBezTo>
                        <a:pt x="121872" y="17323"/>
                        <a:pt x="112996" y="5523"/>
                        <a:pt x="110475" y="480"/>
                      </a:cubicBezTo>
                      <a:cubicBezTo>
                        <a:pt x="95346" y="18130"/>
                        <a:pt x="79612" y="40621"/>
                        <a:pt x="88084" y="51615"/>
                      </a:cubicBezTo>
                      <a:cubicBezTo>
                        <a:pt x="103112" y="70879"/>
                        <a:pt x="158887" y="105272"/>
                        <a:pt x="154550" y="133109"/>
                      </a:cubicBezTo>
                      <a:cubicBezTo>
                        <a:pt x="150213" y="160946"/>
                        <a:pt x="150213" y="178092"/>
                        <a:pt x="118140" y="150255"/>
                      </a:cubicBezTo>
                      <a:cubicBezTo>
                        <a:pt x="85966" y="122418"/>
                        <a:pt x="70938" y="124536"/>
                        <a:pt x="56011" y="152474"/>
                      </a:cubicBezTo>
                      <a:cubicBezTo>
                        <a:pt x="40983" y="180311"/>
                        <a:pt x="28073" y="221057"/>
                        <a:pt x="10927" y="233967"/>
                      </a:cubicBezTo>
                      <a:cubicBezTo>
                        <a:pt x="-6219" y="246776"/>
                        <a:pt x="-1983" y="257568"/>
                        <a:pt x="15264" y="270377"/>
                      </a:cubicBezTo>
                      <a:cubicBezTo>
                        <a:pt x="32410" y="283186"/>
                        <a:pt x="93934" y="300332"/>
                        <a:pt x="118241" y="334725"/>
                      </a:cubicBezTo>
                      <a:cubicBezTo>
                        <a:pt x="145271" y="373051"/>
                        <a:pt x="178353" y="401191"/>
                        <a:pt x="176134" y="426910"/>
                      </a:cubicBezTo>
                      <a:cubicBezTo>
                        <a:pt x="173915" y="452629"/>
                        <a:pt x="206089" y="499830"/>
                        <a:pt x="188943" y="532004"/>
                      </a:cubicBezTo>
                      <a:cubicBezTo>
                        <a:pt x="171796" y="564178"/>
                        <a:pt x="174015" y="538358"/>
                        <a:pt x="171796" y="609161"/>
                      </a:cubicBezTo>
                      <a:cubicBezTo>
                        <a:pt x="169578" y="679964"/>
                        <a:pt x="152230" y="745018"/>
                        <a:pt x="184606" y="752985"/>
                      </a:cubicBezTo>
                      <a:cubicBezTo>
                        <a:pt x="229387" y="763878"/>
                        <a:pt x="220713" y="806037"/>
                        <a:pt x="188337" y="811383"/>
                      </a:cubicBezTo>
                      <a:cubicBezTo>
                        <a:pt x="158281" y="816425"/>
                        <a:pt x="210325" y="909417"/>
                        <a:pt x="212442" y="943810"/>
                      </a:cubicBezTo>
                      <a:cubicBezTo>
                        <a:pt x="214661" y="978102"/>
                        <a:pt x="210224" y="988793"/>
                        <a:pt x="197415" y="980220"/>
                      </a:cubicBezTo>
                      <a:cubicBezTo>
                        <a:pt x="184505" y="971647"/>
                        <a:pt x="165241" y="988793"/>
                        <a:pt x="163123" y="997366"/>
                      </a:cubicBezTo>
                      <a:cubicBezTo>
                        <a:pt x="161005" y="1005939"/>
                        <a:pt x="287582" y="1089550"/>
                        <a:pt x="326110" y="1061714"/>
                      </a:cubicBezTo>
                      <a:cubicBezTo>
                        <a:pt x="364739" y="1033876"/>
                        <a:pt x="411840" y="1029540"/>
                        <a:pt x="452587" y="1048905"/>
                      </a:cubicBezTo>
                      <a:cubicBezTo>
                        <a:pt x="493334" y="1068169"/>
                        <a:pt x="478407" y="1072505"/>
                        <a:pt x="521171" y="1055359"/>
                      </a:cubicBezTo>
                      <a:cubicBezTo>
                        <a:pt x="564036" y="1038213"/>
                        <a:pt x="568372" y="1081078"/>
                        <a:pt x="591973" y="1098224"/>
                      </a:cubicBezTo>
                      <a:cubicBezTo>
                        <a:pt x="615574" y="1115370"/>
                        <a:pt x="641293" y="1119606"/>
                        <a:pt x="688495" y="1111134"/>
                      </a:cubicBezTo>
                      <a:cubicBezTo>
                        <a:pt x="735697" y="1102561"/>
                        <a:pt x="731360" y="1132516"/>
                        <a:pt x="752843" y="1138971"/>
                      </a:cubicBezTo>
                      <a:cubicBezTo>
                        <a:pt x="774225" y="1145426"/>
                        <a:pt x="765753" y="1141089"/>
                        <a:pt x="793590" y="1123943"/>
                      </a:cubicBezTo>
                      <a:cubicBezTo>
                        <a:pt x="821527" y="1106797"/>
                        <a:pt x="840792" y="1138971"/>
                        <a:pt x="840792" y="1138971"/>
                      </a:cubicBezTo>
                      <a:cubicBezTo>
                        <a:pt x="840792" y="1138971"/>
                        <a:pt x="862274" y="1145426"/>
                        <a:pt x="877201" y="1126162"/>
                      </a:cubicBezTo>
                      <a:cubicBezTo>
                        <a:pt x="892229" y="1106898"/>
                        <a:pt x="932976" y="1111134"/>
                        <a:pt x="932976" y="1111134"/>
                      </a:cubicBezTo>
                      <a:cubicBezTo>
                        <a:pt x="932976" y="1111134"/>
                        <a:pt x="941650" y="1083297"/>
                        <a:pt x="965150" y="1087533"/>
                      </a:cubicBezTo>
                      <a:cubicBezTo>
                        <a:pt x="988650" y="1091870"/>
                        <a:pt x="1008116" y="1111134"/>
                        <a:pt x="1012352" y="1149763"/>
                      </a:cubicBezTo>
                      <a:cubicBezTo>
                        <a:pt x="1016588" y="1188392"/>
                        <a:pt x="1029599" y="1194847"/>
                        <a:pt x="1053099" y="1227021"/>
                      </a:cubicBezTo>
                      <a:cubicBezTo>
                        <a:pt x="1076700" y="1259195"/>
                        <a:pt x="1115228" y="1263431"/>
                        <a:pt x="1132474" y="1289250"/>
                      </a:cubicBezTo>
                      <a:cubicBezTo>
                        <a:pt x="1149620" y="1314969"/>
                        <a:pt x="1175339" y="1334334"/>
                        <a:pt x="1190367" y="1319306"/>
                      </a:cubicBezTo>
                      <a:cubicBezTo>
                        <a:pt x="1205395" y="1304278"/>
                        <a:pt x="1188249" y="1280677"/>
                        <a:pt x="1233333" y="1254958"/>
                      </a:cubicBezTo>
                      <a:cubicBezTo>
                        <a:pt x="1278316" y="1229240"/>
                        <a:pt x="1295563" y="1199184"/>
                        <a:pt x="1295563" y="1179920"/>
                      </a:cubicBezTo>
                      <a:cubicBezTo>
                        <a:pt x="1295563" y="1160656"/>
                        <a:pt x="1256934" y="1149965"/>
                        <a:pt x="1267625" y="1109117"/>
                      </a:cubicBezTo>
                      <a:cubicBezTo>
                        <a:pt x="1278316" y="1068370"/>
                        <a:pt x="1293344" y="1055460"/>
                        <a:pt x="1327636" y="1053342"/>
                      </a:cubicBezTo>
                      <a:cubicBezTo>
                        <a:pt x="1362029" y="1051224"/>
                        <a:pt x="1344782" y="1019050"/>
                        <a:pt x="1325518" y="1001904"/>
                      </a:cubicBezTo>
                      <a:cubicBezTo>
                        <a:pt x="1306254" y="984758"/>
                        <a:pt x="1291226" y="926866"/>
                        <a:pt x="1308372" y="907501"/>
                      </a:cubicBezTo>
                      <a:cubicBezTo>
                        <a:pt x="1325518" y="888237"/>
                        <a:pt x="1355674" y="913855"/>
                        <a:pt x="1389966" y="883900"/>
                      </a:cubicBezTo>
                      <a:cubicBezTo>
                        <a:pt x="1424258" y="853844"/>
                        <a:pt x="1417904" y="853844"/>
                        <a:pt x="1449977" y="864636"/>
                      </a:cubicBezTo>
                      <a:cubicBezTo>
                        <a:pt x="1482151" y="875327"/>
                        <a:pt x="1525016" y="884001"/>
                        <a:pt x="1531471" y="853945"/>
                      </a:cubicBezTo>
                      <a:cubicBezTo>
                        <a:pt x="1537926" y="823889"/>
                        <a:pt x="1512207" y="765996"/>
                        <a:pt x="1522898" y="701648"/>
                      </a:cubicBezTo>
                      <a:cubicBezTo>
                        <a:pt x="1533589" y="637301"/>
                        <a:pt x="1548617" y="620155"/>
                        <a:pt x="1578673" y="585863"/>
                      </a:cubicBezTo>
                      <a:cubicBezTo>
                        <a:pt x="1608728" y="551571"/>
                        <a:pt x="1630211" y="549453"/>
                        <a:pt x="1617302" y="498015"/>
                      </a:cubicBezTo>
                      <a:cubicBezTo>
                        <a:pt x="1604594" y="446375"/>
                        <a:pt x="1621941" y="446375"/>
                        <a:pt x="1632531" y="439920"/>
                      </a:cubicBezTo>
                      <a:close/>
                    </a:path>
                  </a:pathLst>
                </a:custGeom>
                <a:solidFill>
                  <a:srgbClr val="E4002B"/>
                </a:solidFill>
                <a:ln w="10085" cap="flat">
                  <a:noFill/>
                  <a:prstDash val="solid"/>
                  <a:miter/>
                </a:ln>
              </p:spPr>
              <p:txBody>
                <a:bodyPr rtlCol="0" anchor="ctr"/>
                <a:lstStyle/>
                <a:p>
                  <a:endParaRPr lang="fr-FR" sz="900"/>
                </a:p>
              </p:txBody>
            </p:sp>
            <p:sp>
              <p:nvSpPr>
                <p:cNvPr id="60" name="Forme libre : forme 59">
                  <a:extLst>
                    <a:ext uri="{FF2B5EF4-FFF2-40B4-BE49-F238E27FC236}">
                      <a16:creationId xmlns:a16="http://schemas.microsoft.com/office/drawing/2014/main" id="{70FC7B0C-AE02-6584-FEFF-D81A743B570E}"/>
                    </a:ext>
                  </a:extLst>
                </p:cNvPr>
                <p:cNvSpPr/>
                <p:nvPr/>
              </p:nvSpPr>
              <p:spPr>
                <a:xfrm>
                  <a:off x="4754624" y="5009456"/>
                  <a:ext cx="1642179" cy="1330223"/>
                </a:xfrm>
                <a:custGeom>
                  <a:avLst/>
                  <a:gdLst>
                    <a:gd name="connsiteX0" fmla="*/ 1133247 w 1642179"/>
                    <a:gd name="connsiteY0" fmla="*/ 1293309 h 1330223"/>
                    <a:gd name="connsiteX1" fmla="*/ 1053972 w 1642179"/>
                    <a:gd name="connsiteY1" fmla="*/ 1231281 h 1330223"/>
                    <a:gd name="connsiteX2" fmla="*/ 1053972 w 1642179"/>
                    <a:gd name="connsiteY2" fmla="*/ 1231281 h 1330223"/>
                    <a:gd name="connsiteX3" fmla="*/ 1012620 w 1642179"/>
                    <a:gd name="connsiteY3" fmla="*/ 1152713 h 1330223"/>
                    <a:gd name="connsiteX4" fmla="*/ 1012620 w 1642179"/>
                    <a:gd name="connsiteY4" fmla="*/ 1152713 h 1330223"/>
                    <a:gd name="connsiteX5" fmla="*/ 967536 w 1642179"/>
                    <a:gd name="connsiteY5" fmla="*/ 1092903 h 1330223"/>
                    <a:gd name="connsiteX6" fmla="*/ 967536 w 1642179"/>
                    <a:gd name="connsiteY6" fmla="*/ 1092903 h 1330223"/>
                    <a:gd name="connsiteX7" fmla="*/ 963502 w 1642179"/>
                    <a:gd name="connsiteY7" fmla="*/ 1092500 h 1330223"/>
                    <a:gd name="connsiteX8" fmla="*/ 963502 w 1642179"/>
                    <a:gd name="connsiteY8" fmla="*/ 1092500 h 1330223"/>
                    <a:gd name="connsiteX9" fmla="*/ 935766 w 1642179"/>
                    <a:gd name="connsiteY9" fmla="*/ 1116504 h 1330223"/>
                    <a:gd name="connsiteX10" fmla="*/ 935766 w 1642179"/>
                    <a:gd name="connsiteY10" fmla="*/ 1116504 h 1330223"/>
                    <a:gd name="connsiteX11" fmla="*/ 926487 w 1642179"/>
                    <a:gd name="connsiteY11" fmla="*/ 1116202 h 1330223"/>
                    <a:gd name="connsiteX12" fmla="*/ 926487 w 1642179"/>
                    <a:gd name="connsiteY12" fmla="*/ 1116202 h 1330223"/>
                    <a:gd name="connsiteX13" fmla="*/ 882512 w 1642179"/>
                    <a:gd name="connsiteY13" fmla="*/ 1130524 h 1330223"/>
                    <a:gd name="connsiteX14" fmla="*/ 882512 w 1642179"/>
                    <a:gd name="connsiteY14" fmla="*/ 1130524 h 1330223"/>
                    <a:gd name="connsiteX15" fmla="*/ 852356 w 1642179"/>
                    <a:gd name="connsiteY15" fmla="*/ 1145451 h 1330223"/>
                    <a:gd name="connsiteX16" fmla="*/ 852356 w 1642179"/>
                    <a:gd name="connsiteY16" fmla="*/ 1145451 h 1330223"/>
                    <a:gd name="connsiteX17" fmla="*/ 841564 w 1642179"/>
                    <a:gd name="connsiteY17" fmla="*/ 1143131 h 1330223"/>
                    <a:gd name="connsiteX18" fmla="*/ 841564 w 1642179"/>
                    <a:gd name="connsiteY18" fmla="*/ 1143131 h 1330223"/>
                    <a:gd name="connsiteX19" fmla="*/ 813021 w 1642179"/>
                    <a:gd name="connsiteY19" fmla="*/ 1124371 h 1330223"/>
                    <a:gd name="connsiteX20" fmla="*/ 813021 w 1642179"/>
                    <a:gd name="connsiteY20" fmla="*/ 1124371 h 1330223"/>
                    <a:gd name="connsiteX21" fmla="*/ 798094 w 1642179"/>
                    <a:gd name="connsiteY21" fmla="*/ 1129011 h 1330223"/>
                    <a:gd name="connsiteX22" fmla="*/ 798094 w 1642179"/>
                    <a:gd name="connsiteY22" fmla="*/ 1129011 h 1330223"/>
                    <a:gd name="connsiteX23" fmla="*/ 768643 w 1642179"/>
                    <a:gd name="connsiteY23" fmla="*/ 1147266 h 1330223"/>
                    <a:gd name="connsiteX24" fmla="*/ 768643 w 1642179"/>
                    <a:gd name="connsiteY24" fmla="*/ 1147266 h 1330223"/>
                    <a:gd name="connsiteX25" fmla="*/ 755229 w 1642179"/>
                    <a:gd name="connsiteY25" fmla="*/ 1144341 h 1330223"/>
                    <a:gd name="connsiteX26" fmla="*/ 755229 w 1642179"/>
                    <a:gd name="connsiteY26" fmla="*/ 1144341 h 1330223"/>
                    <a:gd name="connsiteX27" fmla="*/ 706817 w 1642179"/>
                    <a:gd name="connsiteY27" fmla="*/ 1115092 h 1330223"/>
                    <a:gd name="connsiteX28" fmla="*/ 706817 w 1642179"/>
                    <a:gd name="connsiteY28" fmla="*/ 1115092 h 1330223"/>
                    <a:gd name="connsiteX29" fmla="*/ 691991 w 1642179"/>
                    <a:gd name="connsiteY29" fmla="*/ 1116605 h 1330223"/>
                    <a:gd name="connsiteX30" fmla="*/ 691991 w 1642179"/>
                    <a:gd name="connsiteY30" fmla="*/ 1116605 h 1330223"/>
                    <a:gd name="connsiteX31" fmla="*/ 650840 w 1642179"/>
                    <a:gd name="connsiteY31" fmla="*/ 1120942 h 1330223"/>
                    <a:gd name="connsiteX32" fmla="*/ 650840 w 1642179"/>
                    <a:gd name="connsiteY32" fmla="*/ 1120942 h 1330223"/>
                    <a:gd name="connsiteX33" fmla="*/ 593452 w 1642179"/>
                    <a:gd name="connsiteY33" fmla="*/ 1103292 h 1330223"/>
                    <a:gd name="connsiteX34" fmla="*/ 593452 w 1642179"/>
                    <a:gd name="connsiteY34" fmla="*/ 1103292 h 1330223"/>
                    <a:gd name="connsiteX35" fmla="*/ 542216 w 1642179"/>
                    <a:gd name="connsiteY35" fmla="*/ 1056897 h 1330223"/>
                    <a:gd name="connsiteX36" fmla="*/ 542216 w 1642179"/>
                    <a:gd name="connsiteY36" fmla="*/ 1056897 h 1330223"/>
                    <a:gd name="connsiteX37" fmla="*/ 525272 w 1642179"/>
                    <a:gd name="connsiteY37" fmla="*/ 1060730 h 1330223"/>
                    <a:gd name="connsiteX38" fmla="*/ 525272 w 1642179"/>
                    <a:gd name="connsiteY38" fmla="*/ 1060730 h 1330223"/>
                    <a:gd name="connsiteX39" fmla="*/ 492190 w 1642179"/>
                    <a:gd name="connsiteY39" fmla="*/ 1071622 h 1330223"/>
                    <a:gd name="connsiteX40" fmla="*/ 492190 w 1642179"/>
                    <a:gd name="connsiteY40" fmla="*/ 1071622 h 1330223"/>
                    <a:gd name="connsiteX41" fmla="*/ 454368 w 1642179"/>
                    <a:gd name="connsiteY41" fmla="*/ 1054174 h 1330223"/>
                    <a:gd name="connsiteX42" fmla="*/ 454368 w 1642179"/>
                    <a:gd name="connsiteY42" fmla="*/ 1054174 h 1330223"/>
                    <a:gd name="connsiteX43" fmla="*/ 403233 w 1642179"/>
                    <a:gd name="connsiteY43" fmla="*/ 1042474 h 1330223"/>
                    <a:gd name="connsiteX44" fmla="*/ 403233 w 1642179"/>
                    <a:gd name="connsiteY44" fmla="*/ 1042474 h 1330223"/>
                    <a:gd name="connsiteX45" fmla="*/ 330614 w 1642179"/>
                    <a:gd name="connsiteY45" fmla="*/ 1066781 h 1330223"/>
                    <a:gd name="connsiteX46" fmla="*/ 330614 w 1642179"/>
                    <a:gd name="connsiteY46" fmla="*/ 1066781 h 1330223"/>
                    <a:gd name="connsiteX47" fmla="*/ 307821 w 1642179"/>
                    <a:gd name="connsiteY47" fmla="*/ 1072933 h 1330223"/>
                    <a:gd name="connsiteX48" fmla="*/ 307821 w 1642179"/>
                    <a:gd name="connsiteY48" fmla="*/ 1072933 h 1330223"/>
                    <a:gd name="connsiteX49" fmla="*/ 163088 w 1642179"/>
                    <a:gd name="connsiteY49" fmla="*/ 1000517 h 1330223"/>
                    <a:gd name="connsiteX50" fmla="*/ 163088 w 1642179"/>
                    <a:gd name="connsiteY50" fmla="*/ 1000517 h 1330223"/>
                    <a:gd name="connsiteX51" fmla="*/ 163290 w 1642179"/>
                    <a:gd name="connsiteY51" fmla="*/ 999609 h 1330223"/>
                    <a:gd name="connsiteX52" fmla="*/ 163290 w 1642179"/>
                    <a:gd name="connsiteY52" fmla="*/ 999609 h 1330223"/>
                    <a:gd name="connsiteX53" fmla="*/ 163290 w 1642179"/>
                    <a:gd name="connsiteY53" fmla="*/ 999609 h 1330223"/>
                    <a:gd name="connsiteX54" fmla="*/ 163290 w 1642179"/>
                    <a:gd name="connsiteY54" fmla="*/ 999609 h 1330223"/>
                    <a:gd name="connsiteX55" fmla="*/ 192438 w 1642179"/>
                    <a:gd name="connsiteY55" fmla="*/ 978025 h 1330223"/>
                    <a:gd name="connsiteX56" fmla="*/ 192438 w 1642179"/>
                    <a:gd name="connsiteY56" fmla="*/ 978025 h 1330223"/>
                    <a:gd name="connsiteX57" fmla="*/ 201919 w 1642179"/>
                    <a:gd name="connsiteY57" fmla="*/ 980849 h 1330223"/>
                    <a:gd name="connsiteX58" fmla="*/ 201919 w 1642179"/>
                    <a:gd name="connsiteY58" fmla="*/ 980849 h 1330223"/>
                    <a:gd name="connsiteX59" fmla="*/ 207466 w 1642179"/>
                    <a:gd name="connsiteY59" fmla="*/ 983169 h 1330223"/>
                    <a:gd name="connsiteX60" fmla="*/ 207466 w 1642179"/>
                    <a:gd name="connsiteY60" fmla="*/ 983169 h 1330223"/>
                    <a:gd name="connsiteX61" fmla="*/ 213014 w 1642179"/>
                    <a:gd name="connsiteY61" fmla="*/ 961586 h 1330223"/>
                    <a:gd name="connsiteX62" fmla="*/ 213014 w 1642179"/>
                    <a:gd name="connsiteY62" fmla="*/ 961586 h 1330223"/>
                    <a:gd name="connsiteX63" fmla="*/ 212509 w 1642179"/>
                    <a:gd name="connsiteY63" fmla="*/ 946860 h 1330223"/>
                    <a:gd name="connsiteX64" fmla="*/ 212509 w 1642179"/>
                    <a:gd name="connsiteY64" fmla="*/ 946860 h 1330223"/>
                    <a:gd name="connsiteX65" fmla="*/ 179024 w 1642179"/>
                    <a:gd name="connsiteY65" fmla="*/ 829259 h 1330223"/>
                    <a:gd name="connsiteX66" fmla="*/ 179024 w 1642179"/>
                    <a:gd name="connsiteY66" fmla="*/ 829259 h 1330223"/>
                    <a:gd name="connsiteX67" fmla="*/ 190623 w 1642179"/>
                    <a:gd name="connsiteY67" fmla="*/ 811609 h 1330223"/>
                    <a:gd name="connsiteX68" fmla="*/ 190623 w 1642179"/>
                    <a:gd name="connsiteY68" fmla="*/ 811609 h 1330223"/>
                    <a:gd name="connsiteX69" fmla="*/ 215333 w 1642179"/>
                    <a:gd name="connsiteY69" fmla="*/ 785991 h 1330223"/>
                    <a:gd name="connsiteX70" fmla="*/ 215333 w 1642179"/>
                    <a:gd name="connsiteY70" fmla="*/ 785991 h 1330223"/>
                    <a:gd name="connsiteX71" fmla="*/ 186790 w 1642179"/>
                    <a:gd name="connsiteY71" fmla="*/ 758557 h 1330223"/>
                    <a:gd name="connsiteX72" fmla="*/ 186790 w 1642179"/>
                    <a:gd name="connsiteY72" fmla="*/ 758557 h 1330223"/>
                    <a:gd name="connsiteX73" fmla="*/ 165206 w 1642179"/>
                    <a:gd name="connsiteY73" fmla="*/ 712263 h 1330223"/>
                    <a:gd name="connsiteX74" fmla="*/ 165206 w 1642179"/>
                    <a:gd name="connsiteY74" fmla="*/ 712263 h 1330223"/>
                    <a:gd name="connsiteX75" fmla="*/ 171863 w 1642179"/>
                    <a:gd name="connsiteY75" fmla="*/ 612010 h 1330223"/>
                    <a:gd name="connsiteX76" fmla="*/ 171863 w 1642179"/>
                    <a:gd name="connsiteY76" fmla="*/ 612010 h 1330223"/>
                    <a:gd name="connsiteX77" fmla="*/ 189312 w 1642179"/>
                    <a:gd name="connsiteY77" fmla="*/ 533643 h 1330223"/>
                    <a:gd name="connsiteX78" fmla="*/ 189312 w 1642179"/>
                    <a:gd name="connsiteY78" fmla="*/ 533643 h 1330223"/>
                    <a:gd name="connsiteX79" fmla="*/ 193951 w 1642179"/>
                    <a:gd name="connsiteY79" fmla="*/ 512664 h 1330223"/>
                    <a:gd name="connsiteX80" fmla="*/ 193951 w 1642179"/>
                    <a:gd name="connsiteY80" fmla="*/ 512664 h 1330223"/>
                    <a:gd name="connsiteX81" fmla="*/ 176099 w 1642179"/>
                    <a:gd name="connsiteY81" fmla="*/ 432381 h 1330223"/>
                    <a:gd name="connsiteX82" fmla="*/ 176099 w 1642179"/>
                    <a:gd name="connsiteY82" fmla="*/ 432381 h 1330223"/>
                    <a:gd name="connsiteX83" fmla="*/ 176200 w 1642179"/>
                    <a:gd name="connsiteY83" fmla="*/ 429859 h 1330223"/>
                    <a:gd name="connsiteX84" fmla="*/ 176200 w 1642179"/>
                    <a:gd name="connsiteY84" fmla="*/ 429859 h 1330223"/>
                    <a:gd name="connsiteX85" fmla="*/ 176200 w 1642179"/>
                    <a:gd name="connsiteY85" fmla="*/ 427338 h 1330223"/>
                    <a:gd name="connsiteX86" fmla="*/ 176200 w 1642179"/>
                    <a:gd name="connsiteY86" fmla="*/ 427338 h 1330223"/>
                    <a:gd name="connsiteX87" fmla="*/ 118711 w 1642179"/>
                    <a:gd name="connsiteY87" fmla="*/ 339187 h 1330223"/>
                    <a:gd name="connsiteX88" fmla="*/ 118711 w 1642179"/>
                    <a:gd name="connsiteY88" fmla="*/ 339187 h 1330223"/>
                    <a:gd name="connsiteX89" fmla="*/ 16440 w 1642179"/>
                    <a:gd name="connsiteY89" fmla="*/ 275445 h 1330223"/>
                    <a:gd name="connsiteX90" fmla="*/ 16440 w 1642179"/>
                    <a:gd name="connsiteY90" fmla="*/ 275445 h 1330223"/>
                    <a:gd name="connsiteX91" fmla="*/ 0 w 1642179"/>
                    <a:gd name="connsiteY91" fmla="*/ 252852 h 1330223"/>
                    <a:gd name="connsiteX92" fmla="*/ 0 w 1642179"/>
                    <a:gd name="connsiteY92" fmla="*/ 252852 h 1330223"/>
                    <a:gd name="connsiteX93" fmla="*/ 12103 w 1642179"/>
                    <a:gd name="connsiteY93" fmla="*/ 234597 h 1330223"/>
                    <a:gd name="connsiteX94" fmla="*/ 12103 w 1642179"/>
                    <a:gd name="connsiteY94" fmla="*/ 234597 h 1330223"/>
                    <a:gd name="connsiteX95" fmla="*/ 56380 w 1642179"/>
                    <a:gd name="connsiteY95" fmla="*/ 153910 h 1330223"/>
                    <a:gd name="connsiteX96" fmla="*/ 56380 w 1642179"/>
                    <a:gd name="connsiteY96" fmla="*/ 153910 h 1330223"/>
                    <a:gd name="connsiteX97" fmla="*/ 84721 w 1642179"/>
                    <a:gd name="connsiteY97" fmla="*/ 130511 h 1330223"/>
                    <a:gd name="connsiteX98" fmla="*/ 84721 w 1642179"/>
                    <a:gd name="connsiteY98" fmla="*/ 130511 h 1330223"/>
                    <a:gd name="connsiteX99" fmla="*/ 122846 w 1642179"/>
                    <a:gd name="connsiteY99" fmla="*/ 150985 h 1330223"/>
                    <a:gd name="connsiteX100" fmla="*/ 122846 w 1642179"/>
                    <a:gd name="connsiteY100" fmla="*/ 150985 h 1330223"/>
                    <a:gd name="connsiteX101" fmla="*/ 144934 w 1642179"/>
                    <a:gd name="connsiteY101" fmla="*/ 164500 h 1330223"/>
                    <a:gd name="connsiteX102" fmla="*/ 144934 w 1642179"/>
                    <a:gd name="connsiteY102" fmla="*/ 164500 h 1330223"/>
                    <a:gd name="connsiteX103" fmla="*/ 154717 w 1642179"/>
                    <a:gd name="connsiteY103" fmla="*/ 135857 h 1330223"/>
                    <a:gd name="connsiteX104" fmla="*/ 154717 w 1642179"/>
                    <a:gd name="connsiteY104" fmla="*/ 135857 h 1330223"/>
                    <a:gd name="connsiteX105" fmla="*/ 154919 w 1642179"/>
                    <a:gd name="connsiteY105" fmla="*/ 132932 h 1330223"/>
                    <a:gd name="connsiteX106" fmla="*/ 154919 w 1642179"/>
                    <a:gd name="connsiteY106" fmla="*/ 132932 h 1330223"/>
                    <a:gd name="connsiteX107" fmla="*/ 88856 w 1642179"/>
                    <a:gd name="connsiteY107" fmla="*/ 56279 h 1330223"/>
                    <a:gd name="connsiteX108" fmla="*/ 88856 w 1642179"/>
                    <a:gd name="connsiteY108" fmla="*/ 56279 h 1330223"/>
                    <a:gd name="connsiteX109" fmla="*/ 85831 w 1642179"/>
                    <a:gd name="connsiteY109" fmla="*/ 46899 h 1330223"/>
                    <a:gd name="connsiteX110" fmla="*/ 85831 w 1642179"/>
                    <a:gd name="connsiteY110" fmla="*/ 46899 h 1330223"/>
                    <a:gd name="connsiteX111" fmla="*/ 111348 w 1642179"/>
                    <a:gd name="connsiteY111" fmla="*/ 1614 h 1330223"/>
                    <a:gd name="connsiteX112" fmla="*/ 111348 w 1642179"/>
                    <a:gd name="connsiteY112" fmla="*/ 1614 h 1330223"/>
                    <a:gd name="connsiteX113" fmla="*/ 115987 w 1642179"/>
                    <a:gd name="connsiteY113" fmla="*/ 2219 h 1330223"/>
                    <a:gd name="connsiteX114" fmla="*/ 155423 w 1642179"/>
                    <a:gd name="connsiteY114" fmla="*/ 17448 h 1330223"/>
                    <a:gd name="connsiteX115" fmla="*/ 155423 w 1642179"/>
                    <a:gd name="connsiteY115" fmla="*/ 17448 h 1330223"/>
                    <a:gd name="connsiteX116" fmla="*/ 228445 w 1642179"/>
                    <a:gd name="connsiteY116" fmla="*/ 0 h 1330223"/>
                    <a:gd name="connsiteX117" fmla="*/ 228445 w 1642179"/>
                    <a:gd name="connsiteY117" fmla="*/ 0 h 1330223"/>
                    <a:gd name="connsiteX118" fmla="*/ 234799 w 1642179"/>
                    <a:gd name="connsiteY118" fmla="*/ 202 h 1330223"/>
                    <a:gd name="connsiteX119" fmla="*/ 234799 w 1642179"/>
                    <a:gd name="connsiteY119" fmla="*/ 202 h 1330223"/>
                    <a:gd name="connsiteX120" fmla="*/ 358350 w 1642179"/>
                    <a:gd name="connsiteY120" fmla="*/ 92790 h 1330223"/>
                    <a:gd name="connsiteX121" fmla="*/ 358350 w 1642179"/>
                    <a:gd name="connsiteY121" fmla="*/ 92790 h 1330223"/>
                    <a:gd name="connsiteX122" fmla="*/ 472724 w 1642179"/>
                    <a:gd name="connsiteY122" fmla="*/ 137470 h 1330223"/>
                    <a:gd name="connsiteX123" fmla="*/ 472724 w 1642179"/>
                    <a:gd name="connsiteY123" fmla="*/ 137470 h 1330223"/>
                    <a:gd name="connsiteX124" fmla="*/ 570658 w 1642179"/>
                    <a:gd name="connsiteY124" fmla="*/ 107515 h 1330223"/>
                    <a:gd name="connsiteX125" fmla="*/ 570658 w 1642179"/>
                    <a:gd name="connsiteY125" fmla="*/ 107515 h 1330223"/>
                    <a:gd name="connsiteX126" fmla="*/ 592948 w 1642179"/>
                    <a:gd name="connsiteY126" fmla="*/ 121333 h 1330223"/>
                    <a:gd name="connsiteX127" fmla="*/ 592948 w 1642179"/>
                    <a:gd name="connsiteY127" fmla="*/ 121333 h 1330223"/>
                    <a:gd name="connsiteX128" fmla="*/ 601924 w 1642179"/>
                    <a:gd name="connsiteY128" fmla="*/ 141605 h 1330223"/>
                    <a:gd name="connsiteX129" fmla="*/ 601924 w 1642179"/>
                    <a:gd name="connsiteY129" fmla="*/ 141605 h 1330223"/>
                    <a:gd name="connsiteX130" fmla="*/ 554218 w 1642179"/>
                    <a:gd name="connsiteY130" fmla="*/ 184672 h 1330223"/>
                    <a:gd name="connsiteX131" fmla="*/ 554218 w 1642179"/>
                    <a:gd name="connsiteY131" fmla="*/ 184672 h 1330223"/>
                    <a:gd name="connsiteX132" fmla="*/ 547864 w 1642179"/>
                    <a:gd name="connsiteY132" fmla="*/ 202121 h 1330223"/>
                    <a:gd name="connsiteX133" fmla="*/ 547864 w 1642179"/>
                    <a:gd name="connsiteY133" fmla="*/ 202121 h 1330223"/>
                    <a:gd name="connsiteX134" fmla="*/ 592948 w 1642179"/>
                    <a:gd name="connsiteY134" fmla="*/ 235606 h 1330223"/>
                    <a:gd name="connsiteX135" fmla="*/ 592948 w 1642179"/>
                    <a:gd name="connsiteY135" fmla="*/ 235606 h 1330223"/>
                    <a:gd name="connsiteX136" fmla="*/ 602529 w 1642179"/>
                    <a:gd name="connsiteY136" fmla="*/ 234093 h 1330223"/>
                    <a:gd name="connsiteX137" fmla="*/ 602529 w 1642179"/>
                    <a:gd name="connsiteY137" fmla="*/ 234093 h 1330223"/>
                    <a:gd name="connsiteX138" fmla="*/ 663650 w 1642179"/>
                    <a:gd name="connsiteY138" fmla="*/ 201818 h 1330223"/>
                    <a:gd name="connsiteX139" fmla="*/ 663650 w 1642179"/>
                    <a:gd name="connsiteY139" fmla="*/ 201818 h 1330223"/>
                    <a:gd name="connsiteX140" fmla="*/ 761684 w 1642179"/>
                    <a:gd name="connsiteY140" fmla="*/ 249524 h 1330223"/>
                    <a:gd name="connsiteX141" fmla="*/ 761684 w 1642179"/>
                    <a:gd name="connsiteY141" fmla="*/ 249524 h 1330223"/>
                    <a:gd name="connsiteX142" fmla="*/ 792244 w 1642179"/>
                    <a:gd name="connsiteY142" fmla="*/ 265258 h 1330223"/>
                    <a:gd name="connsiteX143" fmla="*/ 792244 w 1642179"/>
                    <a:gd name="connsiteY143" fmla="*/ 265258 h 1330223"/>
                    <a:gd name="connsiteX144" fmla="*/ 805759 w 1642179"/>
                    <a:gd name="connsiteY144" fmla="*/ 260215 h 1330223"/>
                    <a:gd name="connsiteX145" fmla="*/ 805759 w 1642179"/>
                    <a:gd name="connsiteY145" fmla="*/ 260215 h 1330223"/>
                    <a:gd name="connsiteX146" fmla="*/ 812719 w 1642179"/>
                    <a:gd name="connsiteY146" fmla="*/ 257996 h 1330223"/>
                    <a:gd name="connsiteX147" fmla="*/ 812719 w 1642179"/>
                    <a:gd name="connsiteY147" fmla="*/ 257996 h 1330223"/>
                    <a:gd name="connsiteX148" fmla="*/ 837126 w 1642179"/>
                    <a:gd name="connsiteY148" fmla="*/ 290574 h 1330223"/>
                    <a:gd name="connsiteX149" fmla="*/ 837126 w 1642179"/>
                    <a:gd name="connsiteY149" fmla="*/ 290574 h 1330223"/>
                    <a:gd name="connsiteX150" fmla="*/ 848019 w 1642179"/>
                    <a:gd name="connsiteY150" fmla="*/ 293801 h 1330223"/>
                    <a:gd name="connsiteX151" fmla="*/ 848019 w 1642179"/>
                    <a:gd name="connsiteY151" fmla="*/ 293801 h 1330223"/>
                    <a:gd name="connsiteX152" fmla="*/ 908332 w 1642179"/>
                    <a:gd name="connsiteY152" fmla="*/ 271108 h 1330223"/>
                    <a:gd name="connsiteX153" fmla="*/ 908332 w 1642179"/>
                    <a:gd name="connsiteY153" fmla="*/ 271108 h 1330223"/>
                    <a:gd name="connsiteX154" fmla="*/ 924268 w 1642179"/>
                    <a:gd name="connsiteY154" fmla="*/ 266468 h 1330223"/>
                    <a:gd name="connsiteX155" fmla="*/ 924268 w 1642179"/>
                    <a:gd name="connsiteY155" fmla="*/ 266468 h 1330223"/>
                    <a:gd name="connsiteX156" fmla="*/ 992852 w 1642179"/>
                    <a:gd name="connsiteY156" fmla="*/ 287951 h 1330223"/>
                    <a:gd name="connsiteX157" fmla="*/ 992852 w 1642179"/>
                    <a:gd name="connsiteY157" fmla="*/ 287951 h 1330223"/>
                    <a:gd name="connsiteX158" fmla="*/ 1163202 w 1642179"/>
                    <a:gd name="connsiteY158" fmla="*/ 306913 h 1330223"/>
                    <a:gd name="connsiteX159" fmla="*/ 1163202 w 1642179"/>
                    <a:gd name="connsiteY159" fmla="*/ 306913 h 1330223"/>
                    <a:gd name="connsiteX160" fmla="*/ 1206773 w 1642179"/>
                    <a:gd name="connsiteY160" fmla="*/ 260215 h 1330223"/>
                    <a:gd name="connsiteX161" fmla="*/ 1206773 w 1642179"/>
                    <a:gd name="connsiteY161" fmla="*/ 260215 h 1330223"/>
                    <a:gd name="connsiteX162" fmla="*/ 1219784 w 1642179"/>
                    <a:gd name="connsiteY162" fmla="*/ 257189 h 1330223"/>
                    <a:gd name="connsiteX163" fmla="*/ 1219784 w 1642179"/>
                    <a:gd name="connsiteY163" fmla="*/ 257189 h 1330223"/>
                    <a:gd name="connsiteX164" fmla="*/ 1288267 w 1642179"/>
                    <a:gd name="connsiteY164" fmla="*/ 271410 h 1330223"/>
                    <a:gd name="connsiteX165" fmla="*/ 1288267 w 1642179"/>
                    <a:gd name="connsiteY165" fmla="*/ 271410 h 1330223"/>
                    <a:gd name="connsiteX166" fmla="*/ 1289981 w 1642179"/>
                    <a:gd name="connsiteY166" fmla="*/ 271410 h 1330223"/>
                    <a:gd name="connsiteX167" fmla="*/ 1289981 w 1642179"/>
                    <a:gd name="connsiteY167" fmla="*/ 271410 h 1330223"/>
                    <a:gd name="connsiteX168" fmla="*/ 1353320 w 1642179"/>
                    <a:gd name="connsiteY168" fmla="*/ 256887 h 1330223"/>
                    <a:gd name="connsiteX169" fmla="*/ 1353320 w 1642179"/>
                    <a:gd name="connsiteY169" fmla="*/ 256887 h 1330223"/>
                    <a:gd name="connsiteX170" fmla="*/ 1371777 w 1642179"/>
                    <a:gd name="connsiteY170" fmla="*/ 263947 h 1330223"/>
                    <a:gd name="connsiteX171" fmla="*/ 1371777 w 1642179"/>
                    <a:gd name="connsiteY171" fmla="*/ 263947 h 1330223"/>
                    <a:gd name="connsiteX172" fmla="*/ 1423013 w 1642179"/>
                    <a:gd name="connsiteY172" fmla="*/ 282908 h 1330223"/>
                    <a:gd name="connsiteX173" fmla="*/ 1423013 w 1642179"/>
                    <a:gd name="connsiteY173" fmla="*/ 282908 h 1330223"/>
                    <a:gd name="connsiteX174" fmla="*/ 1429771 w 1642179"/>
                    <a:gd name="connsiteY174" fmla="*/ 281900 h 1330223"/>
                    <a:gd name="connsiteX175" fmla="*/ 1429771 w 1642179"/>
                    <a:gd name="connsiteY175" fmla="*/ 281900 h 1330223"/>
                    <a:gd name="connsiteX176" fmla="*/ 1447623 w 1642179"/>
                    <a:gd name="connsiteY176" fmla="*/ 277563 h 1330223"/>
                    <a:gd name="connsiteX177" fmla="*/ 1447623 w 1642179"/>
                    <a:gd name="connsiteY177" fmla="*/ 277563 h 1330223"/>
                    <a:gd name="connsiteX178" fmla="*/ 1485647 w 1642179"/>
                    <a:gd name="connsiteY178" fmla="*/ 302777 h 1330223"/>
                    <a:gd name="connsiteX179" fmla="*/ 1485647 w 1642179"/>
                    <a:gd name="connsiteY179" fmla="*/ 302777 h 1330223"/>
                    <a:gd name="connsiteX180" fmla="*/ 1542329 w 1642179"/>
                    <a:gd name="connsiteY180" fmla="*/ 335153 h 1330223"/>
                    <a:gd name="connsiteX181" fmla="*/ 1542329 w 1642179"/>
                    <a:gd name="connsiteY181" fmla="*/ 335153 h 1330223"/>
                    <a:gd name="connsiteX182" fmla="*/ 1549188 w 1642179"/>
                    <a:gd name="connsiteY182" fmla="*/ 334951 h 1330223"/>
                    <a:gd name="connsiteX183" fmla="*/ 1549188 w 1642179"/>
                    <a:gd name="connsiteY183" fmla="*/ 334951 h 1330223"/>
                    <a:gd name="connsiteX184" fmla="*/ 1563509 w 1642179"/>
                    <a:gd name="connsiteY184" fmla="*/ 321941 h 1330223"/>
                    <a:gd name="connsiteX185" fmla="*/ 1563509 w 1642179"/>
                    <a:gd name="connsiteY185" fmla="*/ 321941 h 1330223"/>
                    <a:gd name="connsiteX186" fmla="*/ 1562602 w 1642179"/>
                    <a:gd name="connsiteY186" fmla="*/ 311048 h 1330223"/>
                    <a:gd name="connsiteX187" fmla="*/ 1562602 w 1642179"/>
                    <a:gd name="connsiteY187" fmla="*/ 311048 h 1330223"/>
                    <a:gd name="connsiteX188" fmla="*/ 1564215 w 1642179"/>
                    <a:gd name="connsiteY188" fmla="*/ 308224 h 1330223"/>
                    <a:gd name="connsiteX189" fmla="*/ 1564215 w 1642179"/>
                    <a:gd name="connsiteY189" fmla="*/ 308224 h 1330223"/>
                    <a:gd name="connsiteX190" fmla="*/ 1567544 w 1642179"/>
                    <a:gd name="connsiteY190" fmla="*/ 308930 h 1330223"/>
                    <a:gd name="connsiteX191" fmla="*/ 1567544 w 1642179"/>
                    <a:gd name="connsiteY191" fmla="*/ 308930 h 1330223"/>
                    <a:gd name="connsiteX192" fmla="*/ 1590640 w 1642179"/>
                    <a:gd name="connsiteY192" fmla="*/ 338683 h 1330223"/>
                    <a:gd name="connsiteX193" fmla="*/ 1590640 w 1642179"/>
                    <a:gd name="connsiteY193" fmla="*/ 338683 h 1330223"/>
                    <a:gd name="connsiteX194" fmla="*/ 1619284 w 1642179"/>
                    <a:gd name="connsiteY194" fmla="*/ 384574 h 1330223"/>
                    <a:gd name="connsiteX195" fmla="*/ 1619284 w 1642179"/>
                    <a:gd name="connsiteY195" fmla="*/ 384574 h 1330223"/>
                    <a:gd name="connsiteX196" fmla="*/ 1642180 w 1642179"/>
                    <a:gd name="connsiteY196" fmla="*/ 431876 h 1330223"/>
                    <a:gd name="connsiteX197" fmla="*/ 1642180 w 1642179"/>
                    <a:gd name="connsiteY197" fmla="*/ 431876 h 1330223"/>
                    <a:gd name="connsiteX198" fmla="*/ 1636935 w 1642179"/>
                    <a:gd name="connsiteY198" fmla="*/ 445190 h 1330223"/>
                    <a:gd name="connsiteX199" fmla="*/ 1636935 w 1642179"/>
                    <a:gd name="connsiteY199" fmla="*/ 445190 h 1330223"/>
                    <a:gd name="connsiteX200" fmla="*/ 1635422 w 1642179"/>
                    <a:gd name="connsiteY200" fmla="*/ 442769 h 1330223"/>
                    <a:gd name="connsiteX201" fmla="*/ 1636834 w 1642179"/>
                    <a:gd name="connsiteY201" fmla="*/ 445190 h 1330223"/>
                    <a:gd name="connsiteX202" fmla="*/ 1618578 w 1642179"/>
                    <a:gd name="connsiteY202" fmla="*/ 470707 h 1330223"/>
                    <a:gd name="connsiteX203" fmla="*/ 1618578 w 1642179"/>
                    <a:gd name="connsiteY203" fmla="*/ 470707 h 1330223"/>
                    <a:gd name="connsiteX204" fmla="*/ 1623016 w 1642179"/>
                    <a:gd name="connsiteY204" fmla="*/ 500158 h 1330223"/>
                    <a:gd name="connsiteX205" fmla="*/ 1623016 w 1642179"/>
                    <a:gd name="connsiteY205" fmla="*/ 500158 h 1330223"/>
                    <a:gd name="connsiteX206" fmla="*/ 1626950 w 1642179"/>
                    <a:gd name="connsiteY206" fmla="*/ 526683 h 1330223"/>
                    <a:gd name="connsiteX207" fmla="*/ 1626950 w 1642179"/>
                    <a:gd name="connsiteY207" fmla="*/ 526683 h 1330223"/>
                    <a:gd name="connsiteX208" fmla="*/ 1583883 w 1642179"/>
                    <a:gd name="connsiteY208" fmla="*/ 590527 h 1330223"/>
                    <a:gd name="connsiteX209" fmla="*/ 1583883 w 1642179"/>
                    <a:gd name="connsiteY209" fmla="*/ 590527 h 1330223"/>
                    <a:gd name="connsiteX210" fmla="*/ 1528714 w 1642179"/>
                    <a:gd name="connsiteY210" fmla="*/ 705001 h 1330223"/>
                    <a:gd name="connsiteX211" fmla="*/ 1528714 w 1642179"/>
                    <a:gd name="connsiteY211" fmla="*/ 705001 h 1330223"/>
                    <a:gd name="connsiteX212" fmla="*/ 1526091 w 1642179"/>
                    <a:gd name="connsiteY212" fmla="*/ 737780 h 1330223"/>
                    <a:gd name="connsiteX213" fmla="*/ 1526091 w 1642179"/>
                    <a:gd name="connsiteY213" fmla="*/ 737780 h 1330223"/>
                    <a:gd name="connsiteX214" fmla="*/ 1538396 w 1642179"/>
                    <a:gd name="connsiteY214" fmla="*/ 845497 h 1330223"/>
                    <a:gd name="connsiteX215" fmla="*/ 1538396 w 1642179"/>
                    <a:gd name="connsiteY215" fmla="*/ 845497 h 1330223"/>
                    <a:gd name="connsiteX216" fmla="*/ 1537387 w 1642179"/>
                    <a:gd name="connsiteY216" fmla="*/ 857298 h 1330223"/>
                    <a:gd name="connsiteX217" fmla="*/ 1537387 w 1642179"/>
                    <a:gd name="connsiteY217" fmla="*/ 857298 h 1330223"/>
                    <a:gd name="connsiteX218" fmla="*/ 1502188 w 1642179"/>
                    <a:gd name="connsiteY218" fmla="*/ 880193 h 1330223"/>
                    <a:gd name="connsiteX219" fmla="*/ 1502188 w 1642179"/>
                    <a:gd name="connsiteY219" fmla="*/ 880193 h 1330223"/>
                    <a:gd name="connsiteX220" fmla="*/ 1452263 w 1642179"/>
                    <a:gd name="connsiteY220" fmla="*/ 870208 h 1330223"/>
                    <a:gd name="connsiteX221" fmla="*/ 1452263 w 1642179"/>
                    <a:gd name="connsiteY221" fmla="*/ 870208 h 1330223"/>
                    <a:gd name="connsiteX222" fmla="*/ 1429065 w 1642179"/>
                    <a:gd name="connsiteY222" fmla="*/ 863753 h 1330223"/>
                    <a:gd name="connsiteX223" fmla="*/ 1429065 w 1642179"/>
                    <a:gd name="connsiteY223" fmla="*/ 863753 h 1330223"/>
                    <a:gd name="connsiteX224" fmla="*/ 1394975 w 1642179"/>
                    <a:gd name="connsiteY224" fmla="*/ 888967 h 1330223"/>
                    <a:gd name="connsiteX225" fmla="*/ 1394975 w 1642179"/>
                    <a:gd name="connsiteY225" fmla="*/ 888967 h 1330223"/>
                    <a:gd name="connsiteX226" fmla="*/ 1348883 w 1642179"/>
                    <a:gd name="connsiteY226" fmla="*/ 905407 h 1330223"/>
                    <a:gd name="connsiteX227" fmla="*/ 1348883 w 1642179"/>
                    <a:gd name="connsiteY227" fmla="*/ 905407 h 1330223"/>
                    <a:gd name="connsiteX228" fmla="*/ 1334561 w 1642179"/>
                    <a:gd name="connsiteY228" fmla="*/ 905206 h 1330223"/>
                    <a:gd name="connsiteX229" fmla="*/ 1334561 w 1642179"/>
                    <a:gd name="connsiteY229" fmla="*/ 905206 h 1330223"/>
                    <a:gd name="connsiteX230" fmla="*/ 1313582 w 1642179"/>
                    <a:gd name="connsiteY230" fmla="*/ 912367 h 1330223"/>
                    <a:gd name="connsiteX231" fmla="*/ 1313582 w 1642179"/>
                    <a:gd name="connsiteY231" fmla="*/ 912367 h 1330223"/>
                    <a:gd name="connsiteX232" fmla="*/ 1306724 w 1642179"/>
                    <a:gd name="connsiteY232" fmla="*/ 936976 h 1330223"/>
                    <a:gd name="connsiteX233" fmla="*/ 1306724 w 1642179"/>
                    <a:gd name="connsiteY233" fmla="*/ 936976 h 1330223"/>
                    <a:gd name="connsiteX234" fmla="*/ 1330526 w 1642179"/>
                    <a:gd name="connsiteY234" fmla="*/ 1002837 h 1330223"/>
                    <a:gd name="connsiteX235" fmla="*/ 1330526 w 1642179"/>
                    <a:gd name="connsiteY235" fmla="*/ 1002837 h 1330223"/>
                    <a:gd name="connsiteX236" fmla="*/ 1353320 w 1642179"/>
                    <a:gd name="connsiteY236" fmla="*/ 1041264 h 1330223"/>
                    <a:gd name="connsiteX237" fmla="*/ 1353320 w 1642179"/>
                    <a:gd name="connsiteY237" fmla="*/ 1041264 h 1330223"/>
                    <a:gd name="connsiteX238" fmla="*/ 1331031 w 1642179"/>
                    <a:gd name="connsiteY238" fmla="*/ 1059116 h 1330223"/>
                    <a:gd name="connsiteX239" fmla="*/ 1331031 w 1642179"/>
                    <a:gd name="connsiteY239" fmla="*/ 1059116 h 1330223"/>
                    <a:gd name="connsiteX240" fmla="*/ 1273440 w 1642179"/>
                    <a:gd name="connsiteY240" fmla="*/ 1112773 h 1330223"/>
                    <a:gd name="connsiteX241" fmla="*/ 1273440 w 1642179"/>
                    <a:gd name="connsiteY241" fmla="*/ 1112773 h 1330223"/>
                    <a:gd name="connsiteX242" fmla="*/ 1271726 w 1642179"/>
                    <a:gd name="connsiteY242" fmla="*/ 1125582 h 1330223"/>
                    <a:gd name="connsiteX243" fmla="*/ 1271726 w 1642179"/>
                    <a:gd name="connsiteY243" fmla="*/ 1125582 h 1330223"/>
                    <a:gd name="connsiteX244" fmla="*/ 1301479 w 1642179"/>
                    <a:gd name="connsiteY244" fmla="*/ 1182869 h 1330223"/>
                    <a:gd name="connsiteX245" fmla="*/ 1301479 w 1642179"/>
                    <a:gd name="connsiteY245" fmla="*/ 1182869 h 1330223"/>
                    <a:gd name="connsiteX246" fmla="*/ 1237837 w 1642179"/>
                    <a:gd name="connsiteY246" fmla="*/ 1260228 h 1330223"/>
                    <a:gd name="connsiteX247" fmla="*/ 1237837 w 1642179"/>
                    <a:gd name="connsiteY247" fmla="*/ 1260228 h 1330223"/>
                    <a:gd name="connsiteX248" fmla="*/ 1195376 w 1642179"/>
                    <a:gd name="connsiteY248" fmla="*/ 1324172 h 1330223"/>
                    <a:gd name="connsiteX249" fmla="*/ 1195376 w 1642179"/>
                    <a:gd name="connsiteY249" fmla="*/ 1324172 h 1330223"/>
                    <a:gd name="connsiteX250" fmla="*/ 1180953 w 1642179"/>
                    <a:gd name="connsiteY250" fmla="*/ 1330224 h 1330223"/>
                    <a:gd name="connsiteX251" fmla="*/ 1180953 w 1642179"/>
                    <a:gd name="connsiteY251" fmla="*/ 1330224 h 1330223"/>
                    <a:gd name="connsiteX252" fmla="*/ 1133247 w 1642179"/>
                    <a:gd name="connsiteY252" fmla="*/ 1293309 h 1330223"/>
                    <a:gd name="connsiteX253" fmla="*/ 1133247 w 1642179"/>
                    <a:gd name="connsiteY253" fmla="*/ 1293309 h 1330223"/>
                    <a:gd name="connsiteX254" fmla="*/ 968747 w 1642179"/>
                    <a:gd name="connsiteY254" fmla="*/ 1087457 h 1330223"/>
                    <a:gd name="connsiteX255" fmla="*/ 1018268 w 1642179"/>
                    <a:gd name="connsiteY255" fmla="*/ 1152006 h 1330223"/>
                    <a:gd name="connsiteX256" fmla="*/ 1018268 w 1642179"/>
                    <a:gd name="connsiteY256" fmla="*/ 1152006 h 1330223"/>
                    <a:gd name="connsiteX257" fmla="*/ 1058511 w 1642179"/>
                    <a:gd name="connsiteY257" fmla="*/ 1228054 h 1330223"/>
                    <a:gd name="connsiteX258" fmla="*/ 1058511 w 1642179"/>
                    <a:gd name="connsiteY258" fmla="*/ 1228054 h 1330223"/>
                    <a:gd name="connsiteX259" fmla="*/ 1137987 w 1642179"/>
                    <a:gd name="connsiteY259" fmla="*/ 1290284 h 1330223"/>
                    <a:gd name="connsiteX260" fmla="*/ 1137987 w 1642179"/>
                    <a:gd name="connsiteY260" fmla="*/ 1290284 h 1330223"/>
                    <a:gd name="connsiteX261" fmla="*/ 1180953 w 1642179"/>
                    <a:gd name="connsiteY261" fmla="*/ 1324273 h 1330223"/>
                    <a:gd name="connsiteX262" fmla="*/ 1180953 w 1642179"/>
                    <a:gd name="connsiteY262" fmla="*/ 1324273 h 1330223"/>
                    <a:gd name="connsiteX263" fmla="*/ 1191543 w 1642179"/>
                    <a:gd name="connsiteY263" fmla="*/ 1319835 h 1330223"/>
                    <a:gd name="connsiteX264" fmla="*/ 1191543 w 1642179"/>
                    <a:gd name="connsiteY264" fmla="*/ 1319835 h 1330223"/>
                    <a:gd name="connsiteX265" fmla="*/ 1235114 w 1642179"/>
                    <a:gd name="connsiteY265" fmla="*/ 1255084 h 1330223"/>
                    <a:gd name="connsiteX266" fmla="*/ 1235114 w 1642179"/>
                    <a:gd name="connsiteY266" fmla="*/ 1255084 h 1330223"/>
                    <a:gd name="connsiteX267" fmla="*/ 1295831 w 1642179"/>
                    <a:gd name="connsiteY267" fmla="*/ 1182466 h 1330223"/>
                    <a:gd name="connsiteX268" fmla="*/ 1295831 w 1642179"/>
                    <a:gd name="connsiteY268" fmla="*/ 1182466 h 1330223"/>
                    <a:gd name="connsiteX269" fmla="*/ 1266078 w 1642179"/>
                    <a:gd name="connsiteY269" fmla="*/ 1125178 h 1330223"/>
                    <a:gd name="connsiteX270" fmla="*/ 1266078 w 1642179"/>
                    <a:gd name="connsiteY270" fmla="*/ 1125178 h 1330223"/>
                    <a:gd name="connsiteX271" fmla="*/ 1267994 w 1642179"/>
                    <a:gd name="connsiteY271" fmla="*/ 1110856 h 1330223"/>
                    <a:gd name="connsiteX272" fmla="*/ 1267994 w 1642179"/>
                    <a:gd name="connsiteY272" fmla="*/ 1110856 h 1330223"/>
                    <a:gd name="connsiteX273" fmla="*/ 1330526 w 1642179"/>
                    <a:gd name="connsiteY273" fmla="*/ 1053064 h 1330223"/>
                    <a:gd name="connsiteX274" fmla="*/ 1330526 w 1642179"/>
                    <a:gd name="connsiteY274" fmla="*/ 1053064 h 1330223"/>
                    <a:gd name="connsiteX275" fmla="*/ 1347571 w 1642179"/>
                    <a:gd name="connsiteY275" fmla="*/ 1040759 h 1330223"/>
                    <a:gd name="connsiteX276" fmla="*/ 1347571 w 1642179"/>
                    <a:gd name="connsiteY276" fmla="*/ 1040759 h 1330223"/>
                    <a:gd name="connsiteX277" fmla="*/ 1326694 w 1642179"/>
                    <a:gd name="connsiteY277" fmla="*/ 1006367 h 1330223"/>
                    <a:gd name="connsiteX278" fmla="*/ 1326694 w 1642179"/>
                    <a:gd name="connsiteY278" fmla="*/ 1006367 h 1330223"/>
                    <a:gd name="connsiteX279" fmla="*/ 1300975 w 1642179"/>
                    <a:gd name="connsiteY279" fmla="*/ 936371 h 1330223"/>
                    <a:gd name="connsiteX280" fmla="*/ 1300975 w 1642179"/>
                    <a:gd name="connsiteY280" fmla="*/ 936371 h 1330223"/>
                    <a:gd name="connsiteX281" fmla="*/ 1309245 w 1642179"/>
                    <a:gd name="connsiteY281" fmla="*/ 908030 h 1330223"/>
                    <a:gd name="connsiteX282" fmla="*/ 1309245 w 1642179"/>
                    <a:gd name="connsiteY282" fmla="*/ 908030 h 1330223"/>
                    <a:gd name="connsiteX283" fmla="*/ 1334258 w 1642179"/>
                    <a:gd name="connsiteY283" fmla="*/ 899053 h 1330223"/>
                    <a:gd name="connsiteX284" fmla="*/ 1334258 w 1642179"/>
                    <a:gd name="connsiteY284" fmla="*/ 899053 h 1330223"/>
                    <a:gd name="connsiteX285" fmla="*/ 1348580 w 1642179"/>
                    <a:gd name="connsiteY285" fmla="*/ 899255 h 1330223"/>
                    <a:gd name="connsiteX286" fmla="*/ 1348580 w 1642179"/>
                    <a:gd name="connsiteY286" fmla="*/ 899255 h 1330223"/>
                    <a:gd name="connsiteX287" fmla="*/ 1391042 w 1642179"/>
                    <a:gd name="connsiteY287" fmla="*/ 884227 h 1330223"/>
                    <a:gd name="connsiteX288" fmla="*/ 1391042 w 1642179"/>
                    <a:gd name="connsiteY288" fmla="*/ 884227 h 1330223"/>
                    <a:gd name="connsiteX289" fmla="*/ 1428763 w 1642179"/>
                    <a:gd name="connsiteY289" fmla="*/ 857600 h 1330223"/>
                    <a:gd name="connsiteX290" fmla="*/ 1428763 w 1642179"/>
                    <a:gd name="connsiteY290" fmla="*/ 857600 h 1330223"/>
                    <a:gd name="connsiteX291" fmla="*/ 1453675 w 1642179"/>
                    <a:gd name="connsiteY291" fmla="*/ 864257 h 1330223"/>
                    <a:gd name="connsiteX292" fmla="*/ 1453675 w 1642179"/>
                    <a:gd name="connsiteY292" fmla="*/ 864257 h 1330223"/>
                    <a:gd name="connsiteX293" fmla="*/ 1501885 w 1642179"/>
                    <a:gd name="connsiteY293" fmla="*/ 874040 h 1330223"/>
                    <a:gd name="connsiteX294" fmla="*/ 1501885 w 1642179"/>
                    <a:gd name="connsiteY294" fmla="*/ 874040 h 1330223"/>
                    <a:gd name="connsiteX295" fmla="*/ 1531537 w 1642179"/>
                    <a:gd name="connsiteY295" fmla="*/ 855583 h 1330223"/>
                    <a:gd name="connsiteX296" fmla="*/ 1531537 w 1642179"/>
                    <a:gd name="connsiteY296" fmla="*/ 855583 h 1330223"/>
                    <a:gd name="connsiteX297" fmla="*/ 1532445 w 1642179"/>
                    <a:gd name="connsiteY297" fmla="*/ 844892 h 1330223"/>
                    <a:gd name="connsiteX298" fmla="*/ 1532445 w 1642179"/>
                    <a:gd name="connsiteY298" fmla="*/ 844892 h 1330223"/>
                    <a:gd name="connsiteX299" fmla="*/ 1520140 w 1642179"/>
                    <a:gd name="connsiteY299" fmla="*/ 737175 h 1330223"/>
                    <a:gd name="connsiteX300" fmla="*/ 1520140 w 1642179"/>
                    <a:gd name="connsiteY300" fmla="*/ 737175 h 1330223"/>
                    <a:gd name="connsiteX301" fmla="*/ 1522864 w 1642179"/>
                    <a:gd name="connsiteY301" fmla="*/ 703488 h 1330223"/>
                    <a:gd name="connsiteX302" fmla="*/ 1522864 w 1642179"/>
                    <a:gd name="connsiteY302" fmla="*/ 703488 h 1330223"/>
                    <a:gd name="connsiteX303" fmla="*/ 1579243 w 1642179"/>
                    <a:gd name="connsiteY303" fmla="*/ 586291 h 1330223"/>
                    <a:gd name="connsiteX304" fmla="*/ 1579243 w 1642179"/>
                    <a:gd name="connsiteY304" fmla="*/ 586291 h 1330223"/>
                    <a:gd name="connsiteX305" fmla="*/ 1620898 w 1642179"/>
                    <a:gd name="connsiteY305" fmla="*/ 526078 h 1330223"/>
                    <a:gd name="connsiteX306" fmla="*/ 1620898 w 1642179"/>
                    <a:gd name="connsiteY306" fmla="*/ 526078 h 1330223"/>
                    <a:gd name="connsiteX307" fmla="*/ 1617267 w 1642179"/>
                    <a:gd name="connsiteY307" fmla="*/ 500864 h 1330223"/>
                    <a:gd name="connsiteX308" fmla="*/ 1617267 w 1642179"/>
                    <a:gd name="connsiteY308" fmla="*/ 500864 h 1330223"/>
                    <a:gd name="connsiteX309" fmla="*/ 1612627 w 1642179"/>
                    <a:gd name="connsiteY309" fmla="*/ 470102 h 1330223"/>
                    <a:gd name="connsiteX310" fmla="*/ 1612627 w 1642179"/>
                    <a:gd name="connsiteY310" fmla="*/ 470102 h 1330223"/>
                    <a:gd name="connsiteX311" fmla="*/ 1633606 w 1642179"/>
                    <a:gd name="connsiteY311" fmla="*/ 439844 h 1330223"/>
                    <a:gd name="connsiteX312" fmla="*/ 1633606 w 1642179"/>
                    <a:gd name="connsiteY312" fmla="*/ 439844 h 1330223"/>
                    <a:gd name="connsiteX313" fmla="*/ 1636229 w 1642179"/>
                    <a:gd name="connsiteY313" fmla="*/ 431271 h 1330223"/>
                    <a:gd name="connsiteX314" fmla="*/ 1636229 w 1642179"/>
                    <a:gd name="connsiteY314" fmla="*/ 431271 h 1330223"/>
                    <a:gd name="connsiteX315" fmla="*/ 1616763 w 1642179"/>
                    <a:gd name="connsiteY315" fmla="*/ 389112 h 1330223"/>
                    <a:gd name="connsiteX316" fmla="*/ 1616763 w 1642179"/>
                    <a:gd name="connsiteY316" fmla="*/ 389112 h 1330223"/>
                    <a:gd name="connsiteX317" fmla="*/ 1585396 w 1642179"/>
                    <a:gd name="connsiteY317" fmla="*/ 340599 h 1330223"/>
                    <a:gd name="connsiteX318" fmla="*/ 1585396 w 1642179"/>
                    <a:gd name="connsiteY318" fmla="*/ 340599 h 1330223"/>
                    <a:gd name="connsiteX319" fmla="*/ 1568653 w 1642179"/>
                    <a:gd name="connsiteY319" fmla="*/ 318814 h 1330223"/>
                    <a:gd name="connsiteX320" fmla="*/ 1568653 w 1642179"/>
                    <a:gd name="connsiteY320" fmla="*/ 318814 h 1330223"/>
                    <a:gd name="connsiteX321" fmla="*/ 1568754 w 1642179"/>
                    <a:gd name="connsiteY321" fmla="*/ 321436 h 1330223"/>
                    <a:gd name="connsiteX322" fmla="*/ 1568754 w 1642179"/>
                    <a:gd name="connsiteY322" fmla="*/ 321436 h 1330223"/>
                    <a:gd name="connsiteX323" fmla="*/ 1549289 w 1642179"/>
                    <a:gd name="connsiteY323" fmla="*/ 339994 h 1330223"/>
                    <a:gd name="connsiteX324" fmla="*/ 1549289 w 1642179"/>
                    <a:gd name="connsiteY324" fmla="*/ 339994 h 1330223"/>
                    <a:gd name="connsiteX325" fmla="*/ 1542026 w 1642179"/>
                    <a:gd name="connsiteY325" fmla="*/ 340196 h 1330223"/>
                    <a:gd name="connsiteX326" fmla="*/ 1542026 w 1642179"/>
                    <a:gd name="connsiteY326" fmla="*/ 340196 h 1330223"/>
                    <a:gd name="connsiteX327" fmla="*/ 1479797 w 1642179"/>
                    <a:gd name="connsiteY327" fmla="*/ 303181 h 1330223"/>
                    <a:gd name="connsiteX328" fmla="*/ 1479797 w 1642179"/>
                    <a:gd name="connsiteY328" fmla="*/ 303181 h 1330223"/>
                    <a:gd name="connsiteX329" fmla="*/ 1447421 w 1642179"/>
                    <a:gd name="connsiteY329" fmla="*/ 282606 h 1330223"/>
                    <a:gd name="connsiteX330" fmla="*/ 1447421 w 1642179"/>
                    <a:gd name="connsiteY330" fmla="*/ 282606 h 1330223"/>
                    <a:gd name="connsiteX331" fmla="*/ 1432898 w 1642179"/>
                    <a:gd name="connsiteY331" fmla="*/ 285631 h 1330223"/>
                    <a:gd name="connsiteX332" fmla="*/ 1432898 w 1642179"/>
                    <a:gd name="connsiteY332" fmla="*/ 285631 h 1330223"/>
                    <a:gd name="connsiteX333" fmla="*/ 1422913 w 1642179"/>
                    <a:gd name="connsiteY333" fmla="*/ 287850 h 1330223"/>
                    <a:gd name="connsiteX334" fmla="*/ 1422913 w 1642179"/>
                    <a:gd name="connsiteY334" fmla="*/ 287850 h 1330223"/>
                    <a:gd name="connsiteX335" fmla="*/ 1366533 w 1642179"/>
                    <a:gd name="connsiteY335" fmla="*/ 264955 h 1330223"/>
                    <a:gd name="connsiteX336" fmla="*/ 1366533 w 1642179"/>
                    <a:gd name="connsiteY336" fmla="*/ 264955 h 1330223"/>
                    <a:gd name="connsiteX337" fmla="*/ 1353320 w 1642179"/>
                    <a:gd name="connsiteY337" fmla="*/ 261728 h 1330223"/>
                    <a:gd name="connsiteX338" fmla="*/ 1353320 w 1642179"/>
                    <a:gd name="connsiteY338" fmla="*/ 261728 h 1330223"/>
                    <a:gd name="connsiteX339" fmla="*/ 1293814 w 1642179"/>
                    <a:gd name="connsiteY339" fmla="*/ 274537 h 1330223"/>
                    <a:gd name="connsiteX340" fmla="*/ 1293814 w 1642179"/>
                    <a:gd name="connsiteY340" fmla="*/ 274537 h 1330223"/>
                    <a:gd name="connsiteX341" fmla="*/ 1288267 w 1642179"/>
                    <a:gd name="connsiteY341" fmla="*/ 276252 h 1330223"/>
                    <a:gd name="connsiteX342" fmla="*/ 1288267 w 1642179"/>
                    <a:gd name="connsiteY342" fmla="*/ 276252 h 1330223"/>
                    <a:gd name="connsiteX343" fmla="*/ 1219784 w 1642179"/>
                    <a:gd name="connsiteY343" fmla="*/ 262031 h 1330223"/>
                    <a:gd name="connsiteX344" fmla="*/ 1219784 w 1642179"/>
                    <a:gd name="connsiteY344" fmla="*/ 262031 h 1330223"/>
                    <a:gd name="connsiteX345" fmla="*/ 1209900 w 1642179"/>
                    <a:gd name="connsiteY345" fmla="*/ 264149 h 1330223"/>
                    <a:gd name="connsiteX346" fmla="*/ 1209900 w 1642179"/>
                    <a:gd name="connsiteY346" fmla="*/ 264149 h 1330223"/>
                    <a:gd name="connsiteX347" fmla="*/ 1163303 w 1642179"/>
                    <a:gd name="connsiteY347" fmla="*/ 311855 h 1330223"/>
                    <a:gd name="connsiteX348" fmla="*/ 1163303 w 1642179"/>
                    <a:gd name="connsiteY348" fmla="*/ 311855 h 1330223"/>
                    <a:gd name="connsiteX349" fmla="*/ 990532 w 1642179"/>
                    <a:gd name="connsiteY349" fmla="*/ 292288 h 1330223"/>
                    <a:gd name="connsiteX350" fmla="*/ 990532 w 1642179"/>
                    <a:gd name="connsiteY350" fmla="*/ 292288 h 1330223"/>
                    <a:gd name="connsiteX351" fmla="*/ 924369 w 1642179"/>
                    <a:gd name="connsiteY351" fmla="*/ 271310 h 1330223"/>
                    <a:gd name="connsiteX352" fmla="*/ 924369 w 1642179"/>
                    <a:gd name="connsiteY352" fmla="*/ 271310 h 1330223"/>
                    <a:gd name="connsiteX353" fmla="*/ 912064 w 1642179"/>
                    <a:gd name="connsiteY353" fmla="*/ 274739 h 1330223"/>
                    <a:gd name="connsiteX354" fmla="*/ 912064 w 1642179"/>
                    <a:gd name="connsiteY354" fmla="*/ 274739 h 1330223"/>
                    <a:gd name="connsiteX355" fmla="*/ 848120 w 1642179"/>
                    <a:gd name="connsiteY355" fmla="*/ 298642 h 1330223"/>
                    <a:gd name="connsiteX356" fmla="*/ 848120 w 1642179"/>
                    <a:gd name="connsiteY356" fmla="*/ 298642 h 1330223"/>
                    <a:gd name="connsiteX357" fmla="*/ 833193 w 1642179"/>
                    <a:gd name="connsiteY357" fmla="*/ 293902 h 1330223"/>
                    <a:gd name="connsiteX358" fmla="*/ 833193 w 1642179"/>
                    <a:gd name="connsiteY358" fmla="*/ 293902 h 1330223"/>
                    <a:gd name="connsiteX359" fmla="*/ 812719 w 1642179"/>
                    <a:gd name="connsiteY359" fmla="*/ 262938 h 1330223"/>
                    <a:gd name="connsiteX360" fmla="*/ 812719 w 1642179"/>
                    <a:gd name="connsiteY360" fmla="*/ 262938 h 1330223"/>
                    <a:gd name="connsiteX361" fmla="*/ 808583 w 1642179"/>
                    <a:gd name="connsiteY361" fmla="*/ 264350 h 1330223"/>
                    <a:gd name="connsiteX362" fmla="*/ 808583 w 1642179"/>
                    <a:gd name="connsiteY362" fmla="*/ 264350 h 1330223"/>
                    <a:gd name="connsiteX363" fmla="*/ 792244 w 1642179"/>
                    <a:gd name="connsiteY363" fmla="*/ 270200 h 1330223"/>
                    <a:gd name="connsiteX364" fmla="*/ 792244 w 1642179"/>
                    <a:gd name="connsiteY364" fmla="*/ 270200 h 1330223"/>
                    <a:gd name="connsiteX365" fmla="*/ 758558 w 1642179"/>
                    <a:gd name="connsiteY365" fmla="*/ 253458 h 1330223"/>
                    <a:gd name="connsiteX366" fmla="*/ 758558 w 1642179"/>
                    <a:gd name="connsiteY366" fmla="*/ 253458 h 1330223"/>
                    <a:gd name="connsiteX367" fmla="*/ 663650 w 1642179"/>
                    <a:gd name="connsiteY367" fmla="*/ 206760 h 1330223"/>
                    <a:gd name="connsiteX368" fmla="*/ 663650 w 1642179"/>
                    <a:gd name="connsiteY368" fmla="*/ 206760 h 1330223"/>
                    <a:gd name="connsiteX369" fmla="*/ 604446 w 1642179"/>
                    <a:gd name="connsiteY369" fmla="*/ 238732 h 1330223"/>
                    <a:gd name="connsiteX370" fmla="*/ 604446 w 1642179"/>
                    <a:gd name="connsiteY370" fmla="*/ 238732 h 1330223"/>
                    <a:gd name="connsiteX371" fmla="*/ 592948 w 1642179"/>
                    <a:gd name="connsiteY371" fmla="*/ 240548 h 1330223"/>
                    <a:gd name="connsiteX372" fmla="*/ 592948 w 1642179"/>
                    <a:gd name="connsiteY372" fmla="*/ 240548 h 1330223"/>
                    <a:gd name="connsiteX373" fmla="*/ 542317 w 1642179"/>
                    <a:gd name="connsiteY373" fmla="*/ 201515 h 1330223"/>
                    <a:gd name="connsiteX374" fmla="*/ 542317 w 1642179"/>
                    <a:gd name="connsiteY374" fmla="*/ 201515 h 1330223"/>
                    <a:gd name="connsiteX375" fmla="*/ 549780 w 1642179"/>
                    <a:gd name="connsiteY375" fmla="*/ 180940 h 1330223"/>
                    <a:gd name="connsiteX376" fmla="*/ 549780 w 1642179"/>
                    <a:gd name="connsiteY376" fmla="*/ 180940 h 1330223"/>
                    <a:gd name="connsiteX377" fmla="*/ 596377 w 1642179"/>
                    <a:gd name="connsiteY377" fmla="*/ 141101 h 1330223"/>
                    <a:gd name="connsiteX378" fmla="*/ 596377 w 1642179"/>
                    <a:gd name="connsiteY378" fmla="*/ 141101 h 1330223"/>
                    <a:gd name="connsiteX379" fmla="*/ 588409 w 1642179"/>
                    <a:gd name="connsiteY379" fmla="*/ 124157 h 1330223"/>
                    <a:gd name="connsiteX380" fmla="*/ 588409 w 1642179"/>
                    <a:gd name="connsiteY380" fmla="*/ 124157 h 1330223"/>
                    <a:gd name="connsiteX381" fmla="*/ 570658 w 1642179"/>
                    <a:gd name="connsiteY381" fmla="*/ 112558 h 1330223"/>
                    <a:gd name="connsiteX382" fmla="*/ 570658 w 1642179"/>
                    <a:gd name="connsiteY382" fmla="*/ 112558 h 1330223"/>
                    <a:gd name="connsiteX383" fmla="*/ 472724 w 1642179"/>
                    <a:gd name="connsiteY383" fmla="*/ 142513 h 1330223"/>
                    <a:gd name="connsiteX384" fmla="*/ 472724 w 1642179"/>
                    <a:gd name="connsiteY384" fmla="*/ 142513 h 1330223"/>
                    <a:gd name="connsiteX385" fmla="*/ 355526 w 1642179"/>
                    <a:gd name="connsiteY385" fmla="*/ 97026 h 1330223"/>
                    <a:gd name="connsiteX386" fmla="*/ 355526 w 1642179"/>
                    <a:gd name="connsiteY386" fmla="*/ 97026 h 1330223"/>
                    <a:gd name="connsiteX387" fmla="*/ 234496 w 1642179"/>
                    <a:gd name="connsiteY387" fmla="*/ 5245 h 1330223"/>
                    <a:gd name="connsiteX388" fmla="*/ 234496 w 1642179"/>
                    <a:gd name="connsiteY388" fmla="*/ 5245 h 1330223"/>
                    <a:gd name="connsiteX389" fmla="*/ 228445 w 1642179"/>
                    <a:gd name="connsiteY389" fmla="*/ 5043 h 1330223"/>
                    <a:gd name="connsiteX390" fmla="*/ 228445 w 1642179"/>
                    <a:gd name="connsiteY390" fmla="*/ 5043 h 1330223"/>
                    <a:gd name="connsiteX391" fmla="*/ 155423 w 1642179"/>
                    <a:gd name="connsiteY391" fmla="*/ 22491 h 1330223"/>
                    <a:gd name="connsiteX392" fmla="*/ 155423 w 1642179"/>
                    <a:gd name="connsiteY392" fmla="*/ 22491 h 1330223"/>
                    <a:gd name="connsiteX393" fmla="*/ 113063 w 1642179"/>
                    <a:gd name="connsiteY393" fmla="*/ 7464 h 1330223"/>
                    <a:gd name="connsiteX394" fmla="*/ 113063 w 1642179"/>
                    <a:gd name="connsiteY394" fmla="*/ 7464 h 1330223"/>
                    <a:gd name="connsiteX395" fmla="*/ 91378 w 1642179"/>
                    <a:gd name="connsiteY395" fmla="*/ 46294 h 1330223"/>
                    <a:gd name="connsiteX396" fmla="*/ 91378 w 1642179"/>
                    <a:gd name="connsiteY396" fmla="*/ 46294 h 1330223"/>
                    <a:gd name="connsiteX397" fmla="*/ 93294 w 1642179"/>
                    <a:gd name="connsiteY397" fmla="*/ 52245 h 1330223"/>
                    <a:gd name="connsiteX398" fmla="*/ 93294 w 1642179"/>
                    <a:gd name="connsiteY398" fmla="*/ 52245 h 1330223"/>
                    <a:gd name="connsiteX399" fmla="*/ 160567 w 1642179"/>
                    <a:gd name="connsiteY399" fmla="*/ 132326 h 1330223"/>
                    <a:gd name="connsiteX400" fmla="*/ 160567 w 1642179"/>
                    <a:gd name="connsiteY400" fmla="*/ 132326 h 1330223"/>
                    <a:gd name="connsiteX401" fmla="*/ 160365 w 1642179"/>
                    <a:gd name="connsiteY401" fmla="*/ 135857 h 1330223"/>
                    <a:gd name="connsiteX402" fmla="*/ 160365 w 1642179"/>
                    <a:gd name="connsiteY402" fmla="*/ 135857 h 1330223"/>
                    <a:gd name="connsiteX403" fmla="*/ 145035 w 1642179"/>
                    <a:gd name="connsiteY403" fmla="*/ 169543 h 1330223"/>
                    <a:gd name="connsiteX404" fmla="*/ 145035 w 1642179"/>
                    <a:gd name="connsiteY404" fmla="*/ 169543 h 1330223"/>
                    <a:gd name="connsiteX405" fmla="*/ 119316 w 1642179"/>
                    <a:gd name="connsiteY405" fmla="*/ 154616 h 1330223"/>
                    <a:gd name="connsiteX406" fmla="*/ 119316 w 1642179"/>
                    <a:gd name="connsiteY406" fmla="*/ 154616 h 1330223"/>
                    <a:gd name="connsiteX407" fmla="*/ 84822 w 1642179"/>
                    <a:gd name="connsiteY407" fmla="*/ 135453 h 1330223"/>
                    <a:gd name="connsiteX408" fmla="*/ 84822 w 1642179"/>
                    <a:gd name="connsiteY408" fmla="*/ 135453 h 1330223"/>
                    <a:gd name="connsiteX409" fmla="*/ 61524 w 1642179"/>
                    <a:gd name="connsiteY409" fmla="*/ 156028 h 1330223"/>
                    <a:gd name="connsiteX410" fmla="*/ 61524 w 1642179"/>
                    <a:gd name="connsiteY410" fmla="*/ 156028 h 1330223"/>
                    <a:gd name="connsiteX411" fmla="*/ 15532 w 1642179"/>
                    <a:gd name="connsiteY411" fmla="*/ 238430 h 1330223"/>
                    <a:gd name="connsiteX412" fmla="*/ 15532 w 1642179"/>
                    <a:gd name="connsiteY412" fmla="*/ 238430 h 1330223"/>
                    <a:gd name="connsiteX413" fmla="*/ 5749 w 1642179"/>
                    <a:gd name="connsiteY413" fmla="*/ 252247 h 1330223"/>
                    <a:gd name="connsiteX414" fmla="*/ 5749 w 1642179"/>
                    <a:gd name="connsiteY414" fmla="*/ 252247 h 1330223"/>
                    <a:gd name="connsiteX415" fmla="*/ 19869 w 1642179"/>
                    <a:gd name="connsiteY415" fmla="*/ 270402 h 1330223"/>
                    <a:gd name="connsiteX416" fmla="*/ 19869 w 1642179"/>
                    <a:gd name="connsiteY416" fmla="*/ 270402 h 1330223"/>
                    <a:gd name="connsiteX417" fmla="*/ 123350 w 1642179"/>
                    <a:gd name="connsiteY417" fmla="*/ 335355 h 1330223"/>
                    <a:gd name="connsiteX418" fmla="*/ 123350 w 1642179"/>
                    <a:gd name="connsiteY418" fmla="*/ 335355 h 1330223"/>
                    <a:gd name="connsiteX419" fmla="*/ 181848 w 1642179"/>
                    <a:gd name="connsiteY419" fmla="*/ 426733 h 1330223"/>
                    <a:gd name="connsiteX420" fmla="*/ 181848 w 1642179"/>
                    <a:gd name="connsiteY420" fmla="*/ 426733 h 1330223"/>
                    <a:gd name="connsiteX421" fmla="*/ 181848 w 1642179"/>
                    <a:gd name="connsiteY421" fmla="*/ 429456 h 1330223"/>
                    <a:gd name="connsiteX422" fmla="*/ 181848 w 1642179"/>
                    <a:gd name="connsiteY422" fmla="*/ 429456 h 1330223"/>
                    <a:gd name="connsiteX423" fmla="*/ 181747 w 1642179"/>
                    <a:gd name="connsiteY423" fmla="*/ 431775 h 1330223"/>
                    <a:gd name="connsiteX424" fmla="*/ 181747 w 1642179"/>
                    <a:gd name="connsiteY424" fmla="*/ 431775 h 1330223"/>
                    <a:gd name="connsiteX425" fmla="*/ 199599 w 1642179"/>
                    <a:gd name="connsiteY425" fmla="*/ 512059 h 1330223"/>
                    <a:gd name="connsiteX426" fmla="*/ 199599 w 1642179"/>
                    <a:gd name="connsiteY426" fmla="*/ 512059 h 1330223"/>
                    <a:gd name="connsiteX427" fmla="*/ 194355 w 1642179"/>
                    <a:gd name="connsiteY427" fmla="*/ 535660 h 1330223"/>
                    <a:gd name="connsiteX428" fmla="*/ 194355 w 1642179"/>
                    <a:gd name="connsiteY428" fmla="*/ 535660 h 1330223"/>
                    <a:gd name="connsiteX429" fmla="*/ 177511 w 1642179"/>
                    <a:gd name="connsiteY429" fmla="*/ 611505 h 1330223"/>
                    <a:gd name="connsiteX430" fmla="*/ 177511 w 1642179"/>
                    <a:gd name="connsiteY430" fmla="*/ 611505 h 1330223"/>
                    <a:gd name="connsiteX431" fmla="*/ 170854 w 1642179"/>
                    <a:gd name="connsiteY431" fmla="*/ 711658 h 1330223"/>
                    <a:gd name="connsiteX432" fmla="*/ 170854 w 1642179"/>
                    <a:gd name="connsiteY432" fmla="*/ 711658 h 1330223"/>
                    <a:gd name="connsiteX433" fmla="*/ 188101 w 1642179"/>
                    <a:gd name="connsiteY433" fmla="*/ 752607 h 1330223"/>
                    <a:gd name="connsiteX434" fmla="*/ 188101 w 1642179"/>
                    <a:gd name="connsiteY434" fmla="*/ 752607 h 1330223"/>
                    <a:gd name="connsiteX435" fmla="*/ 220981 w 1642179"/>
                    <a:gd name="connsiteY435" fmla="*/ 785386 h 1330223"/>
                    <a:gd name="connsiteX436" fmla="*/ 220981 w 1642179"/>
                    <a:gd name="connsiteY436" fmla="*/ 785386 h 1330223"/>
                    <a:gd name="connsiteX437" fmla="*/ 191631 w 1642179"/>
                    <a:gd name="connsiteY437" fmla="*/ 816450 h 1330223"/>
                    <a:gd name="connsiteX438" fmla="*/ 191631 w 1642179"/>
                    <a:gd name="connsiteY438" fmla="*/ 816450 h 1330223"/>
                    <a:gd name="connsiteX439" fmla="*/ 184672 w 1642179"/>
                    <a:gd name="connsiteY439" fmla="*/ 828654 h 1330223"/>
                    <a:gd name="connsiteX440" fmla="*/ 184672 w 1642179"/>
                    <a:gd name="connsiteY440" fmla="*/ 828654 h 1330223"/>
                    <a:gd name="connsiteX441" fmla="*/ 218157 w 1642179"/>
                    <a:gd name="connsiteY441" fmla="*/ 945952 h 1330223"/>
                    <a:gd name="connsiteX442" fmla="*/ 218157 w 1642179"/>
                    <a:gd name="connsiteY442" fmla="*/ 945952 h 1330223"/>
                    <a:gd name="connsiteX443" fmla="*/ 218662 w 1642179"/>
                    <a:gd name="connsiteY443" fmla="*/ 960980 h 1330223"/>
                    <a:gd name="connsiteX444" fmla="*/ 218662 w 1642179"/>
                    <a:gd name="connsiteY444" fmla="*/ 960980 h 1330223"/>
                    <a:gd name="connsiteX445" fmla="*/ 207466 w 1642179"/>
                    <a:gd name="connsiteY445" fmla="*/ 988212 h 1330223"/>
                    <a:gd name="connsiteX446" fmla="*/ 207466 w 1642179"/>
                    <a:gd name="connsiteY446" fmla="*/ 988212 h 1330223"/>
                    <a:gd name="connsiteX447" fmla="*/ 198792 w 1642179"/>
                    <a:gd name="connsiteY447" fmla="*/ 984985 h 1330223"/>
                    <a:gd name="connsiteX448" fmla="*/ 198792 w 1642179"/>
                    <a:gd name="connsiteY448" fmla="*/ 984985 h 1330223"/>
                    <a:gd name="connsiteX449" fmla="*/ 192438 w 1642179"/>
                    <a:gd name="connsiteY449" fmla="*/ 983068 h 1330223"/>
                    <a:gd name="connsiteX450" fmla="*/ 192438 w 1642179"/>
                    <a:gd name="connsiteY450" fmla="*/ 983068 h 1330223"/>
                    <a:gd name="connsiteX451" fmla="*/ 168837 w 1642179"/>
                    <a:gd name="connsiteY451" fmla="*/ 1000113 h 1330223"/>
                    <a:gd name="connsiteX452" fmla="*/ 168837 w 1642179"/>
                    <a:gd name="connsiteY452" fmla="*/ 1000113 h 1330223"/>
                    <a:gd name="connsiteX453" fmla="*/ 219468 w 1642179"/>
                    <a:gd name="connsiteY453" fmla="*/ 1035515 h 1330223"/>
                    <a:gd name="connsiteX454" fmla="*/ 219468 w 1642179"/>
                    <a:gd name="connsiteY454" fmla="*/ 1035515 h 1330223"/>
                    <a:gd name="connsiteX455" fmla="*/ 308022 w 1642179"/>
                    <a:gd name="connsiteY455" fmla="*/ 1066882 h 1330223"/>
                    <a:gd name="connsiteX456" fmla="*/ 308022 w 1642179"/>
                    <a:gd name="connsiteY456" fmla="*/ 1066882 h 1330223"/>
                    <a:gd name="connsiteX457" fmla="*/ 327488 w 1642179"/>
                    <a:gd name="connsiteY457" fmla="*/ 1061839 h 1330223"/>
                    <a:gd name="connsiteX458" fmla="*/ 327488 w 1642179"/>
                    <a:gd name="connsiteY458" fmla="*/ 1061839 h 1330223"/>
                    <a:gd name="connsiteX459" fmla="*/ 403334 w 1642179"/>
                    <a:gd name="connsiteY459" fmla="*/ 1036423 h 1330223"/>
                    <a:gd name="connsiteX460" fmla="*/ 403334 w 1642179"/>
                    <a:gd name="connsiteY460" fmla="*/ 1036423 h 1330223"/>
                    <a:gd name="connsiteX461" fmla="*/ 456789 w 1642179"/>
                    <a:gd name="connsiteY461" fmla="*/ 1048626 h 1330223"/>
                    <a:gd name="connsiteX462" fmla="*/ 456789 w 1642179"/>
                    <a:gd name="connsiteY462" fmla="*/ 1048626 h 1330223"/>
                    <a:gd name="connsiteX463" fmla="*/ 492190 w 1642179"/>
                    <a:gd name="connsiteY463" fmla="*/ 1065571 h 1330223"/>
                    <a:gd name="connsiteX464" fmla="*/ 492190 w 1642179"/>
                    <a:gd name="connsiteY464" fmla="*/ 1065571 h 1330223"/>
                    <a:gd name="connsiteX465" fmla="*/ 523254 w 1642179"/>
                    <a:gd name="connsiteY465" fmla="*/ 1055081 h 1330223"/>
                    <a:gd name="connsiteX466" fmla="*/ 523254 w 1642179"/>
                    <a:gd name="connsiteY466" fmla="*/ 1055081 h 1330223"/>
                    <a:gd name="connsiteX467" fmla="*/ 542216 w 1642179"/>
                    <a:gd name="connsiteY467" fmla="*/ 1050745 h 1330223"/>
                    <a:gd name="connsiteX468" fmla="*/ 542216 w 1642179"/>
                    <a:gd name="connsiteY468" fmla="*/ 1050745 h 1330223"/>
                    <a:gd name="connsiteX469" fmla="*/ 596679 w 1642179"/>
                    <a:gd name="connsiteY469" fmla="*/ 1098148 h 1330223"/>
                    <a:gd name="connsiteX470" fmla="*/ 596679 w 1642179"/>
                    <a:gd name="connsiteY470" fmla="*/ 1098148 h 1330223"/>
                    <a:gd name="connsiteX471" fmla="*/ 650740 w 1642179"/>
                    <a:gd name="connsiteY471" fmla="*/ 1114790 h 1330223"/>
                    <a:gd name="connsiteX472" fmla="*/ 650740 w 1642179"/>
                    <a:gd name="connsiteY472" fmla="*/ 1114790 h 1330223"/>
                    <a:gd name="connsiteX473" fmla="*/ 690982 w 1642179"/>
                    <a:gd name="connsiteY473" fmla="*/ 1110554 h 1330223"/>
                    <a:gd name="connsiteX474" fmla="*/ 690982 w 1642179"/>
                    <a:gd name="connsiteY474" fmla="*/ 1110554 h 1330223"/>
                    <a:gd name="connsiteX475" fmla="*/ 706716 w 1642179"/>
                    <a:gd name="connsiteY475" fmla="*/ 1108940 h 1330223"/>
                    <a:gd name="connsiteX476" fmla="*/ 706716 w 1642179"/>
                    <a:gd name="connsiteY476" fmla="*/ 1108940 h 1330223"/>
                    <a:gd name="connsiteX477" fmla="*/ 756641 w 1642179"/>
                    <a:gd name="connsiteY477" fmla="*/ 1138491 h 1330223"/>
                    <a:gd name="connsiteX478" fmla="*/ 756641 w 1642179"/>
                    <a:gd name="connsiteY478" fmla="*/ 1138491 h 1330223"/>
                    <a:gd name="connsiteX479" fmla="*/ 768441 w 1642179"/>
                    <a:gd name="connsiteY479" fmla="*/ 1141114 h 1330223"/>
                    <a:gd name="connsiteX480" fmla="*/ 768441 w 1642179"/>
                    <a:gd name="connsiteY480" fmla="*/ 1141114 h 1330223"/>
                    <a:gd name="connsiteX481" fmla="*/ 795068 w 1642179"/>
                    <a:gd name="connsiteY481" fmla="*/ 1123665 h 1330223"/>
                    <a:gd name="connsiteX482" fmla="*/ 795068 w 1642179"/>
                    <a:gd name="connsiteY482" fmla="*/ 1123665 h 1330223"/>
                    <a:gd name="connsiteX483" fmla="*/ 812819 w 1642179"/>
                    <a:gd name="connsiteY483" fmla="*/ 1118219 h 1330223"/>
                    <a:gd name="connsiteX484" fmla="*/ 812819 w 1642179"/>
                    <a:gd name="connsiteY484" fmla="*/ 1118219 h 1330223"/>
                    <a:gd name="connsiteX485" fmla="*/ 844590 w 1642179"/>
                    <a:gd name="connsiteY485" fmla="*/ 1138491 h 1330223"/>
                    <a:gd name="connsiteX486" fmla="*/ 844590 w 1642179"/>
                    <a:gd name="connsiteY486" fmla="*/ 1138491 h 1330223"/>
                    <a:gd name="connsiteX487" fmla="*/ 852255 w 1642179"/>
                    <a:gd name="connsiteY487" fmla="*/ 1139298 h 1330223"/>
                    <a:gd name="connsiteX488" fmla="*/ 852255 w 1642179"/>
                    <a:gd name="connsiteY488" fmla="*/ 1139298 h 1330223"/>
                    <a:gd name="connsiteX489" fmla="*/ 878075 w 1642179"/>
                    <a:gd name="connsiteY489" fmla="*/ 1126590 h 1330223"/>
                    <a:gd name="connsiteX490" fmla="*/ 878075 w 1642179"/>
                    <a:gd name="connsiteY490" fmla="*/ 1126590 h 1330223"/>
                    <a:gd name="connsiteX491" fmla="*/ 926386 w 1642179"/>
                    <a:gd name="connsiteY491" fmla="*/ 1110150 h 1330223"/>
                    <a:gd name="connsiteX492" fmla="*/ 926386 w 1642179"/>
                    <a:gd name="connsiteY492" fmla="*/ 1110150 h 1330223"/>
                    <a:gd name="connsiteX493" fmla="*/ 933950 w 1642179"/>
                    <a:gd name="connsiteY493" fmla="*/ 1110856 h 1330223"/>
                    <a:gd name="connsiteX494" fmla="*/ 933950 w 1642179"/>
                    <a:gd name="connsiteY494" fmla="*/ 1110856 h 1330223"/>
                    <a:gd name="connsiteX495" fmla="*/ 963502 w 1642179"/>
                    <a:gd name="connsiteY495" fmla="*/ 1086448 h 1330223"/>
                    <a:gd name="connsiteX496" fmla="*/ 963502 w 1642179"/>
                    <a:gd name="connsiteY496" fmla="*/ 1086448 h 1330223"/>
                    <a:gd name="connsiteX497" fmla="*/ 968747 w 1642179"/>
                    <a:gd name="connsiteY497" fmla="*/ 1087457 h 1330223"/>
                    <a:gd name="connsiteX498" fmla="*/ 968747 w 1642179"/>
                    <a:gd name="connsiteY498" fmla="*/ 1087457 h 1330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Lst>
                  <a:rect l="l" t="t" r="r" b="b"/>
                  <a:pathLst>
                    <a:path w="1642179" h="1330223">
                      <a:moveTo>
                        <a:pt x="1133247" y="1293309"/>
                      </a:moveTo>
                      <a:cubicBezTo>
                        <a:pt x="1117412" y="1269002"/>
                        <a:pt x="1078683" y="1264363"/>
                        <a:pt x="1053972" y="1231281"/>
                      </a:cubicBezTo>
                      <a:lnTo>
                        <a:pt x="1053972" y="1231281"/>
                      </a:lnTo>
                      <a:cubicBezTo>
                        <a:pt x="1030876" y="1199612"/>
                        <a:pt x="1016957" y="1192047"/>
                        <a:pt x="1012620" y="1152713"/>
                      </a:cubicBezTo>
                      <a:lnTo>
                        <a:pt x="1012620" y="1152713"/>
                      </a:lnTo>
                      <a:cubicBezTo>
                        <a:pt x="1008384" y="1114991"/>
                        <a:pt x="989927" y="1097039"/>
                        <a:pt x="967536" y="1092903"/>
                      </a:cubicBezTo>
                      <a:lnTo>
                        <a:pt x="967536" y="1092903"/>
                      </a:lnTo>
                      <a:cubicBezTo>
                        <a:pt x="966023" y="1092702"/>
                        <a:pt x="964813" y="1092500"/>
                        <a:pt x="963502" y="1092500"/>
                      </a:cubicBezTo>
                      <a:lnTo>
                        <a:pt x="963502" y="1092500"/>
                      </a:lnTo>
                      <a:cubicBezTo>
                        <a:pt x="946054" y="1092097"/>
                        <a:pt x="938691" y="1114588"/>
                        <a:pt x="935766" y="1116504"/>
                      </a:cubicBezTo>
                      <a:lnTo>
                        <a:pt x="935766" y="1116504"/>
                      </a:lnTo>
                      <a:cubicBezTo>
                        <a:pt x="935766" y="1116605"/>
                        <a:pt x="932034" y="1116202"/>
                        <a:pt x="926487" y="1116202"/>
                      </a:cubicBezTo>
                      <a:lnTo>
                        <a:pt x="926487" y="1116202"/>
                      </a:lnTo>
                      <a:cubicBezTo>
                        <a:pt x="913779" y="1116101"/>
                        <a:pt x="891691" y="1118421"/>
                        <a:pt x="882512" y="1130524"/>
                      </a:cubicBezTo>
                      <a:lnTo>
                        <a:pt x="882512" y="1130524"/>
                      </a:lnTo>
                      <a:cubicBezTo>
                        <a:pt x="872830" y="1142828"/>
                        <a:pt x="860525" y="1145552"/>
                        <a:pt x="852356" y="1145451"/>
                      </a:cubicBezTo>
                      <a:lnTo>
                        <a:pt x="852356" y="1145451"/>
                      </a:lnTo>
                      <a:cubicBezTo>
                        <a:pt x="846909" y="1145451"/>
                        <a:pt x="843279" y="1144442"/>
                        <a:pt x="841564" y="1143131"/>
                      </a:cubicBezTo>
                      <a:lnTo>
                        <a:pt x="841564" y="1143131"/>
                      </a:lnTo>
                      <a:cubicBezTo>
                        <a:pt x="841463" y="1143131"/>
                        <a:pt x="829764" y="1124170"/>
                        <a:pt x="813021" y="1124371"/>
                      </a:cubicBezTo>
                      <a:lnTo>
                        <a:pt x="813021" y="1124371"/>
                      </a:lnTo>
                      <a:cubicBezTo>
                        <a:pt x="808583" y="1124371"/>
                        <a:pt x="803742" y="1125582"/>
                        <a:pt x="798094" y="1129011"/>
                      </a:cubicBezTo>
                      <a:lnTo>
                        <a:pt x="798094" y="1129011"/>
                      </a:lnTo>
                      <a:cubicBezTo>
                        <a:pt x="778628" y="1140710"/>
                        <a:pt x="777822" y="1146762"/>
                        <a:pt x="768643" y="1147266"/>
                      </a:cubicBezTo>
                      <a:lnTo>
                        <a:pt x="768643" y="1147266"/>
                      </a:lnTo>
                      <a:cubicBezTo>
                        <a:pt x="765214" y="1147266"/>
                        <a:pt x="761482" y="1146258"/>
                        <a:pt x="755229" y="1144341"/>
                      </a:cubicBezTo>
                      <a:lnTo>
                        <a:pt x="755229" y="1144341"/>
                      </a:lnTo>
                      <a:cubicBezTo>
                        <a:pt x="733847" y="1136979"/>
                        <a:pt x="736268" y="1114790"/>
                        <a:pt x="706817" y="1115092"/>
                      </a:cubicBezTo>
                      <a:lnTo>
                        <a:pt x="706817" y="1115092"/>
                      </a:lnTo>
                      <a:cubicBezTo>
                        <a:pt x="702581" y="1115092"/>
                        <a:pt x="697740" y="1115496"/>
                        <a:pt x="691991" y="1116605"/>
                      </a:cubicBezTo>
                      <a:lnTo>
                        <a:pt x="691991" y="1116605"/>
                      </a:lnTo>
                      <a:cubicBezTo>
                        <a:pt x="676156" y="1119429"/>
                        <a:pt x="662641" y="1120942"/>
                        <a:pt x="650840" y="1120942"/>
                      </a:cubicBezTo>
                      <a:lnTo>
                        <a:pt x="650840" y="1120942"/>
                      </a:lnTo>
                      <a:cubicBezTo>
                        <a:pt x="627038" y="1120942"/>
                        <a:pt x="609489" y="1115092"/>
                        <a:pt x="593452" y="1103292"/>
                      </a:cubicBezTo>
                      <a:lnTo>
                        <a:pt x="593452" y="1103292"/>
                      </a:lnTo>
                      <a:cubicBezTo>
                        <a:pt x="572372" y="1087356"/>
                        <a:pt x="566220" y="1056292"/>
                        <a:pt x="542216" y="1056897"/>
                      </a:cubicBezTo>
                      <a:lnTo>
                        <a:pt x="542216" y="1056897"/>
                      </a:lnTo>
                      <a:cubicBezTo>
                        <a:pt x="537475" y="1056897"/>
                        <a:pt x="532029" y="1058006"/>
                        <a:pt x="525272" y="1060730"/>
                      </a:cubicBezTo>
                      <a:lnTo>
                        <a:pt x="525272" y="1060730"/>
                      </a:lnTo>
                      <a:cubicBezTo>
                        <a:pt x="506814" y="1067890"/>
                        <a:pt x="499250" y="1071521"/>
                        <a:pt x="492190" y="1071622"/>
                      </a:cubicBezTo>
                      <a:lnTo>
                        <a:pt x="492190" y="1071622"/>
                      </a:lnTo>
                      <a:cubicBezTo>
                        <a:pt x="482205" y="1071320"/>
                        <a:pt x="477464" y="1065066"/>
                        <a:pt x="454368" y="1054174"/>
                      </a:cubicBezTo>
                      <a:lnTo>
                        <a:pt x="454368" y="1054174"/>
                      </a:lnTo>
                      <a:cubicBezTo>
                        <a:pt x="438029" y="1046307"/>
                        <a:pt x="420681" y="1042474"/>
                        <a:pt x="403233" y="1042474"/>
                      </a:cubicBezTo>
                      <a:lnTo>
                        <a:pt x="403233" y="1042474"/>
                      </a:lnTo>
                      <a:cubicBezTo>
                        <a:pt x="378220" y="1042474"/>
                        <a:pt x="352904" y="1050543"/>
                        <a:pt x="330614" y="1066781"/>
                      </a:cubicBezTo>
                      <a:lnTo>
                        <a:pt x="330614" y="1066781"/>
                      </a:lnTo>
                      <a:cubicBezTo>
                        <a:pt x="324462" y="1071118"/>
                        <a:pt x="316595" y="1072933"/>
                        <a:pt x="307821" y="1072933"/>
                      </a:cubicBezTo>
                      <a:lnTo>
                        <a:pt x="307821" y="1072933"/>
                      </a:lnTo>
                      <a:cubicBezTo>
                        <a:pt x="255374" y="1071622"/>
                        <a:pt x="165509" y="1013427"/>
                        <a:pt x="163088" y="1000517"/>
                      </a:cubicBezTo>
                      <a:lnTo>
                        <a:pt x="163088" y="1000517"/>
                      </a:lnTo>
                      <a:cubicBezTo>
                        <a:pt x="163088" y="1000013"/>
                        <a:pt x="163189" y="999710"/>
                        <a:pt x="163290" y="999609"/>
                      </a:cubicBezTo>
                      <a:lnTo>
                        <a:pt x="163290" y="999609"/>
                      </a:lnTo>
                      <a:cubicBezTo>
                        <a:pt x="163290" y="999609"/>
                        <a:pt x="163290" y="999609"/>
                        <a:pt x="163290" y="999609"/>
                      </a:cubicBezTo>
                      <a:lnTo>
                        <a:pt x="163290" y="999609"/>
                      </a:lnTo>
                      <a:cubicBezTo>
                        <a:pt x="165912" y="990935"/>
                        <a:pt x="178721" y="978429"/>
                        <a:pt x="192438" y="978025"/>
                      </a:cubicBezTo>
                      <a:lnTo>
                        <a:pt x="192438" y="978025"/>
                      </a:lnTo>
                      <a:cubicBezTo>
                        <a:pt x="195666" y="978025"/>
                        <a:pt x="198893" y="978933"/>
                        <a:pt x="201919" y="980849"/>
                      </a:cubicBezTo>
                      <a:lnTo>
                        <a:pt x="201919" y="980849"/>
                      </a:lnTo>
                      <a:cubicBezTo>
                        <a:pt x="204441" y="982463"/>
                        <a:pt x="206457" y="983169"/>
                        <a:pt x="207466" y="983169"/>
                      </a:cubicBezTo>
                      <a:lnTo>
                        <a:pt x="207466" y="983169"/>
                      </a:lnTo>
                      <a:cubicBezTo>
                        <a:pt x="209887" y="983068"/>
                        <a:pt x="213014" y="978429"/>
                        <a:pt x="213014" y="961586"/>
                      </a:cubicBezTo>
                      <a:lnTo>
                        <a:pt x="213014" y="961586"/>
                      </a:lnTo>
                      <a:cubicBezTo>
                        <a:pt x="213014" y="957350"/>
                        <a:pt x="212913" y="952508"/>
                        <a:pt x="212509" y="946860"/>
                      </a:cubicBezTo>
                      <a:lnTo>
                        <a:pt x="212509" y="946860"/>
                      </a:lnTo>
                      <a:cubicBezTo>
                        <a:pt x="210996" y="921242"/>
                        <a:pt x="179125" y="859113"/>
                        <a:pt x="179024" y="829259"/>
                      </a:cubicBezTo>
                      <a:lnTo>
                        <a:pt x="179024" y="829259"/>
                      </a:lnTo>
                      <a:cubicBezTo>
                        <a:pt x="178822" y="820585"/>
                        <a:pt x="182252" y="812920"/>
                        <a:pt x="190623" y="811609"/>
                      </a:cubicBezTo>
                      <a:lnTo>
                        <a:pt x="190623" y="811609"/>
                      </a:lnTo>
                      <a:cubicBezTo>
                        <a:pt x="206054" y="808886"/>
                        <a:pt x="215434" y="797388"/>
                        <a:pt x="215333" y="785991"/>
                      </a:cubicBezTo>
                      <a:lnTo>
                        <a:pt x="215333" y="785991"/>
                      </a:lnTo>
                      <a:cubicBezTo>
                        <a:pt x="215333" y="775300"/>
                        <a:pt x="207567" y="763802"/>
                        <a:pt x="186790" y="758557"/>
                      </a:cubicBezTo>
                      <a:lnTo>
                        <a:pt x="186790" y="758557"/>
                      </a:lnTo>
                      <a:cubicBezTo>
                        <a:pt x="169241" y="754119"/>
                        <a:pt x="165206" y="735763"/>
                        <a:pt x="165206" y="712263"/>
                      </a:cubicBezTo>
                      <a:lnTo>
                        <a:pt x="165206" y="712263"/>
                      </a:lnTo>
                      <a:cubicBezTo>
                        <a:pt x="165206" y="685334"/>
                        <a:pt x="170653" y="649327"/>
                        <a:pt x="171863" y="612010"/>
                      </a:cubicBezTo>
                      <a:lnTo>
                        <a:pt x="171863" y="612010"/>
                      </a:lnTo>
                      <a:cubicBezTo>
                        <a:pt x="173678" y="542014"/>
                        <a:pt x="172670" y="564405"/>
                        <a:pt x="189312" y="533643"/>
                      </a:cubicBezTo>
                      <a:lnTo>
                        <a:pt x="189312" y="533643"/>
                      </a:lnTo>
                      <a:cubicBezTo>
                        <a:pt x="192741" y="527289"/>
                        <a:pt x="193951" y="520228"/>
                        <a:pt x="193951" y="512664"/>
                      </a:cubicBezTo>
                      <a:lnTo>
                        <a:pt x="193951" y="512664"/>
                      </a:lnTo>
                      <a:cubicBezTo>
                        <a:pt x="194153" y="485836"/>
                        <a:pt x="176200" y="454065"/>
                        <a:pt x="176099" y="432381"/>
                      </a:cubicBezTo>
                      <a:lnTo>
                        <a:pt x="176099" y="432381"/>
                      </a:lnTo>
                      <a:cubicBezTo>
                        <a:pt x="176099" y="431473"/>
                        <a:pt x="176099" y="430464"/>
                        <a:pt x="176200" y="429859"/>
                      </a:cubicBezTo>
                      <a:lnTo>
                        <a:pt x="176200" y="429859"/>
                      </a:lnTo>
                      <a:cubicBezTo>
                        <a:pt x="176200" y="428750"/>
                        <a:pt x="176200" y="427943"/>
                        <a:pt x="176200" y="427338"/>
                      </a:cubicBezTo>
                      <a:lnTo>
                        <a:pt x="176200" y="427338"/>
                      </a:lnTo>
                      <a:cubicBezTo>
                        <a:pt x="176704" y="404443"/>
                        <a:pt x="145237" y="376404"/>
                        <a:pt x="118711" y="339187"/>
                      </a:cubicBezTo>
                      <a:lnTo>
                        <a:pt x="118711" y="339187"/>
                      </a:lnTo>
                      <a:cubicBezTo>
                        <a:pt x="95513" y="306005"/>
                        <a:pt x="34595" y="288960"/>
                        <a:pt x="16440" y="275445"/>
                      </a:cubicBezTo>
                      <a:lnTo>
                        <a:pt x="16440" y="275445"/>
                      </a:lnTo>
                      <a:cubicBezTo>
                        <a:pt x="6556" y="268082"/>
                        <a:pt x="202" y="261123"/>
                        <a:pt x="0" y="252852"/>
                      </a:cubicBezTo>
                      <a:lnTo>
                        <a:pt x="0" y="252852"/>
                      </a:lnTo>
                      <a:cubicBezTo>
                        <a:pt x="0" y="246397"/>
                        <a:pt x="4236" y="240447"/>
                        <a:pt x="12103" y="234597"/>
                      </a:cubicBezTo>
                      <a:lnTo>
                        <a:pt x="12103" y="234597"/>
                      </a:lnTo>
                      <a:cubicBezTo>
                        <a:pt x="28039" y="222998"/>
                        <a:pt x="41352" y="182151"/>
                        <a:pt x="56380" y="153910"/>
                      </a:cubicBezTo>
                      <a:lnTo>
                        <a:pt x="56380" y="153910"/>
                      </a:lnTo>
                      <a:cubicBezTo>
                        <a:pt x="64247" y="139185"/>
                        <a:pt x="72820" y="130511"/>
                        <a:pt x="84721" y="130511"/>
                      </a:cubicBezTo>
                      <a:lnTo>
                        <a:pt x="84721" y="130511"/>
                      </a:lnTo>
                      <a:cubicBezTo>
                        <a:pt x="95412" y="130511"/>
                        <a:pt x="107314" y="137571"/>
                        <a:pt x="122846" y="150985"/>
                      </a:cubicBezTo>
                      <a:lnTo>
                        <a:pt x="122846" y="150985"/>
                      </a:lnTo>
                      <a:cubicBezTo>
                        <a:pt x="134142" y="160869"/>
                        <a:pt x="141505" y="164601"/>
                        <a:pt x="144934" y="164500"/>
                      </a:cubicBezTo>
                      <a:lnTo>
                        <a:pt x="144934" y="164500"/>
                      </a:lnTo>
                      <a:cubicBezTo>
                        <a:pt x="149977" y="165307"/>
                        <a:pt x="152297" y="154011"/>
                        <a:pt x="154717" y="135857"/>
                      </a:cubicBezTo>
                      <a:lnTo>
                        <a:pt x="154717" y="135857"/>
                      </a:lnTo>
                      <a:cubicBezTo>
                        <a:pt x="154818" y="134747"/>
                        <a:pt x="154919" y="133738"/>
                        <a:pt x="154919" y="132932"/>
                      </a:cubicBezTo>
                      <a:lnTo>
                        <a:pt x="154919" y="132932"/>
                      </a:lnTo>
                      <a:cubicBezTo>
                        <a:pt x="155625" y="108524"/>
                        <a:pt x="104187" y="75240"/>
                        <a:pt x="88856" y="56279"/>
                      </a:cubicBezTo>
                      <a:lnTo>
                        <a:pt x="88856" y="56279"/>
                      </a:lnTo>
                      <a:cubicBezTo>
                        <a:pt x="86637" y="53556"/>
                        <a:pt x="85831" y="50228"/>
                        <a:pt x="85831" y="46899"/>
                      </a:cubicBezTo>
                      <a:lnTo>
                        <a:pt x="85831" y="46899"/>
                      </a:lnTo>
                      <a:cubicBezTo>
                        <a:pt x="86032" y="33182"/>
                        <a:pt x="99144" y="15936"/>
                        <a:pt x="111348" y="1614"/>
                      </a:cubicBezTo>
                      <a:lnTo>
                        <a:pt x="111348" y="1614"/>
                      </a:lnTo>
                      <a:lnTo>
                        <a:pt x="115987" y="2219"/>
                      </a:lnTo>
                      <a:cubicBezTo>
                        <a:pt x="118206" y="6354"/>
                        <a:pt x="125569" y="17348"/>
                        <a:pt x="155423" y="17448"/>
                      </a:cubicBezTo>
                      <a:lnTo>
                        <a:pt x="155423" y="17448"/>
                      </a:lnTo>
                      <a:cubicBezTo>
                        <a:pt x="190522" y="17650"/>
                        <a:pt x="192337" y="403"/>
                        <a:pt x="228445" y="0"/>
                      </a:cubicBezTo>
                      <a:lnTo>
                        <a:pt x="228445" y="0"/>
                      </a:lnTo>
                      <a:cubicBezTo>
                        <a:pt x="230462" y="0"/>
                        <a:pt x="232681" y="101"/>
                        <a:pt x="234799" y="202"/>
                      </a:cubicBezTo>
                      <a:lnTo>
                        <a:pt x="234799" y="202"/>
                      </a:lnTo>
                      <a:cubicBezTo>
                        <a:pt x="278168" y="3127"/>
                        <a:pt x="303181" y="59305"/>
                        <a:pt x="358350" y="92790"/>
                      </a:cubicBezTo>
                      <a:lnTo>
                        <a:pt x="358350" y="92790"/>
                      </a:lnTo>
                      <a:cubicBezTo>
                        <a:pt x="415033" y="127586"/>
                        <a:pt x="404443" y="137269"/>
                        <a:pt x="472724" y="137470"/>
                      </a:cubicBezTo>
                      <a:lnTo>
                        <a:pt x="472724" y="137470"/>
                      </a:lnTo>
                      <a:cubicBezTo>
                        <a:pt x="522851" y="137571"/>
                        <a:pt x="547561" y="108120"/>
                        <a:pt x="570658" y="107515"/>
                      </a:cubicBezTo>
                      <a:lnTo>
                        <a:pt x="570658" y="107515"/>
                      </a:lnTo>
                      <a:cubicBezTo>
                        <a:pt x="578727" y="107414"/>
                        <a:pt x="586190" y="111751"/>
                        <a:pt x="592948" y="121333"/>
                      </a:cubicBezTo>
                      <a:lnTo>
                        <a:pt x="592948" y="121333"/>
                      </a:lnTo>
                      <a:cubicBezTo>
                        <a:pt x="598999" y="130007"/>
                        <a:pt x="601823" y="136159"/>
                        <a:pt x="601924" y="141605"/>
                      </a:cubicBezTo>
                      <a:lnTo>
                        <a:pt x="601924" y="141605"/>
                      </a:lnTo>
                      <a:cubicBezTo>
                        <a:pt x="600008" y="160264"/>
                        <a:pt x="572877" y="157138"/>
                        <a:pt x="554218" y="184672"/>
                      </a:cubicBezTo>
                      <a:lnTo>
                        <a:pt x="554218" y="184672"/>
                      </a:lnTo>
                      <a:cubicBezTo>
                        <a:pt x="549679" y="191026"/>
                        <a:pt x="547864" y="196977"/>
                        <a:pt x="547864" y="202121"/>
                      </a:cubicBezTo>
                      <a:lnTo>
                        <a:pt x="547864" y="202121"/>
                      </a:lnTo>
                      <a:cubicBezTo>
                        <a:pt x="547864" y="221082"/>
                        <a:pt x="573684" y="235606"/>
                        <a:pt x="592948" y="235606"/>
                      </a:cubicBezTo>
                      <a:lnTo>
                        <a:pt x="592948" y="235606"/>
                      </a:lnTo>
                      <a:cubicBezTo>
                        <a:pt x="596579" y="235606"/>
                        <a:pt x="599907" y="235101"/>
                        <a:pt x="602529" y="234093"/>
                      </a:cubicBezTo>
                      <a:lnTo>
                        <a:pt x="602529" y="234093"/>
                      </a:lnTo>
                      <a:cubicBezTo>
                        <a:pt x="624617" y="226629"/>
                        <a:pt x="631677" y="202020"/>
                        <a:pt x="663650" y="201818"/>
                      </a:cubicBezTo>
                      <a:lnTo>
                        <a:pt x="663650" y="201818"/>
                      </a:lnTo>
                      <a:cubicBezTo>
                        <a:pt x="695319" y="202020"/>
                        <a:pt x="733746" y="230260"/>
                        <a:pt x="761684" y="249524"/>
                      </a:cubicBezTo>
                      <a:lnTo>
                        <a:pt x="761684" y="249524"/>
                      </a:lnTo>
                      <a:cubicBezTo>
                        <a:pt x="778225" y="261022"/>
                        <a:pt x="786294" y="265359"/>
                        <a:pt x="792244" y="265258"/>
                      </a:cubicBezTo>
                      <a:lnTo>
                        <a:pt x="792244" y="265258"/>
                      </a:lnTo>
                      <a:cubicBezTo>
                        <a:pt x="796077" y="265258"/>
                        <a:pt x="800010" y="263543"/>
                        <a:pt x="805759" y="260215"/>
                      </a:cubicBezTo>
                      <a:lnTo>
                        <a:pt x="805759" y="260215"/>
                      </a:lnTo>
                      <a:cubicBezTo>
                        <a:pt x="808180" y="258702"/>
                        <a:pt x="810500" y="257996"/>
                        <a:pt x="812719" y="257996"/>
                      </a:cubicBezTo>
                      <a:lnTo>
                        <a:pt x="812719" y="257996"/>
                      </a:lnTo>
                      <a:cubicBezTo>
                        <a:pt x="826637" y="259610"/>
                        <a:pt x="826334" y="280891"/>
                        <a:pt x="837126" y="290574"/>
                      </a:cubicBezTo>
                      <a:lnTo>
                        <a:pt x="837126" y="290574"/>
                      </a:lnTo>
                      <a:cubicBezTo>
                        <a:pt x="838942" y="292490"/>
                        <a:pt x="842774" y="293801"/>
                        <a:pt x="848019" y="293801"/>
                      </a:cubicBezTo>
                      <a:lnTo>
                        <a:pt x="848019" y="293801"/>
                      </a:lnTo>
                      <a:cubicBezTo>
                        <a:pt x="866476" y="293902"/>
                        <a:pt x="899154" y="278975"/>
                        <a:pt x="908332" y="271108"/>
                      </a:cubicBezTo>
                      <a:lnTo>
                        <a:pt x="908332" y="271108"/>
                      </a:lnTo>
                      <a:cubicBezTo>
                        <a:pt x="912467" y="267578"/>
                        <a:pt x="918015" y="266569"/>
                        <a:pt x="924268" y="266468"/>
                      </a:cubicBezTo>
                      <a:lnTo>
                        <a:pt x="924268" y="266468"/>
                      </a:lnTo>
                      <a:cubicBezTo>
                        <a:pt x="942523" y="266569"/>
                        <a:pt x="968747" y="276655"/>
                        <a:pt x="992852" y="287951"/>
                      </a:cubicBezTo>
                      <a:lnTo>
                        <a:pt x="992852" y="287951"/>
                      </a:lnTo>
                      <a:cubicBezTo>
                        <a:pt x="1023614" y="302374"/>
                        <a:pt x="1133550" y="306913"/>
                        <a:pt x="1163202" y="306913"/>
                      </a:cubicBezTo>
                      <a:lnTo>
                        <a:pt x="1163202" y="306913"/>
                      </a:lnTo>
                      <a:cubicBezTo>
                        <a:pt x="1190333" y="307619"/>
                        <a:pt x="1187711" y="273327"/>
                        <a:pt x="1206773" y="260215"/>
                      </a:cubicBezTo>
                      <a:lnTo>
                        <a:pt x="1206773" y="260215"/>
                      </a:lnTo>
                      <a:cubicBezTo>
                        <a:pt x="1210303" y="257895"/>
                        <a:pt x="1214842" y="257290"/>
                        <a:pt x="1219784" y="257189"/>
                      </a:cubicBezTo>
                      <a:lnTo>
                        <a:pt x="1219784" y="257189"/>
                      </a:lnTo>
                      <a:cubicBezTo>
                        <a:pt x="1241670" y="257290"/>
                        <a:pt x="1277374" y="271612"/>
                        <a:pt x="1288267" y="271410"/>
                      </a:cubicBezTo>
                      <a:lnTo>
                        <a:pt x="1288267" y="271410"/>
                      </a:lnTo>
                      <a:cubicBezTo>
                        <a:pt x="1289779" y="271511"/>
                        <a:pt x="1289981" y="271410"/>
                        <a:pt x="1289981" y="271410"/>
                      </a:cubicBezTo>
                      <a:lnTo>
                        <a:pt x="1289981" y="271410"/>
                      </a:lnTo>
                      <a:cubicBezTo>
                        <a:pt x="1296537" y="265258"/>
                        <a:pt x="1330930" y="257189"/>
                        <a:pt x="1353320" y="256887"/>
                      </a:cubicBezTo>
                      <a:lnTo>
                        <a:pt x="1353320" y="256887"/>
                      </a:lnTo>
                      <a:cubicBezTo>
                        <a:pt x="1361893" y="257088"/>
                        <a:pt x="1369054" y="257694"/>
                        <a:pt x="1371777" y="263947"/>
                      </a:cubicBezTo>
                      <a:lnTo>
                        <a:pt x="1371777" y="263947"/>
                      </a:lnTo>
                      <a:cubicBezTo>
                        <a:pt x="1373089" y="271310"/>
                        <a:pt x="1407179" y="283513"/>
                        <a:pt x="1423013" y="282908"/>
                      </a:cubicBezTo>
                      <a:lnTo>
                        <a:pt x="1423013" y="282908"/>
                      </a:lnTo>
                      <a:cubicBezTo>
                        <a:pt x="1426544" y="283009"/>
                        <a:pt x="1429166" y="282303"/>
                        <a:pt x="1429771" y="281900"/>
                      </a:cubicBezTo>
                      <a:lnTo>
                        <a:pt x="1429771" y="281900"/>
                      </a:lnTo>
                      <a:cubicBezTo>
                        <a:pt x="1433604" y="278874"/>
                        <a:pt x="1440160" y="277664"/>
                        <a:pt x="1447623" y="277563"/>
                      </a:cubicBezTo>
                      <a:lnTo>
                        <a:pt x="1447623" y="277563"/>
                      </a:lnTo>
                      <a:cubicBezTo>
                        <a:pt x="1462449" y="277563"/>
                        <a:pt x="1482218" y="283614"/>
                        <a:pt x="1485647" y="302777"/>
                      </a:cubicBezTo>
                      <a:lnTo>
                        <a:pt x="1485647" y="302777"/>
                      </a:lnTo>
                      <a:cubicBezTo>
                        <a:pt x="1488874" y="324059"/>
                        <a:pt x="1516510" y="335153"/>
                        <a:pt x="1542329" y="335153"/>
                      </a:cubicBezTo>
                      <a:lnTo>
                        <a:pt x="1542329" y="335153"/>
                      </a:lnTo>
                      <a:cubicBezTo>
                        <a:pt x="1544548" y="335153"/>
                        <a:pt x="1546969" y="335052"/>
                        <a:pt x="1549188" y="334951"/>
                      </a:cubicBezTo>
                      <a:lnTo>
                        <a:pt x="1549188" y="334951"/>
                      </a:lnTo>
                      <a:cubicBezTo>
                        <a:pt x="1561896" y="333237"/>
                        <a:pt x="1562904" y="330816"/>
                        <a:pt x="1563509" y="321941"/>
                      </a:cubicBezTo>
                      <a:lnTo>
                        <a:pt x="1563509" y="321941"/>
                      </a:lnTo>
                      <a:cubicBezTo>
                        <a:pt x="1563509" y="319016"/>
                        <a:pt x="1563207" y="315183"/>
                        <a:pt x="1562602" y="311048"/>
                      </a:cubicBezTo>
                      <a:lnTo>
                        <a:pt x="1562602" y="311048"/>
                      </a:lnTo>
                      <a:cubicBezTo>
                        <a:pt x="1562501" y="309838"/>
                        <a:pt x="1563106" y="308627"/>
                        <a:pt x="1564215" y="308224"/>
                      </a:cubicBezTo>
                      <a:lnTo>
                        <a:pt x="1564215" y="308224"/>
                      </a:lnTo>
                      <a:cubicBezTo>
                        <a:pt x="1565325" y="307720"/>
                        <a:pt x="1566737" y="308022"/>
                        <a:pt x="1567544" y="308930"/>
                      </a:cubicBezTo>
                      <a:lnTo>
                        <a:pt x="1567544" y="308930"/>
                      </a:lnTo>
                      <a:cubicBezTo>
                        <a:pt x="1578840" y="322243"/>
                        <a:pt x="1588018" y="333640"/>
                        <a:pt x="1590640" y="338683"/>
                      </a:cubicBezTo>
                      <a:lnTo>
                        <a:pt x="1590640" y="338683"/>
                      </a:lnTo>
                      <a:cubicBezTo>
                        <a:pt x="1596995" y="351896"/>
                        <a:pt x="1606374" y="379329"/>
                        <a:pt x="1619284" y="384574"/>
                      </a:cubicBezTo>
                      <a:lnTo>
                        <a:pt x="1619284" y="384574"/>
                      </a:lnTo>
                      <a:cubicBezTo>
                        <a:pt x="1632497" y="390726"/>
                        <a:pt x="1641877" y="415638"/>
                        <a:pt x="1642180" y="431876"/>
                      </a:cubicBezTo>
                      <a:lnTo>
                        <a:pt x="1642180" y="431876"/>
                      </a:lnTo>
                      <a:cubicBezTo>
                        <a:pt x="1642079" y="437424"/>
                        <a:pt x="1641171" y="442467"/>
                        <a:pt x="1636935" y="445190"/>
                      </a:cubicBezTo>
                      <a:lnTo>
                        <a:pt x="1636935" y="445190"/>
                      </a:lnTo>
                      <a:lnTo>
                        <a:pt x="1635422" y="442769"/>
                      </a:lnTo>
                      <a:lnTo>
                        <a:pt x="1636834" y="445190"/>
                      </a:lnTo>
                      <a:cubicBezTo>
                        <a:pt x="1627857" y="450737"/>
                        <a:pt x="1618982" y="450132"/>
                        <a:pt x="1618578" y="470707"/>
                      </a:cubicBezTo>
                      <a:lnTo>
                        <a:pt x="1618578" y="470707"/>
                      </a:lnTo>
                      <a:cubicBezTo>
                        <a:pt x="1618578" y="477767"/>
                        <a:pt x="1619789" y="487248"/>
                        <a:pt x="1623016" y="500158"/>
                      </a:cubicBezTo>
                      <a:lnTo>
                        <a:pt x="1623016" y="500158"/>
                      </a:lnTo>
                      <a:cubicBezTo>
                        <a:pt x="1625639" y="510647"/>
                        <a:pt x="1626950" y="519220"/>
                        <a:pt x="1626950" y="526683"/>
                      </a:cubicBezTo>
                      <a:lnTo>
                        <a:pt x="1626950" y="526683"/>
                      </a:lnTo>
                      <a:cubicBezTo>
                        <a:pt x="1626849" y="556134"/>
                        <a:pt x="1607181" y="563799"/>
                        <a:pt x="1583883" y="590527"/>
                      </a:cubicBezTo>
                      <a:lnTo>
                        <a:pt x="1583883" y="590527"/>
                      </a:lnTo>
                      <a:cubicBezTo>
                        <a:pt x="1553827" y="625020"/>
                        <a:pt x="1539505" y="640956"/>
                        <a:pt x="1528714" y="705001"/>
                      </a:cubicBezTo>
                      <a:lnTo>
                        <a:pt x="1528714" y="705001"/>
                      </a:lnTo>
                      <a:cubicBezTo>
                        <a:pt x="1526797" y="715995"/>
                        <a:pt x="1526091" y="727089"/>
                        <a:pt x="1526091" y="737780"/>
                      </a:cubicBezTo>
                      <a:lnTo>
                        <a:pt x="1526091" y="737780"/>
                      </a:lnTo>
                      <a:cubicBezTo>
                        <a:pt x="1526091" y="780948"/>
                        <a:pt x="1538396" y="819072"/>
                        <a:pt x="1538396" y="845497"/>
                      </a:cubicBezTo>
                      <a:lnTo>
                        <a:pt x="1538396" y="845497"/>
                      </a:lnTo>
                      <a:cubicBezTo>
                        <a:pt x="1538396" y="849733"/>
                        <a:pt x="1538093" y="853667"/>
                        <a:pt x="1537387" y="857298"/>
                      </a:cubicBezTo>
                      <a:lnTo>
                        <a:pt x="1537387" y="857298"/>
                      </a:lnTo>
                      <a:cubicBezTo>
                        <a:pt x="1533656" y="874343"/>
                        <a:pt x="1518728" y="880294"/>
                        <a:pt x="1502188" y="880193"/>
                      </a:cubicBezTo>
                      <a:lnTo>
                        <a:pt x="1502188" y="880193"/>
                      </a:lnTo>
                      <a:cubicBezTo>
                        <a:pt x="1486353" y="880193"/>
                        <a:pt x="1468097" y="875452"/>
                        <a:pt x="1452263" y="870208"/>
                      </a:cubicBezTo>
                      <a:lnTo>
                        <a:pt x="1452263" y="870208"/>
                      </a:lnTo>
                      <a:cubicBezTo>
                        <a:pt x="1440261" y="865972"/>
                        <a:pt x="1433604" y="863753"/>
                        <a:pt x="1429065" y="863753"/>
                      </a:cubicBezTo>
                      <a:lnTo>
                        <a:pt x="1429065" y="863753"/>
                      </a:lnTo>
                      <a:cubicBezTo>
                        <a:pt x="1422005" y="863551"/>
                        <a:pt x="1416559" y="869905"/>
                        <a:pt x="1394975" y="888967"/>
                      </a:cubicBezTo>
                      <a:lnTo>
                        <a:pt x="1394975" y="888967"/>
                      </a:lnTo>
                      <a:cubicBezTo>
                        <a:pt x="1378333" y="903289"/>
                        <a:pt x="1362297" y="905407"/>
                        <a:pt x="1348883" y="905407"/>
                      </a:cubicBezTo>
                      <a:lnTo>
                        <a:pt x="1348883" y="905407"/>
                      </a:lnTo>
                      <a:cubicBezTo>
                        <a:pt x="1343739" y="905407"/>
                        <a:pt x="1338897" y="905206"/>
                        <a:pt x="1334561" y="905206"/>
                      </a:cubicBezTo>
                      <a:lnTo>
                        <a:pt x="1334561" y="905206"/>
                      </a:lnTo>
                      <a:cubicBezTo>
                        <a:pt x="1325685" y="905206"/>
                        <a:pt x="1319129" y="906315"/>
                        <a:pt x="1313582" y="912367"/>
                      </a:cubicBezTo>
                      <a:lnTo>
                        <a:pt x="1313582" y="912367"/>
                      </a:lnTo>
                      <a:cubicBezTo>
                        <a:pt x="1309043" y="917409"/>
                        <a:pt x="1306724" y="926285"/>
                        <a:pt x="1306724" y="936976"/>
                      </a:cubicBezTo>
                      <a:lnTo>
                        <a:pt x="1306724" y="936976"/>
                      </a:lnTo>
                      <a:cubicBezTo>
                        <a:pt x="1306623" y="960779"/>
                        <a:pt x="1318121" y="992045"/>
                        <a:pt x="1330526" y="1002837"/>
                      </a:cubicBezTo>
                      <a:lnTo>
                        <a:pt x="1330526" y="1002837"/>
                      </a:lnTo>
                      <a:cubicBezTo>
                        <a:pt x="1342024" y="1013124"/>
                        <a:pt x="1353119" y="1028354"/>
                        <a:pt x="1353320" y="1041264"/>
                      </a:cubicBezTo>
                      <a:lnTo>
                        <a:pt x="1353320" y="1041264"/>
                      </a:lnTo>
                      <a:cubicBezTo>
                        <a:pt x="1353522" y="1050845"/>
                        <a:pt x="1345958" y="1058410"/>
                        <a:pt x="1331031" y="1059116"/>
                      </a:cubicBezTo>
                      <a:lnTo>
                        <a:pt x="1331031" y="1059116"/>
                      </a:lnTo>
                      <a:cubicBezTo>
                        <a:pt x="1297445" y="1061536"/>
                        <a:pt x="1284535" y="1072429"/>
                        <a:pt x="1273440" y="1112773"/>
                      </a:cubicBezTo>
                      <a:lnTo>
                        <a:pt x="1273440" y="1112773"/>
                      </a:lnTo>
                      <a:cubicBezTo>
                        <a:pt x="1272230" y="1117412"/>
                        <a:pt x="1271726" y="1121648"/>
                        <a:pt x="1271726" y="1125582"/>
                      </a:cubicBezTo>
                      <a:lnTo>
                        <a:pt x="1271726" y="1125582"/>
                      </a:lnTo>
                      <a:cubicBezTo>
                        <a:pt x="1271221" y="1153620"/>
                        <a:pt x="1300370" y="1162597"/>
                        <a:pt x="1301479" y="1182869"/>
                      </a:cubicBezTo>
                      <a:lnTo>
                        <a:pt x="1301479" y="1182869"/>
                      </a:lnTo>
                      <a:cubicBezTo>
                        <a:pt x="1301378" y="1203747"/>
                        <a:pt x="1283425" y="1234206"/>
                        <a:pt x="1237837" y="1260228"/>
                      </a:cubicBezTo>
                      <a:lnTo>
                        <a:pt x="1237837" y="1260228"/>
                      </a:lnTo>
                      <a:cubicBezTo>
                        <a:pt x="1193762" y="1285442"/>
                        <a:pt x="1212119" y="1306118"/>
                        <a:pt x="1195376" y="1324172"/>
                      </a:cubicBezTo>
                      <a:lnTo>
                        <a:pt x="1195376" y="1324172"/>
                      </a:lnTo>
                      <a:cubicBezTo>
                        <a:pt x="1191241" y="1328307"/>
                        <a:pt x="1186198" y="1330224"/>
                        <a:pt x="1180953" y="1330224"/>
                      </a:cubicBezTo>
                      <a:lnTo>
                        <a:pt x="1180953" y="1330224"/>
                      </a:lnTo>
                      <a:cubicBezTo>
                        <a:pt x="1164513" y="1329618"/>
                        <a:pt x="1146762" y="1313078"/>
                        <a:pt x="1133247" y="1293309"/>
                      </a:cubicBezTo>
                      <a:lnTo>
                        <a:pt x="1133247" y="1293309"/>
                      </a:lnTo>
                      <a:close/>
                      <a:moveTo>
                        <a:pt x="968747" y="1087457"/>
                      </a:moveTo>
                      <a:cubicBezTo>
                        <a:pt x="993659" y="1091895"/>
                        <a:pt x="1014032" y="1112672"/>
                        <a:pt x="1018268" y="1152006"/>
                      </a:cubicBezTo>
                      <a:lnTo>
                        <a:pt x="1018268" y="1152006"/>
                      </a:lnTo>
                      <a:cubicBezTo>
                        <a:pt x="1022504" y="1189929"/>
                        <a:pt x="1034708" y="1195275"/>
                        <a:pt x="1058511" y="1228054"/>
                      </a:cubicBezTo>
                      <a:lnTo>
                        <a:pt x="1058511" y="1228054"/>
                      </a:lnTo>
                      <a:cubicBezTo>
                        <a:pt x="1081103" y="1259219"/>
                        <a:pt x="1119228" y="1263153"/>
                        <a:pt x="1137987" y="1290284"/>
                      </a:cubicBezTo>
                      <a:lnTo>
                        <a:pt x="1137987" y="1290284"/>
                      </a:lnTo>
                      <a:cubicBezTo>
                        <a:pt x="1150595" y="1309548"/>
                        <a:pt x="1168447" y="1324575"/>
                        <a:pt x="1180953" y="1324273"/>
                      </a:cubicBezTo>
                      <a:lnTo>
                        <a:pt x="1180953" y="1324273"/>
                      </a:lnTo>
                      <a:cubicBezTo>
                        <a:pt x="1184887" y="1324273"/>
                        <a:pt x="1188316" y="1323063"/>
                        <a:pt x="1191543" y="1319835"/>
                      </a:cubicBezTo>
                      <a:lnTo>
                        <a:pt x="1191543" y="1319835"/>
                      </a:lnTo>
                      <a:cubicBezTo>
                        <a:pt x="1204957" y="1307934"/>
                        <a:pt x="1189022" y="1281307"/>
                        <a:pt x="1235114" y="1255084"/>
                      </a:cubicBezTo>
                      <a:lnTo>
                        <a:pt x="1235114" y="1255084"/>
                      </a:lnTo>
                      <a:cubicBezTo>
                        <a:pt x="1279492" y="1229668"/>
                        <a:pt x="1295932" y="1200116"/>
                        <a:pt x="1295831" y="1182466"/>
                      </a:cubicBezTo>
                      <a:lnTo>
                        <a:pt x="1295831" y="1182466"/>
                      </a:lnTo>
                      <a:cubicBezTo>
                        <a:pt x="1297041" y="1168749"/>
                        <a:pt x="1266481" y="1156949"/>
                        <a:pt x="1266078" y="1125178"/>
                      </a:cubicBezTo>
                      <a:lnTo>
                        <a:pt x="1266078" y="1125178"/>
                      </a:lnTo>
                      <a:cubicBezTo>
                        <a:pt x="1266078" y="1120740"/>
                        <a:pt x="1266683" y="1116000"/>
                        <a:pt x="1267994" y="1110856"/>
                      </a:cubicBezTo>
                      <a:lnTo>
                        <a:pt x="1267994" y="1110856"/>
                      </a:lnTo>
                      <a:cubicBezTo>
                        <a:pt x="1278483" y="1069706"/>
                        <a:pt x="1295528" y="1054880"/>
                        <a:pt x="1330526" y="1053064"/>
                      </a:cubicBezTo>
                      <a:lnTo>
                        <a:pt x="1330526" y="1053064"/>
                      </a:lnTo>
                      <a:cubicBezTo>
                        <a:pt x="1344142" y="1051955"/>
                        <a:pt x="1347370" y="1047315"/>
                        <a:pt x="1347571" y="1040759"/>
                      </a:cubicBezTo>
                      <a:lnTo>
                        <a:pt x="1347571" y="1040759"/>
                      </a:lnTo>
                      <a:cubicBezTo>
                        <a:pt x="1347773" y="1031077"/>
                        <a:pt x="1337587" y="1015948"/>
                        <a:pt x="1326694" y="1006367"/>
                      </a:cubicBezTo>
                      <a:lnTo>
                        <a:pt x="1326694" y="1006367"/>
                      </a:lnTo>
                      <a:cubicBezTo>
                        <a:pt x="1312271" y="993356"/>
                        <a:pt x="1301076" y="961888"/>
                        <a:pt x="1300975" y="936371"/>
                      </a:cubicBezTo>
                      <a:lnTo>
                        <a:pt x="1300975" y="936371"/>
                      </a:lnTo>
                      <a:cubicBezTo>
                        <a:pt x="1300975" y="924974"/>
                        <a:pt x="1303093" y="914888"/>
                        <a:pt x="1309245" y="908030"/>
                      </a:cubicBezTo>
                      <a:lnTo>
                        <a:pt x="1309245" y="908030"/>
                      </a:lnTo>
                      <a:cubicBezTo>
                        <a:pt x="1316104" y="900264"/>
                        <a:pt x="1325080" y="899053"/>
                        <a:pt x="1334258" y="899053"/>
                      </a:cubicBezTo>
                      <a:lnTo>
                        <a:pt x="1334258" y="899053"/>
                      </a:lnTo>
                      <a:cubicBezTo>
                        <a:pt x="1338797" y="899053"/>
                        <a:pt x="1343537" y="899255"/>
                        <a:pt x="1348580" y="899255"/>
                      </a:cubicBezTo>
                      <a:lnTo>
                        <a:pt x="1348580" y="899255"/>
                      </a:lnTo>
                      <a:cubicBezTo>
                        <a:pt x="1361591" y="899255"/>
                        <a:pt x="1375509" y="897440"/>
                        <a:pt x="1391042" y="884227"/>
                      </a:cubicBezTo>
                      <a:lnTo>
                        <a:pt x="1391042" y="884227"/>
                      </a:lnTo>
                      <a:cubicBezTo>
                        <a:pt x="1412323" y="865669"/>
                        <a:pt x="1417769" y="857903"/>
                        <a:pt x="1428763" y="857600"/>
                      </a:cubicBezTo>
                      <a:lnTo>
                        <a:pt x="1428763" y="857600"/>
                      </a:lnTo>
                      <a:cubicBezTo>
                        <a:pt x="1435016" y="857701"/>
                        <a:pt x="1441773" y="860324"/>
                        <a:pt x="1453675" y="864257"/>
                      </a:cubicBezTo>
                      <a:lnTo>
                        <a:pt x="1453675" y="864257"/>
                      </a:lnTo>
                      <a:cubicBezTo>
                        <a:pt x="1469106" y="869401"/>
                        <a:pt x="1487261" y="874040"/>
                        <a:pt x="1501885" y="874040"/>
                      </a:cubicBezTo>
                      <a:lnTo>
                        <a:pt x="1501885" y="874040"/>
                      </a:lnTo>
                      <a:cubicBezTo>
                        <a:pt x="1517619" y="873839"/>
                        <a:pt x="1528512" y="869300"/>
                        <a:pt x="1531537" y="855583"/>
                      </a:cubicBezTo>
                      <a:lnTo>
                        <a:pt x="1531537" y="855583"/>
                      </a:lnTo>
                      <a:cubicBezTo>
                        <a:pt x="1532143" y="852356"/>
                        <a:pt x="1532445" y="848927"/>
                        <a:pt x="1532445" y="844892"/>
                      </a:cubicBezTo>
                      <a:lnTo>
                        <a:pt x="1532445" y="844892"/>
                      </a:lnTo>
                      <a:cubicBezTo>
                        <a:pt x="1532546" y="819980"/>
                        <a:pt x="1520140" y="781150"/>
                        <a:pt x="1520140" y="737175"/>
                      </a:cubicBezTo>
                      <a:lnTo>
                        <a:pt x="1520140" y="737175"/>
                      </a:lnTo>
                      <a:cubicBezTo>
                        <a:pt x="1520140" y="726283"/>
                        <a:pt x="1520846" y="714885"/>
                        <a:pt x="1522864" y="703488"/>
                      </a:cubicBezTo>
                      <a:lnTo>
                        <a:pt x="1522864" y="703488"/>
                      </a:lnTo>
                      <a:cubicBezTo>
                        <a:pt x="1533555" y="638838"/>
                        <a:pt x="1549289" y="620482"/>
                        <a:pt x="1579243" y="586291"/>
                      </a:cubicBezTo>
                      <a:lnTo>
                        <a:pt x="1579243" y="586291"/>
                      </a:lnTo>
                      <a:cubicBezTo>
                        <a:pt x="1603853" y="558353"/>
                        <a:pt x="1620999" y="551999"/>
                        <a:pt x="1620898" y="526078"/>
                      </a:cubicBezTo>
                      <a:lnTo>
                        <a:pt x="1620898" y="526078"/>
                      </a:lnTo>
                      <a:cubicBezTo>
                        <a:pt x="1620898" y="519422"/>
                        <a:pt x="1619789" y="511050"/>
                        <a:pt x="1617267" y="500864"/>
                      </a:cubicBezTo>
                      <a:lnTo>
                        <a:pt x="1617267" y="500864"/>
                      </a:lnTo>
                      <a:cubicBezTo>
                        <a:pt x="1613939" y="487752"/>
                        <a:pt x="1612627" y="477868"/>
                        <a:pt x="1612627" y="470102"/>
                      </a:cubicBezTo>
                      <a:lnTo>
                        <a:pt x="1612627" y="470102"/>
                      </a:lnTo>
                      <a:cubicBezTo>
                        <a:pt x="1612123" y="447005"/>
                        <a:pt x="1626647" y="443778"/>
                        <a:pt x="1633606" y="439844"/>
                      </a:cubicBezTo>
                      <a:lnTo>
                        <a:pt x="1633606" y="439844"/>
                      </a:lnTo>
                      <a:cubicBezTo>
                        <a:pt x="1634816" y="439239"/>
                        <a:pt x="1636229" y="436213"/>
                        <a:pt x="1636229" y="431271"/>
                      </a:cubicBezTo>
                      <a:lnTo>
                        <a:pt x="1636229" y="431271"/>
                      </a:lnTo>
                      <a:cubicBezTo>
                        <a:pt x="1636431" y="417252"/>
                        <a:pt x="1625740" y="392239"/>
                        <a:pt x="1616763" y="389112"/>
                      </a:cubicBezTo>
                      <a:lnTo>
                        <a:pt x="1616763" y="389112"/>
                      </a:lnTo>
                      <a:cubicBezTo>
                        <a:pt x="1599819" y="381346"/>
                        <a:pt x="1591851" y="353005"/>
                        <a:pt x="1585396" y="340599"/>
                      </a:cubicBezTo>
                      <a:lnTo>
                        <a:pt x="1585396" y="340599"/>
                      </a:lnTo>
                      <a:cubicBezTo>
                        <a:pt x="1583883" y="337574"/>
                        <a:pt x="1577227" y="329001"/>
                        <a:pt x="1568653" y="318814"/>
                      </a:cubicBezTo>
                      <a:lnTo>
                        <a:pt x="1568653" y="318814"/>
                      </a:lnTo>
                      <a:cubicBezTo>
                        <a:pt x="1568653" y="319722"/>
                        <a:pt x="1568754" y="320529"/>
                        <a:pt x="1568754" y="321436"/>
                      </a:cubicBezTo>
                      <a:lnTo>
                        <a:pt x="1568754" y="321436"/>
                      </a:lnTo>
                      <a:cubicBezTo>
                        <a:pt x="1569258" y="331724"/>
                        <a:pt x="1563308" y="339288"/>
                        <a:pt x="1549289" y="339994"/>
                      </a:cubicBezTo>
                      <a:lnTo>
                        <a:pt x="1549289" y="339994"/>
                      </a:lnTo>
                      <a:cubicBezTo>
                        <a:pt x="1546868" y="340095"/>
                        <a:pt x="1544347" y="340196"/>
                        <a:pt x="1542026" y="340196"/>
                      </a:cubicBezTo>
                      <a:lnTo>
                        <a:pt x="1542026" y="340196"/>
                      </a:lnTo>
                      <a:cubicBezTo>
                        <a:pt x="1515097" y="340095"/>
                        <a:pt x="1484437" y="329202"/>
                        <a:pt x="1479797" y="303181"/>
                      </a:cubicBezTo>
                      <a:lnTo>
                        <a:pt x="1479797" y="303181"/>
                      </a:lnTo>
                      <a:cubicBezTo>
                        <a:pt x="1477477" y="288153"/>
                        <a:pt x="1461138" y="282707"/>
                        <a:pt x="1447421" y="282606"/>
                      </a:cubicBezTo>
                      <a:lnTo>
                        <a:pt x="1447421" y="282606"/>
                      </a:lnTo>
                      <a:cubicBezTo>
                        <a:pt x="1440563" y="282606"/>
                        <a:pt x="1434713" y="284219"/>
                        <a:pt x="1432898" y="285631"/>
                      </a:cubicBezTo>
                      <a:lnTo>
                        <a:pt x="1432898" y="285631"/>
                      </a:lnTo>
                      <a:cubicBezTo>
                        <a:pt x="1430275" y="287447"/>
                        <a:pt x="1427048" y="287850"/>
                        <a:pt x="1422913" y="287850"/>
                      </a:cubicBezTo>
                      <a:lnTo>
                        <a:pt x="1422913" y="287850"/>
                      </a:lnTo>
                      <a:cubicBezTo>
                        <a:pt x="1404960" y="287245"/>
                        <a:pt x="1371979" y="278269"/>
                        <a:pt x="1366533" y="264955"/>
                      </a:cubicBezTo>
                      <a:lnTo>
                        <a:pt x="1366533" y="264955"/>
                      </a:lnTo>
                      <a:cubicBezTo>
                        <a:pt x="1366533" y="263846"/>
                        <a:pt x="1361490" y="261526"/>
                        <a:pt x="1353320" y="261728"/>
                      </a:cubicBezTo>
                      <a:lnTo>
                        <a:pt x="1353320" y="261728"/>
                      </a:lnTo>
                      <a:cubicBezTo>
                        <a:pt x="1332947" y="261425"/>
                        <a:pt x="1296335" y="271310"/>
                        <a:pt x="1293814" y="274537"/>
                      </a:cubicBezTo>
                      <a:lnTo>
                        <a:pt x="1293814" y="274537"/>
                      </a:lnTo>
                      <a:cubicBezTo>
                        <a:pt x="1292099" y="276151"/>
                        <a:pt x="1290183" y="276252"/>
                        <a:pt x="1288267" y="276252"/>
                      </a:cubicBezTo>
                      <a:lnTo>
                        <a:pt x="1288267" y="276252"/>
                      </a:lnTo>
                      <a:cubicBezTo>
                        <a:pt x="1274853" y="276151"/>
                        <a:pt x="1239955" y="262031"/>
                        <a:pt x="1219784" y="262031"/>
                      </a:cubicBezTo>
                      <a:lnTo>
                        <a:pt x="1219784" y="262031"/>
                      </a:lnTo>
                      <a:cubicBezTo>
                        <a:pt x="1215447" y="262031"/>
                        <a:pt x="1211917" y="262837"/>
                        <a:pt x="1209900" y="264149"/>
                      </a:cubicBezTo>
                      <a:lnTo>
                        <a:pt x="1209900" y="264149"/>
                      </a:lnTo>
                      <a:cubicBezTo>
                        <a:pt x="1194569" y="272419"/>
                        <a:pt x="1196183" y="311149"/>
                        <a:pt x="1163303" y="311855"/>
                      </a:cubicBezTo>
                      <a:lnTo>
                        <a:pt x="1163303" y="311855"/>
                      </a:lnTo>
                      <a:cubicBezTo>
                        <a:pt x="1133045" y="311754"/>
                        <a:pt x="1024017" y="307820"/>
                        <a:pt x="990532" y="292288"/>
                      </a:cubicBezTo>
                      <a:lnTo>
                        <a:pt x="990532" y="292288"/>
                      </a:lnTo>
                      <a:cubicBezTo>
                        <a:pt x="966830" y="281093"/>
                        <a:pt x="940607" y="271310"/>
                        <a:pt x="924369" y="271310"/>
                      </a:cubicBezTo>
                      <a:lnTo>
                        <a:pt x="924369" y="271310"/>
                      </a:lnTo>
                      <a:cubicBezTo>
                        <a:pt x="918721" y="271310"/>
                        <a:pt x="914586" y="272419"/>
                        <a:pt x="912064" y="274739"/>
                      </a:cubicBezTo>
                      <a:lnTo>
                        <a:pt x="912064" y="274739"/>
                      </a:lnTo>
                      <a:cubicBezTo>
                        <a:pt x="901171" y="283614"/>
                        <a:pt x="869199" y="298440"/>
                        <a:pt x="848120" y="298642"/>
                      </a:cubicBezTo>
                      <a:lnTo>
                        <a:pt x="848120" y="298642"/>
                      </a:lnTo>
                      <a:cubicBezTo>
                        <a:pt x="842169" y="298642"/>
                        <a:pt x="836824" y="297432"/>
                        <a:pt x="833193" y="293902"/>
                      </a:cubicBezTo>
                      <a:lnTo>
                        <a:pt x="833193" y="293902"/>
                      </a:lnTo>
                      <a:cubicBezTo>
                        <a:pt x="821695" y="281295"/>
                        <a:pt x="818367" y="261224"/>
                        <a:pt x="812719" y="262938"/>
                      </a:cubicBezTo>
                      <a:lnTo>
                        <a:pt x="812719" y="262938"/>
                      </a:lnTo>
                      <a:cubicBezTo>
                        <a:pt x="811710" y="262938"/>
                        <a:pt x="810399" y="263140"/>
                        <a:pt x="808583" y="264350"/>
                      </a:cubicBezTo>
                      <a:lnTo>
                        <a:pt x="808583" y="264350"/>
                      </a:lnTo>
                      <a:cubicBezTo>
                        <a:pt x="802532" y="267779"/>
                        <a:pt x="797791" y="270099"/>
                        <a:pt x="792244" y="270200"/>
                      </a:cubicBezTo>
                      <a:lnTo>
                        <a:pt x="792244" y="270200"/>
                      </a:lnTo>
                      <a:cubicBezTo>
                        <a:pt x="783570" y="270099"/>
                        <a:pt x="775199" y="264955"/>
                        <a:pt x="758558" y="253458"/>
                      </a:cubicBezTo>
                      <a:lnTo>
                        <a:pt x="758558" y="253458"/>
                      </a:lnTo>
                      <a:cubicBezTo>
                        <a:pt x="730720" y="234093"/>
                        <a:pt x="692092" y="206558"/>
                        <a:pt x="663650" y="206760"/>
                      </a:cubicBezTo>
                      <a:lnTo>
                        <a:pt x="663650" y="206760"/>
                      </a:lnTo>
                      <a:cubicBezTo>
                        <a:pt x="635409" y="206558"/>
                        <a:pt x="629660" y="229151"/>
                        <a:pt x="604446" y="238732"/>
                      </a:cubicBezTo>
                      <a:lnTo>
                        <a:pt x="604446" y="238732"/>
                      </a:lnTo>
                      <a:cubicBezTo>
                        <a:pt x="600916" y="239943"/>
                        <a:pt x="597083" y="240548"/>
                        <a:pt x="592948" y="240548"/>
                      </a:cubicBezTo>
                      <a:lnTo>
                        <a:pt x="592948" y="240548"/>
                      </a:lnTo>
                      <a:cubicBezTo>
                        <a:pt x="571667" y="240447"/>
                        <a:pt x="542821" y="225721"/>
                        <a:pt x="542317" y="201515"/>
                      </a:cubicBezTo>
                      <a:lnTo>
                        <a:pt x="542317" y="201515"/>
                      </a:lnTo>
                      <a:cubicBezTo>
                        <a:pt x="542317" y="195060"/>
                        <a:pt x="544636" y="188000"/>
                        <a:pt x="549780" y="180940"/>
                      </a:cubicBezTo>
                      <a:lnTo>
                        <a:pt x="549780" y="180940"/>
                      </a:lnTo>
                      <a:cubicBezTo>
                        <a:pt x="570557" y="152397"/>
                        <a:pt x="598192" y="151490"/>
                        <a:pt x="596377" y="141101"/>
                      </a:cubicBezTo>
                      <a:lnTo>
                        <a:pt x="596377" y="141101"/>
                      </a:lnTo>
                      <a:cubicBezTo>
                        <a:pt x="596377" y="137773"/>
                        <a:pt x="594158" y="132226"/>
                        <a:pt x="588409" y="124157"/>
                      </a:cubicBezTo>
                      <a:lnTo>
                        <a:pt x="588409" y="124157"/>
                      </a:lnTo>
                      <a:cubicBezTo>
                        <a:pt x="582055" y="115281"/>
                        <a:pt x="576710" y="112558"/>
                        <a:pt x="570658" y="112558"/>
                      </a:cubicBezTo>
                      <a:lnTo>
                        <a:pt x="570658" y="112558"/>
                      </a:lnTo>
                      <a:cubicBezTo>
                        <a:pt x="552403" y="111953"/>
                        <a:pt x="524767" y="142311"/>
                        <a:pt x="472724" y="142513"/>
                      </a:cubicBezTo>
                      <a:lnTo>
                        <a:pt x="472724" y="142513"/>
                      </a:lnTo>
                      <a:cubicBezTo>
                        <a:pt x="403737" y="142715"/>
                        <a:pt x="410293" y="130914"/>
                        <a:pt x="355526" y="97026"/>
                      </a:cubicBezTo>
                      <a:lnTo>
                        <a:pt x="355526" y="97026"/>
                      </a:lnTo>
                      <a:cubicBezTo>
                        <a:pt x="299147" y="61927"/>
                        <a:pt x="272722" y="6657"/>
                        <a:pt x="234496" y="5245"/>
                      </a:cubicBezTo>
                      <a:lnTo>
                        <a:pt x="234496" y="5245"/>
                      </a:lnTo>
                      <a:cubicBezTo>
                        <a:pt x="232479" y="5144"/>
                        <a:pt x="230462" y="5043"/>
                        <a:pt x="228445" y="5043"/>
                      </a:cubicBezTo>
                      <a:lnTo>
                        <a:pt x="228445" y="5043"/>
                      </a:lnTo>
                      <a:cubicBezTo>
                        <a:pt x="195262" y="4841"/>
                        <a:pt x="193144" y="22189"/>
                        <a:pt x="155423" y="22491"/>
                      </a:cubicBezTo>
                      <a:lnTo>
                        <a:pt x="155423" y="22491"/>
                      </a:lnTo>
                      <a:cubicBezTo>
                        <a:pt x="129301" y="22592"/>
                        <a:pt x="117803" y="13918"/>
                        <a:pt x="113063" y="7464"/>
                      </a:cubicBezTo>
                      <a:lnTo>
                        <a:pt x="113063" y="7464"/>
                      </a:lnTo>
                      <a:cubicBezTo>
                        <a:pt x="101867" y="20878"/>
                        <a:pt x="91277" y="36813"/>
                        <a:pt x="91378" y="46294"/>
                      </a:cubicBezTo>
                      <a:lnTo>
                        <a:pt x="91378" y="46294"/>
                      </a:lnTo>
                      <a:cubicBezTo>
                        <a:pt x="91378" y="48715"/>
                        <a:pt x="91983" y="50530"/>
                        <a:pt x="93294" y="52245"/>
                      </a:cubicBezTo>
                      <a:lnTo>
                        <a:pt x="93294" y="52245"/>
                      </a:lnTo>
                      <a:cubicBezTo>
                        <a:pt x="106809" y="70298"/>
                        <a:pt x="159861" y="102069"/>
                        <a:pt x="160567" y="132326"/>
                      </a:cubicBezTo>
                      <a:lnTo>
                        <a:pt x="160567" y="132326"/>
                      </a:lnTo>
                      <a:cubicBezTo>
                        <a:pt x="160567" y="133436"/>
                        <a:pt x="160466" y="134545"/>
                        <a:pt x="160365" y="135857"/>
                      </a:cubicBezTo>
                      <a:lnTo>
                        <a:pt x="160365" y="135857"/>
                      </a:lnTo>
                      <a:cubicBezTo>
                        <a:pt x="157339" y="153103"/>
                        <a:pt x="157642" y="168333"/>
                        <a:pt x="145035" y="169543"/>
                      </a:cubicBezTo>
                      <a:lnTo>
                        <a:pt x="145035" y="169543"/>
                      </a:lnTo>
                      <a:cubicBezTo>
                        <a:pt x="138479" y="169342"/>
                        <a:pt x="131015" y="164601"/>
                        <a:pt x="119316" y="154616"/>
                      </a:cubicBezTo>
                      <a:lnTo>
                        <a:pt x="119316" y="154616"/>
                      </a:lnTo>
                      <a:cubicBezTo>
                        <a:pt x="104086" y="141404"/>
                        <a:pt x="92891" y="135352"/>
                        <a:pt x="84822" y="135453"/>
                      </a:cubicBezTo>
                      <a:lnTo>
                        <a:pt x="84822" y="135453"/>
                      </a:lnTo>
                      <a:cubicBezTo>
                        <a:pt x="76148" y="135352"/>
                        <a:pt x="69088" y="141706"/>
                        <a:pt x="61524" y="156028"/>
                      </a:cubicBezTo>
                      <a:lnTo>
                        <a:pt x="61524" y="156028"/>
                      </a:lnTo>
                      <a:cubicBezTo>
                        <a:pt x="46496" y="183563"/>
                        <a:pt x="34090" y="224309"/>
                        <a:pt x="15532" y="238430"/>
                      </a:cubicBezTo>
                      <a:lnTo>
                        <a:pt x="15532" y="238430"/>
                      </a:lnTo>
                      <a:cubicBezTo>
                        <a:pt x="8371" y="243876"/>
                        <a:pt x="5648" y="248415"/>
                        <a:pt x="5749" y="252247"/>
                      </a:cubicBezTo>
                      <a:lnTo>
                        <a:pt x="5749" y="252247"/>
                      </a:lnTo>
                      <a:cubicBezTo>
                        <a:pt x="5547" y="257189"/>
                        <a:pt x="10288" y="263241"/>
                        <a:pt x="19869" y="270402"/>
                      </a:cubicBezTo>
                      <a:lnTo>
                        <a:pt x="19869" y="270402"/>
                      </a:lnTo>
                      <a:cubicBezTo>
                        <a:pt x="36007" y="282707"/>
                        <a:pt x="98236" y="299852"/>
                        <a:pt x="123350" y="335355"/>
                      </a:cubicBezTo>
                      <a:lnTo>
                        <a:pt x="123350" y="335355"/>
                      </a:lnTo>
                      <a:cubicBezTo>
                        <a:pt x="149170" y="372370"/>
                        <a:pt x="181545" y="399299"/>
                        <a:pt x="181848" y="426733"/>
                      </a:cubicBezTo>
                      <a:lnTo>
                        <a:pt x="181848" y="426733"/>
                      </a:lnTo>
                      <a:cubicBezTo>
                        <a:pt x="181848" y="427640"/>
                        <a:pt x="181848" y="428447"/>
                        <a:pt x="181848" y="429456"/>
                      </a:cubicBezTo>
                      <a:lnTo>
                        <a:pt x="181848" y="429456"/>
                      </a:lnTo>
                      <a:cubicBezTo>
                        <a:pt x="181747" y="430263"/>
                        <a:pt x="181747" y="431069"/>
                        <a:pt x="181747" y="431775"/>
                      </a:cubicBezTo>
                      <a:lnTo>
                        <a:pt x="181747" y="431775"/>
                      </a:lnTo>
                      <a:cubicBezTo>
                        <a:pt x="181545" y="450939"/>
                        <a:pt x="199498" y="483213"/>
                        <a:pt x="199599" y="512059"/>
                      </a:cubicBezTo>
                      <a:lnTo>
                        <a:pt x="199599" y="512059"/>
                      </a:lnTo>
                      <a:cubicBezTo>
                        <a:pt x="199599" y="520228"/>
                        <a:pt x="198086" y="528196"/>
                        <a:pt x="194355" y="535660"/>
                      </a:cubicBezTo>
                      <a:lnTo>
                        <a:pt x="194355" y="535660"/>
                      </a:lnTo>
                      <a:cubicBezTo>
                        <a:pt x="176704" y="569145"/>
                        <a:pt x="180134" y="539997"/>
                        <a:pt x="177511" y="611505"/>
                      </a:cubicBezTo>
                      <a:lnTo>
                        <a:pt x="177511" y="611505"/>
                      </a:lnTo>
                      <a:cubicBezTo>
                        <a:pt x="176402" y="649227"/>
                        <a:pt x="170854" y="685334"/>
                        <a:pt x="170854" y="711658"/>
                      </a:cubicBezTo>
                      <a:lnTo>
                        <a:pt x="170854" y="711658"/>
                      </a:lnTo>
                      <a:cubicBezTo>
                        <a:pt x="170955" y="735158"/>
                        <a:pt x="175192" y="749581"/>
                        <a:pt x="188101" y="752607"/>
                      </a:cubicBezTo>
                      <a:lnTo>
                        <a:pt x="188101" y="752607"/>
                      </a:lnTo>
                      <a:cubicBezTo>
                        <a:pt x="210492" y="757952"/>
                        <a:pt x="221082" y="771568"/>
                        <a:pt x="220981" y="785386"/>
                      </a:cubicBezTo>
                      <a:lnTo>
                        <a:pt x="220981" y="785386"/>
                      </a:lnTo>
                      <a:cubicBezTo>
                        <a:pt x="220981" y="799808"/>
                        <a:pt x="209483" y="813525"/>
                        <a:pt x="191631" y="816450"/>
                      </a:cubicBezTo>
                      <a:lnTo>
                        <a:pt x="191631" y="816450"/>
                      </a:lnTo>
                      <a:cubicBezTo>
                        <a:pt x="186689" y="817358"/>
                        <a:pt x="184874" y="820686"/>
                        <a:pt x="184672" y="828654"/>
                      </a:cubicBezTo>
                      <a:lnTo>
                        <a:pt x="184672" y="828654"/>
                      </a:lnTo>
                      <a:cubicBezTo>
                        <a:pt x="184470" y="855987"/>
                        <a:pt x="216241" y="918116"/>
                        <a:pt x="218157" y="945952"/>
                      </a:cubicBezTo>
                      <a:lnTo>
                        <a:pt x="218157" y="945952"/>
                      </a:lnTo>
                      <a:cubicBezTo>
                        <a:pt x="218561" y="951601"/>
                        <a:pt x="218662" y="956643"/>
                        <a:pt x="218662" y="960980"/>
                      </a:cubicBezTo>
                      <a:lnTo>
                        <a:pt x="218662" y="960980"/>
                      </a:lnTo>
                      <a:cubicBezTo>
                        <a:pt x="218561" y="977420"/>
                        <a:pt x="216745" y="987304"/>
                        <a:pt x="207466" y="988212"/>
                      </a:cubicBezTo>
                      <a:lnTo>
                        <a:pt x="207466" y="988212"/>
                      </a:lnTo>
                      <a:cubicBezTo>
                        <a:pt x="204642" y="988111"/>
                        <a:pt x="201717" y="986800"/>
                        <a:pt x="198792" y="984985"/>
                      </a:cubicBezTo>
                      <a:lnTo>
                        <a:pt x="198792" y="984985"/>
                      </a:lnTo>
                      <a:cubicBezTo>
                        <a:pt x="196876" y="983674"/>
                        <a:pt x="194657" y="983068"/>
                        <a:pt x="192438" y="983068"/>
                      </a:cubicBezTo>
                      <a:lnTo>
                        <a:pt x="192438" y="983068"/>
                      </a:lnTo>
                      <a:cubicBezTo>
                        <a:pt x="183159" y="982665"/>
                        <a:pt x="170955" y="994062"/>
                        <a:pt x="168837" y="1000113"/>
                      </a:cubicBezTo>
                      <a:lnTo>
                        <a:pt x="168837" y="1000113"/>
                      </a:lnTo>
                      <a:cubicBezTo>
                        <a:pt x="169846" y="1001929"/>
                        <a:pt x="191531" y="1020487"/>
                        <a:pt x="219468" y="1035515"/>
                      </a:cubicBezTo>
                      <a:lnTo>
                        <a:pt x="219468" y="1035515"/>
                      </a:lnTo>
                      <a:cubicBezTo>
                        <a:pt x="248516" y="1051753"/>
                        <a:pt x="283816" y="1066882"/>
                        <a:pt x="308022" y="1066882"/>
                      </a:cubicBezTo>
                      <a:lnTo>
                        <a:pt x="308022" y="1066882"/>
                      </a:lnTo>
                      <a:cubicBezTo>
                        <a:pt x="315990" y="1066882"/>
                        <a:pt x="322747" y="1065167"/>
                        <a:pt x="327488" y="1061839"/>
                      </a:cubicBezTo>
                      <a:lnTo>
                        <a:pt x="327488" y="1061839"/>
                      </a:lnTo>
                      <a:cubicBezTo>
                        <a:pt x="350786" y="1044996"/>
                        <a:pt x="377110" y="1036423"/>
                        <a:pt x="403334" y="1036423"/>
                      </a:cubicBezTo>
                      <a:lnTo>
                        <a:pt x="403334" y="1036423"/>
                      </a:lnTo>
                      <a:cubicBezTo>
                        <a:pt x="421589" y="1036423"/>
                        <a:pt x="439743" y="1040558"/>
                        <a:pt x="456789" y="1048626"/>
                      </a:cubicBezTo>
                      <a:lnTo>
                        <a:pt x="456789" y="1048626"/>
                      </a:lnTo>
                      <a:cubicBezTo>
                        <a:pt x="480289" y="1059923"/>
                        <a:pt x="485836" y="1065773"/>
                        <a:pt x="492190" y="1065571"/>
                      </a:cubicBezTo>
                      <a:lnTo>
                        <a:pt x="492190" y="1065571"/>
                      </a:lnTo>
                      <a:cubicBezTo>
                        <a:pt x="497132" y="1065571"/>
                        <a:pt x="504797" y="1062343"/>
                        <a:pt x="523254" y="1055081"/>
                      </a:cubicBezTo>
                      <a:lnTo>
                        <a:pt x="523254" y="1055081"/>
                      </a:lnTo>
                      <a:cubicBezTo>
                        <a:pt x="530415" y="1052157"/>
                        <a:pt x="536669" y="1050745"/>
                        <a:pt x="542216" y="1050745"/>
                      </a:cubicBezTo>
                      <a:lnTo>
                        <a:pt x="542216" y="1050745"/>
                      </a:lnTo>
                      <a:cubicBezTo>
                        <a:pt x="571667" y="1051350"/>
                        <a:pt x="577819" y="1085339"/>
                        <a:pt x="596679" y="1098148"/>
                      </a:cubicBezTo>
                      <a:lnTo>
                        <a:pt x="596679" y="1098148"/>
                      </a:lnTo>
                      <a:cubicBezTo>
                        <a:pt x="611909" y="1109343"/>
                        <a:pt x="627744" y="1114790"/>
                        <a:pt x="650740" y="1114790"/>
                      </a:cubicBezTo>
                      <a:lnTo>
                        <a:pt x="650740" y="1114790"/>
                      </a:lnTo>
                      <a:cubicBezTo>
                        <a:pt x="662137" y="1114790"/>
                        <a:pt x="675248" y="1113277"/>
                        <a:pt x="690982" y="1110554"/>
                      </a:cubicBezTo>
                      <a:lnTo>
                        <a:pt x="690982" y="1110554"/>
                      </a:lnTo>
                      <a:cubicBezTo>
                        <a:pt x="696832" y="1109444"/>
                        <a:pt x="702077" y="1108940"/>
                        <a:pt x="706716" y="1108940"/>
                      </a:cubicBezTo>
                      <a:lnTo>
                        <a:pt x="706716" y="1108940"/>
                      </a:lnTo>
                      <a:cubicBezTo>
                        <a:pt x="739798" y="1109142"/>
                        <a:pt x="740302" y="1134457"/>
                        <a:pt x="756641" y="1138491"/>
                      </a:cubicBezTo>
                      <a:lnTo>
                        <a:pt x="756641" y="1138491"/>
                      </a:lnTo>
                      <a:cubicBezTo>
                        <a:pt x="762793" y="1140307"/>
                        <a:pt x="766324" y="1141114"/>
                        <a:pt x="768441" y="1141114"/>
                      </a:cubicBezTo>
                      <a:lnTo>
                        <a:pt x="768441" y="1141114"/>
                      </a:lnTo>
                      <a:cubicBezTo>
                        <a:pt x="772879" y="1141719"/>
                        <a:pt x="774897" y="1136172"/>
                        <a:pt x="795068" y="1123665"/>
                      </a:cubicBezTo>
                      <a:lnTo>
                        <a:pt x="795068" y="1123665"/>
                      </a:lnTo>
                      <a:cubicBezTo>
                        <a:pt x="801220" y="1119732"/>
                        <a:pt x="807272" y="1118219"/>
                        <a:pt x="812819" y="1118219"/>
                      </a:cubicBezTo>
                      <a:lnTo>
                        <a:pt x="812819" y="1118219"/>
                      </a:lnTo>
                      <a:cubicBezTo>
                        <a:pt x="832789" y="1118421"/>
                        <a:pt x="844791" y="1137483"/>
                        <a:pt x="844590" y="1138491"/>
                      </a:cubicBezTo>
                      <a:lnTo>
                        <a:pt x="844590" y="1138491"/>
                      </a:lnTo>
                      <a:cubicBezTo>
                        <a:pt x="845195" y="1138592"/>
                        <a:pt x="848019" y="1139298"/>
                        <a:pt x="852255" y="1139298"/>
                      </a:cubicBezTo>
                      <a:lnTo>
                        <a:pt x="852255" y="1139298"/>
                      </a:lnTo>
                      <a:cubicBezTo>
                        <a:pt x="859315" y="1139298"/>
                        <a:pt x="869502" y="1137281"/>
                        <a:pt x="878075" y="1126590"/>
                      </a:cubicBezTo>
                      <a:lnTo>
                        <a:pt x="878075" y="1126590"/>
                      </a:lnTo>
                      <a:cubicBezTo>
                        <a:pt x="889674" y="1111966"/>
                        <a:pt x="912972" y="1110150"/>
                        <a:pt x="926386" y="1110150"/>
                      </a:cubicBezTo>
                      <a:lnTo>
                        <a:pt x="926386" y="1110150"/>
                      </a:lnTo>
                      <a:cubicBezTo>
                        <a:pt x="930017" y="1110150"/>
                        <a:pt x="932942" y="1110352"/>
                        <a:pt x="933950" y="1110856"/>
                      </a:cubicBezTo>
                      <a:lnTo>
                        <a:pt x="933950" y="1110856"/>
                      </a:lnTo>
                      <a:cubicBezTo>
                        <a:pt x="936169" y="1105208"/>
                        <a:pt x="944238" y="1086751"/>
                        <a:pt x="963502" y="1086448"/>
                      </a:cubicBezTo>
                      <a:lnTo>
                        <a:pt x="963502" y="1086448"/>
                      </a:lnTo>
                      <a:cubicBezTo>
                        <a:pt x="965116" y="1086953"/>
                        <a:pt x="966931" y="1087054"/>
                        <a:pt x="968747" y="1087457"/>
                      </a:cubicBezTo>
                      <a:lnTo>
                        <a:pt x="968747" y="1087457"/>
                      </a:lnTo>
                      <a:close/>
                    </a:path>
                  </a:pathLst>
                </a:custGeom>
                <a:solidFill>
                  <a:srgbClr val="ABDEF6"/>
                </a:solidFill>
                <a:ln w="10085" cap="flat">
                  <a:solidFill>
                    <a:srgbClr val="FFFFFF"/>
                  </a:solidFill>
                  <a:prstDash val="solid"/>
                  <a:miter/>
                </a:ln>
              </p:spPr>
              <p:txBody>
                <a:bodyPr rtlCol="0" anchor="ctr"/>
                <a:lstStyle/>
                <a:p>
                  <a:endParaRPr lang="fr-FR" sz="900"/>
                </a:p>
              </p:txBody>
            </p:sp>
          </p:grpSp>
          <p:grpSp>
            <p:nvGrpSpPr>
              <p:cNvPr id="61" name="Graphique 17">
                <a:extLst>
                  <a:ext uri="{FF2B5EF4-FFF2-40B4-BE49-F238E27FC236}">
                    <a16:creationId xmlns:a16="http://schemas.microsoft.com/office/drawing/2014/main" id="{044680E0-782E-F4FC-5E3F-62D165986E78}"/>
                  </a:ext>
                </a:extLst>
              </p:cNvPr>
              <p:cNvGrpSpPr/>
              <p:nvPr/>
            </p:nvGrpSpPr>
            <p:grpSpPr>
              <a:xfrm>
                <a:off x="5893318" y="5159130"/>
                <a:ext cx="1486453" cy="2259332"/>
                <a:chOff x="5893318" y="5159130"/>
                <a:chExt cx="1486453" cy="2259332"/>
              </a:xfrm>
              <a:solidFill>
                <a:srgbClr val="ABDEF6"/>
              </a:solidFill>
            </p:grpSpPr>
            <p:sp>
              <p:nvSpPr>
                <p:cNvPr id="62" name="Forme libre : forme 61">
                  <a:extLst>
                    <a:ext uri="{FF2B5EF4-FFF2-40B4-BE49-F238E27FC236}">
                      <a16:creationId xmlns:a16="http://schemas.microsoft.com/office/drawing/2014/main" id="{6AEAA080-6DA9-9A7F-189F-22E06D56DBAD}"/>
                    </a:ext>
                  </a:extLst>
                </p:cNvPr>
                <p:cNvSpPr/>
                <p:nvPr/>
              </p:nvSpPr>
              <p:spPr>
                <a:xfrm>
                  <a:off x="5895772" y="5161793"/>
                  <a:ext cx="1480968" cy="2253500"/>
                </a:xfrm>
                <a:custGeom>
                  <a:avLst/>
                  <a:gdLst>
                    <a:gd name="connsiteX0" fmla="*/ 1412087 w 1480968"/>
                    <a:gd name="connsiteY0" fmla="*/ 1877340 h 2253500"/>
                    <a:gd name="connsiteX1" fmla="*/ 1356312 w 1480968"/>
                    <a:gd name="connsiteY1" fmla="*/ 1729381 h 2253500"/>
                    <a:gd name="connsiteX2" fmla="*/ 1238307 w 1480968"/>
                    <a:gd name="connsiteY2" fmla="*/ 1609258 h 2253500"/>
                    <a:gd name="connsiteX3" fmla="*/ 1201898 w 1480968"/>
                    <a:gd name="connsiteY3" fmla="*/ 1529882 h 2253500"/>
                    <a:gd name="connsiteX4" fmla="*/ 1051820 w 1480968"/>
                    <a:gd name="connsiteY4" fmla="*/ 1427007 h 2253500"/>
                    <a:gd name="connsiteX5" fmla="*/ 933714 w 1480968"/>
                    <a:gd name="connsiteY5" fmla="*/ 1317575 h 2253500"/>
                    <a:gd name="connsiteX6" fmla="*/ 893069 w 1480968"/>
                    <a:gd name="connsiteY6" fmla="*/ 1231744 h 2253500"/>
                    <a:gd name="connsiteX7" fmla="*/ 899523 w 1480968"/>
                    <a:gd name="connsiteY7" fmla="*/ 1111622 h 2253500"/>
                    <a:gd name="connsiteX8" fmla="*/ 953180 w 1480968"/>
                    <a:gd name="connsiteY8" fmla="*/ 1017218 h 2253500"/>
                    <a:gd name="connsiteX9" fmla="*/ 927360 w 1480968"/>
                    <a:gd name="connsiteY9" fmla="*/ 967898 h 2253500"/>
                    <a:gd name="connsiteX10" fmla="*/ 916669 w 1480968"/>
                    <a:gd name="connsiteY10" fmla="*/ 849995 h 2253500"/>
                    <a:gd name="connsiteX11" fmla="*/ 953180 w 1480968"/>
                    <a:gd name="connsiteY11" fmla="*/ 781411 h 2253500"/>
                    <a:gd name="connsiteX12" fmla="*/ 974562 w 1480968"/>
                    <a:gd name="connsiteY12" fmla="*/ 710709 h 2253500"/>
                    <a:gd name="connsiteX13" fmla="*/ 976680 w 1480968"/>
                    <a:gd name="connsiteY13" fmla="*/ 573441 h 2253500"/>
                    <a:gd name="connsiteX14" fmla="*/ 1064629 w 1480968"/>
                    <a:gd name="connsiteY14" fmla="*/ 541267 h 2253500"/>
                    <a:gd name="connsiteX15" fmla="*/ 1116168 w 1480968"/>
                    <a:gd name="connsiteY15" fmla="*/ 549840 h 2253500"/>
                    <a:gd name="connsiteX16" fmla="*/ 1159033 w 1480968"/>
                    <a:gd name="connsiteY16" fmla="*/ 481256 h 2253500"/>
                    <a:gd name="connsiteX17" fmla="*/ 1032455 w 1480968"/>
                    <a:gd name="connsiteY17" fmla="*/ 414790 h 2253500"/>
                    <a:gd name="connsiteX18" fmla="*/ 912433 w 1480968"/>
                    <a:gd name="connsiteY18" fmla="*/ 320487 h 2253500"/>
                    <a:gd name="connsiteX19" fmla="*/ 839412 w 1480968"/>
                    <a:gd name="connsiteY19" fmla="*/ 320487 h 2253500"/>
                    <a:gd name="connsiteX20" fmla="*/ 818030 w 1480968"/>
                    <a:gd name="connsiteY20" fmla="*/ 277622 h 2253500"/>
                    <a:gd name="connsiteX21" fmla="*/ 828721 w 1480968"/>
                    <a:gd name="connsiteY21" fmla="*/ 219730 h 2253500"/>
                    <a:gd name="connsiteX22" fmla="*/ 787974 w 1480968"/>
                    <a:gd name="connsiteY22" fmla="*/ 168292 h 2253500"/>
                    <a:gd name="connsiteX23" fmla="*/ 820047 w 1480968"/>
                    <a:gd name="connsiteY23" fmla="*/ 97489 h 2253500"/>
                    <a:gd name="connsiteX24" fmla="*/ 841530 w 1480968"/>
                    <a:gd name="connsiteY24" fmla="*/ 11759 h 2253500"/>
                    <a:gd name="connsiteX25" fmla="*/ 764272 w 1480968"/>
                    <a:gd name="connsiteY25" fmla="*/ 35360 h 2253500"/>
                    <a:gd name="connsiteX26" fmla="*/ 717070 w 1480968"/>
                    <a:gd name="connsiteY26" fmla="*/ 140455 h 2253500"/>
                    <a:gd name="connsiteX27" fmla="*/ 607739 w 1480968"/>
                    <a:gd name="connsiteY27" fmla="*/ 211257 h 2253500"/>
                    <a:gd name="connsiteX28" fmla="*/ 511218 w 1480968"/>
                    <a:gd name="connsiteY28" fmla="*/ 183320 h 2253500"/>
                    <a:gd name="connsiteX29" fmla="*/ 450097 w 1480968"/>
                    <a:gd name="connsiteY29" fmla="*/ 195120 h 2253500"/>
                    <a:gd name="connsiteX30" fmla="*/ 476724 w 1480968"/>
                    <a:gd name="connsiteY30" fmla="*/ 234757 h 2253500"/>
                    <a:gd name="connsiteX31" fmla="*/ 493971 w 1480968"/>
                    <a:gd name="connsiteY31" fmla="*/ 290532 h 2253500"/>
                    <a:gd name="connsiteX32" fmla="*/ 478943 w 1480968"/>
                    <a:gd name="connsiteY32" fmla="*/ 348425 h 2253500"/>
                    <a:gd name="connsiteX33" fmla="*/ 440314 w 1480968"/>
                    <a:gd name="connsiteY33" fmla="*/ 436273 h 2253500"/>
                    <a:gd name="connsiteX34" fmla="*/ 384539 w 1480968"/>
                    <a:gd name="connsiteY34" fmla="*/ 552059 h 2253500"/>
                    <a:gd name="connsiteX35" fmla="*/ 393113 w 1480968"/>
                    <a:gd name="connsiteY35" fmla="*/ 704355 h 2253500"/>
                    <a:gd name="connsiteX36" fmla="*/ 311619 w 1480968"/>
                    <a:gd name="connsiteY36" fmla="*/ 715046 h 2253500"/>
                    <a:gd name="connsiteX37" fmla="*/ 251608 w 1480968"/>
                    <a:gd name="connsiteY37" fmla="*/ 734310 h 2253500"/>
                    <a:gd name="connsiteX38" fmla="*/ 170013 w 1480968"/>
                    <a:gd name="connsiteY38" fmla="*/ 757911 h 2253500"/>
                    <a:gd name="connsiteX39" fmla="*/ 187159 w 1480968"/>
                    <a:gd name="connsiteY39" fmla="*/ 852314 h 2253500"/>
                    <a:gd name="connsiteX40" fmla="*/ 189277 w 1480968"/>
                    <a:gd name="connsiteY40" fmla="*/ 903752 h 2253500"/>
                    <a:gd name="connsiteX41" fmla="*/ 129267 w 1480968"/>
                    <a:gd name="connsiteY41" fmla="*/ 959527 h 2253500"/>
                    <a:gd name="connsiteX42" fmla="*/ 157204 w 1480968"/>
                    <a:gd name="connsiteY42" fmla="*/ 1030330 h 2253500"/>
                    <a:gd name="connsiteX43" fmla="*/ 94975 w 1480968"/>
                    <a:gd name="connsiteY43" fmla="*/ 1105369 h 2253500"/>
                    <a:gd name="connsiteX44" fmla="*/ 52009 w 1480968"/>
                    <a:gd name="connsiteY44" fmla="*/ 1169716 h 2253500"/>
                    <a:gd name="connsiteX45" fmla="*/ 36174 w 1480968"/>
                    <a:gd name="connsiteY45" fmla="*/ 1174053 h 2253500"/>
                    <a:gd name="connsiteX46" fmla="*/ 32745 w 1480968"/>
                    <a:gd name="connsiteY46" fmla="*/ 1281468 h 2253500"/>
                    <a:gd name="connsiteX47" fmla="*/ 60683 w 1480968"/>
                    <a:gd name="connsiteY47" fmla="*/ 1401590 h 2253500"/>
                    <a:gd name="connsiteX48" fmla="*/ 571 w 1480968"/>
                    <a:gd name="connsiteY48" fmla="*/ 1536741 h 2253500"/>
                    <a:gd name="connsiteX49" fmla="*/ 90638 w 1480968"/>
                    <a:gd name="connsiteY49" fmla="*/ 1661099 h 2253500"/>
                    <a:gd name="connsiteX50" fmla="*/ 161441 w 1480968"/>
                    <a:gd name="connsiteY50" fmla="*/ 1787677 h 2253500"/>
                    <a:gd name="connsiteX51" fmla="*/ 264417 w 1480968"/>
                    <a:gd name="connsiteY51" fmla="*/ 1920608 h 2253500"/>
                    <a:gd name="connsiteX52" fmla="*/ 358720 w 1480968"/>
                    <a:gd name="connsiteY52" fmla="*/ 1989192 h 2253500"/>
                    <a:gd name="connsiteX53" fmla="*/ 663313 w 1480968"/>
                    <a:gd name="connsiteY53" fmla="*/ 1959237 h 2253500"/>
                    <a:gd name="connsiteX54" fmla="*/ 766188 w 1480968"/>
                    <a:gd name="connsiteY54" fmla="*/ 1916372 h 2253500"/>
                    <a:gd name="connsiteX55" fmla="*/ 890547 w 1480968"/>
                    <a:gd name="connsiteY55" fmla="*/ 2008557 h 2253500"/>
                    <a:gd name="connsiteX56" fmla="*/ 931294 w 1480968"/>
                    <a:gd name="connsiteY56" fmla="*/ 2124343 h 2253500"/>
                    <a:gd name="connsiteX57" fmla="*/ 1006333 w 1480968"/>
                    <a:gd name="connsiteY57" fmla="*/ 2199381 h 2253500"/>
                    <a:gd name="connsiteX58" fmla="*/ 1104972 w 1480968"/>
                    <a:gd name="connsiteY58" fmla="*/ 2229336 h 2253500"/>
                    <a:gd name="connsiteX59" fmla="*/ 1190702 w 1480968"/>
                    <a:gd name="connsiteY59" fmla="*/ 2252937 h 2253500"/>
                    <a:gd name="connsiteX60" fmla="*/ 1207848 w 1480968"/>
                    <a:gd name="connsiteY60" fmla="*/ 2186472 h 2253500"/>
                    <a:gd name="connsiteX61" fmla="*/ 1323634 w 1480968"/>
                    <a:gd name="connsiteY61" fmla="*/ 2182135 h 2253500"/>
                    <a:gd name="connsiteX62" fmla="*/ 1387982 w 1480968"/>
                    <a:gd name="connsiteY62" fmla="*/ 2076939 h 2253500"/>
                    <a:gd name="connsiteX63" fmla="*/ 1415919 w 1480968"/>
                    <a:gd name="connsiteY63" fmla="*/ 2027619 h 2253500"/>
                    <a:gd name="connsiteX64" fmla="*/ 1480267 w 1480968"/>
                    <a:gd name="connsiteY64" fmla="*/ 1965390 h 2253500"/>
                    <a:gd name="connsiteX65" fmla="*/ 1412087 w 1480968"/>
                    <a:gd name="connsiteY65" fmla="*/ 1877340 h 225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1480968" h="2253500">
                      <a:moveTo>
                        <a:pt x="1412087" y="1877340"/>
                      </a:moveTo>
                      <a:cubicBezTo>
                        <a:pt x="1382031" y="1838711"/>
                        <a:pt x="1360649" y="1763673"/>
                        <a:pt x="1356312" y="1729381"/>
                      </a:cubicBezTo>
                      <a:cubicBezTo>
                        <a:pt x="1351975" y="1695089"/>
                        <a:pt x="1283391" y="1626404"/>
                        <a:pt x="1238307" y="1609258"/>
                      </a:cubicBezTo>
                      <a:cubicBezTo>
                        <a:pt x="1193223" y="1592112"/>
                        <a:pt x="1208352" y="1594230"/>
                        <a:pt x="1201898" y="1529882"/>
                      </a:cubicBezTo>
                      <a:cubicBezTo>
                        <a:pt x="1195443" y="1465535"/>
                        <a:pt x="1111931" y="1452625"/>
                        <a:pt x="1051820" y="1427007"/>
                      </a:cubicBezTo>
                      <a:cubicBezTo>
                        <a:pt x="991708" y="1401288"/>
                        <a:pt x="948843" y="1347631"/>
                        <a:pt x="933714" y="1317575"/>
                      </a:cubicBezTo>
                      <a:cubicBezTo>
                        <a:pt x="918687" y="1287620"/>
                        <a:pt x="923023" y="1240418"/>
                        <a:pt x="893069" y="1231744"/>
                      </a:cubicBezTo>
                      <a:cubicBezTo>
                        <a:pt x="863012" y="1223171"/>
                        <a:pt x="858676" y="1145914"/>
                        <a:pt x="899523" y="1111622"/>
                      </a:cubicBezTo>
                      <a:cubicBezTo>
                        <a:pt x="940270" y="1077330"/>
                        <a:pt x="957417" y="1038600"/>
                        <a:pt x="953180" y="1017218"/>
                      </a:cubicBezTo>
                      <a:cubicBezTo>
                        <a:pt x="948944" y="995836"/>
                        <a:pt x="927360" y="991499"/>
                        <a:pt x="927360" y="967898"/>
                      </a:cubicBezTo>
                      <a:cubicBezTo>
                        <a:pt x="927360" y="944298"/>
                        <a:pt x="912433" y="882169"/>
                        <a:pt x="916669" y="849995"/>
                      </a:cubicBezTo>
                      <a:cubicBezTo>
                        <a:pt x="920905" y="817821"/>
                        <a:pt x="951062" y="807130"/>
                        <a:pt x="953180" y="781411"/>
                      </a:cubicBezTo>
                      <a:cubicBezTo>
                        <a:pt x="955399" y="755692"/>
                        <a:pt x="944506" y="732091"/>
                        <a:pt x="974562" y="710709"/>
                      </a:cubicBezTo>
                      <a:cubicBezTo>
                        <a:pt x="1004618" y="689327"/>
                        <a:pt x="976680" y="612069"/>
                        <a:pt x="976680" y="573441"/>
                      </a:cubicBezTo>
                      <a:cubicBezTo>
                        <a:pt x="976680" y="534812"/>
                        <a:pt x="1034573" y="526340"/>
                        <a:pt x="1064629" y="541267"/>
                      </a:cubicBezTo>
                      <a:cubicBezTo>
                        <a:pt x="1094685" y="556295"/>
                        <a:pt x="1092567" y="571322"/>
                        <a:pt x="1116168" y="549840"/>
                      </a:cubicBezTo>
                      <a:cubicBezTo>
                        <a:pt x="1139768" y="528357"/>
                        <a:pt x="1176179" y="500520"/>
                        <a:pt x="1159033" y="481256"/>
                      </a:cubicBezTo>
                      <a:cubicBezTo>
                        <a:pt x="1141887" y="461992"/>
                        <a:pt x="1077539" y="436273"/>
                        <a:pt x="1032455" y="414790"/>
                      </a:cubicBezTo>
                      <a:cubicBezTo>
                        <a:pt x="987371" y="393307"/>
                        <a:pt x="942489" y="333296"/>
                        <a:pt x="912433" y="320487"/>
                      </a:cubicBezTo>
                      <a:cubicBezTo>
                        <a:pt x="882378" y="307577"/>
                        <a:pt x="852321" y="333296"/>
                        <a:pt x="839412" y="320487"/>
                      </a:cubicBezTo>
                      <a:cubicBezTo>
                        <a:pt x="826502" y="307577"/>
                        <a:pt x="835175" y="290431"/>
                        <a:pt x="818030" y="277622"/>
                      </a:cubicBezTo>
                      <a:cubicBezTo>
                        <a:pt x="800884" y="264712"/>
                        <a:pt x="828721" y="245449"/>
                        <a:pt x="828721" y="219730"/>
                      </a:cubicBezTo>
                      <a:cubicBezTo>
                        <a:pt x="828721" y="194011"/>
                        <a:pt x="792210" y="189674"/>
                        <a:pt x="787974" y="168292"/>
                      </a:cubicBezTo>
                      <a:cubicBezTo>
                        <a:pt x="783738" y="146910"/>
                        <a:pt x="811474" y="116753"/>
                        <a:pt x="820047" y="97489"/>
                      </a:cubicBezTo>
                      <a:cubicBezTo>
                        <a:pt x="828620" y="78225"/>
                        <a:pt x="852221" y="31023"/>
                        <a:pt x="841530" y="11759"/>
                      </a:cubicBezTo>
                      <a:cubicBezTo>
                        <a:pt x="830839" y="-7505"/>
                        <a:pt x="790092" y="-5387"/>
                        <a:pt x="764272" y="35360"/>
                      </a:cubicBezTo>
                      <a:cubicBezTo>
                        <a:pt x="738452" y="76107"/>
                        <a:pt x="736435" y="114736"/>
                        <a:pt x="717070" y="140455"/>
                      </a:cubicBezTo>
                      <a:cubicBezTo>
                        <a:pt x="697806" y="166174"/>
                        <a:pt x="657059" y="179084"/>
                        <a:pt x="607739" y="211257"/>
                      </a:cubicBezTo>
                      <a:cubicBezTo>
                        <a:pt x="558520" y="243431"/>
                        <a:pt x="536937" y="183320"/>
                        <a:pt x="511218" y="183320"/>
                      </a:cubicBezTo>
                      <a:cubicBezTo>
                        <a:pt x="488827" y="183320"/>
                        <a:pt x="458066" y="192599"/>
                        <a:pt x="450097" y="195120"/>
                      </a:cubicBezTo>
                      <a:cubicBezTo>
                        <a:pt x="456149" y="209240"/>
                        <a:pt x="464117" y="229311"/>
                        <a:pt x="476724" y="234757"/>
                      </a:cubicBezTo>
                      <a:cubicBezTo>
                        <a:pt x="491752" y="241212"/>
                        <a:pt x="504662" y="284077"/>
                        <a:pt x="493971" y="290532"/>
                      </a:cubicBezTo>
                      <a:cubicBezTo>
                        <a:pt x="483280" y="296987"/>
                        <a:pt x="466033" y="296987"/>
                        <a:pt x="478943" y="348425"/>
                      </a:cubicBezTo>
                      <a:cubicBezTo>
                        <a:pt x="491853" y="399863"/>
                        <a:pt x="470370" y="401981"/>
                        <a:pt x="440314" y="436273"/>
                      </a:cubicBezTo>
                      <a:cubicBezTo>
                        <a:pt x="410259" y="470565"/>
                        <a:pt x="395331" y="487812"/>
                        <a:pt x="384539" y="552059"/>
                      </a:cubicBezTo>
                      <a:cubicBezTo>
                        <a:pt x="373849" y="616406"/>
                        <a:pt x="399568" y="674299"/>
                        <a:pt x="393113" y="704355"/>
                      </a:cubicBezTo>
                      <a:cubicBezTo>
                        <a:pt x="386658" y="734411"/>
                        <a:pt x="343793" y="725737"/>
                        <a:pt x="311619" y="715046"/>
                      </a:cubicBezTo>
                      <a:cubicBezTo>
                        <a:pt x="279445" y="704355"/>
                        <a:pt x="285799" y="704355"/>
                        <a:pt x="251608" y="734310"/>
                      </a:cubicBezTo>
                      <a:cubicBezTo>
                        <a:pt x="217316" y="764265"/>
                        <a:pt x="187260" y="738647"/>
                        <a:pt x="170013" y="757911"/>
                      </a:cubicBezTo>
                      <a:cubicBezTo>
                        <a:pt x="152868" y="777175"/>
                        <a:pt x="167895" y="835068"/>
                        <a:pt x="187159" y="852314"/>
                      </a:cubicBezTo>
                      <a:cubicBezTo>
                        <a:pt x="206423" y="869561"/>
                        <a:pt x="223670" y="901634"/>
                        <a:pt x="189277" y="903752"/>
                      </a:cubicBezTo>
                      <a:cubicBezTo>
                        <a:pt x="154985" y="905870"/>
                        <a:pt x="139958" y="918780"/>
                        <a:pt x="129267" y="959527"/>
                      </a:cubicBezTo>
                      <a:cubicBezTo>
                        <a:pt x="118576" y="1000274"/>
                        <a:pt x="157204" y="1010965"/>
                        <a:pt x="157204" y="1030330"/>
                      </a:cubicBezTo>
                      <a:cubicBezTo>
                        <a:pt x="157204" y="1049594"/>
                        <a:pt x="139958" y="1079650"/>
                        <a:pt x="94975" y="1105369"/>
                      </a:cubicBezTo>
                      <a:cubicBezTo>
                        <a:pt x="49992" y="1131088"/>
                        <a:pt x="67037" y="1154689"/>
                        <a:pt x="52009" y="1169716"/>
                      </a:cubicBezTo>
                      <a:cubicBezTo>
                        <a:pt x="47571" y="1174154"/>
                        <a:pt x="42024" y="1174860"/>
                        <a:pt x="36174" y="1174053"/>
                      </a:cubicBezTo>
                      <a:cubicBezTo>
                        <a:pt x="31736" y="1200983"/>
                        <a:pt x="24979" y="1253429"/>
                        <a:pt x="32745" y="1281468"/>
                      </a:cubicBezTo>
                      <a:cubicBezTo>
                        <a:pt x="43537" y="1320097"/>
                        <a:pt x="69256" y="1354388"/>
                        <a:pt x="60683" y="1401590"/>
                      </a:cubicBezTo>
                      <a:cubicBezTo>
                        <a:pt x="52110" y="1448792"/>
                        <a:pt x="7127" y="1476629"/>
                        <a:pt x="571" y="1536741"/>
                      </a:cubicBezTo>
                      <a:cubicBezTo>
                        <a:pt x="-5884" y="1596852"/>
                        <a:pt x="43537" y="1618234"/>
                        <a:pt x="90638" y="1661099"/>
                      </a:cubicBezTo>
                      <a:cubicBezTo>
                        <a:pt x="137839" y="1703964"/>
                        <a:pt x="114239" y="1759739"/>
                        <a:pt x="161441" y="1787677"/>
                      </a:cubicBezTo>
                      <a:cubicBezTo>
                        <a:pt x="208642" y="1815615"/>
                        <a:pt x="264417" y="1920608"/>
                        <a:pt x="264417" y="1920608"/>
                      </a:cubicBezTo>
                      <a:cubicBezTo>
                        <a:pt x="264417" y="1920608"/>
                        <a:pt x="307282" y="2006439"/>
                        <a:pt x="358720" y="1989192"/>
                      </a:cubicBezTo>
                      <a:cubicBezTo>
                        <a:pt x="410158" y="1972046"/>
                        <a:pt x="611774" y="1963473"/>
                        <a:pt x="663313" y="1959237"/>
                      </a:cubicBezTo>
                      <a:cubicBezTo>
                        <a:pt x="714751" y="1954900"/>
                        <a:pt x="716868" y="1916372"/>
                        <a:pt x="766188" y="1916372"/>
                      </a:cubicBezTo>
                      <a:cubicBezTo>
                        <a:pt x="815508" y="1916372"/>
                        <a:pt x="858373" y="1974265"/>
                        <a:pt x="890547" y="2008557"/>
                      </a:cubicBezTo>
                      <a:cubicBezTo>
                        <a:pt x="922721" y="2042849"/>
                        <a:pt x="929176" y="2077242"/>
                        <a:pt x="931294" y="2124343"/>
                      </a:cubicBezTo>
                      <a:cubicBezTo>
                        <a:pt x="933412" y="2171545"/>
                        <a:pt x="984850" y="2180117"/>
                        <a:pt x="1006333" y="2199381"/>
                      </a:cubicBezTo>
                      <a:cubicBezTo>
                        <a:pt x="1027715" y="2218645"/>
                        <a:pt x="1059889" y="2199381"/>
                        <a:pt x="1104972" y="2229336"/>
                      </a:cubicBezTo>
                      <a:cubicBezTo>
                        <a:pt x="1150056" y="2259291"/>
                        <a:pt x="1190702" y="2252937"/>
                        <a:pt x="1190702" y="2252937"/>
                      </a:cubicBezTo>
                      <a:cubicBezTo>
                        <a:pt x="1190702" y="2252937"/>
                        <a:pt x="1190702" y="2203618"/>
                        <a:pt x="1207848" y="2186472"/>
                      </a:cubicBezTo>
                      <a:cubicBezTo>
                        <a:pt x="1224994" y="2169326"/>
                        <a:pt x="1242241" y="2175781"/>
                        <a:pt x="1323634" y="2182135"/>
                      </a:cubicBezTo>
                      <a:cubicBezTo>
                        <a:pt x="1405026" y="2188590"/>
                        <a:pt x="1383644" y="2104877"/>
                        <a:pt x="1387982" y="2076939"/>
                      </a:cubicBezTo>
                      <a:cubicBezTo>
                        <a:pt x="1392319" y="2049102"/>
                        <a:pt x="1398773" y="2044765"/>
                        <a:pt x="1415919" y="2027619"/>
                      </a:cubicBezTo>
                      <a:cubicBezTo>
                        <a:pt x="1433065" y="2010473"/>
                        <a:pt x="1473812" y="1984754"/>
                        <a:pt x="1480267" y="1965390"/>
                      </a:cubicBezTo>
                      <a:cubicBezTo>
                        <a:pt x="1487125" y="1945924"/>
                        <a:pt x="1442143" y="1915969"/>
                        <a:pt x="1412087" y="1877340"/>
                      </a:cubicBezTo>
                      <a:close/>
                    </a:path>
                  </a:pathLst>
                </a:custGeom>
                <a:solidFill>
                  <a:schemeClr val="bg1">
                    <a:lumMod val="75000"/>
                  </a:schemeClr>
                </a:solidFill>
                <a:ln w="10085" cap="flat">
                  <a:solidFill>
                    <a:srgbClr val="FFFFFF"/>
                  </a:solidFill>
                  <a:prstDash val="solid"/>
                  <a:miter/>
                </a:ln>
              </p:spPr>
              <p:txBody>
                <a:bodyPr rtlCol="0" anchor="ctr"/>
                <a:lstStyle/>
                <a:p>
                  <a:endParaRPr lang="fr-FR" sz="900"/>
                </a:p>
              </p:txBody>
            </p:sp>
            <p:sp>
              <p:nvSpPr>
                <p:cNvPr id="63" name="Forme libre : forme 62">
                  <a:extLst>
                    <a:ext uri="{FF2B5EF4-FFF2-40B4-BE49-F238E27FC236}">
                      <a16:creationId xmlns:a16="http://schemas.microsoft.com/office/drawing/2014/main" id="{E67D7B9D-600B-79D4-DC13-D6B6B6D56BDB}"/>
                    </a:ext>
                  </a:extLst>
                </p:cNvPr>
                <p:cNvSpPr/>
                <p:nvPr/>
              </p:nvSpPr>
              <p:spPr>
                <a:xfrm>
                  <a:off x="5893318" y="5159130"/>
                  <a:ext cx="1486453" cy="2259332"/>
                </a:xfrm>
                <a:custGeom>
                  <a:avLst/>
                  <a:gdLst>
                    <a:gd name="connsiteX0" fmla="*/ 1106317 w 1486453"/>
                    <a:gd name="connsiteY0" fmla="*/ 2234118 h 2259332"/>
                    <a:gd name="connsiteX1" fmla="*/ 1007375 w 1486453"/>
                    <a:gd name="connsiteY1" fmla="*/ 2203861 h 2259332"/>
                    <a:gd name="connsiteX2" fmla="*/ 1007375 w 1486453"/>
                    <a:gd name="connsiteY2" fmla="*/ 2203861 h 2259332"/>
                    <a:gd name="connsiteX3" fmla="*/ 931429 w 1486453"/>
                    <a:gd name="connsiteY3" fmla="*/ 2126805 h 2259332"/>
                    <a:gd name="connsiteX4" fmla="*/ 931429 w 1486453"/>
                    <a:gd name="connsiteY4" fmla="*/ 2126805 h 2259332"/>
                    <a:gd name="connsiteX5" fmla="*/ 891388 w 1486453"/>
                    <a:gd name="connsiteY5" fmla="*/ 2012835 h 2259332"/>
                    <a:gd name="connsiteX6" fmla="*/ 891388 w 1486453"/>
                    <a:gd name="connsiteY6" fmla="*/ 2012835 h 2259332"/>
                    <a:gd name="connsiteX7" fmla="*/ 769046 w 1486453"/>
                    <a:gd name="connsiteY7" fmla="*/ 1921457 h 2259332"/>
                    <a:gd name="connsiteX8" fmla="*/ 769046 w 1486453"/>
                    <a:gd name="connsiteY8" fmla="*/ 1921457 h 2259332"/>
                    <a:gd name="connsiteX9" fmla="*/ 666473 w 1486453"/>
                    <a:gd name="connsiteY9" fmla="*/ 1964322 h 2259332"/>
                    <a:gd name="connsiteX10" fmla="*/ 666473 w 1486453"/>
                    <a:gd name="connsiteY10" fmla="*/ 1964322 h 2259332"/>
                    <a:gd name="connsiteX11" fmla="*/ 362385 w 1486453"/>
                    <a:gd name="connsiteY11" fmla="*/ 1994176 h 2259332"/>
                    <a:gd name="connsiteX12" fmla="*/ 362385 w 1486453"/>
                    <a:gd name="connsiteY12" fmla="*/ 1994176 h 2259332"/>
                    <a:gd name="connsiteX13" fmla="*/ 347861 w 1486453"/>
                    <a:gd name="connsiteY13" fmla="*/ 1996596 h 2259332"/>
                    <a:gd name="connsiteX14" fmla="*/ 347861 w 1486453"/>
                    <a:gd name="connsiteY14" fmla="*/ 1996596 h 2259332"/>
                    <a:gd name="connsiteX15" fmla="*/ 264854 w 1486453"/>
                    <a:gd name="connsiteY15" fmla="*/ 1924180 h 2259332"/>
                    <a:gd name="connsiteX16" fmla="*/ 264854 w 1486453"/>
                    <a:gd name="connsiteY16" fmla="*/ 1924180 h 2259332"/>
                    <a:gd name="connsiteX17" fmla="*/ 162887 w 1486453"/>
                    <a:gd name="connsiteY17" fmla="*/ 1792358 h 2259332"/>
                    <a:gd name="connsiteX18" fmla="*/ 162887 w 1486453"/>
                    <a:gd name="connsiteY18" fmla="*/ 1792358 h 2259332"/>
                    <a:gd name="connsiteX19" fmla="*/ 91579 w 1486453"/>
                    <a:gd name="connsiteY19" fmla="*/ 1665477 h 2259332"/>
                    <a:gd name="connsiteX20" fmla="*/ 91579 w 1486453"/>
                    <a:gd name="connsiteY20" fmla="*/ 1665477 h 2259332"/>
                    <a:gd name="connsiteX21" fmla="*/ 0 w 1486453"/>
                    <a:gd name="connsiteY21" fmla="*/ 1549389 h 2259332"/>
                    <a:gd name="connsiteX22" fmla="*/ 0 w 1486453"/>
                    <a:gd name="connsiteY22" fmla="*/ 1549389 h 2259332"/>
                    <a:gd name="connsiteX23" fmla="*/ 605 w 1486453"/>
                    <a:gd name="connsiteY23" fmla="*/ 1538799 h 2259332"/>
                    <a:gd name="connsiteX24" fmla="*/ 605 w 1486453"/>
                    <a:gd name="connsiteY24" fmla="*/ 1538799 h 2259332"/>
                    <a:gd name="connsiteX25" fmla="*/ 60717 w 1486453"/>
                    <a:gd name="connsiteY25" fmla="*/ 1403548 h 2259332"/>
                    <a:gd name="connsiteX26" fmla="*/ 60717 w 1486453"/>
                    <a:gd name="connsiteY26" fmla="*/ 1403548 h 2259332"/>
                    <a:gd name="connsiteX27" fmla="*/ 62331 w 1486453"/>
                    <a:gd name="connsiteY27" fmla="*/ 1384990 h 2259332"/>
                    <a:gd name="connsiteX28" fmla="*/ 62331 w 1486453"/>
                    <a:gd name="connsiteY28" fmla="*/ 1384990 h 2259332"/>
                    <a:gd name="connsiteX29" fmla="*/ 32880 w 1486453"/>
                    <a:gd name="connsiteY29" fmla="*/ 1284736 h 2259332"/>
                    <a:gd name="connsiteX30" fmla="*/ 32880 w 1486453"/>
                    <a:gd name="connsiteY30" fmla="*/ 1284736 h 2259332"/>
                    <a:gd name="connsiteX31" fmla="*/ 29249 w 1486453"/>
                    <a:gd name="connsiteY31" fmla="*/ 1250041 h 2259332"/>
                    <a:gd name="connsiteX32" fmla="*/ 29249 w 1486453"/>
                    <a:gd name="connsiteY32" fmla="*/ 1250041 h 2259332"/>
                    <a:gd name="connsiteX33" fmla="*/ 39335 w 1486453"/>
                    <a:gd name="connsiteY33" fmla="*/ 1173792 h 2259332"/>
                    <a:gd name="connsiteX34" fmla="*/ 39335 w 1486453"/>
                    <a:gd name="connsiteY34" fmla="*/ 1173792 h 2259332"/>
                    <a:gd name="connsiteX35" fmla="*/ 43167 w 1486453"/>
                    <a:gd name="connsiteY35" fmla="*/ 1173994 h 2259332"/>
                    <a:gd name="connsiteX36" fmla="*/ 43167 w 1486453"/>
                    <a:gd name="connsiteY36" fmla="*/ 1173994 h 2259332"/>
                    <a:gd name="connsiteX37" fmla="*/ 52951 w 1486453"/>
                    <a:gd name="connsiteY37" fmla="*/ 1170262 h 2259332"/>
                    <a:gd name="connsiteX38" fmla="*/ 52951 w 1486453"/>
                    <a:gd name="connsiteY38" fmla="*/ 1170262 h 2259332"/>
                    <a:gd name="connsiteX39" fmla="*/ 96521 w 1486453"/>
                    <a:gd name="connsiteY39" fmla="*/ 1105511 h 2259332"/>
                    <a:gd name="connsiteX40" fmla="*/ 96521 w 1486453"/>
                    <a:gd name="connsiteY40" fmla="*/ 1105511 h 2259332"/>
                    <a:gd name="connsiteX41" fmla="*/ 157339 w 1486453"/>
                    <a:gd name="connsiteY41" fmla="*/ 1032893 h 2259332"/>
                    <a:gd name="connsiteX42" fmla="*/ 157339 w 1486453"/>
                    <a:gd name="connsiteY42" fmla="*/ 1032893 h 2259332"/>
                    <a:gd name="connsiteX43" fmla="*/ 127485 w 1486453"/>
                    <a:gd name="connsiteY43" fmla="*/ 975807 h 2259332"/>
                    <a:gd name="connsiteX44" fmla="*/ 127485 w 1486453"/>
                    <a:gd name="connsiteY44" fmla="*/ 975807 h 2259332"/>
                    <a:gd name="connsiteX45" fmla="*/ 129401 w 1486453"/>
                    <a:gd name="connsiteY45" fmla="*/ 961485 h 2259332"/>
                    <a:gd name="connsiteX46" fmla="*/ 129401 w 1486453"/>
                    <a:gd name="connsiteY46" fmla="*/ 961485 h 2259332"/>
                    <a:gd name="connsiteX47" fmla="*/ 192034 w 1486453"/>
                    <a:gd name="connsiteY47" fmla="*/ 903693 h 2259332"/>
                    <a:gd name="connsiteX48" fmla="*/ 192034 w 1486453"/>
                    <a:gd name="connsiteY48" fmla="*/ 903693 h 2259332"/>
                    <a:gd name="connsiteX49" fmla="*/ 209080 w 1486453"/>
                    <a:gd name="connsiteY49" fmla="*/ 891388 h 2259332"/>
                    <a:gd name="connsiteX50" fmla="*/ 209080 w 1486453"/>
                    <a:gd name="connsiteY50" fmla="*/ 891388 h 2259332"/>
                    <a:gd name="connsiteX51" fmla="*/ 188303 w 1486453"/>
                    <a:gd name="connsiteY51" fmla="*/ 857096 h 2259332"/>
                    <a:gd name="connsiteX52" fmla="*/ 188303 w 1486453"/>
                    <a:gd name="connsiteY52" fmla="*/ 857096 h 2259332"/>
                    <a:gd name="connsiteX53" fmla="*/ 162685 w 1486453"/>
                    <a:gd name="connsiteY53" fmla="*/ 787100 h 2259332"/>
                    <a:gd name="connsiteX54" fmla="*/ 162685 w 1486453"/>
                    <a:gd name="connsiteY54" fmla="*/ 787100 h 2259332"/>
                    <a:gd name="connsiteX55" fmla="*/ 170854 w 1486453"/>
                    <a:gd name="connsiteY55" fmla="*/ 758961 h 2259332"/>
                    <a:gd name="connsiteX56" fmla="*/ 170854 w 1486453"/>
                    <a:gd name="connsiteY56" fmla="*/ 758961 h 2259332"/>
                    <a:gd name="connsiteX57" fmla="*/ 195968 w 1486453"/>
                    <a:gd name="connsiteY57" fmla="*/ 749783 h 2259332"/>
                    <a:gd name="connsiteX58" fmla="*/ 195968 w 1486453"/>
                    <a:gd name="connsiteY58" fmla="*/ 749783 h 2259332"/>
                    <a:gd name="connsiteX59" fmla="*/ 210290 w 1486453"/>
                    <a:gd name="connsiteY59" fmla="*/ 750085 h 2259332"/>
                    <a:gd name="connsiteX60" fmla="*/ 210290 w 1486453"/>
                    <a:gd name="connsiteY60" fmla="*/ 750085 h 2259332"/>
                    <a:gd name="connsiteX61" fmla="*/ 252752 w 1486453"/>
                    <a:gd name="connsiteY61" fmla="*/ 734956 h 2259332"/>
                    <a:gd name="connsiteX62" fmla="*/ 252752 w 1486453"/>
                    <a:gd name="connsiteY62" fmla="*/ 734956 h 2259332"/>
                    <a:gd name="connsiteX63" fmla="*/ 290473 w 1486453"/>
                    <a:gd name="connsiteY63" fmla="*/ 708431 h 2259332"/>
                    <a:gd name="connsiteX64" fmla="*/ 290473 w 1486453"/>
                    <a:gd name="connsiteY64" fmla="*/ 708431 h 2259332"/>
                    <a:gd name="connsiteX65" fmla="*/ 315385 w 1486453"/>
                    <a:gd name="connsiteY65" fmla="*/ 715188 h 2259332"/>
                    <a:gd name="connsiteX66" fmla="*/ 315385 w 1486453"/>
                    <a:gd name="connsiteY66" fmla="*/ 715188 h 2259332"/>
                    <a:gd name="connsiteX67" fmla="*/ 363595 w 1486453"/>
                    <a:gd name="connsiteY67" fmla="*/ 724971 h 2259332"/>
                    <a:gd name="connsiteX68" fmla="*/ 363595 w 1486453"/>
                    <a:gd name="connsiteY68" fmla="*/ 724971 h 2259332"/>
                    <a:gd name="connsiteX69" fmla="*/ 393147 w 1486453"/>
                    <a:gd name="connsiteY69" fmla="*/ 706615 h 2259332"/>
                    <a:gd name="connsiteX70" fmla="*/ 393147 w 1486453"/>
                    <a:gd name="connsiteY70" fmla="*/ 706615 h 2259332"/>
                    <a:gd name="connsiteX71" fmla="*/ 394054 w 1486453"/>
                    <a:gd name="connsiteY71" fmla="*/ 695722 h 2259332"/>
                    <a:gd name="connsiteX72" fmla="*/ 394054 w 1486453"/>
                    <a:gd name="connsiteY72" fmla="*/ 695722 h 2259332"/>
                    <a:gd name="connsiteX73" fmla="*/ 381850 w 1486453"/>
                    <a:gd name="connsiteY73" fmla="*/ 588106 h 2259332"/>
                    <a:gd name="connsiteX74" fmla="*/ 381850 w 1486453"/>
                    <a:gd name="connsiteY74" fmla="*/ 588106 h 2259332"/>
                    <a:gd name="connsiteX75" fmla="*/ 384573 w 1486453"/>
                    <a:gd name="connsiteY75" fmla="*/ 554319 h 2259332"/>
                    <a:gd name="connsiteX76" fmla="*/ 384573 w 1486453"/>
                    <a:gd name="connsiteY76" fmla="*/ 554319 h 2259332"/>
                    <a:gd name="connsiteX77" fmla="*/ 440954 w 1486453"/>
                    <a:gd name="connsiteY77" fmla="*/ 437222 h 2259332"/>
                    <a:gd name="connsiteX78" fmla="*/ 440954 w 1486453"/>
                    <a:gd name="connsiteY78" fmla="*/ 437222 h 2259332"/>
                    <a:gd name="connsiteX79" fmla="*/ 482709 w 1486453"/>
                    <a:gd name="connsiteY79" fmla="*/ 377009 h 2259332"/>
                    <a:gd name="connsiteX80" fmla="*/ 482709 w 1486453"/>
                    <a:gd name="connsiteY80" fmla="*/ 377009 h 2259332"/>
                    <a:gd name="connsiteX81" fmla="*/ 479078 w 1486453"/>
                    <a:gd name="connsiteY81" fmla="*/ 351795 h 2259332"/>
                    <a:gd name="connsiteX82" fmla="*/ 479078 w 1486453"/>
                    <a:gd name="connsiteY82" fmla="*/ 351795 h 2259332"/>
                    <a:gd name="connsiteX83" fmla="*/ 474237 w 1486453"/>
                    <a:gd name="connsiteY83" fmla="*/ 321033 h 2259332"/>
                    <a:gd name="connsiteX84" fmla="*/ 474237 w 1486453"/>
                    <a:gd name="connsiteY84" fmla="*/ 321033 h 2259332"/>
                    <a:gd name="connsiteX85" fmla="*/ 495216 w 1486453"/>
                    <a:gd name="connsiteY85" fmla="*/ 290977 h 2259332"/>
                    <a:gd name="connsiteX86" fmla="*/ 495216 w 1486453"/>
                    <a:gd name="connsiteY86" fmla="*/ 290977 h 2259332"/>
                    <a:gd name="connsiteX87" fmla="*/ 497838 w 1486453"/>
                    <a:gd name="connsiteY87" fmla="*/ 282303 h 2259332"/>
                    <a:gd name="connsiteX88" fmla="*/ 497838 w 1486453"/>
                    <a:gd name="connsiteY88" fmla="*/ 282303 h 2259332"/>
                    <a:gd name="connsiteX89" fmla="*/ 478473 w 1486453"/>
                    <a:gd name="connsiteY89" fmla="*/ 240144 h 2259332"/>
                    <a:gd name="connsiteX90" fmla="*/ 478473 w 1486453"/>
                    <a:gd name="connsiteY90" fmla="*/ 240144 h 2259332"/>
                    <a:gd name="connsiteX91" fmla="*/ 450333 w 1486453"/>
                    <a:gd name="connsiteY91" fmla="*/ 199095 h 2259332"/>
                    <a:gd name="connsiteX92" fmla="*/ 450333 w 1486453"/>
                    <a:gd name="connsiteY92" fmla="*/ 199095 h 2259332"/>
                    <a:gd name="connsiteX93" fmla="*/ 452048 w 1486453"/>
                    <a:gd name="connsiteY93" fmla="*/ 195363 h 2259332"/>
                    <a:gd name="connsiteX94" fmla="*/ 513975 w 1486453"/>
                    <a:gd name="connsiteY94" fmla="*/ 183361 h 2259332"/>
                    <a:gd name="connsiteX95" fmla="*/ 513975 w 1486453"/>
                    <a:gd name="connsiteY95" fmla="*/ 183361 h 2259332"/>
                    <a:gd name="connsiteX96" fmla="*/ 582660 w 1486453"/>
                    <a:gd name="connsiteY96" fmla="*/ 220679 h 2259332"/>
                    <a:gd name="connsiteX97" fmla="*/ 582660 w 1486453"/>
                    <a:gd name="connsiteY97" fmla="*/ 220679 h 2259332"/>
                    <a:gd name="connsiteX98" fmla="*/ 608984 w 1486453"/>
                    <a:gd name="connsiteY98" fmla="*/ 211702 h 2259332"/>
                    <a:gd name="connsiteX99" fmla="*/ 608984 w 1486453"/>
                    <a:gd name="connsiteY99" fmla="*/ 211702 h 2259332"/>
                    <a:gd name="connsiteX100" fmla="*/ 717609 w 1486453"/>
                    <a:gd name="connsiteY100" fmla="*/ 141505 h 2259332"/>
                    <a:gd name="connsiteX101" fmla="*/ 717609 w 1486453"/>
                    <a:gd name="connsiteY101" fmla="*/ 141505 h 2259332"/>
                    <a:gd name="connsiteX102" fmla="*/ 764608 w 1486453"/>
                    <a:gd name="connsiteY102" fmla="*/ 36713 h 2259332"/>
                    <a:gd name="connsiteX103" fmla="*/ 764608 w 1486453"/>
                    <a:gd name="connsiteY103" fmla="*/ 36713 h 2259332"/>
                    <a:gd name="connsiteX104" fmla="*/ 820585 w 1486453"/>
                    <a:gd name="connsiteY104" fmla="*/ 0 h 2259332"/>
                    <a:gd name="connsiteX105" fmla="*/ 820585 w 1486453"/>
                    <a:gd name="connsiteY105" fmla="*/ 0 h 2259332"/>
                    <a:gd name="connsiteX106" fmla="*/ 846607 w 1486453"/>
                    <a:gd name="connsiteY106" fmla="*/ 13213 h 2259332"/>
                    <a:gd name="connsiteX107" fmla="*/ 846607 w 1486453"/>
                    <a:gd name="connsiteY107" fmla="*/ 13213 h 2259332"/>
                    <a:gd name="connsiteX108" fmla="*/ 849632 w 1486453"/>
                    <a:gd name="connsiteY108" fmla="*/ 27232 h 2259332"/>
                    <a:gd name="connsiteX109" fmla="*/ 849632 w 1486453"/>
                    <a:gd name="connsiteY109" fmla="*/ 27232 h 2259332"/>
                    <a:gd name="connsiteX110" fmla="*/ 825225 w 1486453"/>
                    <a:gd name="connsiteY110" fmla="*/ 101464 h 2259332"/>
                    <a:gd name="connsiteX111" fmla="*/ 825225 w 1486453"/>
                    <a:gd name="connsiteY111" fmla="*/ 101464 h 2259332"/>
                    <a:gd name="connsiteX112" fmla="*/ 792849 w 1486453"/>
                    <a:gd name="connsiteY112" fmla="*/ 166518 h 2259332"/>
                    <a:gd name="connsiteX113" fmla="*/ 792849 w 1486453"/>
                    <a:gd name="connsiteY113" fmla="*/ 166518 h 2259332"/>
                    <a:gd name="connsiteX114" fmla="*/ 793253 w 1486453"/>
                    <a:gd name="connsiteY114" fmla="*/ 170653 h 2259332"/>
                    <a:gd name="connsiteX115" fmla="*/ 793253 w 1486453"/>
                    <a:gd name="connsiteY115" fmla="*/ 170653 h 2259332"/>
                    <a:gd name="connsiteX116" fmla="*/ 834100 w 1486453"/>
                    <a:gd name="connsiteY116" fmla="*/ 222595 h 2259332"/>
                    <a:gd name="connsiteX117" fmla="*/ 834100 w 1486453"/>
                    <a:gd name="connsiteY117" fmla="*/ 222595 h 2259332"/>
                    <a:gd name="connsiteX118" fmla="*/ 817761 w 1486453"/>
                    <a:gd name="connsiteY118" fmla="*/ 270402 h 2259332"/>
                    <a:gd name="connsiteX119" fmla="*/ 817761 w 1486453"/>
                    <a:gd name="connsiteY119" fmla="*/ 270402 h 2259332"/>
                    <a:gd name="connsiteX120" fmla="*/ 822199 w 1486453"/>
                    <a:gd name="connsiteY120" fmla="*/ 278269 h 2259332"/>
                    <a:gd name="connsiteX121" fmla="*/ 822199 w 1486453"/>
                    <a:gd name="connsiteY121" fmla="*/ 278269 h 2259332"/>
                    <a:gd name="connsiteX122" fmla="*/ 843884 w 1486453"/>
                    <a:gd name="connsiteY122" fmla="*/ 321436 h 2259332"/>
                    <a:gd name="connsiteX123" fmla="*/ 843884 w 1486453"/>
                    <a:gd name="connsiteY123" fmla="*/ 321436 h 2259332"/>
                    <a:gd name="connsiteX124" fmla="*/ 852053 w 1486453"/>
                    <a:gd name="connsiteY124" fmla="*/ 324260 h 2259332"/>
                    <a:gd name="connsiteX125" fmla="*/ 852053 w 1486453"/>
                    <a:gd name="connsiteY125" fmla="*/ 324260 h 2259332"/>
                    <a:gd name="connsiteX126" fmla="*/ 896027 w 1486453"/>
                    <a:gd name="connsiteY126" fmla="*/ 316898 h 2259332"/>
                    <a:gd name="connsiteX127" fmla="*/ 896027 w 1486453"/>
                    <a:gd name="connsiteY127" fmla="*/ 316898 h 2259332"/>
                    <a:gd name="connsiteX128" fmla="*/ 915997 w 1486453"/>
                    <a:gd name="connsiteY128" fmla="*/ 320730 h 2259332"/>
                    <a:gd name="connsiteX129" fmla="*/ 915997 w 1486453"/>
                    <a:gd name="connsiteY129" fmla="*/ 320730 h 2259332"/>
                    <a:gd name="connsiteX130" fmla="*/ 1036221 w 1486453"/>
                    <a:gd name="connsiteY130" fmla="*/ 415134 h 2259332"/>
                    <a:gd name="connsiteX131" fmla="*/ 1036221 w 1486453"/>
                    <a:gd name="connsiteY131" fmla="*/ 415134 h 2259332"/>
                    <a:gd name="connsiteX132" fmla="*/ 1163605 w 1486453"/>
                    <a:gd name="connsiteY132" fmla="*/ 482306 h 2259332"/>
                    <a:gd name="connsiteX133" fmla="*/ 1163605 w 1486453"/>
                    <a:gd name="connsiteY133" fmla="*/ 482306 h 2259332"/>
                    <a:gd name="connsiteX134" fmla="*/ 1168749 w 1486453"/>
                    <a:gd name="connsiteY134" fmla="*/ 495316 h 2259332"/>
                    <a:gd name="connsiteX135" fmla="*/ 1168749 w 1486453"/>
                    <a:gd name="connsiteY135" fmla="*/ 495316 h 2259332"/>
                    <a:gd name="connsiteX136" fmla="*/ 1120539 w 1486453"/>
                    <a:gd name="connsiteY136" fmla="*/ 554823 h 2259332"/>
                    <a:gd name="connsiteX137" fmla="*/ 1120539 w 1486453"/>
                    <a:gd name="connsiteY137" fmla="*/ 554823 h 2259332"/>
                    <a:gd name="connsiteX138" fmla="*/ 1100568 w 1486453"/>
                    <a:gd name="connsiteY138" fmla="*/ 566220 h 2259332"/>
                    <a:gd name="connsiteX139" fmla="*/ 1100568 w 1486453"/>
                    <a:gd name="connsiteY139" fmla="*/ 566220 h 2259332"/>
                    <a:gd name="connsiteX140" fmla="*/ 1065873 w 1486453"/>
                    <a:gd name="connsiteY140" fmla="*/ 546653 h 2259332"/>
                    <a:gd name="connsiteX141" fmla="*/ 1065873 w 1486453"/>
                    <a:gd name="connsiteY141" fmla="*/ 546653 h 2259332"/>
                    <a:gd name="connsiteX142" fmla="*/ 1034304 w 1486453"/>
                    <a:gd name="connsiteY142" fmla="*/ 539997 h 2259332"/>
                    <a:gd name="connsiteX143" fmla="*/ 1034304 w 1486453"/>
                    <a:gd name="connsiteY143" fmla="*/ 539997 h 2259332"/>
                    <a:gd name="connsiteX144" fmla="*/ 982060 w 1486453"/>
                    <a:gd name="connsiteY144" fmla="*/ 576407 h 2259332"/>
                    <a:gd name="connsiteX145" fmla="*/ 982060 w 1486453"/>
                    <a:gd name="connsiteY145" fmla="*/ 576407 h 2259332"/>
                    <a:gd name="connsiteX146" fmla="*/ 993759 w 1486453"/>
                    <a:gd name="connsiteY146" fmla="*/ 674744 h 2259332"/>
                    <a:gd name="connsiteX147" fmla="*/ 993759 w 1486453"/>
                    <a:gd name="connsiteY147" fmla="*/ 674744 h 2259332"/>
                    <a:gd name="connsiteX148" fmla="*/ 978732 w 1486453"/>
                    <a:gd name="connsiteY148" fmla="*/ 715894 h 2259332"/>
                    <a:gd name="connsiteX149" fmla="*/ 978732 w 1486453"/>
                    <a:gd name="connsiteY149" fmla="*/ 715894 h 2259332"/>
                    <a:gd name="connsiteX150" fmla="*/ 958257 w 1486453"/>
                    <a:gd name="connsiteY150" fmla="*/ 756238 h 2259332"/>
                    <a:gd name="connsiteX151" fmla="*/ 958257 w 1486453"/>
                    <a:gd name="connsiteY151" fmla="*/ 756238 h 2259332"/>
                    <a:gd name="connsiteX152" fmla="*/ 958862 w 1486453"/>
                    <a:gd name="connsiteY152" fmla="*/ 776107 h 2259332"/>
                    <a:gd name="connsiteX153" fmla="*/ 958862 w 1486453"/>
                    <a:gd name="connsiteY153" fmla="*/ 776107 h 2259332"/>
                    <a:gd name="connsiteX154" fmla="*/ 958459 w 1486453"/>
                    <a:gd name="connsiteY154" fmla="*/ 784680 h 2259332"/>
                    <a:gd name="connsiteX155" fmla="*/ 958459 w 1486453"/>
                    <a:gd name="connsiteY155" fmla="*/ 784680 h 2259332"/>
                    <a:gd name="connsiteX156" fmla="*/ 921948 w 1486453"/>
                    <a:gd name="connsiteY156" fmla="*/ 853465 h 2259332"/>
                    <a:gd name="connsiteX157" fmla="*/ 921948 w 1486453"/>
                    <a:gd name="connsiteY157" fmla="*/ 853465 h 2259332"/>
                    <a:gd name="connsiteX158" fmla="*/ 921141 w 1486453"/>
                    <a:gd name="connsiteY158" fmla="*/ 866375 h 2259332"/>
                    <a:gd name="connsiteX159" fmla="*/ 921141 w 1486453"/>
                    <a:gd name="connsiteY159" fmla="*/ 866375 h 2259332"/>
                    <a:gd name="connsiteX160" fmla="*/ 932639 w 1486453"/>
                    <a:gd name="connsiteY160" fmla="*/ 971066 h 2259332"/>
                    <a:gd name="connsiteX161" fmla="*/ 932639 w 1486453"/>
                    <a:gd name="connsiteY161" fmla="*/ 971066 h 2259332"/>
                    <a:gd name="connsiteX162" fmla="*/ 958459 w 1486453"/>
                    <a:gd name="connsiteY162" fmla="*/ 1019882 h 2259332"/>
                    <a:gd name="connsiteX163" fmla="*/ 958459 w 1486453"/>
                    <a:gd name="connsiteY163" fmla="*/ 1019882 h 2259332"/>
                    <a:gd name="connsiteX164" fmla="*/ 959165 w 1486453"/>
                    <a:gd name="connsiteY164" fmla="*/ 1027244 h 2259332"/>
                    <a:gd name="connsiteX165" fmla="*/ 959165 w 1486453"/>
                    <a:gd name="connsiteY165" fmla="*/ 1027244 h 2259332"/>
                    <a:gd name="connsiteX166" fmla="*/ 903794 w 1486453"/>
                    <a:gd name="connsiteY166" fmla="*/ 1117009 h 2259332"/>
                    <a:gd name="connsiteX167" fmla="*/ 903794 w 1486453"/>
                    <a:gd name="connsiteY167" fmla="*/ 1117009 h 2259332"/>
                    <a:gd name="connsiteX168" fmla="*/ 875049 w 1486453"/>
                    <a:gd name="connsiteY168" fmla="*/ 1185492 h 2259332"/>
                    <a:gd name="connsiteX169" fmla="*/ 875049 w 1486453"/>
                    <a:gd name="connsiteY169" fmla="*/ 1185492 h 2259332"/>
                    <a:gd name="connsiteX170" fmla="*/ 896330 w 1486453"/>
                    <a:gd name="connsiteY170" fmla="*/ 1232290 h 2259332"/>
                    <a:gd name="connsiteX171" fmla="*/ 896330 w 1486453"/>
                    <a:gd name="connsiteY171" fmla="*/ 1232290 h 2259332"/>
                    <a:gd name="connsiteX172" fmla="*/ 938791 w 1486453"/>
                    <a:gd name="connsiteY172" fmla="*/ 1319533 h 2259332"/>
                    <a:gd name="connsiteX173" fmla="*/ 938791 w 1486453"/>
                    <a:gd name="connsiteY173" fmla="*/ 1319533 h 2259332"/>
                    <a:gd name="connsiteX174" fmla="*/ 1055485 w 1486453"/>
                    <a:gd name="connsiteY174" fmla="*/ 1427653 h 2259332"/>
                    <a:gd name="connsiteX175" fmla="*/ 1055485 w 1486453"/>
                    <a:gd name="connsiteY175" fmla="*/ 1427653 h 2259332"/>
                    <a:gd name="connsiteX176" fmla="*/ 1207075 w 1486453"/>
                    <a:gd name="connsiteY176" fmla="*/ 1532849 h 2259332"/>
                    <a:gd name="connsiteX177" fmla="*/ 1207075 w 1486453"/>
                    <a:gd name="connsiteY177" fmla="*/ 1532849 h 2259332"/>
                    <a:gd name="connsiteX178" fmla="*/ 1241770 w 1486453"/>
                    <a:gd name="connsiteY178" fmla="*/ 1609904 h 2259332"/>
                    <a:gd name="connsiteX179" fmla="*/ 1241770 w 1486453"/>
                    <a:gd name="connsiteY179" fmla="*/ 1609904 h 2259332"/>
                    <a:gd name="connsiteX180" fmla="*/ 1361590 w 1486453"/>
                    <a:gd name="connsiteY180" fmla="*/ 1732246 h 2259332"/>
                    <a:gd name="connsiteX181" fmla="*/ 1361590 w 1486453"/>
                    <a:gd name="connsiteY181" fmla="*/ 1732246 h 2259332"/>
                    <a:gd name="connsiteX182" fmla="*/ 1416659 w 1486453"/>
                    <a:gd name="connsiteY182" fmla="*/ 1878793 h 2259332"/>
                    <a:gd name="connsiteX183" fmla="*/ 1416659 w 1486453"/>
                    <a:gd name="connsiteY183" fmla="*/ 1878793 h 2259332"/>
                    <a:gd name="connsiteX184" fmla="*/ 1414440 w 1486453"/>
                    <a:gd name="connsiteY184" fmla="*/ 1880508 h 2259332"/>
                    <a:gd name="connsiteX185" fmla="*/ 1412323 w 1486453"/>
                    <a:gd name="connsiteY185" fmla="*/ 1882223 h 2259332"/>
                    <a:gd name="connsiteX186" fmla="*/ 1355942 w 1486453"/>
                    <a:gd name="connsiteY186" fmla="*/ 1732952 h 2259332"/>
                    <a:gd name="connsiteX187" fmla="*/ 1355942 w 1486453"/>
                    <a:gd name="connsiteY187" fmla="*/ 1732952 h 2259332"/>
                    <a:gd name="connsiteX188" fmla="*/ 1239653 w 1486453"/>
                    <a:gd name="connsiteY188" fmla="*/ 1615048 h 2259332"/>
                    <a:gd name="connsiteX189" fmla="*/ 1239653 w 1486453"/>
                    <a:gd name="connsiteY189" fmla="*/ 1615048 h 2259332"/>
                    <a:gd name="connsiteX190" fmla="*/ 1201427 w 1486453"/>
                    <a:gd name="connsiteY190" fmla="*/ 1533353 h 2259332"/>
                    <a:gd name="connsiteX191" fmla="*/ 1201427 w 1486453"/>
                    <a:gd name="connsiteY191" fmla="*/ 1533353 h 2259332"/>
                    <a:gd name="connsiteX192" fmla="*/ 1053064 w 1486453"/>
                    <a:gd name="connsiteY192" fmla="*/ 1432797 h 2259332"/>
                    <a:gd name="connsiteX193" fmla="*/ 1053064 w 1486453"/>
                    <a:gd name="connsiteY193" fmla="*/ 1432797 h 2259332"/>
                    <a:gd name="connsiteX194" fmla="*/ 933547 w 1486453"/>
                    <a:gd name="connsiteY194" fmla="*/ 1321953 h 2259332"/>
                    <a:gd name="connsiteX195" fmla="*/ 933547 w 1486453"/>
                    <a:gd name="connsiteY195" fmla="*/ 1321953 h 2259332"/>
                    <a:gd name="connsiteX196" fmla="*/ 894615 w 1486453"/>
                    <a:gd name="connsiteY196" fmla="*/ 1237635 h 2259332"/>
                    <a:gd name="connsiteX197" fmla="*/ 894615 w 1486453"/>
                    <a:gd name="connsiteY197" fmla="*/ 1237635 h 2259332"/>
                    <a:gd name="connsiteX198" fmla="*/ 869199 w 1486453"/>
                    <a:gd name="connsiteY198" fmla="*/ 1185492 h 2259332"/>
                    <a:gd name="connsiteX199" fmla="*/ 869199 w 1486453"/>
                    <a:gd name="connsiteY199" fmla="*/ 1185492 h 2259332"/>
                    <a:gd name="connsiteX200" fmla="*/ 899961 w 1486453"/>
                    <a:gd name="connsiteY200" fmla="*/ 1112571 h 2259332"/>
                    <a:gd name="connsiteX201" fmla="*/ 899961 w 1486453"/>
                    <a:gd name="connsiteY201" fmla="*/ 1112571 h 2259332"/>
                    <a:gd name="connsiteX202" fmla="*/ 953214 w 1486453"/>
                    <a:gd name="connsiteY202" fmla="*/ 1027144 h 2259332"/>
                    <a:gd name="connsiteX203" fmla="*/ 953214 w 1486453"/>
                    <a:gd name="connsiteY203" fmla="*/ 1027144 h 2259332"/>
                    <a:gd name="connsiteX204" fmla="*/ 952609 w 1486453"/>
                    <a:gd name="connsiteY204" fmla="*/ 1020890 h 2259332"/>
                    <a:gd name="connsiteX205" fmla="*/ 952609 w 1486453"/>
                    <a:gd name="connsiteY205" fmla="*/ 1020890 h 2259332"/>
                    <a:gd name="connsiteX206" fmla="*/ 926688 w 1486453"/>
                    <a:gd name="connsiteY206" fmla="*/ 971066 h 2259332"/>
                    <a:gd name="connsiteX207" fmla="*/ 926688 w 1486453"/>
                    <a:gd name="connsiteY207" fmla="*/ 971066 h 2259332"/>
                    <a:gd name="connsiteX208" fmla="*/ 915291 w 1486453"/>
                    <a:gd name="connsiteY208" fmla="*/ 866375 h 2259332"/>
                    <a:gd name="connsiteX209" fmla="*/ 915291 w 1486453"/>
                    <a:gd name="connsiteY209" fmla="*/ 866375 h 2259332"/>
                    <a:gd name="connsiteX210" fmla="*/ 916199 w 1486453"/>
                    <a:gd name="connsiteY210" fmla="*/ 852658 h 2259332"/>
                    <a:gd name="connsiteX211" fmla="*/ 916199 w 1486453"/>
                    <a:gd name="connsiteY211" fmla="*/ 852658 h 2259332"/>
                    <a:gd name="connsiteX212" fmla="*/ 952508 w 1486453"/>
                    <a:gd name="connsiteY212" fmla="*/ 784276 h 2259332"/>
                    <a:gd name="connsiteX213" fmla="*/ 952508 w 1486453"/>
                    <a:gd name="connsiteY213" fmla="*/ 784276 h 2259332"/>
                    <a:gd name="connsiteX214" fmla="*/ 952811 w 1486453"/>
                    <a:gd name="connsiteY214" fmla="*/ 776208 h 2259332"/>
                    <a:gd name="connsiteX215" fmla="*/ 952811 w 1486453"/>
                    <a:gd name="connsiteY215" fmla="*/ 776208 h 2259332"/>
                    <a:gd name="connsiteX216" fmla="*/ 952307 w 1486453"/>
                    <a:gd name="connsiteY216" fmla="*/ 756338 h 2259332"/>
                    <a:gd name="connsiteX217" fmla="*/ 952307 w 1486453"/>
                    <a:gd name="connsiteY217" fmla="*/ 756338 h 2259332"/>
                    <a:gd name="connsiteX218" fmla="*/ 975302 w 1486453"/>
                    <a:gd name="connsiteY218" fmla="*/ 711456 h 2259332"/>
                    <a:gd name="connsiteX219" fmla="*/ 975302 w 1486453"/>
                    <a:gd name="connsiteY219" fmla="*/ 711456 h 2259332"/>
                    <a:gd name="connsiteX220" fmla="*/ 987909 w 1486453"/>
                    <a:gd name="connsiteY220" fmla="*/ 674845 h 2259332"/>
                    <a:gd name="connsiteX221" fmla="*/ 987909 w 1486453"/>
                    <a:gd name="connsiteY221" fmla="*/ 674845 h 2259332"/>
                    <a:gd name="connsiteX222" fmla="*/ 976210 w 1486453"/>
                    <a:gd name="connsiteY222" fmla="*/ 576508 h 2259332"/>
                    <a:gd name="connsiteX223" fmla="*/ 976210 w 1486453"/>
                    <a:gd name="connsiteY223" fmla="*/ 576508 h 2259332"/>
                    <a:gd name="connsiteX224" fmla="*/ 1034103 w 1486453"/>
                    <a:gd name="connsiteY224" fmla="*/ 534550 h 2259332"/>
                    <a:gd name="connsiteX225" fmla="*/ 1034103 w 1486453"/>
                    <a:gd name="connsiteY225" fmla="*/ 534550 h 2259332"/>
                    <a:gd name="connsiteX226" fmla="*/ 1068193 w 1486453"/>
                    <a:gd name="connsiteY226" fmla="*/ 541812 h 2259332"/>
                    <a:gd name="connsiteX227" fmla="*/ 1068193 w 1486453"/>
                    <a:gd name="connsiteY227" fmla="*/ 541812 h 2259332"/>
                    <a:gd name="connsiteX228" fmla="*/ 1100367 w 1486453"/>
                    <a:gd name="connsiteY228" fmla="*/ 560774 h 2259332"/>
                    <a:gd name="connsiteX229" fmla="*/ 1100367 w 1486453"/>
                    <a:gd name="connsiteY229" fmla="*/ 560774 h 2259332"/>
                    <a:gd name="connsiteX230" fmla="*/ 1116706 w 1486453"/>
                    <a:gd name="connsiteY230" fmla="*/ 550890 h 2259332"/>
                    <a:gd name="connsiteX231" fmla="*/ 1116706 w 1486453"/>
                    <a:gd name="connsiteY231" fmla="*/ 550890 h 2259332"/>
                    <a:gd name="connsiteX232" fmla="*/ 1163000 w 1486453"/>
                    <a:gd name="connsiteY232" fmla="*/ 495417 h 2259332"/>
                    <a:gd name="connsiteX233" fmla="*/ 1163000 w 1486453"/>
                    <a:gd name="connsiteY233" fmla="*/ 495417 h 2259332"/>
                    <a:gd name="connsiteX234" fmla="*/ 1159369 w 1486453"/>
                    <a:gd name="connsiteY234" fmla="*/ 486038 h 2259332"/>
                    <a:gd name="connsiteX235" fmla="*/ 1159369 w 1486453"/>
                    <a:gd name="connsiteY235" fmla="*/ 486038 h 2259332"/>
                    <a:gd name="connsiteX236" fmla="*/ 1033699 w 1486453"/>
                    <a:gd name="connsiteY236" fmla="*/ 420278 h 2259332"/>
                    <a:gd name="connsiteX237" fmla="*/ 1033699 w 1486453"/>
                    <a:gd name="connsiteY237" fmla="*/ 420278 h 2259332"/>
                    <a:gd name="connsiteX238" fmla="*/ 913779 w 1486453"/>
                    <a:gd name="connsiteY238" fmla="*/ 325975 h 2259332"/>
                    <a:gd name="connsiteX239" fmla="*/ 913779 w 1486453"/>
                    <a:gd name="connsiteY239" fmla="*/ 325975 h 2259332"/>
                    <a:gd name="connsiteX240" fmla="*/ 896027 w 1486453"/>
                    <a:gd name="connsiteY240" fmla="*/ 322546 h 2259332"/>
                    <a:gd name="connsiteX241" fmla="*/ 896027 w 1486453"/>
                    <a:gd name="connsiteY241" fmla="*/ 322546 h 2259332"/>
                    <a:gd name="connsiteX242" fmla="*/ 852053 w 1486453"/>
                    <a:gd name="connsiteY242" fmla="*/ 329808 h 2259332"/>
                    <a:gd name="connsiteX243" fmla="*/ 852053 w 1486453"/>
                    <a:gd name="connsiteY243" fmla="*/ 329808 h 2259332"/>
                    <a:gd name="connsiteX244" fmla="*/ 839849 w 1486453"/>
                    <a:gd name="connsiteY244" fmla="*/ 325370 h 2259332"/>
                    <a:gd name="connsiteX245" fmla="*/ 839849 w 1486453"/>
                    <a:gd name="connsiteY245" fmla="*/ 325370 h 2259332"/>
                    <a:gd name="connsiteX246" fmla="*/ 818870 w 1486453"/>
                    <a:gd name="connsiteY246" fmla="*/ 282707 h 2259332"/>
                    <a:gd name="connsiteX247" fmla="*/ 818870 w 1486453"/>
                    <a:gd name="connsiteY247" fmla="*/ 282707 h 2259332"/>
                    <a:gd name="connsiteX248" fmla="*/ 812113 w 1486453"/>
                    <a:gd name="connsiteY248" fmla="*/ 270402 h 2259332"/>
                    <a:gd name="connsiteX249" fmla="*/ 812113 w 1486453"/>
                    <a:gd name="connsiteY249" fmla="*/ 270402 h 2259332"/>
                    <a:gd name="connsiteX250" fmla="*/ 828351 w 1486453"/>
                    <a:gd name="connsiteY250" fmla="*/ 222595 h 2259332"/>
                    <a:gd name="connsiteX251" fmla="*/ 828351 w 1486453"/>
                    <a:gd name="connsiteY251" fmla="*/ 222595 h 2259332"/>
                    <a:gd name="connsiteX252" fmla="*/ 787605 w 1486453"/>
                    <a:gd name="connsiteY252" fmla="*/ 171661 h 2259332"/>
                    <a:gd name="connsiteX253" fmla="*/ 787605 w 1486453"/>
                    <a:gd name="connsiteY253" fmla="*/ 171661 h 2259332"/>
                    <a:gd name="connsiteX254" fmla="*/ 787100 w 1486453"/>
                    <a:gd name="connsiteY254" fmla="*/ 166518 h 2259332"/>
                    <a:gd name="connsiteX255" fmla="*/ 787100 w 1486453"/>
                    <a:gd name="connsiteY255" fmla="*/ 166518 h 2259332"/>
                    <a:gd name="connsiteX256" fmla="*/ 819879 w 1486453"/>
                    <a:gd name="connsiteY256" fmla="*/ 99245 h 2259332"/>
                    <a:gd name="connsiteX257" fmla="*/ 819879 w 1486453"/>
                    <a:gd name="connsiteY257" fmla="*/ 99245 h 2259332"/>
                    <a:gd name="connsiteX258" fmla="*/ 843884 w 1486453"/>
                    <a:gd name="connsiteY258" fmla="*/ 27333 h 2259332"/>
                    <a:gd name="connsiteX259" fmla="*/ 843884 w 1486453"/>
                    <a:gd name="connsiteY259" fmla="*/ 27333 h 2259332"/>
                    <a:gd name="connsiteX260" fmla="*/ 841463 w 1486453"/>
                    <a:gd name="connsiteY260" fmla="*/ 16037 h 2259332"/>
                    <a:gd name="connsiteX261" fmla="*/ 841463 w 1486453"/>
                    <a:gd name="connsiteY261" fmla="*/ 16037 h 2259332"/>
                    <a:gd name="connsiteX262" fmla="*/ 820384 w 1486453"/>
                    <a:gd name="connsiteY262" fmla="*/ 5648 h 2259332"/>
                    <a:gd name="connsiteX263" fmla="*/ 820384 w 1486453"/>
                    <a:gd name="connsiteY263" fmla="*/ 5648 h 2259332"/>
                    <a:gd name="connsiteX264" fmla="*/ 769046 w 1486453"/>
                    <a:gd name="connsiteY264" fmla="*/ 39738 h 2259332"/>
                    <a:gd name="connsiteX265" fmla="*/ 769046 w 1486453"/>
                    <a:gd name="connsiteY265" fmla="*/ 39738 h 2259332"/>
                    <a:gd name="connsiteX266" fmla="*/ 721845 w 1486453"/>
                    <a:gd name="connsiteY266" fmla="*/ 145035 h 2259332"/>
                    <a:gd name="connsiteX267" fmla="*/ 721845 w 1486453"/>
                    <a:gd name="connsiteY267" fmla="*/ 145035 h 2259332"/>
                    <a:gd name="connsiteX268" fmla="*/ 611808 w 1486453"/>
                    <a:gd name="connsiteY268" fmla="*/ 216442 h 2259332"/>
                    <a:gd name="connsiteX269" fmla="*/ 611808 w 1486453"/>
                    <a:gd name="connsiteY269" fmla="*/ 216442 h 2259332"/>
                    <a:gd name="connsiteX270" fmla="*/ 582357 w 1486453"/>
                    <a:gd name="connsiteY270" fmla="*/ 226327 h 2259332"/>
                    <a:gd name="connsiteX271" fmla="*/ 582357 w 1486453"/>
                    <a:gd name="connsiteY271" fmla="*/ 226327 h 2259332"/>
                    <a:gd name="connsiteX272" fmla="*/ 513672 w 1486453"/>
                    <a:gd name="connsiteY272" fmla="*/ 189009 h 2259332"/>
                    <a:gd name="connsiteX273" fmla="*/ 513672 w 1486453"/>
                    <a:gd name="connsiteY273" fmla="*/ 189009 h 2259332"/>
                    <a:gd name="connsiteX274" fmla="*/ 456385 w 1486453"/>
                    <a:gd name="connsiteY274" fmla="*/ 199700 h 2259332"/>
                    <a:gd name="connsiteX275" fmla="*/ 456385 w 1486453"/>
                    <a:gd name="connsiteY275" fmla="*/ 199700 h 2259332"/>
                    <a:gd name="connsiteX276" fmla="*/ 480389 w 1486453"/>
                    <a:gd name="connsiteY276" fmla="*/ 235101 h 2259332"/>
                    <a:gd name="connsiteX277" fmla="*/ 480389 w 1486453"/>
                    <a:gd name="connsiteY277" fmla="*/ 235101 h 2259332"/>
                    <a:gd name="connsiteX278" fmla="*/ 503183 w 1486453"/>
                    <a:gd name="connsiteY278" fmla="*/ 282404 h 2259332"/>
                    <a:gd name="connsiteX279" fmla="*/ 503183 w 1486453"/>
                    <a:gd name="connsiteY279" fmla="*/ 282404 h 2259332"/>
                    <a:gd name="connsiteX280" fmla="*/ 497938 w 1486453"/>
                    <a:gd name="connsiteY280" fmla="*/ 295717 h 2259332"/>
                    <a:gd name="connsiteX281" fmla="*/ 497938 w 1486453"/>
                    <a:gd name="connsiteY281" fmla="*/ 295717 h 2259332"/>
                    <a:gd name="connsiteX282" fmla="*/ 479582 w 1486453"/>
                    <a:gd name="connsiteY282" fmla="*/ 321134 h 2259332"/>
                    <a:gd name="connsiteX283" fmla="*/ 479582 w 1486453"/>
                    <a:gd name="connsiteY283" fmla="*/ 321134 h 2259332"/>
                    <a:gd name="connsiteX284" fmla="*/ 484121 w 1486453"/>
                    <a:gd name="connsiteY284" fmla="*/ 350584 h 2259332"/>
                    <a:gd name="connsiteX285" fmla="*/ 484121 w 1486453"/>
                    <a:gd name="connsiteY285" fmla="*/ 350584 h 2259332"/>
                    <a:gd name="connsiteX286" fmla="*/ 487953 w 1486453"/>
                    <a:gd name="connsiteY286" fmla="*/ 377110 h 2259332"/>
                    <a:gd name="connsiteX287" fmla="*/ 487953 w 1486453"/>
                    <a:gd name="connsiteY287" fmla="*/ 377110 h 2259332"/>
                    <a:gd name="connsiteX288" fmla="*/ 444887 w 1486453"/>
                    <a:gd name="connsiteY288" fmla="*/ 440954 h 2259332"/>
                    <a:gd name="connsiteX289" fmla="*/ 444887 w 1486453"/>
                    <a:gd name="connsiteY289" fmla="*/ 440954 h 2259332"/>
                    <a:gd name="connsiteX290" fmla="*/ 389818 w 1486453"/>
                    <a:gd name="connsiteY290" fmla="*/ 555327 h 2259332"/>
                    <a:gd name="connsiteX291" fmla="*/ 389818 w 1486453"/>
                    <a:gd name="connsiteY291" fmla="*/ 555327 h 2259332"/>
                    <a:gd name="connsiteX292" fmla="*/ 387196 w 1486453"/>
                    <a:gd name="connsiteY292" fmla="*/ 588207 h 2259332"/>
                    <a:gd name="connsiteX293" fmla="*/ 387196 w 1486453"/>
                    <a:gd name="connsiteY293" fmla="*/ 588207 h 2259332"/>
                    <a:gd name="connsiteX294" fmla="*/ 399400 w 1486453"/>
                    <a:gd name="connsiteY294" fmla="*/ 695823 h 2259332"/>
                    <a:gd name="connsiteX295" fmla="*/ 399400 w 1486453"/>
                    <a:gd name="connsiteY295" fmla="*/ 695823 h 2259332"/>
                    <a:gd name="connsiteX296" fmla="*/ 398391 w 1486453"/>
                    <a:gd name="connsiteY296" fmla="*/ 707725 h 2259332"/>
                    <a:gd name="connsiteX297" fmla="*/ 398391 w 1486453"/>
                    <a:gd name="connsiteY297" fmla="*/ 707725 h 2259332"/>
                    <a:gd name="connsiteX298" fmla="*/ 363393 w 1486453"/>
                    <a:gd name="connsiteY298" fmla="*/ 730620 h 2259332"/>
                    <a:gd name="connsiteX299" fmla="*/ 363393 w 1486453"/>
                    <a:gd name="connsiteY299" fmla="*/ 730620 h 2259332"/>
                    <a:gd name="connsiteX300" fmla="*/ 313367 w 1486453"/>
                    <a:gd name="connsiteY300" fmla="*/ 720634 h 2259332"/>
                    <a:gd name="connsiteX301" fmla="*/ 313367 w 1486453"/>
                    <a:gd name="connsiteY301" fmla="*/ 720634 h 2259332"/>
                    <a:gd name="connsiteX302" fmla="*/ 290271 w 1486453"/>
                    <a:gd name="connsiteY302" fmla="*/ 714180 h 2259332"/>
                    <a:gd name="connsiteX303" fmla="*/ 290271 w 1486453"/>
                    <a:gd name="connsiteY303" fmla="*/ 714180 h 2259332"/>
                    <a:gd name="connsiteX304" fmla="*/ 256181 w 1486453"/>
                    <a:gd name="connsiteY304" fmla="*/ 739394 h 2259332"/>
                    <a:gd name="connsiteX305" fmla="*/ 256181 w 1486453"/>
                    <a:gd name="connsiteY305" fmla="*/ 739394 h 2259332"/>
                    <a:gd name="connsiteX306" fmla="*/ 210088 w 1486453"/>
                    <a:gd name="connsiteY306" fmla="*/ 755935 h 2259332"/>
                    <a:gd name="connsiteX307" fmla="*/ 210088 w 1486453"/>
                    <a:gd name="connsiteY307" fmla="*/ 755935 h 2259332"/>
                    <a:gd name="connsiteX308" fmla="*/ 195766 w 1486453"/>
                    <a:gd name="connsiteY308" fmla="*/ 755632 h 2259332"/>
                    <a:gd name="connsiteX309" fmla="*/ 195766 w 1486453"/>
                    <a:gd name="connsiteY309" fmla="*/ 755632 h 2259332"/>
                    <a:gd name="connsiteX310" fmla="*/ 174889 w 1486453"/>
                    <a:gd name="connsiteY310" fmla="*/ 762793 h 2259332"/>
                    <a:gd name="connsiteX311" fmla="*/ 174889 w 1486453"/>
                    <a:gd name="connsiteY311" fmla="*/ 762793 h 2259332"/>
                    <a:gd name="connsiteX312" fmla="*/ 168030 w 1486453"/>
                    <a:gd name="connsiteY312" fmla="*/ 787302 h 2259332"/>
                    <a:gd name="connsiteX313" fmla="*/ 168030 w 1486453"/>
                    <a:gd name="connsiteY313" fmla="*/ 787302 h 2259332"/>
                    <a:gd name="connsiteX314" fmla="*/ 191732 w 1486453"/>
                    <a:gd name="connsiteY314" fmla="*/ 853263 h 2259332"/>
                    <a:gd name="connsiteX315" fmla="*/ 191732 w 1486453"/>
                    <a:gd name="connsiteY315" fmla="*/ 853263 h 2259332"/>
                    <a:gd name="connsiteX316" fmla="*/ 214425 w 1486453"/>
                    <a:gd name="connsiteY316" fmla="*/ 891691 h 2259332"/>
                    <a:gd name="connsiteX317" fmla="*/ 214425 w 1486453"/>
                    <a:gd name="connsiteY317" fmla="*/ 891691 h 2259332"/>
                    <a:gd name="connsiteX318" fmla="*/ 192135 w 1486453"/>
                    <a:gd name="connsiteY318" fmla="*/ 909643 h 2259332"/>
                    <a:gd name="connsiteX319" fmla="*/ 192135 w 1486453"/>
                    <a:gd name="connsiteY319" fmla="*/ 909643 h 2259332"/>
                    <a:gd name="connsiteX320" fmla="*/ 134646 w 1486453"/>
                    <a:gd name="connsiteY320" fmla="*/ 963300 h 2259332"/>
                    <a:gd name="connsiteX321" fmla="*/ 134646 w 1486453"/>
                    <a:gd name="connsiteY321" fmla="*/ 963300 h 2259332"/>
                    <a:gd name="connsiteX322" fmla="*/ 132831 w 1486453"/>
                    <a:gd name="connsiteY322" fmla="*/ 976210 h 2259332"/>
                    <a:gd name="connsiteX323" fmla="*/ 132831 w 1486453"/>
                    <a:gd name="connsiteY323" fmla="*/ 976210 h 2259332"/>
                    <a:gd name="connsiteX324" fmla="*/ 162685 w 1486453"/>
                    <a:gd name="connsiteY324" fmla="*/ 1033296 h 2259332"/>
                    <a:gd name="connsiteX325" fmla="*/ 162685 w 1486453"/>
                    <a:gd name="connsiteY325" fmla="*/ 1033296 h 2259332"/>
                    <a:gd name="connsiteX326" fmla="*/ 99043 w 1486453"/>
                    <a:gd name="connsiteY326" fmla="*/ 1110755 h 2259332"/>
                    <a:gd name="connsiteX327" fmla="*/ 99043 w 1486453"/>
                    <a:gd name="connsiteY327" fmla="*/ 1110755 h 2259332"/>
                    <a:gd name="connsiteX328" fmla="*/ 56582 w 1486453"/>
                    <a:gd name="connsiteY328" fmla="*/ 1174599 h 2259332"/>
                    <a:gd name="connsiteX329" fmla="*/ 56582 w 1486453"/>
                    <a:gd name="connsiteY329" fmla="*/ 1174599 h 2259332"/>
                    <a:gd name="connsiteX330" fmla="*/ 42865 w 1486453"/>
                    <a:gd name="connsiteY330" fmla="*/ 1180045 h 2259332"/>
                    <a:gd name="connsiteX331" fmla="*/ 42865 w 1486453"/>
                    <a:gd name="connsiteY331" fmla="*/ 1180045 h 2259332"/>
                    <a:gd name="connsiteX332" fmla="*/ 41150 w 1486453"/>
                    <a:gd name="connsiteY332" fmla="*/ 1179743 h 2259332"/>
                    <a:gd name="connsiteX333" fmla="*/ 41150 w 1486453"/>
                    <a:gd name="connsiteY333" fmla="*/ 1179743 h 2259332"/>
                    <a:gd name="connsiteX334" fmla="*/ 34594 w 1486453"/>
                    <a:gd name="connsiteY334" fmla="*/ 1250545 h 2259332"/>
                    <a:gd name="connsiteX335" fmla="*/ 34594 w 1486453"/>
                    <a:gd name="connsiteY335" fmla="*/ 1250545 h 2259332"/>
                    <a:gd name="connsiteX336" fmla="*/ 38024 w 1486453"/>
                    <a:gd name="connsiteY336" fmla="*/ 1283627 h 2259332"/>
                    <a:gd name="connsiteX337" fmla="*/ 38024 w 1486453"/>
                    <a:gd name="connsiteY337" fmla="*/ 1283627 h 2259332"/>
                    <a:gd name="connsiteX338" fmla="*/ 67676 w 1486453"/>
                    <a:gd name="connsiteY338" fmla="*/ 1385494 h 2259332"/>
                    <a:gd name="connsiteX339" fmla="*/ 67676 w 1486453"/>
                    <a:gd name="connsiteY339" fmla="*/ 1385494 h 2259332"/>
                    <a:gd name="connsiteX340" fmla="*/ 65961 w 1486453"/>
                    <a:gd name="connsiteY340" fmla="*/ 1404960 h 2259332"/>
                    <a:gd name="connsiteX341" fmla="*/ 65961 w 1486453"/>
                    <a:gd name="connsiteY341" fmla="*/ 1404960 h 2259332"/>
                    <a:gd name="connsiteX342" fmla="*/ 5951 w 1486453"/>
                    <a:gd name="connsiteY342" fmla="*/ 1539909 h 2259332"/>
                    <a:gd name="connsiteX343" fmla="*/ 5951 w 1486453"/>
                    <a:gd name="connsiteY343" fmla="*/ 1539909 h 2259332"/>
                    <a:gd name="connsiteX344" fmla="*/ 5345 w 1486453"/>
                    <a:gd name="connsiteY344" fmla="*/ 1549894 h 2259332"/>
                    <a:gd name="connsiteX345" fmla="*/ 5345 w 1486453"/>
                    <a:gd name="connsiteY345" fmla="*/ 1549894 h 2259332"/>
                    <a:gd name="connsiteX346" fmla="*/ 95110 w 1486453"/>
                    <a:gd name="connsiteY346" fmla="*/ 1661947 h 2259332"/>
                    <a:gd name="connsiteX347" fmla="*/ 95110 w 1486453"/>
                    <a:gd name="connsiteY347" fmla="*/ 1661947 h 2259332"/>
                    <a:gd name="connsiteX348" fmla="*/ 165509 w 1486453"/>
                    <a:gd name="connsiteY348" fmla="*/ 1788122 h 2259332"/>
                    <a:gd name="connsiteX349" fmla="*/ 165509 w 1486453"/>
                    <a:gd name="connsiteY349" fmla="*/ 1788122 h 2259332"/>
                    <a:gd name="connsiteX350" fmla="*/ 269494 w 1486453"/>
                    <a:gd name="connsiteY350" fmla="*/ 1922263 h 2259332"/>
                    <a:gd name="connsiteX351" fmla="*/ 269494 w 1486453"/>
                    <a:gd name="connsiteY351" fmla="*/ 1922263 h 2259332"/>
                    <a:gd name="connsiteX352" fmla="*/ 347659 w 1486453"/>
                    <a:gd name="connsiteY352" fmla="*/ 1991553 h 2259332"/>
                    <a:gd name="connsiteX353" fmla="*/ 347659 w 1486453"/>
                    <a:gd name="connsiteY353" fmla="*/ 1991553 h 2259332"/>
                    <a:gd name="connsiteX354" fmla="*/ 360569 w 1486453"/>
                    <a:gd name="connsiteY354" fmla="*/ 1989435 h 2259332"/>
                    <a:gd name="connsiteX355" fmla="*/ 360569 w 1486453"/>
                    <a:gd name="connsiteY355" fmla="*/ 1989435 h 2259332"/>
                    <a:gd name="connsiteX356" fmla="*/ 665767 w 1486453"/>
                    <a:gd name="connsiteY356" fmla="*/ 1959379 h 2259332"/>
                    <a:gd name="connsiteX357" fmla="*/ 665767 w 1486453"/>
                    <a:gd name="connsiteY357" fmla="*/ 1959379 h 2259332"/>
                    <a:gd name="connsiteX358" fmla="*/ 768945 w 1486453"/>
                    <a:gd name="connsiteY358" fmla="*/ 1916514 h 2259332"/>
                    <a:gd name="connsiteX359" fmla="*/ 768945 w 1486453"/>
                    <a:gd name="connsiteY359" fmla="*/ 1916514 h 2259332"/>
                    <a:gd name="connsiteX360" fmla="*/ 895321 w 1486453"/>
                    <a:gd name="connsiteY360" fmla="*/ 2009607 h 2259332"/>
                    <a:gd name="connsiteX361" fmla="*/ 895321 w 1486453"/>
                    <a:gd name="connsiteY361" fmla="*/ 2009607 h 2259332"/>
                    <a:gd name="connsiteX362" fmla="*/ 936774 w 1486453"/>
                    <a:gd name="connsiteY362" fmla="*/ 2127208 h 2259332"/>
                    <a:gd name="connsiteX363" fmla="*/ 936774 w 1486453"/>
                    <a:gd name="connsiteY363" fmla="*/ 2127208 h 2259332"/>
                    <a:gd name="connsiteX364" fmla="*/ 1010906 w 1486453"/>
                    <a:gd name="connsiteY364" fmla="*/ 2200331 h 2259332"/>
                    <a:gd name="connsiteX365" fmla="*/ 1010906 w 1486453"/>
                    <a:gd name="connsiteY365" fmla="*/ 2200331 h 2259332"/>
                    <a:gd name="connsiteX366" fmla="*/ 1109343 w 1486453"/>
                    <a:gd name="connsiteY366" fmla="*/ 2230084 h 2259332"/>
                    <a:gd name="connsiteX367" fmla="*/ 1109343 w 1486453"/>
                    <a:gd name="connsiteY367" fmla="*/ 2230084 h 2259332"/>
                    <a:gd name="connsiteX368" fmla="*/ 1183575 w 1486453"/>
                    <a:gd name="connsiteY368" fmla="*/ 2253786 h 2259332"/>
                    <a:gd name="connsiteX369" fmla="*/ 1183575 w 1486453"/>
                    <a:gd name="connsiteY369" fmla="*/ 2253786 h 2259332"/>
                    <a:gd name="connsiteX370" fmla="*/ 1190837 w 1486453"/>
                    <a:gd name="connsiteY370" fmla="*/ 2253987 h 2259332"/>
                    <a:gd name="connsiteX371" fmla="*/ 1190837 w 1486453"/>
                    <a:gd name="connsiteY371" fmla="*/ 2253987 h 2259332"/>
                    <a:gd name="connsiteX372" fmla="*/ 1208689 w 1486453"/>
                    <a:gd name="connsiteY372" fmla="*/ 2187521 h 2259332"/>
                    <a:gd name="connsiteX373" fmla="*/ 1208689 w 1486453"/>
                    <a:gd name="connsiteY373" fmla="*/ 2187521 h 2259332"/>
                    <a:gd name="connsiteX374" fmla="*/ 1242174 w 1486453"/>
                    <a:gd name="connsiteY374" fmla="*/ 2175620 h 2259332"/>
                    <a:gd name="connsiteX375" fmla="*/ 1242174 w 1486453"/>
                    <a:gd name="connsiteY375" fmla="*/ 2175620 h 2259332"/>
                    <a:gd name="connsiteX376" fmla="*/ 1326694 w 1486453"/>
                    <a:gd name="connsiteY376" fmla="*/ 2182378 h 2259332"/>
                    <a:gd name="connsiteX377" fmla="*/ 1326694 w 1486453"/>
                    <a:gd name="connsiteY377" fmla="*/ 2182378 h 2259332"/>
                    <a:gd name="connsiteX378" fmla="*/ 1335065 w 1486453"/>
                    <a:gd name="connsiteY378" fmla="*/ 2182680 h 2259332"/>
                    <a:gd name="connsiteX379" fmla="*/ 1335065 w 1486453"/>
                    <a:gd name="connsiteY379" fmla="*/ 2182680 h 2259332"/>
                    <a:gd name="connsiteX380" fmla="*/ 1387511 w 1486453"/>
                    <a:gd name="connsiteY380" fmla="*/ 2113290 h 2259332"/>
                    <a:gd name="connsiteX381" fmla="*/ 1387511 w 1486453"/>
                    <a:gd name="connsiteY381" fmla="*/ 2113290 h 2259332"/>
                    <a:gd name="connsiteX382" fmla="*/ 1387309 w 1486453"/>
                    <a:gd name="connsiteY382" fmla="*/ 2092109 h 2259332"/>
                    <a:gd name="connsiteX383" fmla="*/ 1387309 w 1486453"/>
                    <a:gd name="connsiteY383" fmla="*/ 2092109 h 2259332"/>
                    <a:gd name="connsiteX384" fmla="*/ 1388116 w 1486453"/>
                    <a:gd name="connsiteY384" fmla="*/ 2079603 h 2259332"/>
                    <a:gd name="connsiteX385" fmla="*/ 1388116 w 1486453"/>
                    <a:gd name="connsiteY385" fmla="*/ 2079603 h 2259332"/>
                    <a:gd name="connsiteX386" fmla="*/ 1416861 w 1486453"/>
                    <a:gd name="connsiteY386" fmla="*/ 2028770 h 2259332"/>
                    <a:gd name="connsiteX387" fmla="*/ 1416861 w 1486453"/>
                    <a:gd name="connsiteY387" fmla="*/ 2028770 h 2259332"/>
                    <a:gd name="connsiteX388" fmla="*/ 1480503 w 1486453"/>
                    <a:gd name="connsiteY388" fmla="*/ 1967650 h 2259332"/>
                    <a:gd name="connsiteX389" fmla="*/ 1480503 w 1486453"/>
                    <a:gd name="connsiteY389" fmla="*/ 1967650 h 2259332"/>
                    <a:gd name="connsiteX390" fmla="*/ 1480906 w 1486453"/>
                    <a:gd name="connsiteY390" fmla="*/ 1964624 h 2259332"/>
                    <a:gd name="connsiteX391" fmla="*/ 1480906 w 1486453"/>
                    <a:gd name="connsiteY391" fmla="*/ 1964624 h 2259332"/>
                    <a:gd name="connsiteX392" fmla="*/ 1412323 w 1486453"/>
                    <a:gd name="connsiteY392" fmla="*/ 1882324 h 2259332"/>
                    <a:gd name="connsiteX393" fmla="*/ 1412323 w 1486453"/>
                    <a:gd name="connsiteY393" fmla="*/ 1882324 h 2259332"/>
                    <a:gd name="connsiteX394" fmla="*/ 1414440 w 1486453"/>
                    <a:gd name="connsiteY394" fmla="*/ 1880609 h 2259332"/>
                    <a:gd name="connsiteX395" fmla="*/ 1416659 w 1486453"/>
                    <a:gd name="connsiteY395" fmla="*/ 1878894 h 2259332"/>
                    <a:gd name="connsiteX396" fmla="*/ 1486453 w 1486453"/>
                    <a:gd name="connsiteY396" fmla="*/ 1964624 h 2259332"/>
                    <a:gd name="connsiteX397" fmla="*/ 1486453 w 1486453"/>
                    <a:gd name="connsiteY397" fmla="*/ 1964624 h 2259332"/>
                    <a:gd name="connsiteX398" fmla="*/ 1485747 w 1486453"/>
                    <a:gd name="connsiteY398" fmla="*/ 1969465 h 2259332"/>
                    <a:gd name="connsiteX399" fmla="*/ 1485747 w 1486453"/>
                    <a:gd name="connsiteY399" fmla="*/ 1969465 h 2259332"/>
                    <a:gd name="connsiteX400" fmla="*/ 1420694 w 1486453"/>
                    <a:gd name="connsiteY400" fmla="*/ 2032704 h 2259332"/>
                    <a:gd name="connsiteX401" fmla="*/ 1420694 w 1486453"/>
                    <a:gd name="connsiteY401" fmla="*/ 2032704 h 2259332"/>
                    <a:gd name="connsiteX402" fmla="*/ 1393563 w 1486453"/>
                    <a:gd name="connsiteY402" fmla="*/ 2080511 h 2259332"/>
                    <a:gd name="connsiteX403" fmla="*/ 1393563 w 1486453"/>
                    <a:gd name="connsiteY403" fmla="*/ 2080511 h 2259332"/>
                    <a:gd name="connsiteX404" fmla="*/ 1392857 w 1486453"/>
                    <a:gd name="connsiteY404" fmla="*/ 2092109 h 2259332"/>
                    <a:gd name="connsiteX405" fmla="*/ 1392857 w 1486453"/>
                    <a:gd name="connsiteY405" fmla="*/ 2092109 h 2259332"/>
                    <a:gd name="connsiteX406" fmla="*/ 1393058 w 1486453"/>
                    <a:gd name="connsiteY406" fmla="*/ 2113290 h 2259332"/>
                    <a:gd name="connsiteX407" fmla="*/ 1393058 w 1486453"/>
                    <a:gd name="connsiteY407" fmla="*/ 2113290 h 2259332"/>
                    <a:gd name="connsiteX408" fmla="*/ 1335065 w 1486453"/>
                    <a:gd name="connsiteY408" fmla="*/ 2188227 h 2259332"/>
                    <a:gd name="connsiteX409" fmla="*/ 1335065 w 1486453"/>
                    <a:gd name="connsiteY409" fmla="*/ 2188227 h 2259332"/>
                    <a:gd name="connsiteX410" fmla="*/ 1326290 w 1486453"/>
                    <a:gd name="connsiteY410" fmla="*/ 2187925 h 2259332"/>
                    <a:gd name="connsiteX411" fmla="*/ 1326290 w 1486453"/>
                    <a:gd name="connsiteY411" fmla="*/ 2187925 h 2259332"/>
                    <a:gd name="connsiteX412" fmla="*/ 1242174 w 1486453"/>
                    <a:gd name="connsiteY412" fmla="*/ 2181168 h 2259332"/>
                    <a:gd name="connsiteX413" fmla="*/ 1242174 w 1486453"/>
                    <a:gd name="connsiteY413" fmla="*/ 2181168 h 2259332"/>
                    <a:gd name="connsiteX414" fmla="*/ 1212723 w 1486453"/>
                    <a:gd name="connsiteY414" fmla="*/ 2191455 h 2259332"/>
                    <a:gd name="connsiteX415" fmla="*/ 1212723 w 1486453"/>
                    <a:gd name="connsiteY415" fmla="*/ 2191455 h 2259332"/>
                    <a:gd name="connsiteX416" fmla="*/ 1194064 w 1486453"/>
                    <a:gd name="connsiteY416" fmla="*/ 2258727 h 2259332"/>
                    <a:gd name="connsiteX417" fmla="*/ 1194064 w 1486453"/>
                    <a:gd name="connsiteY417" fmla="*/ 2258727 h 2259332"/>
                    <a:gd name="connsiteX418" fmla="*/ 1183676 w 1486453"/>
                    <a:gd name="connsiteY418" fmla="*/ 2259333 h 2259332"/>
                    <a:gd name="connsiteX419" fmla="*/ 1183676 w 1486453"/>
                    <a:gd name="connsiteY419" fmla="*/ 2259333 h 2259332"/>
                    <a:gd name="connsiteX420" fmla="*/ 1106317 w 1486453"/>
                    <a:gd name="connsiteY420" fmla="*/ 2234118 h 2259332"/>
                    <a:gd name="connsiteX421" fmla="*/ 1106317 w 1486453"/>
                    <a:gd name="connsiteY421" fmla="*/ 2234118 h 2259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Lst>
                  <a:rect l="l" t="t" r="r" b="b"/>
                  <a:pathLst>
                    <a:path w="1486453" h="2259332">
                      <a:moveTo>
                        <a:pt x="1106317" y="2234118"/>
                      </a:moveTo>
                      <a:cubicBezTo>
                        <a:pt x="1062444" y="2204566"/>
                        <a:pt x="1031279" y="2224436"/>
                        <a:pt x="1007375" y="2203861"/>
                      </a:cubicBezTo>
                      <a:lnTo>
                        <a:pt x="1007375" y="2203861"/>
                      </a:lnTo>
                      <a:cubicBezTo>
                        <a:pt x="987405" y="2185403"/>
                        <a:pt x="933950" y="2176528"/>
                        <a:pt x="931429" y="2126805"/>
                      </a:cubicBezTo>
                      <a:lnTo>
                        <a:pt x="931429" y="2126805"/>
                      </a:lnTo>
                      <a:cubicBezTo>
                        <a:pt x="929109" y="2079804"/>
                        <a:pt x="922957" y="2046521"/>
                        <a:pt x="891388" y="2012835"/>
                      </a:cubicBezTo>
                      <a:lnTo>
                        <a:pt x="891388" y="2012835"/>
                      </a:lnTo>
                      <a:cubicBezTo>
                        <a:pt x="859113" y="1978240"/>
                        <a:pt x="816148" y="1921154"/>
                        <a:pt x="769046" y="1921457"/>
                      </a:cubicBezTo>
                      <a:lnTo>
                        <a:pt x="769046" y="1921457"/>
                      </a:lnTo>
                      <a:cubicBezTo>
                        <a:pt x="721845" y="1920851"/>
                        <a:pt x="719727" y="1959379"/>
                        <a:pt x="666473" y="1964322"/>
                      </a:cubicBezTo>
                      <a:lnTo>
                        <a:pt x="666473" y="1964322"/>
                      </a:lnTo>
                      <a:cubicBezTo>
                        <a:pt x="614935" y="1968557"/>
                        <a:pt x="412814" y="1977231"/>
                        <a:pt x="362385" y="1994176"/>
                      </a:cubicBezTo>
                      <a:lnTo>
                        <a:pt x="362385" y="1994176"/>
                      </a:lnTo>
                      <a:cubicBezTo>
                        <a:pt x="357342" y="1995789"/>
                        <a:pt x="352501" y="1996596"/>
                        <a:pt x="347861" y="1996596"/>
                      </a:cubicBezTo>
                      <a:lnTo>
                        <a:pt x="347861" y="1996596"/>
                      </a:lnTo>
                      <a:cubicBezTo>
                        <a:pt x="299852" y="1995890"/>
                        <a:pt x="265157" y="1924180"/>
                        <a:pt x="264854" y="1924180"/>
                      </a:cubicBezTo>
                      <a:lnTo>
                        <a:pt x="264854" y="1924180"/>
                      </a:lnTo>
                      <a:cubicBezTo>
                        <a:pt x="264754" y="1924180"/>
                        <a:pt x="208777" y="1819287"/>
                        <a:pt x="162887" y="1792358"/>
                      </a:cubicBezTo>
                      <a:lnTo>
                        <a:pt x="162887" y="1792358"/>
                      </a:lnTo>
                      <a:cubicBezTo>
                        <a:pt x="113869" y="1762403"/>
                        <a:pt x="137773" y="1706527"/>
                        <a:pt x="91579" y="1665477"/>
                      </a:cubicBezTo>
                      <a:lnTo>
                        <a:pt x="91579" y="1665477"/>
                      </a:lnTo>
                      <a:cubicBezTo>
                        <a:pt x="47908" y="1625437"/>
                        <a:pt x="202" y="1603752"/>
                        <a:pt x="0" y="1549389"/>
                      </a:cubicBezTo>
                      <a:lnTo>
                        <a:pt x="0" y="1549389"/>
                      </a:lnTo>
                      <a:cubicBezTo>
                        <a:pt x="0" y="1545960"/>
                        <a:pt x="101" y="1542430"/>
                        <a:pt x="605" y="1538799"/>
                      </a:cubicBezTo>
                      <a:lnTo>
                        <a:pt x="605" y="1538799"/>
                      </a:lnTo>
                      <a:cubicBezTo>
                        <a:pt x="7463" y="1477275"/>
                        <a:pt x="52749" y="1449035"/>
                        <a:pt x="60717" y="1403548"/>
                      </a:cubicBezTo>
                      <a:lnTo>
                        <a:pt x="60717" y="1403548"/>
                      </a:lnTo>
                      <a:cubicBezTo>
                        <a:pt x="61826" y="1397093"/>
                        <a:pt x="62331" y="1390840"/>
                        <a:pt x="62331" y="1384990"/>
                      </a:cubicBezTo>
                      <a:lnTo>
                        <a:pt x="62331" y="1384990"/>
                      </a:lnTo>
                      <a:cubicBezTo>
                        <a:pt x="62431" y="1348277"/>
                        <a:pt x="42360" y="1318524"/>
                        <a:pt x="32880" y="1284736"/>
                      </a:cubicBezTo>
                      <a:lnTo>
                        <a:pt x="32880" y="1284736"/>
                      </a:lnTo>
                      <a:cubicBezTo>
                        <a:pt x="30157" y="1275054"/>
                        <a:pt x="29249" y="1262951"/>
                        <a:pt x="29249" y="1250041"/>
                      </a:cubicBezTo>
                      <a:lnTo>
                        <a:pt x="29249" y="1250041"/>
                      </a:lnTo>
                      <a:cubicBezTo>
                        <a:pt x="29249" y="1223818"/>
                        <a:pt x="33384" y="1194165"/>
                        <a:pt x="39335" y="1173792"/>
                      </a:cubicBezTo>
                      <a:lnTo>
                        <a:pt x="39335" y="1173792"/>
                      </a:lnTo>
                      <a:cubicBezTo>
                        <a:pt x="40646" y="1173893"/>
                        <a:pt x="42058" y="1173994"/>
                        <a:pt x="43167" y="1173994"/>
                      </a:cubicBezTo>
                      <a:lnTo>
                        <a:pt x="43167" y="1173994"/>
                      </a:lnTo>
                      <a:cubicBezTo>
                        <a:pt x="46899" y="1173994"/>
                        <a:pt x="50026" y="1173086"/>
                        <a:pt x="52951" y="1170262"/>
                      </a:cubicBezTo>
                      <a:lnTo>
                        <a:pt x="52951" y="1170262"/>
                      </a:lnTo>
                      <a:cubicBezTo>
                        <a:pt x="66365" y="1158260"/>
                        <a:pt x="50429" y="1131734"/>
                        <a:pt x="96521" y="1105511"/>
                      </a:cubicBezTo>
                      <a:lnTo>
                        <a:pt x="96521" y="1105511"/>
                      </a:lnTo>
                      <a:cubicBezTo>
                        <a:pt x="141000" y="1080094"/>
                        <a:pt x="157440" y="1050543"/>
                        <a:pt x="157339" y="1032893"/>
                      </a:cubicBezTo>
                      <a:lnTo>
                        <a:pt x="157339" y="1032893"/>
                      </a:lnTo>
                      <a:cubicBezTo>
                        <a:pt x="158449" y="1019075"/>
                        <a:pt x="127889" y="1007476"/>
                        <a:pt x="127485" y="975807"/>
                      </a:cubicBezTo>
                      <a:lnTo>
                        <a:pt x="127485" y="975807"/>
                      </a:lnTo>
                      <a:cubicBezTo>
                        <a:pt x="127485" y="971369"/>
                        <a:pt x="128191" y="966629"/>
                        <a:pt x="129401" y="961485"/>
                      </a:cubicBezTo>
                      <a:lnTo>
                        <a:pt x="129401" y="961485"/>
                      </a:lnTo>
                      <a:cubicBezTo>
                        <a:pt x="139891" y="920334"/>
                        <a:pt x="156936" y="905508"/>
                        <a:pt x="192034" y="903693"/>
                      </a:cubicBezTo>
                      <a:lnTo>
                        <a:pt x="192034" y="903693"/>
                      </a:lnTo>
                      <a:cubicBezTo>
                        <a:pt x="205751" y="902482"/>
                        <a:pt x="208777" y="897843"/>
                        <a:pt x="209080" y="891388"/>
                      </a:cubicBezTo>
                      <a:lnTo>
                        <a:pt x="209080" y="891388"/>
                      </a:lnTo>
                      <a:cubicBezTo>
                        <a:pt x="209282" y="881806"/>
                        <a:pt x="199296" y="866678"/>
                        <a:pt x="188303" y="857096"/>
                      </a:cubicBezTo>
                      <a:lnTo>
                        <a:pt x="188303" y="857096"/>
                      </a:lnTo>
                      <a:cubicBezTo>
                        <a:pt x="173779" y="844085"/>
                        <a:pt x="162786" y="812517"/>
                        <a:pt x="162685" y="787100"/>
                      </a:cubicBezTo>
                      <a:lnTo>
                        <a:pt x="162685" y="787100"/>
                      </a:lnTo>
                      <a:cubicBezTo>
                        <a:pt x="162685" y="775804"/>
                        <a:pt x="165004" y="765617"/>
                        <a:pt x="170854" y="758961"/>
                      </a:cubicBezTo>
                      <a:lnTo>
                        <a:pt x="170854" y="758961"/>
                      </a:lnTo>
                      <a:cubicBezTo>
                        <a:pt x="177713" y="751094"/>
                        <a:pt x="186689" y="749783"/>
                        <a:pt x="195968" y="749783"/>
                      </a:cubicBezTo>
                      <a:lnTo>
                        <a:pt x="195968" y="749783"/>
                      </a:lnTo>
                      <a:cubicBezTo>
                        <a:pt x="200507" y="749783"/>
                        <a:pt x="205348" y="750085"/>
                        <a:pt x="210290" y="750085"/>
                      </a:cubicBezTo>
                      <a:lnTo>
                        <a:pt x="210290" y="750085"/>
                      </a:lnTo>
                      <a:cubicBezTo>
                        <a:pt x="223301" y="750085"/>
                        <a:pt x="237219" y="748270"/>
                        <a:pt x="252752" y="734956"/>
                      </a:cubicBezTo>
                      <a:lnTo>
                        <a:pt x="252752" y="734956"/>
                      </a:lnTo>
                      <a:cubicBezTo>
                        <a:pt x="273932" y="716398"/>
                        <a:pt x="279378" y="708733"/>
                        <a:pt x="290473" y="708431"/>
                      </a:cubicBezTo>
                      <a:lnTo>
                        <a:pt x="290473" y="708431"/>
                      </a:lnTo>
                      <a:cubicBezTo>
                        <a:pt x="296726" y="708531"/>
                        <a:pt x="303483" y="711154"/>
                        <a:pt x="315385" y="715188"/>
                      </a:cubicBezTo>
                      <a:lnTo>
                        <a:pt x="315385" y="715188"/>
                      </a:lnTo>
                      <a:cubicBezTo>
                        <a:pt x="330816" y="720332"/>
                        <a:pt x="348769" y="724971"/>
                        <a:pt x="363595" y="724971"/>
                      </a:cubicBezTo>
                      <a:lnTo>
                        <a:pt x="363595" y="724971"/>
                      </a:lnTo>
                      <a:cubicBezTo>
                        <a:pt x="379329" y="724770"/>
                        <a:pt x="390222" y="720332"/>
                        <a:pt x="393147" y="706615"/>
                      </a:cubicBezTo>
                      <a:lnTo>
                        <a:pt x="393147" y="706615"/>
                      </a:lnTo>
                      <a:cubicBezTo>
                        <a:pt x="393852" y="703287"/>
                        <a:pt x="394054" y="699757"/>
                        <a:pt x="394054" y="695722"/>
                      </a:cubicBezTo>
                      <a:lnTo>
                        <a:pt x="394054" y="695722"/>
                      </a:lnTo>
                      <a:cubicBezTo>
                        <a:pt x="394155" y="670911"/>
                        <a:pt x="381850" y="632081"/>
                        <a:pt x="381850" y="588106"/>
                      </a:cubicBezTo>
                      <a:lnTo>
                        <a:pt x="381850" y="588106"/>
                      </a:lnTo>
                      <a:cubicBezTo>
                        <a:pt x="381850" y="577214"/>
                        <a:pt x="382657" y="565817"/>
                        <a:pt x="384573" y="554319"/>
                      </a:cubicBezTo>
                      <a:lnTo>
                        <a:pt x="384573" y="554319"/>
                      </a:lnTo>
                      <a:cubicBezTo>
                        <a:pt x="395163" y="489769"/>
                        <a:pt x="410897" y="471312"/>
                        <a:pt x="440954" y="437222"/>
                      </a:cubicBezTo>
                      <a:lnTo>
                        <a:pt x="440954" y="437222"/>
                      </a:lnTo>
                      <a:cubicBezTo>
                        <a:pt x="465462" y="409183"/>
                        <a:pt x="482810" y="402930"/>
                        <a:pt x="482709" y="377009"/>
                      </a:cubicBezTo>
                      <a:lnTo>
                        <a:pt x="482709" y="377009"/>
                      </a:lnTo>
                      <a:cubicBezTo>
                        <a:pt x="482709" y="370252"/>
                        <a:pt x="481599" y="362082"/>
                        <a:pt x="479078" y="351795"/>
                      </a:cubicBezTo>
                      <a:lnTo>
                        <a:pt x="479078" y="351795"/>
                      </a:lnTo>
                      <a:cubicBezTo>
                        <a:pt x="475649" y="338582"/>
                        <a:pt x="474237" y="328698"/>
                        <a:pt x="474237" y="321033"/>
                      </a:cubicBezTo>
                      <a:lnTo>
                        <a:pt x="474237" y="321033"/>
                      </a:lnTo>
                      <a:cubicBezTo>
                        <a:pt x="473934" y="297835"/>
                        <a:pt x="488357" y="294911"/>
                        <a:pt x="495216" y="290977"/>
                      </a:cubicBezTo>
                      <a:lnTo>
                        <a:pt x="495216" y="290977"/>
                      </a:lnTo>
                      <a:cubicBezTo>
                        <a:pt x="496627" y="290271"/>
                        <a:pt x="497838" y="287245"/>
                        <a:pt x="497838" y="282303"/>
                      </a:cubicBezTo>
                      <a:lnTo>
                        <a:pt x="497838" y="282303"/>
                      </a:lnTo>
                      <a:cubicBezTo>
                        <a:pt x="498140" y="268284"/>
                        <a:pt x="487449" y="243271"/>
                        <a:pt x="478473" y="240144"/>
                      </a:cubicBezTo>
                      <a:lnTo>
                        <a:pt x="478473" y="240144"/>
                      </a:lnTo>
                      <a:cubicBezTo>
                        <a:pt x="464050" y="233689"/>
                        <a:pt x="456587" y="213013"/>
                        <a:pt x="450333" y="199095"/>
                      </a:cubicBezTo>
                      <a:lnTo>
                        <a:pt x="450333" y="199095"/>
                      </a:lnTo>
                      <a:lnTo>
                        <a:pt x="452048" y="195363"/>
                      </a:lnTo>
                      <a:cubicBezTo>
                        <a:pt x="460116" y="192842"/>
                        <a:pt x="490979" y="183361"/>
                        <a:pt x="513975" y="183361"/>
                      </a:cubicBezTo>
                      <a:lnTo>
                        <a:pt x="513975" y="183361"/>
                      </a:lnTo>
                      <a:cubicBezTo>
                        <a:pt x="537273" y="184370"/>
                        <a:pt x="554016" y="221284"/>
                        <a:pt x="582660" y="220679"/>
                      </a:cubicBezTo>
                      <a:lnTo>
                        <a:pt x="582660" y="220679"/>
                      </a:lnTo>
                      <a:cubicBezTo>
                        <a:pt x="590325" y="220679"/>
                        <a:pt x="598999" y="218258"/>
                        <a:pt x="608984" y="211702"/>
                      </a:cubicBezTo>
                      <a:lnTo>
                        <a:pt x="608984" y="211702"/>
                      </a:lnTo>
                      <a:cubicBezTo>
                        <a:pt x="658606" y="179427"/>
                        <a:pt x="699252" y="166316"/>
                        <a:pt x="717609" y="141505"/>
                      </a:cubicBezTo>
                      <a:lnTo>
                        <a:pt x="717609" y="141505"/>
                      </a:lnTo>
                      <a:cubicBezTo>
                        <a:pt x="736166" y="116996"/>
                        <a:pt x="738486" y="78065"/>
                        <a:pt x="764608" y="36713"/>
                      </a:cubicBezTo>
                      <a:lnTo>
                        <a:pt x="764608" y="36713"/>
                      </a:lnTo>
                      <a:cubicBezTo>
                        <a:pt x="780746" y="11095"/>
                        <a:pt x="802834" y="0"/>
                        <a:pt x="820585" y="0"/>
                      </a:cubicBezTo>
                      <a:lnTo>
                        <a:pt x="820585" y="0"/>
                      </a:lnTo>
                      <a:cubicBezTo>
                        <a:pt x="831982" y="0"/>
                        <a:pt x="841766" y="4539"/>
                        <a:pt x="846607" y="13213"/>
                      </a:cubicBezTo>
                      <a:lnTo>
                        <a:pt x="846607" y="13213"/>
                      </a:lnTo>
                      <a:cubicBezTo>
                        <a:pt x="848826" y="17247"/>
                        <a:pt x="849632" y="21987"/>
                        <a:pt x="849632" y="27232"/>
                      </a:cubicBezTo>
                      <a:lnTo>
                        <a:pt x="849632" y="27232"/>
                      </a:lnTo>
                      <a:cubicBezTo>
                        <a:pt x="849532" y="51034"/>
                        <a:pt x="832184" y="85629"/>
                        <a:pt x="825225" y="101464"/>
                      </a:cubicBezTo>
                      <a:lnTo>
                        <a:pt x="825225" y="101464"/>
                      </a:lnTo>
                      <a:cubicBezTo>
                        <a:pt x="816753" y="119921"/>
                        <a:pt x="792546" y="147455"/>
                        <a:pt x="792849" y="166518"/>
                      </a:cubicBezTo>
                      <a:lnTo>
                        <a:pt x="792849" y="166518"/>
                      </a:lnTo>
                      <a:cubicBezTo>
                        <a:pt x="792849" y="167829"/>
                        <a:pt x="793051" y="169241"/>
                        <a:pt x="793253" y="170653"/>
                      </a:cubicBezTo>
                      <a:lnTo>
                        <a:pt x="793253" y="170653"/>
                      </a:lnTo>
                      <a:cubicBezTo>
                        <a:pt x="795774" y="189513"/>
                        <a:pt x="833092" y="194052"/>
                        <a:pt x="834100" y="222595"/>
                      </a:cubicBezTo>
                      <a:lnTo>
                        <a:pt x="834100" y="222595"/>
                      </a:lnTo>
                      <a:cubicBezTo>
                        <a:pt x="833898" y="243573"/>
                        <a:pt x="817257" y="260316"/>
                        <a:pt x="817761" y="270402"/>
                      </a:cubicBezTo>
                      <a:lnTo>
                        <a:pt x="817761" y="270402"/>
                      </a:lnTo>
                      <a:cubicBezTo>
                        <a:pt x="817761" y="273226"/>
                        <a:pt x="818669" y="275646"/>
                        <a:pt x="822199" y="278269"/>
                      </a:cubicBezTo>
                      <a:lnTo>
                        <a:pt x="822199" y="278269"/>
                      </a:lnTo>
                      <a:cubicBezTo>
                        <a:pt x="840656" y="292692"/>
                        <a:pt x="832083" y="310745"/>
                        <a:pt x="843884" y="321436"/>
                      </a:cubicBezTo>
                      <a:lnTo>
                        <a:pt x="843884" y="321436"/>
                      </a:lnTo>
                      <a:cubicBezTo>
                        <a:pt x="845900" y="323353"/>
                        <a:pt x="848523" y="324159"/>
                        <a:pt x="852053" y="324260"/>
                      </a:cubicBezTo>
                      <a:lnTo>
                        <a:pt x="852053" y="324260"/>
                      </a:lnTo>
                      <a:cubicBezTo>
                        <a:pt x="862239" y="324361"/>
                        <a:pt x="878276" y="316898"/>
                        <a:pt x="896027" y="316898"/>
                      </a:cubicBezTo>
                      <a:lnTo>
                        <a:pt x="896027" y="316898"/>
                      </a:lnTo>
                      <a:cubicBezTo>
                        <a:pt x="902583" y="316898"/>
                        <a:pt x="909341" y="317906"/>
                        <a:pt x="915997" y="320730"/>
                      </a:cubicBezTo>
                      <a:lnTo>
                        <a:pt x="915997" y="320730"/>
                      </a:lnTo>
                      <a:cubicBezTo>
                        <a:pt x="947364" y="334447"/>
                        <a:pt x="991944" y="394256"/>
                        <a:pt x="1036221" y="415134"/>
                      </a:cubicBezTo>
                      <a:lnTo>
                        <a:pt x="1036221" y="415134"/>
                      </a:lnTo>
                      <a:cubicBezTo>
                        <a:pt x="1081204" y="436718"/>
                        <a:pt x="1145249" y="461831"/>
                        <a:pt x="1163605" y="482306"/>
                      </a:cubicBezTo>
                      <a:lnTo>
                        <a:pt x="1163605" y="482306"/>
                      </a:lnTo>
                      <a:cubicBezTo>
                        <a:pt x="1166933" y="486038"/>
                        <a:pt x="1168749" y="490576"/>
                        <a:pt x="1168749" y="495316"/>
                      </a:cubicBezTo>
                      <a:lnTo>
                        <a:pt x="1168749" y="495316"/>
                      </a:lnTo>
                      <a:cubicBezTo>
                        <a:pt x="1168245" y="515892"/>
                        <a:pt x="1139702" y="537072"/>
                        <a:pt x="1120539" y="554823"/>
                      </a:cubicBezTo>
                      <a:lnTo>
                        <a:pt x="1120539" y="554823"/>
                      </a:lnTo>
                      <a:cubicBezTo>
                        <a:pt x="1111965" y="562488"/>
                        <a:pt x="1106418" y="566119"/>
                        <a:pt x="1100568" y="566220"/>
                      </a:cubicBezTo>
                      <a:lnTo>
                        <a:pt x="1100568" y="566220"/>
                      </a:lnTo>
                      <a:cubicBezTo>
                        <a:pt x="1089978" y="565615"/>
                        <a:pt x="1084935" y="555932"/>
                        <a:pt x="1065873" y="546653"/>
                      </a:cubicBezTo>
                      <a:lnTo>
                        <a:pt x="1065873" y="546653"/>
                      </a:lnTo>
                      <a:cubicBezTo>
                        <a:pt x="1057199" y="542316"/>
                        <a:pt x="1045903" y="539997"/>
                        <a:pt x="1034304" y="539997"/>
                      </a:cubicBezTo>
                      <a:lnTo>
                        <a:pt x="1034304" y="539997"/>
                      </a:lnTo>
                      <a:cubicBezTo>
                        <a:pt x="1007678" y="539997"/>
                        <a:pt x="982060" y="551999"/>
                        <a:pt x="982060" y="576407"/>
                      </a:cubicBezTo>
                      <a:lnTo>
                        <a:pt x="982060" y="576407"/>
                      </a:lnTo>
                      <a:cubicBezTo>
                        <a:pt x="981959" y="600714"/>
                        <a:pt x="993759" y="642368"/>
                        <a:pt x="993759" y="674744"/>
                      </a:cubicBezTo>
                      <a:lnTo>
                        <a:pt x="993759" y="674744"/>
                      </a:lnTo>
                      <a:cubicBezTo>
                        <a:pt x="993759" y="692092"/>
                        <a:pt x="990330" y="707523"/>
                        <a:pt x="978732" y="715894"/>
                      </a:cubicBezTo>
                      <a:lnTo>
                        <a:pt x="978732" y="715894"/>
                      </a:lnTo>
                      <a:cubicBezTo>
                        <a:pt x="960577" y="728905"/>
                        <a:pt x="958358" y="741613"/>
                        <a:pt x="958257" y="756238"/>
                      </a:cubicBezTo>
                      <a:lnTo>
                        <a:pt x="958257" y="756238"/>
                      </a:lnTo>
                      <a:cubicBezTo>
                        <a:pt x="958257" y="762491"/>
                        <a:pt x="958862" y="769147"/>
                        <a:pt x="958862" y="776107"/>
                      </a:cubicBezTo>
                      <a:lnTo>
                        <a:pt x="958862" y="776107"/>
                      </a:lnTo>
                      <a:cubicBezTo>
                        <a:pt x="958862" y="778830"/>
                        <a:pt x="958761" y="781654"/>
                        <a:pt x="958459" y="784680"/>
                      </a:cubicBezTo>
                      <a:lnTo>
                        <a:pt x="958459" y="784680"/>
                      </a:lnTo>
                      <a:cubicBezTo>
                        <a:pt x="955433" y="812718"/>
                        <a:pt x="925478" y="823006"/>
                        <a:pt x="921948" y="853465"/>
                      </a:cubicBezTo>
                      <a:lnTo>
                        <a:pt x="921948" y="853465"/>
                      </a:lnTo>
                      <a:cubicBezTo>
                        <a:pt x="921444" y="857197"/>
                        <a:pt x="921141" y="861534"/>
                        <a:pt x="921141" y="866375"/>
                      </a:cubicBezTo>
                      <a:lnTo>
                        <a:pt x="921141" y="866375"/>
                      </a:lnTo>
                      <a:cubicBezTo>
                        <a:pt x="921141" y="899658"/>
                        <a:pt x="932639" y="949684"/>
                        <a:pt x="932639" y="971066"/>
                      </a:cubicBezTo>
                      <a:lnTo>
                        <a:pt x="932639" y="971066"/>
                      </a:lnTo>
                      <a:cubicBezTo>
                        <a:pt x="932235" y="992448"/>
                        <a:pt x="953113" y="996382"/>
                        <a:pt x="958459" y="1019882"/>
                      </a:cubicBezTo>
                      <a:lnTo>
                        <a:pt x="958459" y="1019882"/>
                      </a:lnTo>
                      <a:cubicBezTo>
                        <a:pt x="958862" y="1022101"/>
                        <a:pt x="959165" y="1024521"/>
                        <a:pt x="959165" y="1027244"/>
                      </a:cubicBezTo>
                      <a:lnTo>
                        <a:pt x="959165" y="1027244"/>
                      </a:lnTo>
                      <a:cubicBezTo>
                        <a:pt x="959064" y="1050745"/>
                        <a:pt x="941010" y="1085642"/>
                        <a:pt x="903794" y="1117009"/>
                      </a:cubicBezTo>
                      <a:lnTo>
                        <a:pt x="903794" y="1117009"/>
                      </a:lnTo>
                      <a:cubicBezTo>
                        <a:pt x="884025" y="1133549"/>
                        <a:pt x="875049" y="1161286"/>
                        <a:pt x="875049" y="1185492"/>
                      </a:cubicBezTo>
                      <a:lnTo>
                        <a:pt x="875049" y="1185492"/>
                      </a:lnTo>
                      <a:cubicBezTo>
                        <a:pt x="874948" y="1209193"/>
                        <a:pt x="883722" y="1228861"/>
                        <a:pt x="896330" y="1232290"/>
                      </a:cubicBezTo>
                      <a:lnTo>
                        <a:pt x="896330" y="1232290"/>
                      </a:lnTo>
                      <a:cubicBezTo>
                        <a:pt x="929311" y="1242578"/>
                        <a:pt x="923865" y="1290889"/>
                        <a:pt x="938791" y="1319533"/>
                      </a:cubicBezTo>
                      <a:lnTo>
                        <a:pt x="938791" y="1319533"/>
                      </a:lnTo>
                      <a:cubicBezTo>
                        <a:pt x="953517" y="1348983"/>
                        <a:pt x="996180" y="1402337"/>
                        <a:pt x="1055485" y="1427653"/>
                      </a:cubicBezTo>
                      <a:lnTo>
                        <a:pt x="1055485" y="1427653"/>
                      </a:lnTo>
                      <a:cubicBezTo>
                        <a:pt x="1114689" y="1453372"/>
                        <a:pt x="1199813" y="1465677"/>
                        <a:pt x="1207075" y="1532849"/>
                      </a:cubicBezTo>
                      <a:lnTo>
                        <a:pt x="1207075" y="1532849"/>
                      </a:lnTo>
                      <a:cubicBezTo>
                        <a:pt x="1214438" y="1599012"/>
                        <a:pt x="1197393" y="1592254"/>
                        <a:pt x="1241770" y="1609904"/>
                      </a:cubicBezTo>
                      <a:lnTo>
                        <a:pt x="1241770" y="1609904"/>
                      </a:lnTo>
                      <a:cubicBezTo>
                        <a:pt x="1288065" y="1627857"/>
                        <a:pt x="1356446" y="1695634"/>
                        <a:pt x="1361590" y="1732246"/>
                      </a:cubicBezTo>
                      <a:lnTo>
                        <a:pt x="1361590" y="1732246"/>
                      </a:lnTo>
                      <a:cubicBezTo>
                        <a:pt x="1365726" y="1766034"/>
                        <a:pt x="1387209" y="1841072"/>
                        <a:pt x="1416659" y="1878793"/>
                      </a:cubicBezTo>
                      <a:lnTo>
                        <a:pt x="1416659" y="1878793"/>
                      </a:lnTo>
                      <a:lnTo>
                        <a:pt x="1414440" y="1880508"/>
                      </a:lnTo>
                      <a:lnTo>
                        <a:pt x="1412323" y="1882223"/>
                      </a:lnTo>
                      <a:cubicBezTo>
                        <a:pt x="1381561" y="1842787"/>
                        <a:pt x="1360380" y="1767748"/>
                        <a:pt x="1355942" y="1732952"/>
                      </a:cubicBezTo>
                      <a:lnTo>
                        <a:pt x="1355942" y="1732952"/>
                      </a:lnTo>
                      <a:cubicBezTo>
                        <a:pt x="1352312" y="1700778"/>
                        <a:pt x="1283627" y="1631387"/>
                        <a:pt x="1239653" y="1615048"/>
                      </a:cubicBezTo>
                      <a:lnTo>
                        <a:pt x="1239653" y="1615048"/>
                      </a:lnTo>
                      <a:cubicBezTo>
                        <a:pt x="1193863" y="1598407"/>
                        <a:pt x="1207176" y="1595986"/>
                        <a:pt x="1201427" y="1533353"/>
                      </a:cubicBezTo>
                      <a:lnTo>
                        <a:pt x="1201427" y="1533353"/>
                      </a:lnTo>
                      <a:cubicBezTo>
                        <a:pt x="1195880" y="1471829"/>
                        <a:pt x="1113983" y="1458415"/>
                        <a:pt x="1053064" y="1432797"/>
                      </a:cubicBezTo>
                      <a:lnTo>
                        <a:pt x="1053064" y="1432797"/>
                      </a:lnTo>
                      <a:cubicBezTo>
                        <a:pt x="992045" y="1406574"/>
                        <a:pt x="948978" y="1352614"/>
                        <a:pt x="933547" y="1321953"/>
                      </a:cubicBezTo>
                      <a:lnTo>
                        <a:pt x="933547" y="1321953"/>
                      </a:lnTo>
                      <a:cubicBezTo>
                        <a:pt x="918418" y="1290586"/>
                        <a:pt x="921847" y="1244494"/>
                        <a:pt x="894615" y="1237635"/>
                      </a:cubicBezTo>
                      <a:lnTo>
                        <a:pt x="894615" y="1237635"/>
                      </a:lnTo>
                      <a:cubicBezTo>
                        <a:pt x="877570" y="1232391"/>
                        <a:pt x="869300" y="1210303"/>
                        <a:pt x="869199" y="1185492"/>
                      </a:cubicBezTo>
                      <a:lnTo>
                        <a:pt x="869199" y="1185492"/>
                      </a:lnTo>
                      <a:cubicBezTo>
                        <a:pt x="869199" y="1159974"/>
                        <a:pt x="878276" y="1130725"/>
                        <a:pt x="899961" y="1112571"/>
                      </a:cubicBezTo>
                      <a:lnTo>
                        <a:pt x="899961" y="1112571"/>
                      </a:lnTo>
                      <a:cubicBezTo>
                        <a:pt x="936169" y="1082112"/>
                        <a:pt x="953315" y="1047920"/>
                        <a:pt x="953214" y="1027144"/>
                      </a:cubicBezTo>
                      <a:lnTo>
                        <a:pt x="953214" y="1027144"/>
                      </a:lnTo>
                      <a:cubicBezTo>
                        <a:pt x="953214" y="1024824"/>
                        <a:pt x="953012" y="1022706"/>
                        <a:pt x="952609" y="1020890"/>
                      </a:cubicBezTo>
                      <a:lnTo>
                        <a:pt x="952609" y="1020890"/>
                      </a:lnTo>
                      <a:cubicBezTo>
                        <a:pt x="949482" y="1001425"/>
                        <a:pt x="927293" y="996684"/>
                        <a:pt x="926688" y="971066"/>
                      </a:cubicBezTo>
                      <a:lnTo>
                        <a:pt x="926688" y="971066"/>
                      </a:lnTo>
                      <a:cubicBezTo>
                        <a:pt x="926789" y="951096"/>
                        <a:pt x="915291" y="900566"/>
                        <a:pt x="915291" y="866375"/>
                      </a:cubicBezTo>
                      <a:lnTo>
                        <a:pt x="915291" y="866375"/>
                      </a:lnTo>
                      <a:cubicBezTo>
                        <a:pt x="915291" y="861433"/>
                        <a:pt x="915493" y="856794"/>
                        <a:pt x="916199" y="852658"/>
                      </a:cubicBezTo>
                      <a:lnTo>
                        <a:pt x="916199" y="852658"/>
                      </a:lnTo>
                      <a:cubicBezTo>
                        <a:pt x="921141" y="818770"/>
                        <a:pt x="951298" y="807575"/>
                        <a:pt x="952508" y="784276"/>
                      </a:cubicBezTo>
                      <a:lnTo>
                        <a:pt x="952508" y="784276"/>
                      </a:lnTo>
                      <a:cubicBezTo>
                        <a:pt x="952710" y="781553"/>
                        <a:pt x="952811" y="778931"/>
                        <a:pt x="952811" y="776208"/>
                      </a:cubicBezTo>
                      <a:lnTo>
                        <a:pt x="952811" y="776208"/>
                      </a:lnTo>
                      <a:cubicBezTo>
                        <a:pt x="952811" y="769551"/>
                        <a:pt x="952307" y="762995"/>
                        <a:pt x="952307" y="756338"/>
                      </a:cubicBezTo>
                      <a:lnTo>
                        <a:pt x="952307" y="756338"/>
                      </a:lnTo>
                      <a:cubicBezTo>
                        <a:pt x="952206" y="741008"/>
                        <a:pt x="955534" y="725173"/>
                        <a:pt x="975302" y="711456"/>
                      </a:cubicBezTo>
                      <a:lnTo>
                        <a:pt x="975302" y="711456"/>
                      </a:lnTo>
                      <a:cubicBezTo>
                        <a:pt x="984581" y="705001"/>
                        <a:pt x="987909" y="691688"/>
                        <a:pt x="987909" y="674845"/>
                      </a:cubicBezTo>
                      <a:lnTo>
                        <a:pt x="987909" y="674845"/>
                      </a:lnTo>
                      <a:cubicBezTo>
                        <a:pt x="988010" y="643579"/>
                        <a:pt x="976210" y="602226"/>
                        <a:pt x="976210" y="576508"/>
                      </a:cubicBezTo>
                      <a:lnTo>
                        <a:pt x="976210" y="576508"/>
                      </a:lnTo>
                      <a:cubicBezTo>
                        <a:pt x="976411" y="547158"/>
                        <a:pt x="1006468" y="534550"/>
                        <a:pt x="1034103" y="534550"/>
                      </a:cubicBezTo>
                      <a:lnTo>
                        <a:pt x="1034103" y="534550"/>
                      </a:lnTo>
                      <a:cubicBezTo>
                        <a:pt x="1046407" y="534550"/>
                        <a:pt x="1058511" y="536971"/>
                        <a:pt x="1068193" y="541812"/>
                      </a:cubicBezTo>
                      <a:lnTo>
                        <a:pt x="1068193" y="541812"/>
                      </a:lnTo>
                      <a:cubicBezTo>
                        <a:pt x="1087861" y="551797"/>
                        <a:pt x="1094819" y="561278"/>
                        <a:pt x="1100367" y="560774"/>
                      </a:cubicBezTo>
                      <a:lnTo>
                        <a:pt x="1100367" y="560774"/>
                      </a:lnTo>
                      <a:cubicBezTo>
                        <a:pt x="1103393" y="560774"/>
                        <a:pt x="1108234" y="558353"/>
                        <a:pt x="1116706" y="550890"/>
                      </a:cubicBezTo>
                      <a:lnTo>
                        <a:pt x="1116706" y="550890"/>
                      </a:lnTo>
                      <a:cubicBezTo>
                        <a:pt x="1136172" y="533441"/>
                        <a:pt x="1163605" y="510748"/>
                        <a:pt x="1163000" y="495417"/>
                      </a:cubicBezTo>
                      <a:lnTo>
                        <a:pt x="1163000" y="495417"/>
                      </a:lnTo>
                      <a:cubicBezTo>
                        <a:pt x="1163000" y="491988"/>
                        <a:pt x="1161891" y="489063"/>
                        <a:pt x="1159369" y="486038"/>
                      </a:cubicBezTo>
                      <a:lnTo>
                        <a:pt x="1159369" y="486038"/>
                      </a:lnTo>
                      <a:cubicBezTo>
                        <a:pt x="1143333" y="467782"/>
                        <a:pt x="1078783" y="441559"/>
                        <a:pt x="1033699" y="420278"/>
                      </a:cubicBezTo>
                      <a:lnTo>
                        <a:pt x="1033699" y="420278"/>
                      </a:lnTo>
                      <a:cubicBezTo>
                        <a:pt x="987708" y="398291"/>
                        <a:pt x="942523" y="338078"/>
                        <a:pt x="913779" y="325975"/>
                      </a:cubicBezTo>
                      <a:lnTo>
                        <a:pt x="913779" y="325975"/>
                      </a:lnTo>
                      <a:cubicBezTo>
                        <a:pt x="907828" y="323453"/>
                        <a:pt x="901877" y="322546"/>
                        <a:pt x="896027" y="322546"/>
                      </a:cubicBezTo>
                      <a:lnTo>
                        <a:pt x="896027" y="322546"/>
                      </a:lnTo>
                      <a:cubicBezTo>
                        <a:pt x="879789" y="322445"/>
                        <a:pt x="864459" y="329707"/>
                        <a:pt x="852053" y="329808"/>
                      </a:cubicBezTo>
                      <a:lnTo>
                        <a:pt x="852053" y="329808"/>
                      </a:lnTo>
                      <a:cubicBezTo>
                        <a:pt x="847615" y="329908"/>
                        <a:pt x="843279" y="328698"/>
                        <a:pt x="839849" y="325370"/>
                      </a:cubicBezTo>
                      <a:lnTo>
                        <a:pt x="839849" y="325370"/>
                      </a:lnTo>
                      <a:cubicBezTo>
                        <a:pt x="825830" y="310443"/>
                        <a:pt x="834604" y="293902"/>
                        <a:pt x="818870" y="282707"/>
                      </a:cubicBezTo>
                      <a:lnTo>
                        <a:pt x="818870" y="282707"/>
                      </a:lnTo>
                      <a:cubicBezTo>
                        <a:pt x="814231" y="279378"/>
                        <a:pt x="812012" y="274840"/>
                        <a:pt x="812113" y="270402"/>
                      </a:cubicBezTo>
                      <a:lnTo>
                        <a:pt x="812113" y="270402"/>
                      </a:lnTo>
                      <a:cubicBezTo>
                        <a:pt x="812516" y="256080"/>
                        <a:pt x="828654" y="240850"/>
                        <a:pt x="828351" y="222595"/>
                      </a:cubicBezTo>
                      <a:lnTo>
                        <a:pt x="828351" y="222595"/>
                      </a:lnTo>
                      <a:cubicBezTo>
                        <a:pt x="829259" y="199801"/>
                        <a:pt x="793656" y="195767"/>
                        <a:pt x="787605" y="171661"/>
                      </a:cubicBezTo>
                      <a:lnTo>
                        <a:pt x="787605" y="171661"/>
                      </a:lnTo>
                      <a:cubicBezTo>
                        <a:pt x="787201" y="170048"/>
                        <a:pt x="787100" y="168333"/>
                        <a:pt x="787100" y="166518"/>
                      </a:cubicBezTo>
                      <a:lnTo>
                        <a:pt x="787100" y="166518"/>
                      </a:lnTo>
                      <a:cubicBezTo>
                        <a:pt x="787302" y="143723"/>
                        <a:pt x="812315" y="116593"/>
                        <a:pt x="819879" y="99245"/>
                      </a:cubicBezTo>
                      <a:lnTo>
                        <a:pt x="819879" y="99245"/>
                      </a:lnTo>
                      <a:cubicBezTo>
                        <a:pt x="826939" y="83410"/>
                        <a:pt x="843984" y="48715"/>
                        <a:pt x="843884" y="27333"/>
                      </a:cubicBezTo>
                      <a:lnTo>
                        <a:pt x="843884" y="27333"/>
                      </a:lnTo>
                      <a:cubicBezTo>
                        <a:pt x="843884" y="22794"/>
                        <a:pt x="843077" y="18760"/>
                        <a:pt x="841463" y="16037"/>
                      </a:cubicBezTo>
                      <a:lnTo>
                        <a:pt x="841463" y="16037"/>
                      </a:lnTo>
                      <a:cubicBezTo>
                        <a:pt x="837933" y="9582"/>
                        <a:pt x="830267" y="5648"/>
                        <a:pt x="820384" y="5648"/>
                      </a:cubicBezTo>
                      <a:lnTo>
                        <a:pt x="820384" y="5648"/>
                      </a:lnTo>
                      <a:cubicBezTo>
                        <a:pt x="804851" y="5547"/>
                        <a:pt x="784276" y="15331"/>
                        <a:pt x="769046" y="39738"/>
                      </a:cubicBezTo>
                      <a:lnTo>
                        <a:pt x="769046" y="39738"/>
                      </a:lnTo>
                      <a:cubicBezTo>
                        <a:pt x="743630" y="79779"/>
                        <a:pt x="741814" y="118206"/>
                        <a:pt x="721845" y="145035"/>
                      </a:cubicBezTo>
                      <a:lnTo>
                        <a:pt x="721845" y="145035"/>
                      </a:lnTo>
                      <a:cubicBezTo>
                        <a:pt x="701572" y="171661"/>
                        <a:pt x="660724" y="184370"/>
                        <a:pt x="611808" y="216442"/>
                      </a:cubicBezTo>
                      <a:lnTo>
                        <a:pt x="611808" y="216442"/>
                      </a:lnTo>
                      <a:cubicBezTo>
                        <a:pt x="601117" y="223503"/>
                        <a:pt x="591233" y="226327"/>
                        <a:pt x="582357" y="226327"/>
                      </a:cubicBezTo>
                      <a:lnTo>
                        <a:pt x="582357" y="226327"/>
                      </a:lnTo>
                      <a:cubicBezTo>
                        <a:pt x="549478" y="225722"/>
                        <a:pt x="530919" y="187900"/>
                        <a:pt x="513672" y="189009"/>
                      </a:cubicBezTo>
                      <a:lnTo>
                        <a:pt x="513672" y="189009"/>
                      </a:lnTo>
                      <a:cubicBezTo>
                        <a:pt x="494106" y="188908"/>
                        <a:pt x="467177" y="196372"/>
                        <a:pt x="456385" y="199700"/>
                      </a:cubicBezTo>
                      <a:lnTo>
                        <a:pt x="456385" y="199700"/>
                      </a:lnTo>
                      <a:cubicBezTo>
                        <a:pt x="462235" y="213618"/>
                        <a:pt x="470303" y="230865"/>
                        <a:pt x="480389" y="235101"/>
                      </a:cubicBezTo>
                      <a:lnTo>
                        <a:pt x="480389" y="235101"/>
                      </a:lnTo>
                      <a:cubicBezTo>
                        <a:pt x="493602" y="241254"/>
                        <a:pt x="502881" y="266267"/>
                        <a:pt x="503183" y="282404"/>
                      </a:cubicBezTo>
                      <a:lnTo>
                        <a:pt x="503183" y="282404"/>
                      </a:lnTo>
                      <a:cubicBezTo>
                        <a:pt x="503082" y="287951"/>
                        <a:pt x="502074" y="292893"/>
                        <a:pt x="497938" y="295717"/>
                      </a:cubicBezTo>
                      <a:lnTo>
                        <a:pt x="497938" y="295717"/>
                      </a:lnTo>
                      <a:cubicBezTo>
                        <a:pt x="488962" y="301265"/>
                        <a:pt x="480087" y="300659"/>
                        <a:pt x="479582" y="321134"/>
                      </a:cubicBezTo>
                      <a:lnTo>
                        <a:pt x="479582" y="321134"/>
                      </a:lnTo>
                      <a:cubicBezTo>
                        <a:pt x="479582" y="328093"/>
                        <a:pt x="480793" y="337675"/>
                        <a:pt x="484121" y="350584"/>
                      </a:cubicBezTo>
                      <a:lnTo>
                        <a:pt x="484121" y="350584"/>
                      </a:lnTo>
                      <a:cubicBezTo>
                        <a:pt x="486743" y="361175"/>
                        <a:pt x="487953" y="369748"/>
                        <a:pt x="487953" y="377110"/>
                      </a:cubicBezTo>
                      <a:lnTo>
                        <a:pt x="487953" y="377110"/>
                      </a:lnTo>
                      <a:cubicBezTo>
                        <a:pt x="487853" y="406662"/>
                        <a:pt x="467984" y="414024"/>
                        <a:pt x="444887" y="440954"/>
                      </a:cubicBezTo>
                      <a:lnTo>
                        <a:pt x="444887" y="440954"/>
                      </a:lnTo>
                      <a:cubicBezTo>
                        <a:pt x="414932" y="475346"/>
                        <a:pt x="400610" y="491383"/>
                        <a:pt x="389818" y="555327"/>
                      </a:cubicBezTo>
                      <a:lnTo>
                        <a:pt x="389818" y="555327"/>
                      </a:lnTo>
                      <a:cubicBezTo>
                        <a:pt x="388003" y="566523"/>
                        <a:pt x="387196" y="577415"/>
                        <a:pt x="387196" y="588207"/>
                      </a:cubicBezTo>
                      <a:lnTo>
                        <a:pt x="387196" y="588207"/>
                      </a:lnTo>
                      <a:cubicBezTo>
                        <a:pt x="387196" y="631274"/>
                        <a:pt x="399299" y="669398"/>
                        <a:pt x="399400" y="695823"/>
                      </a:cubicBezTo>
                      <a:lnTo>
                        <a:pt x="399400" y="695823"/>
                      </a:lnTo>
                      <a:cubicBezTo>
                        <a:pt x="399400" y="700059"/>
                        <a:pt x="399198" y="703892"/>
                        <a:pt x="398391" y="707725"/>
                      </a:cubicBezTo>
                      <a:lnTo>
                        <a:pt x="398391" y="707725"/>
                      </a:lnTo>
                      <a:cubicBezTo>
                        <a:pt x="394861" y="724871"/>
                        <a:pt x="379934" y="730821"/>
                        <a:pt x="363393" y="730620"/>
                      </a:cubicBezTo>
                      <a:lnTo>
                        <a:pt x="363393" y="730620"/>
                      </a:lnTo>
                      <a:cubicBezTo>
                        <a:pt x="347559" y="730519"/>
                        <a:pt x="329101" y="725677"/>
                        <a:pt x="313367" y="720634"/>
                      </a:cubicBezTo>
                      <a:lnTo>
                        <a:pt x="313367" y="720634"/>
                      </a:lnTo>
                      <a:cubicBezTo>
                        <a:pt x="301365" y="716499"/>
                        <a:pt x="294809" y="714180"/>
                        <a:pt x="290271" y="714180"/>
                      </a:cubicBezTo>
                      <a:lnTo>
                        <a:pt x="290271" y="714180"/>
                      </a:lnTo>
                      <a:cubicBezTo>
                        <a:pt x="283211" y="713978"/>
                        <a:pt x="277563" y="720231"/>
                        <a:pt x="256181" y="739394"/>
                      </a:cubicBezTo>
                      <a:lnTo>
                        <a:pt x="256181" y="739394"/>
                      </a:lnTo>
                      <a:cubicBezTo>
                        <a:pt x="239640" y="753918"/>
                        <a:pt x="223502" y="755935"/>
                        <a:pt x="210088" y="755935"/>
                      </a:cubicBezTo>
                      <a:lnTo>
                        <a:pt x="210088" y="755935"/>
                      </a:lnTo>
                      <a:cubicBezTo>
                        <a:pt x="204844" y="755935"/>
                        <a:pt x="200103" y="755632"/>
                        <a:pt x="195766" y="755632"/>
                      </a:cubicBezTo>
                      <a:lnTo>
                        <a:pt x="195766" y="755632"/>
                      </a:lnTo>
                      <a:cubicBezTo>
                        <a:pt x="186790" y="755632"/>
                        <a:pt x="180234" y="756641"/>
                        <a:pt x="174889" y="762793"/>
                      </a:cubicBezTo>
                      <a:lnTo>
                        <a:pt x="174889" y="762793"/>
                      </a:lnTo>
                      <a:cubicBezTo>
                        <a:pt x="170249" y="767836"/>
                        <a:pt x="167929" y="776813"/>
                        <a:pt x="168030" y="787302"/>
                      </a:cubicBezTo>
                      <a:lnTo>
                        <a:pt x="168030" y="787302"/>
                      </a:lnTo>
                      <a:cubicBezTo>
                        <a:pt x="167929" y="811105"/>
                        <a:pt x="179327" y="842371"/>
                        <a:pt x="191732" y="853263"/>
                      </a:cubicBezTo>
                      <a:lnTo>
                        <a:pt x="191732" y="853263"/>
                      </a:lnTo>
                      <a:cubicBezTo>
                        <a:pt x="203331" y="863652"/>
                        <a:pt x="214324" y="878781"/>
                        <a:pt x="214425" y="891691"/>
                      </a:cubicBezTo>
                      <a:lnTo>
                        <a:pt x="214425" y="891691"/>
                      </a:lnTo>
                      <a:cubicBezTo>
                        <a:pt x="214627" y="901272"/>
                        <a:pt x="207063" y="908937"/>
                        <a:pt x="192135" y="909643"/>
                      </a:cubicBezTo>
                      <a:lnTo>
                        <a:pt x="192135" y="909643"/>
                      </a:lnTo>
                      <a:cubicBezTo>
                        <a:pt x="158650" y="912064"/>
                        <a:pt x="145639" y="922957"/>
                        <a:pt x="134646" y="963300"/>
                      </a:cubicBezTo>
                      <a:lnTo>
                        <a:pt x="134646" y="963300"/>
                      </a:lnTo>
                      <a:cubicBezTo>
                        <a:pt x="133436" y="967940"/>
                        <a:pt x="132831" y="972277"/>
                        <a:pt x="132831" y="976210"/>
                      </a:cubicBezTo>
                      <a:lnTo>
                        <a:pt x="132831" y="976210"/>
                      </a:lnTo>
                      <a:cubicBezTo>
                        <a:pt x="132326" y="1004148"/>
                        <a:pt x="161474" y="1013124"/>
                        <a:pt x="162685" y="1033296"/>
                      </a:cubicBezTo>
                      <a:lnTo>
                        <a:pt x="162685" y="1033296"/>
                      </a:lnTo>
                      <a:cubicBezTo>
                        <a:pt x="162584" y="1054174"/>
                        <a:pt x="144530" y="1084734"/>
                        <a:pt x="99043" y="1110755"/>
                      </a:cubicBezTo>
                      <a:lnTo>
                        <a:pt x="99043" y="1110755"/>
                      </a:lnTo>
                      <a:cubicBezTo>
                        <a:pt x="55069" y="1135970"/>
                        <a:pt x="73223" y="1156646"/>
                        <a:pt x="56582" y="1174599"/>
                      </a:cubicBezTo>
                      <a:lnTo>
                        <a:pt x="56582" y="1174599"/>
                      </a:lnTo>
                      <a:cubicBezTo>
                        <a:pt x="52648" y="1178532"/>
                        <a:pt x="47706" y="1180045"/>
                        <a:pt x="42865" y="1180045"/>
                      </a:cubicBezTo>
                      <a:lnTo>
                        <a:pt x="42865" y="1180045"/>
                      </a:lnTo>
                      <a:cubicBezTo>
                        <a:pt x="42159" y="1180045"/>
                        <a:pt x="41554" y="1179944"/>
                        <a:pt x="41150" y="1179743"/>
                      </a:cubicBezTo>
                      <a:lnTo>
                        <a:pt x="41150" y="1179743"/>
                      </a:lnTo>
                      <a:cubicBezTo>
                        <a:pt x="38225" y="1197796"/>
                        <a:pt x="34594" y="1225936"/>
                        <a:pt x="34594" y="1250545"/>
                      </a:cubicBezTo>
                      <a:lnTo>
                        <a:pt x="34594" y="1250545"/>
                      </a:lnTo>
                      <a:cubicBezTo>
                        <a:pt x="34594" y="1263153"/>
                        <a:pt x="35502" y="1274852"/>
                        <a:pt x="38024" y="1283627"/>
                      </a:cubicBezTo>
                      <a:lnTo>
                        <a:pt x="38024" y="1283627"/>
                      </a:lnTo>
                      <a:cubicBezTo>
                        <a:pt x="47000" y="1316305"/>
                        <a:pt x="67676" y="1346664"/>
                        <a:pt x="67676" y="1385494"/>
                      </a:cubicBezTo>
                      <a:lnTo>
                        <a:pt x="67676" y="1385494"/>
                      </a:lnTo>
                      <a:cubicBezTo>
                        <a:pt x="67676" y="1391747"/>
                        <a:pt x="67071" y="1398202"/>
                        <a:pt x="65961" y="1404960"/>
                      </a:cubicBezTo>
                      <a:lnTo>
                        <a:pt x="65961" y="1404960"/>
                      </a:lnTo>
                      <a:cubicBezTo>
                        <a:pt x="56783" y="1453775"/>
                        <a:pt x="12103" y="1481209"/>
                        <a:pt x="5951" y="1539909"/>
                      </a:cubicBezTo>
                      <a:lnTo>
                        <a:pt x="5951" y="1539909"/>
                      </a:lnTo>
                      <a:cubicBezTo>
                        <a:pt x="5446" y="1543439"/>
                        <a:pt x="5345" y="1546767"/>
                        <a:pt x="5345" y="1549894"/>
                      </a:cubicBezTo>
                      <a:lnTo>
                        <a:pt x="5345" y="1549894"/>
                      </a:lnTo>
                      <a:cubicBezTo>
                        <a:pt x="5144" y="1600020"/>
                        <a:pt x="50026" y="1621201"/>
                        <a:pt x="95110" y="1661947"/>
                      </a:cubicBezTo>
                      <a:lnTo>
                        <a:pt x="95110" y="1661947"/>
                      </a:lnTo>
                      <a:cubicBezTo>
                        <a:pt x="143320" y="1706628"/>
                        <a:pt x="120122" y="1762302"/>
                        <a:pt x="165509" y="1788122"/>
                      </a:cubicBezTo>
                      <a:lnTo>
                        <a:pt x="165509" y="1788122"/>
                      </a:lnTo>
                      <a:cubicBezTo>
                        <a:pt x="213921" y="1816967"/>
                        <a:pt x="269292" y="1922062"/>
                        <a:pt x="269494" y="1922263"/>
                      </a:cubicBezTo>
                      <a:lnTo>
                        <a:pt x="269494" y="1922263"/>
                      </a:lnTo>
                      <a:cubicBezTo>
                        <a:pt x="269696" y="1922263"/>
                        <a:pt x="305299" y="1992158"/>
                        <a:pt x="347659" y="1991553"/>
                      </a:cubicBezTo>
                      <a:lnTo>
                        <a:pt x="347659" y="1991553"/>
                      </a:lnTo>
                      <a:cubicBezTo>
                        <a:pt x="351794" y="1991553"/>
                        <a:pt x="356132" y="1990847"/>
                        <a:pt x="360569" y="1989435"/>
                      </a:cubicBezTo>
                      <a:lnTo>
                        <a:pt x="360569" y="1989435"/>
                      </a:lnTo>
                      <a:cubicBezTo>
                        <a:pt x="413016" y="1971987"/>
                        <a:pt x="614330" y="1963615"/>
                        <a:pt x="665767" y="1959379"/>
                      </a:cubicBezTo>
                      <a:lnTo>
                        <a:pt x="665767" y="1959379"/>
                      </a:lnTo>
                      <a:cubicBezTo>
                        <a:pt x="715389" y="1955849"/>
                        <a:pt x="717407" y="1917019"/>
                        <a:pt x="768945" y="1916514"/>
                      </a:cubicBezTo>
                      <a:lnTo>
                        <a:pt x="768945" y="1916514"/>
                      </a:lnTo>
                      <a:cubicBezTo>
                        <a:pt x="820485" y="1916817"/>
                        <a:pt x="863147" y="1975618"/>
                        <a:pt x="895321" y="2009607"/>
                      </a:cubicBezTo>
                      <a:lnTo>
                        <a:pt x="895321" y="2009607"/>
                      </a:lnTo>
                      <a:cubicBezTo>
                        <a:pt x="928201" y="2044504"/>
                        <a:pt x="934757" y="2079804"/>
                        <a:pt x="936774" y="2127208"/>
                      </a:cubicBezTo>
                      <a:lnTo>
                        <a:pt x="936774" y="2127208"/>
                      </a:lnTo>
                      <a:cubicBezTo>
                        <a:pt x="938489" y="2171888"/>
                        <a:pt x="987809" y="2180260"/>
                        <a:pt x="1010906" y="2200331"/>
                      </a:cubicBezTo>
                      <a:lnTo>
                        <a:pt x="1010906" y="2200331"/>
                      </a:lnTo>
                      <a:cubicBezTo>
                        <a:pt x="1029766" y="2218485"/>
                        <a:pt x="1063049" y="2199625"/>
                        <a:pt x="1109343" y="2230084"/>
                      </a:cubicBezTo>
                      <a:lnTo>
                        <a:pt x="1109343" y="2230084"/>
                      </a:lnTo>
                      <a:cubicBezTo>
                        <a:pt x="1140307" y="2250760"/>
                        <a:pt x="1169153" y="2253786"/>
                        <a:pt x="1183575" y="2253786"/>
                      </a:cubicBezTo>
                      <a:lnTo>
                        <a:pt x="1183575" y="2253786"/>
                      </a:lnTo>
                      <a:cubicBezTo>
                        <a:pt x="1187105" y="2253786"/>
                        <a:pt x="1189627" y="2253685"/>
                        <a:pt x="1190837" y="2253987"/>
                      </a:cubicBezTo>
                      <a:lnTo>
                        <a:pt x="1190837" y="2253987"/>
                      </a:lnTo>
                      <a:cubicBezTo>
                        <a:pt x="1191039" y="2244507"/>
                        <a:pt x="1192350" y="2204264"/>
                        <a:pt x="1208689" y="2187521"/>
                      </a:cubicBezTo>
                      <a:lnTo>
                        <a:pt x="1208689" y="2187521"/>
                      </a:lnTo>
                      <a:cubicBezTo>
                        <a:pt x="1217262" y="2178747"/>
                        <a:pt x="1226743" y="2175620"/>
                        <a:pt x="1242174" y="2175620"/>
                      </a:cubicBezTo>
                      <a:lnTo>
                        <a:pt x="1242174" y="2175620"/>
                      </a:lnTo>
                      <a:cubicBezTo>
                        <a:pt x="1259219" y="2175620"/>
                        <a:pt x="1284030" y="2179049"/>
                        <a:pt x="1326694" y="2182378"/>
                      </a:cubicBezTo>
                      <a:lnTo>
                        <a:pt x="1326694" y="2182378"/>
                      </a:lnTo>
                      <a:cubicBezTo>
                        <a:pt x="1329618" y="2182579"/>
                        <a:pt x="1332342" y="2182680"/>
                        <a:pt x="1335065" y="2182680"/>
                      </a:cubicBezTo>
                      <a:lnTo>
                        <a:pt x="1335065" y="2182680"/>
                      </a:lnTo>
                      <a:cubicBezTo>
                        <a:pt x="1383376" y="2182579"/>
                        <a:pt x="1387209" y="2146069"/>
                        <a:pt x="1387511" y="2113290"/>
                      </a:cubicBezTo>
                      <a:lnTo>
                        <a:pt x="1387511" y="2113290"/>
                      </a:lnTo>
                      <a:cubicBezTo>
                        <a:pt x="1387511" y="2105624"/>
                        <a:pt x="1387309" y="2098362"/>
                        <a:pt x="1387309" y="2092109"/>
                      </a:cubicBezTo>
                      <a:lnTo>
                        <a:pt x="1387309" y="2092109"/>
                      </a:lnTo>
                      <a:cubicBezTo>
                        <a:pt x="1387309" y="2087369"/>
                        <a:pt x="1387511" y="2083133"/>
                        <a:pt x="1388116" y="2079603"/>
                      </a:cubicBezTo>
                      <a:lnTo>
                        <a:pt x="1388116" y="2079603"/>
                      </a:lnTo>
                      <a:cubicBezTo>
                        <a:pt x="1392352" y="2051362"/>
                        <a:pt x="1399816" y="2045513"/>
                        <a:pt x="1416861" y="2028770"/>
                      </a:cubicBezTo>
                      <a:lnTo>
                        <a:pt x="1416861" y="2028770"/>
                      </a:lnTo>
                      <a:cubicBezTo>
                        <a:pt x="1434310" y="2011422"/>
                        <a:pt x="1474955" y="1985098"/>
                        <a:pt x="1480503" y="1967650"/>
                      </a:cubicBezTo>
                      <a:lnTo>
                        <a:pt x="1480503" y="1967650"/>
                      </a:lnTo>
                      <a:cubicBezTo>
                        <a:pt x="1480704" y="1966742"/>
                        <a:pt x="1480906" y="1965733"/>
                        <a:pt x="1480906" y="1964624"/>
                      </a:cubicBezTo>
                      <a:lnTo>
                        <a:pt x="1480906" y="1964624"/>
                      </a:lnTo>
                      <a:cubicBezTo>
                        <a:pt x="1481713" y="1948386"/>
                        <a:pt x="1440664" y="1918330"/>
                        <a:pt x="1412323" y="1882324"/>
                      </a:cubicBezTo>
                      <a:lnTo>
                        <a:pt x="1412323" y="1882324"/>
                      </a:lnTo>
                      <a:lnTo>
                        <a:pt x="1414440" y="1880609"/>
                      </a:lnTo>
                      <a:lnTo>
                        <a:pt x="1416659" y="1878894"/>
                      </a:lnTo>
                      <a:cubicBezTo>
                        <a:pt x="1444194" y="1914901"/>
                        <a:pt x="1485646" y="1942032"/>
                        <a:pt x="1486453" y="1964624"/>
                      </a:cubicBezTo>
                      <a:lnTo>
                        <a:pt x="1486453" y="1964624"/>
                      </a:lnTo>
                      <a:cubicBezTo>
                        <a:pt x="1486453" y="1966137"/>
                        <a:pt x="1486352" y="1967751"/>
                        <a:pt x="1485747" y="1969465"/>
                      </a:cubicBezTo>
                      <a:lnTo>
                        <a:pt x="1485747" y="1969465"/>
                      </a:lnTo>
                      <a:cubicBezTo>
                        <a:pt x="1478385" y="1990545"/>
                        <a:pt x="1437436" y="2015759"/>
                        <a:pt x="1420694" y="2032704"/>
                      </a:cubicBezTo>
                      <a:lnTo>
                        <a:pt x="1420694" y="2032704"/>
                      </a:lnTo>
                      <a:cubicBezTo>
                        <a:pt x="1403447" y="2050152"/>
                        <a:pt x="1398202" y="2052875"/>
                        <a:pt x="1393563" y="2080511"/>
                      </a:cubicBezTo>
                      <a:lnTo>
                        <a:pt x="1393563" y="2080511"/>
                      </a:lnTo>
                      <a:cubicBezTo>
                        <a:pt x="1393058" y="2083435"/>
                        <a:pt x="1392857" y="2087470"/>
                        <a:pt x="1392857" y="2092109"/>
                      </a:cubicBezTo>
                      <a:lnTo>
                        <a:pt x="1392857" y="2092109"/>
                      </a:lnTo>
                      <a:cubicBezTo>
                        <a:pt x="1392857" y="2098262"/>
                        <a:pt x="1393058" y="2105524"/>
                        <a:pt x="1393058" y="2113290"/>
                      </a:cubicBezTo>
                      <a:lnTo>
                        <a:pt x="1393058" y="2113290"/>
                      </a:lnTo>
                      <a:cubicBezTo>
                        <a:pt x="1393058" y="2145665"/>
                        <a:pt x="1387713" y="2188126"/>
                        <a:pt x="1335065" y="2188227"/>
                      </a:cubicBezTo>
                      <a:lnTo>
                        <a:pt x="1335065" y="2188227"/>
                      </a:lnTo>
                      <a:cubicBezTo>
                        <a:pt x="1332140" y="2188227"/>
                        <a:pt x="1329315" y="2188126"/>
                        <a:pt x="1326290" y="2187925"/>
                      </a:cubicBezTo>
                      <a:lnTo>
                        <a:pt x="1326290" y="2187925"/>
                      </a:lnTo>
                      <a:cubicBezTo>
                        <a:pt x="1283627" y="2184496"/>
                        <a:pt x="1258513" y="2181168"/>
                        <a:pt x="1242174" y="2181168"/>
                      </a:cubicBezTo>
                      <a:lnTo>
                        <a:pt x="1242174" y="2181168"/>
                      </a:lnTo>
                      <a:cubicBezTo>
                        <a:pt x="1227247" y="2181268"/>
                        <a:pt x="1220388" y="2183790"/>
                        <a:pt x="1212723" y="2191455"/>
                      </a:cubicBezTo>
                      <a:lnTo>
                        <a:pt x="1212723" y="2191455"/>
                      </a:lnTo>
                      <a:cubicBezTo>
                        <a:pt x="1196889" y="2206785"/>
                        <a:pt x="1196284" y="2255803"/>
                        <a:pt x="1194064" y="2258727"/>
                      </a:cubicBezTo>
                      <a:lnTo>
                        <a:pt x="1194064" y="2258727"/>
                      </a:lnTo>
                      <a:cubicBezTo>
                        <a:pt x="1193963" y="2258727"/>
                        <a:pt x="1190030" y="2259333"/>
                        <a:pt x="1183676" y="2259333"/>
                      </a:cubicBezTo>
                      <a:lnTo>
                        <a:pt x="1183676" y="2259333"/>
                      </a:lnTo>
                      <a:cubicBezTo>
                        <a:pt x="1168648" y="2258727"/>
                        <a:pt x="1138491" y="2255500"/>
                        <a:pt x="1106317" y="2234118"/>
                      </a:cubicBezTo>
                      <a:lnTo>
                        <a:pt x="1106317" y="2234118"/>
                      </a:lnTo>
                      <a:close/>
                    </a:path>
                  </a:pathLst>
                </a:custGeom>
                <a:solidFill>
                  <a:srgbClr val="ABDEF6"/>
                </a:solidFill>
                <a:ln w="10085" cap="flat">
                  <a:solidFill>
                    <a:srgbClr val="FFFFFF"/>
                  </a:solidFill>
                  <a:prstDash val="solid"/>
                  <a:miter/>
                </a:ln>
              </p:spPr>
              <p:txBody>
                <a:bodyPr rtlCol="0" anchor="ctr"/>
                <a:lstStyle/>
                <a:p>
                  <a:endParaRPr lang="fr-FR" sz="900"/>
                </a:p>
              </p:txBody>
            </p:sp>
          </p:grpSp>
          <p:grpSp>
            <p:nvGrpSpPr>
              <p:cNvPr id="64" name="Graphique 17">
                <a:extLst>
                  <a:ext uri="{FF2B5EF4-FFF2-40B4-BE49-F238E27FC236}">
                    <a16:creationId xmlns:a16="http://schemas.microsoft.com/office/drawing/2014/main" id="{25369FE7-E729-8908-EB58-F6866910B83B}"/>
                  </a:ext>
                </a:extLst>
              </p:cNvPr>
              <p:cNvGrpSpPr/>
              <p:nvPr/>
            </p:nvGrpSpPr>
            <p:grpSpPr>
              <a:xfrm>
                <a:off x="3987493" y="5268057"/>
                <a:ext cx="988112" cy="1221598"/>
                <a:chOff x="3987493" y="5268057"/>
                <a:chExt cx="988112" cy="1221598"/>
              </a:xfrm>
              <a:solidFill>
                <a:srgbClr val="ABDEF6"/>
              </a:solidFill>
            </p:grpSpPr>
            <p:sp>
              <p:nvSpPr>
                <p:cNvPr id="65" name="Forme libre : forme 64">
                  <a:extLst>
                    <a:ext uri="{FF2B5EF4-FFF2-40B4-BE49-F238E27FC236}">
                      <a16:creationId xmlns:a16="http://schemas.microsoft.com/office/drawing/2014/main" id="{069777E5-B48F-3258-B504-0776C1EDCF84}"/>
                    </a:ext>
                  </a:extLst>
                </p:cNvPr>
                <p:cNvSpPr/>
                <p:nvPr/>
              </p:nvSpPr>
              <p:spPr>
                <a:xfrm>
                  <a:off x="3990661" y="5269368"/>
                  <a:ext cx="982591" cy="1217568"/>
                </a:xfrm>
                <a:custGeom>
                  <a:avLst/>
                  <a:gdLst>
                    <a:gd name="connsiteX0" fmla="*/ 930279 w 982591"/>
                    <a:gd name="connsiteY0" fmla="*/ 740201 h 1217568"/>
                    <a:gd name="connsiteX1" fmla="*/ 964571 w 982591"/>
                    <a:gd name="connsiteY1" fmla="*/ 723055 h 1217568"/>
                    <a:gd name="connsiteX2" fmla="*/ 979599 w 982591"/>
                    <a:gd name="connsiteY2" fmla="*/ 686645 h 1217568"/>
                    <a:gd name="connsiteX3" fmla="*/ 955494 w 982591"/>
                    <a:gd name="connsiteY3" fmla="*/ 554218 h 1217568"/>
                    <a:gd name="connsiteX4" fmla="*/ 951762 w 982591"/>
                    <a:gd name="connsiteY4" fmla="*/ 495821 h 1217568"/>
                    <a:gd name="connsiteX5" fmla="*/ 938953 w 982591"/>
                    <a:gd name="connsiteY5" fmla="*/ 351996 h 1217568"/>
                    <a:gd name="connsiteX6" fmla="*/ 956099 w 982591"/>
                    <a:gd name="connsiteY6" fmla="*/ 274840 h 1217568"/>
                    <a:gd name="connsiteX7" fmla="*/ 943290 w 982591"/>
                    <a:gd name="connsiteY7" fmla="*/ 169745 h 1217568"/>
                    <a:gd name="connsiteX8" fmla="*/ 885397 w 982591"/>
                    <a:gd name="connsiteY8" fmla="*/ 77560 h 1217568"/>
                    <a:gd name="connsiteX9" fmla="*/ 782421 w 982591"/>
                    <a:gd name="connsiteY9" fmla="*/ 13213 h 1217568"/>
                    <a:gd name="connsiteX10" fmla="*/ 770015 w 982591"/>
                    <a:gd name="connsiteY10" fmla="*/ 0 h 1217568"/>
                    <a:gd name="connsiteX11" fmla="*/ 707281 w 982591"/>
                    <a:gd name="connsiteY11" fmla="*/ 31367 h 1217568"/>
                    <a:gd name="connsiteX12" fmla="*/ 594319 w 982591"/>
                    <a:gd name="connsiteY12" fmla="*/ 107314 h 1217568"/>
                    <a:gd name="connsiteX13" fmla="*/ 456647 w 982591"/>
                    <a:gd name="connsiteY13" fmla="*/ 135554 h 1217568"/>
                    <a:gd name="connsiteX14" fmla="*/ 355991 w 982591"/>
                    <a:gd name="connsiteY14" fmla="*/ 153204 h 1217568"/>
                    <a:gd name="connsiteX15" fmla="*/ 246559 w 982591"/>
                    <a:gd name="connsiteY15" fmla="*/ 206155 h 1217568"/>
                    <a:gd name="connsiteX16" fmla="*/ 190078 w 982591"/>
                    <a:gd name="connsiteY16" fmla="*/ 218460 h 1217568"/>
                    <a:gd name="connsiteX17" fmla="*/ 137127 w 982591"/>
                    <a:gd name="connsiteY17" fmla="*/ 266166 h 1217568"/>
                    <a:gd name="connsiteX18" fmla="*/ 62996 w 982591"/>
                    <a:gd name="connsiteY18" fmla="*/ 312056 h 1217568"/>
                    <a:gd name="connsiteX19" fmla="*/ 18820 w 982591"/>
                    <a:gd name="connsiteY19" fmla="*/ 396778 h 1217568"/>
                    <a:gd name="connsiteX20" fmla="*/ 36471 w 982591"/>
                    <a:gd name="connsiteY20" fmla="*/ 492089 h 1217568"/>
                    <a:gd name="connsiteX21" fmla="*/ 168898 w 982591"/>
                    <a:gd name="connsiteY21" fmla="*/ 506108 h 1217568"/>
                    <a:gd name="connsiteX22" fmla="*/ 214789 w 982591"/>
                    <a:gd name="connsiteY22" fmla="*/ 523859 h 1217568"/>
                    <a:gd name="connsiteX23" fmla="*/ 135312 w 982591"/>
                    <a:gd name="connsiteY23" fmla="*/ 534450 h 1217568"/>
                    <a:gd name="connsiteX24" fmla="*/ 138842 w 982591"/>
                    <a:gd name="connsiteY24" fmla="*/ 590930 h 1217568"/>
                    <a:gd name="connsiteX25" fmla="*/ 126436 w 982591"/>
                    <a:gd name="connsiteY25" fmla="*/ 631576 h 1217568"/>
                    <a:gd name="connsiteX26" fmla="*/ 181202 w 982591"/>
                    <a:gd name="connsiteY26" fmla="*/ 802733 h 1217568"/>
                    <a:gd name="connsiteX27" fmla="*/ 186548 w 982591"/>
                    <a:gd name="connsiteY27" fmla="*/ 871620 h 1217568"/>
                    <a:gd name="connsiteX28" fmla="*/ 165368 w 982591"/>
                    <a:gd name="connsiteY28" fmla="*/ 905206 h 1217568"/>
                    <a:gd name="connsiteX29" fmla="*/ 181202 w 982591"/>
                    <a:gd name="connsiteY29" fmla="*/ 961686 h 1217568"/>
                    <a:gd name="connsiteX30" fmla="*/ 179488 w 982591"/>
                    <a:gd name="connsiteY30" fmla="*/ 1019983 h 1217568"/>
                    <a:gd name="connsiteX31" fmla="*/ 220134 w 982591"/>
                    <a:gd name="connsiteY31" fmla="*/ 1030573 h 1217568"/>
                    <a:gd name="connsiteX32" fmla="*/ 260679 w 982591"/>
                    <a:gd name="connsiteY32" fmla="*/ 1041163 h 1217568"/>
                    <a:gd name="connsiteX33" fmla="*/ 306570 w 982591"/>
                    <a:gd name="connsiteY33" fmla="*/ 1060629 h 1217568"/>
                    <a:gd name="connsiteX34" fmla="*/ 329566 w 982591"/>
                    <a:gd name="connsiteY34" fmla="*/ 1104805 h 1217568"/>
                    <a:gd name="connsiteX35" fmla="*/ 386046 w 982591"/>
                    <a:gd name="connsiteY35" fmla="*/ 1136575 h 1217568"/>
                    <a:gd name="connsiteX36" fmla="*/ 377272 w 982591"/>
                    <a:gd name="connsiteY36" fmla="*/ 1187811 h 1217568"/>
                    <a:gd name="connsiteX37" fmla="*/ 439098 w 982591"/>
                    <a:gd name="connsiteY37" fmla="*/ 1205462 h 1217568"/>
                    <a:gd name="connsiteX38" fmla="*/ 500924 w 982591"/>
                    <a:gd name="connsiteY38" fmla="*/ 1186097 h 1217568"/>
                    <a:gd name="connsiteX39" fmla="*/ 571525 w 982591"/>
                    <a:gd name="connsiteY39" fmla="*/ 1143736 h 1217568"/>
                    <a:gd name="connsiteX40" fmla="*/ 656246 w 982591"/>
                    <a:gd name="connsiteY40" fmla="*/ 1150796 h 1217568"/>
                    <a:gd name="connsiteX41" fmla="*/ 721603 w 982591"/>
                    <a:gd name="connsiteY41" fmla="*/ 1120740 h 1217568"/>
                    <a:gd name="connsiteX42" fmla="*/ 762249 w 982591"/>
                    <a:gd name="connsiteY42" fmla="*/ 1060730 h 1217568"/>
                    <a:gd name="connsiteX43" fmla="*/ 795835 w 982591"/>
                    <a:gd name="connsiteY43" fmla="*/ 1011309 h 1217568"/>
                    <a:gd name="connsiteX44" fmla="*/ 808139 w 982591"/>
                    <a:gd name="connsiteY44" fmla="*/ 974193 h 1217568"/>
                    <a:gd name="connsiteX45" fmla="*/ 795734 w 982591"/>
                    <a:gd name="connsiteY45" fmla="*/ 928302 h 1217568"/>
                    <a:gd name="connsiteX46" fmla="*/ 831034 w 982591"/>
                    <a:gd name="connsiteY46" fmla="*/ 882412 h 1217568"/>
                    <a:gd name="connsiteX47" fmla="*/ 903451 w 982591"/>
                    <a:gd name="connsiteY47" fmla="*/ 831175 h 1217568"/>
                    <a:gd name="connsiteX48" fmla="*/ 937037 w 982591"/>
                    <a:gd name="connsiteY48" fmla="*/ 747866 h 1217568"/>
                    <a:gd name="connsiteX49" fmla="*/ 930279 w 982591"/>
                    <a:gd name="connsiteY49" fmla="*/ 740201 h 1217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982591" h="1217568">
                      <a:moveTo>
                        <a:pt x="930279" y="740201"/>
                      </a:moveTo>
                      <a:cubicBezTo>
                        <a:pt x="932498" y="731628"/>
                        <a:pt x="951661" y="714482"/>
                        <a:pt x="964571" y="723055"/>
                      </a:cubicBezTo>
                      <a:cubicBezTo>
                        <a:pt x="977380" y="731628"/>
                        <a:pt x="981717" y="720937"/>
                        <a:pt x="979599" y="686645"/>
                      </a:cubicBezTo>
                      <a:cubicBezTo>
                        <a:pt x="977380" y="652353"/>
                        <a:pt x="925337" y="559261"/>
                        <a:pt x="955494" y="554218"/>
                      </a:cubicBezTo>
                      <a:cubicBezTo>
                        <a:pt x="987869" y="548771"/>
                        <a:pt x="996543" y="506713"/>
                        <a:pt x="951762" y="495821"/>
                      </a:cubicBezTo>
                      <a:cubicBezTo>
                        <a:pt x="919386" y="487853"/>
                        <a:pt x="936734" y="422799"/>
                        <a:pt x="938953" y="351996"/>
                      </a:cubicBezTo>
                      <a:cubicBezTo>
                        <a:pt x="941172" y="281194"/>
                        <a:pt x="938953" y="307013"/>
                        <a:pt x="956099" y="274840"/>
                      </a:cubicBezTo>
                      <a:cubicBezTo>
                        <a:pt x="973245" y="242666"/>
                        <a:pt x="941071" y="195464"/>
                        <a:pt x="943290" y="169745"/>
                      </a:cubicBezTo>
                      <a:cubicBezTo>
                        <a:pt x="945509" y="144026"/>
                        <a:pt x="912427" y="115887"/>
                        <a:pt x="885397" y="77560"/>
                      </a:cubicBezTo>
                      <a:cubicBezTo>
                        <a:pt x="861090" y="43167"/>
                        <a:pt x="799667" y="26122"/>
                        <a:pt x="782421" y="13213"/>
                      </a:cubicBezTo>
                      <a:cubicBezTo>
                        <a:pt x="776268" y="8573"/>
                        <a:pt x="772536" y="4236"/>
                        <a:pt x="770015" y="0"/>
                      </a:cubicBezTo>
                      <a:cubicBezTo>
                        <a:pt x="749541" y="5043"/>
                        <a:pt x="717770" y="15028"/>
                        <a:pt x="707281" y="31367"/>
                      </a:cubicBezTo>
                      <a:cubicBezTo>
                        <a:pt x="691345" y="56077"/>
                        <a:pt x="654330" y="101968"/>
                        <a:pt x="594319" y="107314"/>
                      </a:cubicBezTo>
                      <a:cubicBezTo>
                        <a:pt x="534308" y="112558"/>
                        <a:pt x="488418" y="117904"/>
                        <a:pt x="456647" y="135554"/>
                      </a:cubicBezTo>
                      <a:cubicBezTo>
                        <a:pt x="424877" y="153204"/>
                        <a:pt x="407227" y="146144"/>
                        <a:pt x="355991" y="153204"/>
                      </a:cubicBezTo>
                      <a:cubicBezTo>
                        <a:pt x="304855" y="160264"/>
                        <a:pt x="271269" y="183260"/>
                        <a:pt x="246559" y="206155"/>
                      </a:cubicBezTo>
                      <a:cubicBezTo>
                        <a:pt x="221848" y="229151"/>
                        <a:pt x="225681" y="205852"/>
                        <a:pt x="190078" y="218460"/>
                      </a:cubicBezTo>
                      <a:cubicBezTo>
                        <a:pt x="165973" y="227033"/>
                        <a:pt x="152962" y="260820"/>
                        <a:pt x="137127" y="266166"/>
                      </a:cubicBezTo>
                      <a:cubicBezTo>
                        <a:pt x="121192" y="271511"/>
                        <a:pt x="84177" y="257290"/>
                        <a:pt x="62996" y="312056"/>
                      </a:cubicBezTo>
                      <a:cubicBezTo>
                        <a:pt x="41816" y="366823"/>
                        <a:pt x="47162" y="372067"/>
                        <a:pt x="18820" y="396778"/>
                      </a:cubicBezTo>
                      <a:cubicBezTo>
                        <a:pt x="-9420" y="421488"/>
                        <a:pt x="-7705" y="472724"/>
                        <a:pt x="36471" y="492089"/>
                      </a:cubicBezTo>
                      <a:cubicBezTo>
                        <a:pt x="80646" y="511555"/>
                        <a:pt x="124722" y="514883"/>
                        <a:pt x="168898" y="506108"/>
                      </a:cubicBezTo>
                      <a:cubicBezTo>
                        <a:pt x="213074" y="497334"/>
                        <a:pt x="241314" y="513168"/>
                        <a:pt x="214789" y="523859"/>
                      </a:cubicBezTo>
                      <a:cubicBezTo>
                        <a:pt x="188263" y="534450"/>
                        <a:pt x="135312" y="534450"/>
                        <a:pt x="135312" y="534450"/>
                      </a:cubicBezTo>
                      <a:cubicBezTo>
                        <a:pt x="135312" y="534450"/>
                        <a:pt x="131782" y="576810"/>
                        <a:pt x="138842" y="590930"/>
                      </a:cubicBezTo>
                      <a:cubicBezTo>
                        <a:pt x="145902" y="605051"/>
                        <a:pt x="122906" y="612111"/>
                        <a:pt x="126436" y="631576"/>
                      </a:cubicBezTo>
                      <a:cubicBezTo>
                        <a:pt x="129966" y="650941"/>
                        <a:pt x="168797" y="746253"/>
                        <a:pt x="181202" y="802733"/>
                      </a:cubicBezTo>
                      <a:cubicBezTo>
                        <a:pt x="193608" y="859214"/>
                        <a:pt x="200567" y="867989"/>
                        <a:pt x="186548" y="871620"/>
                      </a:cubicBezTo>
                      <a:cubicBezTo>
                        <a:pt x="172428" y="875150"/>
                        <a:pt x="147617" y="889270"/>
                        <a:pt x="165368" y="905206"/>
                      </a:cubicBezTo>
                      <a:cubicBezTo>
                        <a:pt x="183018" y="921141"/>
                        <a:pt x="183018" y="935261"/>
                        <a:pt x="181202" y="961686"/>
                      </a:cubicBezTo>
                      <a:cubicBezTo>
                        <a:pt x="179488" y="988212"/>
                        <a:pt x="167082" y="1012923"/>
                        <a:pt x="179488" y="1019983"/>
                      </a:cubicBezTo>
                      <a:cubicBezTo>
                        <a:pt x="191793" y="1027043"/>
                        <a:pt x="211258" y="1021697"/>
                        <a:pt x="220134" y="1030573"/>
                      </a:cubicBezTo>
                      <a:cubicBezTo>
                        <a:pt x="228909" y="1039448"/>
                        <a:pt x="232439" y="1053569"/>
                        <a:pt x="260679" y="1041163"/>
                      </a:cubicBezTo>
                      <a:cubicBezTo>
                        <a:pt x="288920" y="1028858"/>
                        <a:pt x="299611" y="1041163"/>
                        <a:pt x="306570" y="1060629"/>
                      </a:cubicBezTo>
                      <a:cubicBezTo>
                        <a:pt x="313630" y="1079994"/>
                        <a:pt x="310100" y="1101275"/>
                        <a:pt x="329566" y="1104805"/>
                      </a:cubicBezTo>
                      <a:cubicBezTo>
                        <a:pt x="349031" y="1108335"/>
                        <a:pt x="386046" y="1117110"/>
                        <a:pt x="386046" y="1136575"/>
                      </a:cubicBezTo>
                      <a:cubicBezTo>
                        <a:pt x="386046" y="1155940"/>
                        <a:pt x="363151" y="1155940"/>
                        <a:pt x="377272" y="1187811"/>
                      </a:cubicBezTo>
                      <a:cubicBezTo>
                        <a:pt x="391392" y="1219582"/>
                        <a:pt x="407227" y="1226642"/>
                        <a:pt x="439098" y="1205462"/>
                      </a:cubicBezTo>
                      <a:cubicBezTo>
                        <a:pt x="470868" y="1184281"/>
                        <a:pt x="476214" y="1187912"/>
                        <a:pt x="500924" y="1186097"/>
                      </a:cubicBezTo>
                      <a:cubicBezTo>
                        <a:pt x="525635" y="1184281"/>
                        <a:pt x="538040" y="1152511"/>
                        <a:pt x="571525" y="1143736"/>
                      </a:cubicBezTo>
                      <a:cubicBezTo>
                        <a:pt x="605111" y="1134861"/>
                        <a:pt x="638596" y="1140206"/>
                        <a:pt x="656246" y="1150796"/>
                      </a:cubicBezTo>
                      <a:cubicBezTo>
                        <a:pt x="673897" y="1161386"/>
                        <a:pt x="696791" y="1156142"/>
                        <a:pt x="721603" y="1120740"/>
                      </a:cubicBezTo>
                      <a:cubicBezTo>
                        <a:pt x="746313" y="1085440"/>
                        <a:pt x="730478" y="1074749"/>
                        <a:pt x="762249" y="1060730"/>
                      </a:cubicBezTo>
                      <a:cubicBezTo>
                        <a:pt x="794019" y="1046609"/>
                        <a:pt x="794019" y="1028959"/>
                        <a:pt x="795835" y="1011309"/>
                      </a:cubicBezTo>
                      <a:cubicBezTo>
                        <a:pt x="797549" y="993659"/>
                        <a:pt x="808139" y="974193"/>
                        <a:pt x="808139" y="974193"/>
                      </a:cubicBezTo>
                      <a:cubicBezTo>
                        <a:pt x="808139" y="974193"/>
                        <a:pt x="806324" y="965418"/>
                        <a:pt x="795734" y="928302"/>
                      </a:cubicBezTo>
                      <a:cubicBezTo>
                        <a:pt x="785144" y="891287"/>
                        <a:pt x="795633" y="878882"/>
                        <a:pt x="831034" y="882412"/>
                      </a:cubicBezTo>
                      <a:cubicBezTo>
                        <a:pt x="866335" y="885942"/>
                        <a:pt x="898206" y="873637"/>
                        <a:pt x="903451" y="831175"/>
                      </a:cubicBezTo>
                      <a:cubicBezTo>
                        <a:pt x="907889" y="795270"/>
                        <a:pt x="911419" y="758356"/>
                        <a:pt x="937037" y="747866"/>
                      </a:cubicBezTo>
                      <a:cubicBezTo>
                        <a:pt x="932498" y="744235"/>
                        <a:pt x="929977" y="741411"/>
                        <a:pt x="930279" y="740201"/>
                      </a:cubicBezTo>
                      <a:close/>
                    </a:path>
                  </a:pathLst>
                </a:custGeom>
                <a:solidFill>
                  <a:schemeClr val="bg1">
                    <a:lumMod val="75000"/>
                  </a:schemeClr>
                </a:solidFill>
                <a:ln w="10085" cap="flat">
                  <a:solidFill>
                    <a:srgbClr val="FFFFFF"/>
                  </a:solidFill>
                  <a:prstDash val="solid"/>
                  <a:miter/>
                </a:ln>
              </p:spPr>
              <p:txBody>
                <a:bodyPr rtlCol="0" anchor="ctr"/>
                <a:lstStyle/>
                <a:p>
                  <a:endParaRPr lang="fr-FR" sz="900"/>
                </a:p>
              </p:txBody>
            </p:sp>
            <p:sp>
              <p:nvSpPr>
                <p:cNvPr id="66" name="Forme libre : forme 65">
                  <a:extLst>
                    <a:ext uri="{FF2B5EF4-FFF2-40B4-BE49-F238E27FC236}">
                      <a16:creationId xmlns:a16="http://schemas.microsoft.com/office/drawing/2014/main" id="{F439B8A5-1499-2AEF-F8E4-034B8DBB5278}"/>
                    </a:ext>
                  </a:extLst>
                </p:cNvPr>
                <p:cNvSpPr/>
                <p:nvPr/>
              </p:nvSpPr>
              <p:spPr>
                <a:xfrm>
                  <a:off x="3987493" y="5268057"/>
                  <a:ext cx="988112" cy="1221598"/>
                </a:xfrm>
                <a:custGeom>
                  <a:avLst/>
                  <a:gdLst>
                    <a:gd name="connsiteX0" fmla="*/ 377615 w 988112"/>
                    <a:gd name="connsiteY0" fmla="*/ 1190232 h 1221598"/>
                    <a:gd name="connsiteX1" fmla="*/ 372875 w 988112"/>
                    <a:gd name="connsiteY1" fmla="*/ 1171270 h 1221598"/>
                    <a:gd name="connsiteX2" fmla="*/ 372875 w 988112"/>
                    <a:gd name="connsiteY2" fmla="*/ 1171270 h 1221598"/>
                    <a:gd name="connsiteX3" fmla="*/ 386289 w 988112"/>
                    <a:gd name="connsiteY3" fmla="*/ 1137886 h 1221598"/>
                    <a:gd name="connsiteX4" fmla="*/ 386289 w 988112"/>
                    <a:gd name="connsiteY4" fmla="*/ 1137886 h 1221598"/>
                    <a:gd name="connsiteX5" fmla="*/ 332027 w 988112"/>
                    <a:gd name="connsiteY5" fmla="*/ 1108839 h 1221598"/>
                    <a:gd name="connsiteX6" fmla="*/ 332027 w 988112"/>
                    <a:gd name="connsiteY6" fmla="*/ 1108839 h 1221598"/>
                    <a:gd name="connsiteX7" fmla="*/ 307014 w 988112"/>
                    <a:gd name="connsiteY7" fmla="*/ 1062848 h 1221598"/>
                    <a:gd name="connsiteX8" fmla="*/ 307014 w 988112"/>
                    <a:gd name="connsiteY8" fmla="*/ 1062848 h 1221598"/>
                    <a:gd name="connsiteX9" fmla="*/ 283413 w 988112"/>
                    <a:gd name="connsiteY9" fmla="*/ 1040255 h 1221598"/>
                    <a:gd name="connsiteX10" fmla="*/ 283413 w 988112"/>
                    <a:gd name="connsiteY10" fmla="*/ 1040255 h 1221598"/>
                    <a:gd name="connsiteX11" fmla="*/ 264754 w 988112"/>
                    <a:gd name="connsiteY11" fmla="*/ 1044996 h 1221598"/>
                    <a:gd name="connsiteX12" fmla="*/ 264754 w 988112"/>
                    <a:gd name="connsiteY12" fmla="*/ 1044996 h 1221598"/>
                    <a:gd name="connsiteX13" fmla="*/ 245087 w 988112"/>
                    <a:gd name="connsiteY13" fmla="*/ 1050038 h 1221598"/>
                    <a:gd name="connsiteX14" fmla="*/ 245087 w 988112"/>
                    <a:gd name="connsiteY14" fmla="*/ 1050038 h 1221598"/>
                    <a:gd name="connsiteX15" fmla="*/ 221184 w 988112"/>
                    <a:gd name="connsiteY15" fmla="*/ 1033800 h 1221598"/>
                    <a:gd name="connsiteX16" fmla="*/ 221184 w 988112"/>
                    <a:gd name="connsiteY16" fmla="*/ 1033800 h 1221598"/>
                    <a:gd name="connsiteX17" fmla="*/ 181143 w 988112"/>
                    <a:gd name="connsiteY17" fmla="*/ 1023614 h 1221598"/>
                    <a:gd name="connsiteX18" fmla="*/ 181143 w 988112"/>
                    <a:gd name="connsiteY18" fmla="*/ 1023614 h 1221598"/>
                    <a:gd name="connsiteX19" fmla="*/ 174284 w 988112"/>
                    <a:gd name="connsiteY19" fmla="*/ 1009292 h 1221598"/>
                    <a:gd name="connsiteX20" fmla="*/ 174284 w 988112"/>
                    <a:gd name="connsiteY20" fmla="*/ 1009292 h 1221598"/>
                    <a:gd name="connsiteX21" fmla="*/ 181445 w 988112"/>
                    <a:gd name="connsiteY21" fmla="*/ 962897 h 1221598"/>
                    <a:gd name="connsiteX22" fmla="*/ 181445 w 988112"/>
                    <a:gd name="connsiteY22" fmla="*/ 962897 h 1221598"/>
                    <a:gd name="connsiteX23" fmla="*/ 182151 w 988112"/>
                    <a:gd name="connsiteY23" fmla="*/ 945852 h 1221598"/>
                    <a:gd name="connsiteX24" fmla="*/ 182151 w 988112"/>
                    <a:gd name="connsiteY24" fmla="*/ 945852 h 1221598"/>
                    <a:gd name="connsiteX25" fmla="*/ 166417 w 988112"/>
                    <a:gd name="connsiteY25" fmla="*/ 908635 h 1221598"/>
                    <a:gd name="connsiteX26" fmla="*/ 166417 w 988112"/>
                    <a:gd name="connsiteY26" fmla="*/ 908635 h 1221598"/>
                    <a:gd name="connsiteX27" fmla="*/ 159357 w 988112"/>
                    <a:gd name="connsiteY27" fmla="*/ 895221 h 1221598"/>
                    <a:gd name="connsiteX28" fmla="*/ 159357 w 988112"/>
                    <a:gd name="connsiteY28" fmla="*/ 895221 h 1221598"/>
                    <a:gd name="connsiteX29" fmla="*/ 188808 w 988112"/>
                    <a:gd name="connsiteY29" fmla="*/ 870309 h 1221598"/>
                    <a:gd name="connsiteX30" fmla="*/ 188808 w 988112"/>
                    <a:gd name="connsiteY30" fmla="*/ 870309 h 1221598"/>
                    <a:gd name="connsiteX31" fmla="*/ 194456 w 988112"/>
                    <a:gd name="connsiteY31" fmla="*/ 863854 h 1221598"/>
                    <a:gd name="connsiteX32" fmla="*/ 194456 w 988112"/>
                    <a:gd name="connsiteY32" fmla="*/ 863854 h 1221598"/>
                    <a:gd name="connsiteX33" fmla="*/ 181344 w 988112"/>
                    <a:gd name="connsiteY33" fmla="*/ 804750 h 1221598"/>
                    <a:gd name="connsiteX34" fmla="*/ 181344 w 988112"/>
                    <a:gd name="connsiteY34" fmla="*/ 804750 h 1221598"/>
                    <a:gd name="connsiteX35" fmla="*/ 126578 w 988112"/>
                    <a:gd name="connsiteY35" fmla="*/ 633594 h 1221598"/>
                    <a:gd name="connsiteX36" fmla="*/ 126578 w 988112"/>
                    <a:gd name="connsiteY36" fmla="*/ 633594 h 1221598"/>
                    <a:gd name="connsiteX37" fmla="*/ 126074 w 988112"/>
                    <a:gd name="connsiteY37" fmla="*/ 628954 h 1221598"/>
                    <a:gd name="connsiteX38" fmla="*/ 126074 w 988112"/>
                    <a:gd name="connsiteY38" fmla="*/ 628954 h 1221598"/>
                    <a:gd name="connsiteX39" fmla="*/ 140194 w 988112"/>
                    <a:gd name="connsiteY39" fmla="*/ 597789 h 1221598"/>
                    <a:gd name="connsiteX40" fmla="*/ 140194 w 988112"/>
                    <a:gd name="connsiteY40" fmla="*/ 597789 h 1221598"/>
                    <a:gd name="connsiteX41" fmla="*/ 139186 w 988112"/>
                    <a:gd name="connsiteY41" fmla="*/ 593754 h 1221598"/>
                    <a:gd name="connsiteX42" fmla="*/ 139186 w 988112"/>
                    <a:gd name="connsiteY42" fmla="*/ 593754 h 1221598"/>
                    <a:gd name="connsiteX43" fmla="*/ 134445 w 988112"/>
                    <a:gd name="connsiteY43" fmla="*/ 558857 h 1221598"/>
                    <a:gd name="connsiteX44" fmla="*/ 134445 w 988112"/>
                    <a:gd name="connsiteY44" fmla="*/ 558857 h 1221598"/>
                    <a:gd name="connsiteX45" fmla="*/ 138177 w 988112"/>
                    <a:gd name="connsiteY45" fmla="*/ 533239 h 1221598"/>
                    <a:gd name="connsiteX46" fmla="*/ 138177 w 988112"/>
                    <a:gd name="connsiteY46" fmla="*/ 533239 h 1221598"/>
                    <a:gd name="connsiteX47" fmla="*/ 216645 w 988112"/>
                    <a:gd name="connsiteY47" fmla="*/ 522851 h 1221598"/>
                    <a:gd name="connsiteX48" fmla="*/ 216645 w 988112"/>
                    <a:gd name="connsiteY48" fmla="*/ 522851 h 1221598"/>
                    <a:gd name="connsiteX49" fmla="*/ 225016 w 988112"/>
                    <a:gd name="connsiteY49" fmla="*/ 516194 h 1221598"/>
                    <a:gd name="connsiteX50" fmla="*/ 225016 w 988112"/>
                    <a:gd name="connsiteY50" fmla="*/ 516194 h 1221598"/>
                    <a:gd name="connsiteX51" fmla="*/ 196272 w 988112"/>
                    <a:gd name="connsiteY51" fmla="*/ 507823 h 1221598"/>
                    <a:gd name="connsiteX52" fmla="*/ 196272 w 988112"/>
                    <a:gd name="connsiteY52" fmla="*/ 507823 h 1221598"/>
                    <a:gd name="connsiteX53" fmla="*/ 172267 w 988112"/>
                    <a:gd name="connsiteY53" fmla="*/ 510445 h 1221598"/>
                    <a:gd name="connsiteX54" fmla="*/ 172267 w 988112"/>
                    <a:gd name="connsiteY54" fmla="*/ 510445 h 1221598"/>
                    <a:gd name="connsiteX55" fmla="*/ 126376 w 988112"/>
                    <a:gd name="connsiteY55" fmla="*/ 514984 h 1221598"/>
                    <a:gd name="connsiteX56" fmla="*/ 126376 w 988112"/>
                    <a:gd name="connsiteY56" fmla="*/ 514984 h 1221598"/>
                    <a:gd name="connsiteX57" fmla="*/ 38125 w 988112"/>
                    <a:gd name="connsiteY57" fmla="*/ 496224 h 1221598"/>
                    <a:gd name="connsiteX58" fmla="*/ 38125 w 988112"/>
                    <a:gd name="connsiteY58" fmla="*/ 496224 h 1221598"/>
                    <a:gd name="connsiteX59" fmla="*/ 1 w 988112"/>
                    <a:gd name="connsiteY59" fmla="*/ 440449 h 1221598"/>
                    <a:gd name="connsiteX60" fmla="*/ 1 w 988112"/>
                    <a:gd name="connsiteY60" fmla="*/ 440449 h 1221598"/>
                    <a:gd name="connsiteX61" fmla="*/ 19769 w 988112"/>
                    <a:gd name="connsiteY61" fmla="*/ 396173 h 1221598"/>
                    <a:gd name="connsiteX62" fmla="*/ 19769 w 988112"/>
                    <a:gd name="connsiteY62" fmla="*/ 396173 h 1221598"/>
                    <a:gd name="connsiteX63" fmla="*/ 63138 w 988112"/>
                    <a:gd name="connsiteY63" fmla="*/ 312460 h 1221598"/>
                    <a:gd name="connsiteX64" fmla="*/ 63138 w 988112"/>
                    <a:gd name="connsiteY64" fmla="*/ 312460 h 1221598"/>
                    <a:gd name="connsiteX65" fmla="*/ 138984 w 988112"/>
                    <a:gd name="connsiteY65" fmla="*/ 264855 h 1221598"/>
                    <a:gd name="connsiteX66" fmla="*/ 138984 w 988112"/>
                    <a:gd name="connsiteY66" fmla="*/ 264855 h 1221598"/>
                    <a:gd name="connsiteX67" fmla="*/ 191934 w 988112"/>
                    <a:gd name="connsiteY67" fmla="*/ 217249 h 1221598"/>
                    <a:gd name="connsiteX68" fmla="*/ 191934 w 988112"/>
                    <a:gd name="connsiteY68" fmla="*/ 217249 h 1221598"/>
                    <a:gd name="connsiteX69" fmla="*/ 212711 w 988112"/>
                    <a:gd name="connsiteY69" fmla="*/ 212912 h 1221598"/>
                    <a:gd name="connsiteX70" fmla="*/ 212711 w 988112"/>
                    <a:gd name="connsiteY70" fmla="*/ 212912 h 1221598"/>
                    <a:gd name="connsiteX71" fmla="*/ 230160 w 988112"/>
                    <a:gd name="connsiteY71" fmla="*/ 215333 h 1221598"/>
                    <a:gd name="connsiteX72" fmla="*/ 230160 w 988112"/>
                    <a:gd name="connsiteY72" fmla="*/ 215333 h 1221598"/>
                    <a:gd name="connsiteX73" fmla="*/ 247407 w 988112"/>
                    <a:gd name="connsiteY73" fmla="*/ 205449 h 1221598"/>
                    <a:gd name="connsiteX74" fmla="*/ 247407 w 988112"/>
                    <a:gd name="connsiteY74" fmla="*/ 205449 h 1221598"/>
                    <a:gd name="connsiteX75" fmla="*/ 358351 w 988112"/>
                    <a:gd name="connsiteY75" fmla="*/ 151691 h 1221598"/>
                    <a:gd name="connsiteX76" fmla="*/ 358351 w 988112"/>
                    <a:gd name="connsiteY76" fmla="*/ 151691 h 1221598"/>
                    <a:gd name="connsiteX77" fmla="*/ 457999 w 988112"/>
                    <a:gd name="connsiteY77" fmla="*/ 134444 h 1221598"/>
                    <a:gd name="connsiteX78" fmla="*/ 457999 w 988112"/>
                    <a:gd name="connsiteY78" fmla="*/ 134444 h 1221598"/>
                    <a:gd name="connsiteX79" fmla="*/ 596781 w 988112"/>
                    <a:gd name="connsiteY79" fmla="*/ 105901 h 1221598"/>
                    <a:gd name="connsiteX80" fmla="*/ 596781 w 988112"/>
                    <a:gd name="connsiteY80" fmla="*/ 105901 h 1221598"/>
                    <a:gd name="connsiteX81" fmla="*/ 707725 w 988112"/>
                    <a:gd name="connsiteY81" fmla="*/ 31266 h 1221598"/>
                    <a:gd name="connsiteX82" fmla="*/ 707725 w 988112"/>
                    <a:gd name="connsiteY82" fmla="*/ 31266 h 1221598"/>
                    <a:gd name="connsiteX83" fmla="*/ 775200 w 988112"/>
                    <a:gd name="connsiteY83" fmla="*/ 0 h 1221598"/>
                    <a:gd name="connsiteX84" fmla="*/ 775200 w 988112"/>
                    <a:gd name="connsiteY84" fmla="*/ 0 h 1221598"/>
                    <a:gd name="connsiteX85" fmla="*/ 786798 w 988112"/>
                    <a:gd name="connsiteY85" fmla="*/ 12406 h 1221598"/>
                    <a:gd name="connsiteX86" fmla="*/ 786798 w 988112"/>
                    <a:gd name="connsiteY86" fmla="*/ 12406 h 1221598"/>
                    <a:gd name="connsiteX87" fmla="*/ 890380 w 988112"/>
                    <a:gd name="connsiteY87" fmla="*/ 77359 h 1221598"/>
                    <a:gd name="connsiteX88" fmla="*/ 890380 w 988112"/>
                    <a:gd name="connsiteY88" fmla="*/ 77359 h 1221598"/>
                    <a:gd name="connsiteX89" fmla="*/ 948878 w 988112"/>
                    <a:gd name="connsiteY89" fmla="*/ 168636 h 1221598"/>
                    <a:gd name="connsiteX90" fmla="*/ 948878 w 988112"/>
                    <a:gd name="connsiteY90" fmla="*/ 168636 h 1221598"/>
                    <a:gd name="connsiteX91" fmla="*/ 948777 w 988112"/>
                    <a:gd name="connsiteY91" fmla="*/ 171560 h 1221598"/>
                    <a:gd name="connsiteX92" fmla="*/ 948777 w 988112"/>
                    <a:gd name="connsiteY92" fmla="*/ 171560 h 1221598"/>
                    <a:gd name="connsiteX93" fmla="*/ 948676 w 988112"/>
                    <a:gd name="connsiteY93" fmla="*/ 173678 h 1221598"/>
                    <a:gd name="connsiteX94" fmla="*/ 948676 w 988112"/>
                    <a:gd name="connsiteY94" fmla="*/ 173678 h 1221598"/>
                    <a:gd name="connsiteX95" fmla="*/ 966629 w 988112"/>
                    <a:gd name="connsiteY95" fmla="*/ 254063 h 1221598"/>
                    <a:gd name="connsiteX96" fmla="*/ 966629 w 988112"/>
                    <a:gd name="connsiteY96" fmla="*/ 254063 h 1221598"/>
                    <a:gd name="connsiteX97" fmla="*/ 961284 w 988112"/>
                    <a:gd name="connsiteY97" fmla="*/ 277462 h 1221598"/>
                    <a:gd name="connsiteX98" fmla="*/ 961284 w 988112"/>
                    <a:gd name="connsiteY98" fmla="*/ 277462 h 1221598"/>
                    <a:gd name="connsiteX99" fmla="*/ 944541 w 988112"/>
                    <a:gd name="connsiteY99" fmla="*/ 353408 h 1221598"/>
                    <a:gd name="connsiteX100" fmla="*/ 944541 w 988112"/>
                    <a:gd name="connsiteY100" fmla="*/ 353408 h 1221598"/>
                    <a:gd name="connsiteX101" fmla="*/ 937784 w 988112"/>
                    <a:gd name="connsiteY101" fmla="*/ 453561 h 1221598"/>
                    <a:gd name="connsiteX102" fmla="*/ 937784 w 988112"/>
                    <a:gd name="connsiteY102" fmla="*/ 453561 h 1221598"/>
                    <a:gd name="connsiteX103" fmla="*/ 955232 w 988112"/>
                    <a:gd name="connsiteY103" fmla="*/ 494409 h 1221598"/>
                    <a:gd name="connsiteX104" fmla="*/ 955232 w 988112"/>
                    <a:gd name="connsiteY104" fmla="*/ 494409 h 1221598"/>
                    <a:gd name="connsiteX105" fmla="*/ 988112 w 988112"/>
                    <a:gd name="connsiteY105" fmla="*/ 527188 h 1221598"/>
                    <a:gd name="connsiteX106" fmla="*/ 988112 w 988112"/>
                    <a:gd name="connsiteY106" fmla="*/ 527188 h 1221598"/>
                    <a:gd name="connsiteX107" fmla="*/ 958762 w 988112"/>
                    <a:gd name="connsiteY107" fmla="*/ 558353 h 1221598"/>
                    <a:gd name="connsiteX108" fmla="*/ 958762 w 988112"/>
                    <a:gd name="connsiteY108" fmla="*/ 558353 h 1221598"/>
                    <a:gd name="connsiteX109" fmla="*/ 951702 w 988112"/>
                    <a:gd name="connsiteY109" fmla="*/ 570456 h 1221598"/>
                    <a:gd name="connsiteX110" fmla="*/ 951702 w 988112"/>
                    <a:gd name="connsiteY110" fmla="*/ 570456 h 1221598"/>
                    <a:gd name="connsiteX111" fmla="*/ 985288 w 988112"/>
                    <a:gd name="connsiteY111" fmla="*/ 687755 h 1221598"/>
                    <a:gd name="connsiteX112" fmla="*/ 985288 w 988112"/>
                    <a:gd name="connsiteY112" fmla="*/ 687755 h 1221598"/>
                    <a:gd name="connsiteX113" fmla="*/ 985692 w 988112"/>
                    <a:gd name="connsiteY113" fmla="*/ 702782 h 1221598"/>
                    <a:gd name="connsiteX114" fmla="*/ 985692 w 988112"/>
                    <a:gd name="connsiteY114" fmla="*/ 702782 h 1221598"/>
                    <a:gd name="connsiteX115" fmla="*/ 974698 w 988112"/>
                    <a:gd name="connsiteY115" fmla="*/ 730014 h 1221598"/>
                    <a:gd name="connsiteX116" fmla="*/ 974698 w 988112"/>
                    <a:gd name="connsiteY116" fmla="*/ 730014 h 1221598"/>
                    <a:gd name="connsiteX117" fmla="*/ 965923 w 988112"/>
                    <a:gd name="connsiteY117" fmla="*/ 726686 h 1221598"/>
                    <a:gd name="connsiteX118" fmla="*/ 965923 w 988112"/>
                    <a:gd name="connsiteY118" fmla="*/ 726686 h 1221598"/>
                    <a:gd name="connsiteX119" fmla="*/ 959670 w 988112"/>
                    <a:gd name="connsiteY119" fmla="*/ 724871 h 1221598"/>
                    <a:gd name="connsiteX120" fmla="*/ 959670 w 988112"/>
                    <a:gd name="connsiteY120" fmla="*/ 724871 h 1221598"/>
                    <a:gd name="connsiteX121" fmla="*/ 935968 w 988112"/>
                    <a:gd name="connsiteY121" fmla="*/ 741714 h 1221598"/>
                    <a:gd name="connsiteX122" fmla="*/ 935968 w 988112"/>
                    <a:gd name="connsiteY122" fmla="*/ 741714 h 1221598"/>
                    <a:gd name="connsiteX123" fmla="*/ 941414 w 988112"/>
                    <a:gd name="connsiteY123" fmla="*/ 747059 h 1221598"/>
                    <a:gd name="connsiteX124" fmla="*/ 941414 w 988112"/>
                    <a:gd name="connsiteY124" fmla="*/ 747059 h 1221598"/>
                    <a:gd name="connsiteX125" fmla="*/ 940608 w 988112"/>
                    <a:gd name="connsiteY125" fmla="*/ 751699 h 1221598"/>
                    <a:gd name="connsiteX126" fmla="*/ 908736 w 988112"/>
                    <a:gd name="connsiteY126" fmla="*/ 832688 h 1221598"/>
                    <a:gd name="connsiteX127" fmla="*/ 908736 w 988112"/>
                    <a:gd name="connsiteY127" fmla="*/ 832688 h 1221598"/>
                    <a:gd name="connsiteX128" fmla="*/ 844691 w 988112"/>
                    <a:gd name="connsiteY128" fmla="*/ 886849 h 1221598"/>
                    <a:gd name="connsiteX129" fmla="*/ 844691 w 988112"/>
                    <a:gd name="connsiteY129" fmla="*/ 886849 h 1221598"/>
                    <a:gd name="connsiteX130" fmla="*/ 833294 w 988112"/>
                    <a:gd name="connsiteY130" fmla="*/ 886345 h 1221598"/>
                    <a:gd name="connsiteX131" fmla="*/ 833294 w 988112"/>
                    <a:gd name="connsiteY131" fmla="*/ 886345 h 1221598"/>
                    <a:gd name="connsiteX132" fmla="*/ 822805 w 988112"/>
                    <a:gd name="connsiteY132" fmla="*/ 885740 h 1221598"/>
                    <a:gd name="connsiteX133" fmla="*/ 822805 w 988112"/>
                    <a:gd name="connsiteY133" fmla="*/ 885740 h 1221598"/>
                    <a:gd name="connsiteX134" fmla="*/ 797086 w 988112"/>
                    <a:gd name="connsiteY134" fmla="*/ 906618 h 1221598"/>
                    <a:gd name="connsiteX135" fmla="*/ 797086 w 988112"/>
                    <a:gd name="connsiteY135" fmla="*/ 906618 h 1221598"/>
                    <a:gd name="connsiteX136" fmla="*/ 800919 w 988112"/>
                    <a:gd name="connsiteY136" fmla="*/ 928807 h 1221598"/>
                    <a:gd name="connsiteX137" fmla="*/ 800919 w 988112"/>
                    <a:gd name="connsiteY137" fmla="*/ 928807 h 1221598"/>
                    <a:gd name="connsiteX138" fmla="*/ 813122 w 988112"/>
                    <a:gd name="connsiteY138" fmla="*/ 976714 h 1221598"/>
                    <a:gd name="connsiteX139" fmla="*/ 813122 w 988112"/>
                    <a:gd name="connsiteY139" fmla="*/ 976714 h 1221598"/>
                    <a:gd name="connsiteX140" fmla="*/ 801120 w 988112"/>
                    <a:gd name="connsiteY140" fmla="*/ 1012822 h 1221598"/>
                    <a:gd name="connsiteX141" fmla="*/ 801120 w 988112"/>
                    <a:gd name="connsiteY141" fmla="*/ 1012822 h 1221598"/>
                    <a:gd name="connsiteX142" fmla="*/ 765921 w 988112"/>
                    <a:gd name="connsiteY142" fmla="*/ 1064461 h 1221598"/>
                    <a:gd name="connsiteX143" fmla="*/ 765921 w 988112"/>
                    <a:gd name="connsiteY143" fmla="*/ 1064461 h 1221598"/>
                    <a:gd name="connsiteX144" fmla="*/ 726485 w 988112"/>
                    <a:gd name="connsiteY144" fmla="*/ 1123564 h 1221598"/>
                    <a:gd name="connsiteX145" fmla="*/ 726485 w 988112"/>
                    <a:gd name="connsiteY145" fmla="*/ 1123564 h 1221598"/>
                    <a:gd name="connsiteX146" fmla="*/ 675753 w 988112"/>
                    <a:gd name="connsiteY146" fmla="*/ 1159672 h 1221598"/>
                    <a:gd name="connsiteX147" fmla="*/ 675753 w 988112"/>
                    <a:gd name="connsiteY147" fmla="*/ 1159672 h 1221598"/>
                    <a:gd name="connsiteX148" fmla="*/ 657397 w 988112"/>
                    <a:gd name="connsiteY148" fmla="*/ 1154427 h 1221598"/>
                    <a:gd name="connsiteX149" fmla="*/ 657397 w 988112"/>
                    <a:gd name="connsiteY149" fmla="*/ 1154427 h 1221598"/>
                    <a:gd name="connsiteX150" fmla="*/ 608682 w 988112"/>
                    <a:gd name="connsiteY150" fmla="*/ 1143232 h 1221598"/>
                    <a:gd name="connsiteX151" fmla="*/ 608682 w 988112"/>
                    <a:gd name="connsiteY151" fmla="*/ 1143232 h 1221598"/>
                    <a:gd name="connsiteX152" fmla="*/ 574794 w 988112"/>
                    <a:gd name="connsiteY152" fmla="*/ 1147670 h 1221598"/>
                    <a:gd name="connsiteX153" fmla="*/ 574794 w 988112"/>
                    <a:gd name="connsiteY153" fmla="*/ 1147670 h 1221598"/>
                    <a:gd name="connsiteX154" fmla="*/ 503688 w 988112"/>
                    <a:gd name="connsiteY154" fmla="*/ 1190131 h 1221598"/>
                    <a:gd name="connsiteX155" fmla="*/ 503688 w 988112"/>
                    <a:gd name="connsiteY155" fmla="*/ 1190131 h 1221598"/>
                    <a:gd name="connsiteX156" fmla="*/ 443274 w 988112"/>
                    <a:gd name="connsiteY156" fmla="*/ 1208992 h 1221598"/>
                    <a:gd name="connsiteX157" fmla="*/ 443274 w 988112"/>
                    <a:gd name="connsiteY157" fmla="*/ 1208992 h 1221598"/>
                    <a:gd name="connsiteX158" fmla="*/ 411302 w 988112"/>
                    <a:gd name="connsiteY158" fmla="*/ 1221599 h 1221598"/>
                    <a:gd name="connsiteX159" fmla="*/ 411302 w 988112"/>
                    <a:gd name="connsiteY159" fmla="*/ 1221599 h 1221598"/>
                    <a:gd name="connsiteX160" fmla="*/ 377615 w 988112"/>
                    <a:gd name="connsiteY160" fmla="*/ 1190232 h 1221598"/>
                    <a:gd name="connsiteX161" fmla="*/ 377615 w 988112"/>
                    <a:gd name="connsiteY161" fmla="*/ 1190232 h 1221598"/>
                    <a:gd name="connsiteX162" fmla="*/ 312158 w 988112"/>
                    <a:gd name="connsiteY162" fmla="*/ 1060931 h 1221598"/>
                    <a:gd name="connsiteX163" fmla="*/ 332935 w 988112"/>
                    <a:gd name="connsiteY163" fmla="*/ 1103393 h 1221598"/>
                    <a:gd name="connsiteX164" fmla="*/ 332935 w 988112"/>
                    <a:gd name="connsiteY164" fmla="*/ 1103393 h 1221598"/>
                    <a:gd name="connsiteX165" fmla="*/ 391735 w 988112"/>
                    <a:gd name="connsiteY165" fmla="*/ 1137886 h 1221598"/>
                    <a:gd name="connsiteX166" fmla="*/ 391735 w 988112"/>
                    <a:gd name="connsiteY166" fmla="*/ 1137886 h 1221598"/>
                    <a:gd name="connsiteX167" fmla="*/ 378321 w 988112"/>
                    <a:gd name="connsiteY167" fmla="*/ 1171270 h 1221598"/>
                    <a:gd name="connsiteX168" fmla="*/ 378321 w 988112"/>
                    <a:gd name="connsiteY168" fmla="*/ 1171270 h 1221598"/>
                    <a:gd name="connsiteX169" fmla="*/ 382658 w 988112"/>
                    <a:gd name="connsiteY169" fmla="*/ 1188013 h 1221598"/>
                    <a:gd name="connsiteX170" fmla="*/ 382658 w 988112"/>
                    <a:gd name="connsiteY170" fmla="*/ 1188013 h 1221598"/>
                    <a:gd name="connsiteX171" fmla="*/ 411504 w 988112"/>
                    <a:gd name="connsiteY171" fmla="*/ 1216153 h 1221598"/>
                    <a:gd name="connsiteX172" fmla="*/ 411504 w 988112"/>
                    <a:gd name="connsiteY172" fmla="*/ 1216153 h 1221598"/>
                    <a:gd name="connsiteX173" fmla="*/ 440450 w 988112"/>
                    <a:gd name="connsiteY173" fmla="*/ 1204453 h 1221598"/>
                    <a:gd name="connsiteX174" fmla="*/ 440450 w 988112"/>
                    <a:gd name="connsiteY174" fmla="*/ 1204453 h 1221598"/>
                    <a:gd name="connsiteX175" fmla="*/ 503588 w 988112"/>
                    <a:gd name="connsiteY175" fmla="*/ 1184584 h 1221598"/>
                    <a:gd name="connsiteX176" fmla="*/ 503588 w 988112"/>
                    <a:gd name="connsiteY176" fmla="*/ 1184584 h 1221598"/>
                    <a:gd name="connsiteX177" fmla="*/ 573684 w 988112"/>
                    <a:gd name="connsiteY177" fmla="*/ 1142425 h 1221598"/>
                    <a:gd name="connsiteX178" fmla="*/ 573684 w 988112"/>
                    <a:gd name="connsiteY178" fmla="*/ 1142425 h 1221598"/>
                    <a:gd name="connsiteX179" fmla="*/ 608985 w 988112"/>
                    <a:gd name="connsiteY179" fmla="*/ 1137786 h 1221598"/>
                    <a:gd name="connsiteX180" fmla="*/ 608985 w 988112"/>
                    <a:gd name="connsiteY180" fmla="*/ 1137786 h 1221598"/>
                    <a:gd name="connsiteX181" fmla="*/ 660524 w 988112"/>
                    <a:gd name="connsiteY181" fmla="*/ 1149687 h 1221598"/>
                    <a:gd name="connsiteX182" fmla="*/ 660524 w 988112"/>
                    <a:gd name="connsiteY182" fmla="*/ 1149687 h 1221598"/>
                    <a:gd name="connsiteX183" fmla="*/ 675955 w 988112"/>
                    <a:gd name="connsiteY183" fmla="*/ 1154125 h 1221598"/>
                    <a:gd name="connsiteX184" fmla="*/ 675955 w 988112"/>
                    <a:gd name="connsiteY184" fmla="*/ 1154125 h 1221598"/>
                    <a:gd name="connsiteX185" fmla="*/ 722148 w 988112"/>
                    <a:gd name="connsiteY185" fmla="*/ 1120438 h 1221598"/>
                    <a:gd name="connsiteX186" fmla="*/ 722148 w 988112"/>
                    <a:gd name="connsiteY186" fmla="*/ 1120438 h 1221598"/>
                    <a:gd name="connsiteX187" fmla="*/ 763904 w 988112"/>
                    <a:gd name="connsiteY187" fmla="*/ 1059519 h 1221598"/>
                    <a:gd name="connsiteX188" fmla="*/ 763904 w 988112"/>
                    <a:gd name="connsiteY188" fmla="*/ 1059519 h 1221598"/>
                    <a:gd name="connsiteX189" fmla="*/ 795775 w 988112"/>
                    <a:gd name="connsiteY189" fmla="*/ 1012317 h 1221598"/>
                    <a:gd name="connsiteX190" fmla="*/ 795775 w 988112"/>
                    <a:gd name="connsiteY190" fmla="*/ 1012317 h 1221598"/>
                    <a:gd name="connsiteX191" fmla="*/ 808180 w 988112"/>
                    <a:gd name="connsiteY191" fmla="*/ 976008 h 1221598"/>
                    <a:gd name="connsiteX192" fmla="*/ 808180 w 988112"/>
                    <a:gd name="connsiteY192" fmla="*/ 976008 h 1221598"/>
                    <a:gd name="connsiteX193" fmla="*/ 795775 w 988112"/>
                    <a:gd name="connsiteY193" fmla="*/ 930319 h 1221598"/>
                    <a:gd name="connsiteX194" fmla="*/ 795775 w 988112"/>
                    <a:gd name="connsiteY194" fmla="*/ 930319 h 1221598"/>
                    <a:gd name="connsiteX195" fmla="*/ 791740 w 988112"/>
                    <a:gd name="connsiteY195" fmla="*/ 906618 h 1221598"/>
                    <a:gd name="connsiteX196" fmla="*/ 791740 w 988112"/>
                    <a:gd name="connsiteY196" fmla="*/ 906618 h 1221598"/>
                    <a:gd name="connsiteX197" fmla="*/ 823007 w 988112"/>
                    <a:gd name="connsiteY197" fmla="*/ 880193 h 1221598"/>
                    <a:gd name="connsiteX198" fmla="*/ 823007 w 988112"/>
                    <a:gd name="connsiteY198" fmla="*/ 880193 h 1221598"/>
                    <a:gd name="connsiteX199" fmla="*/ 834000 w 988112"/>
                    <a:gd name="connsiteY199" fmla="*/ 880899 h 1221598"/>
                    <a:gd name="connsiteX200" fmla="*/ 834000 w 988112"/>
                    <a:gd name="connsiteY200" fmla="*/ 880899 h 1221598"/>
                    <a:gd name="connsiteX201" fmla="*/ 844792 w 988112"/>
                    <a:gd name="connsiteY201" fmla="*/ 881504 h 1221598"/>
                    <a:gd name="connsiteX202" fmla="*/ 844792 w 988112"/>
                    <a:gd name="connsiteY202" fmla="*/ 881504 h 1221598"/>
                    <a:gd name="connsiteX203" fmla="*/ 903290 w 988112"/>
                    <a:gd name="connsiteY203" fmla="*/ 832083 h 1221598"/>
                    <a:gd name="connsiteX204" fmla="*/ 903290 w 988112"/>
                    <a:gd name="connsiteY204" fmla="*/ 832083 h 1221598"/>
                    <a:gd name="connsiteX205" fmla="*/ 934758 w 988112"/>
                    <a:gd name="connsiteY205" fmla="*/ 748471 h 1221598"/>
                    <a:gd name="connsiteX206" fmla="*/ 934758 w 988112"/>
                    <a:gd name="connsiteY206" fmla="*/ 748471 h 1221598"/>
                    <a:gd name="connsiteX207" fmla="*/ 930421 w 988112"/>
                    <a:gd name="connsiteY207" fmla="*/ 741714 h 1221598"/>
                    <a:gd name="connsiteX208" fmla="*/ 930421 w 988112"/>
                    <a:gd name="connsiteY208" fmla="*/ 741714 h 1221598"/>
                    <a:gd name="connsiteX209" fmla="*/ 930421 w 988112"/>
                    <a:gd name="connsiteY209" fmla="*/ 741210 h 1221598"/>
                    <a:gd name="connsiteX210" fmla="*/ 930623 w 988112"/>
                    <a:gd name="connsiteY210" fmla="*/ 740907 h 1221598"/>
                    <a:gd name="connsiteX211" fmla="*/ 930623 w 988112"/>
                    <a:gd name="connsiteY211" fmla="*/ 740907 h 1221598"/>
                    <a:gd name="connsiteX212" fmla="*/ 930522 w 988112"/>
                    <a:gd name="connsiteY212" fmla="*/ 740907 h 1221598"/>
                    <a:gd name="connsiteX213" fmla="*/ 959670 w 988112"/>
                    <a:gd name="connsiteY213" fmla="*/ 719222 h 1221598"/>
                    <a:gd name="connsiteX214" fmla="*/ 959670 w 988112"/>
                    <a:gd name="connsiteY214" fmla="*/ 719222 h 1221598"/>
                    <a:gd name="connsiteX215" fmla="*/ 969151 w 988112"/>
                    <a:gd name="connsiteY215" fmla="*/ 722047 h 1221598"/>
                    <a:gd name="connsiteX216" fmla="*/ 969151 w 988112"/>
                    <a:gd name="connsiteY216" fmla="*/ 722047 h 1221598"/>
                    <a:gd name="connsiteX217" fmla="*/ 974698 w 988112"/>
                    <a:gd name="connsiteY217" fmla="*/ 724366 h 1221598"/>
                    <a:gd name="connsiteX218" fmla="*/ 974698 w 988112"/>
                    <a:gd name="connsiteY218" fmla="*/ 724366 h 1221598"/>
                    <a:gd name="connsiteX219" fmla="*/ 980144 w 988112"/>
                    <a:gd name="connsiteY219" fmla="*/ 702682 h 1221598"/>
                    <a:gd name="connsiteX220" fmla="*/ 980144 w 988112"/>
                    <a:gd name="connsiteY220" fmla="*/ 702682 h 1221598"/>
                    <a:gd name="connsiteX221" fmla="*/ 979741 w 988112"/>
                    <a:gd name="connsiteY221" fmla="*/ 687956 h 1221598"/>
                    <a:gd name="connsiteX222" fmla="*/ 979741 w 988112"/>
                    <a:gd name="connsiteY222" fmla="*/ 687956 h 1221598"/>
                    <a:gd name="connsiteX223" fmla="*/ 946155 w 988112"/>
                    <a:gd name="connsiteY223" fmla="*/ 570254 h 1221598"/>
                    <a:gd name="connsiteX224" fmla="*/ 946155 w 988112"/>
                    <a:gd name="connsiteY224" fmla="*/ 570254 h 1221598"/>
                    <a:gd name="connsiteX225" fmla="*/ 957854 w 988112"/>
                    <a:gd name="connsiteY225" fmla="*/ 552604 h 1221598"/>
                    <a:gd name="connsiteX226" fmla="*/ 957854 w 988112"/>
                    <a:gd name="connsiteY226" fmla="*/ 552604 h 1221598"/>
                    <a:gd name="connsiteX227" fmla="*/ 982565 w 988112"/>
                    <a:gd name="connsiteY227" fmla="*/ 526986 h 1221598"/>
                    <a:gd name="connsiteX228" fmla="*/ 982565 w 988112"/>
                    <a:gd name="connsiteY228" fmla="*/ 526986 h 1221598"/>
                    <a:gd name="connsiteX229" fmla="*/ 953921 w 988112"/>
                    <a:gd name="connsiteY229" fmla="*/ 499653 h 1221598"/>
                    <a:gd name="connsiteX230" fmla="*/ 953921 w 988112"/>
                    <a:gd name="connsiteY230" fmla="*/ 499653 h 1221598"/>
                    <a:gd name="connsiteX231" fmla="*/ 932337 w 988112"/>
                    <a:gd name="connsiteY231" fmla="*/ 453359 h 1221598"/>
                    <a:gd name="connsiteX232" fmla="*/ 932337 w 988112"/>
                    <a:gd name="connsiteY232" fmla="*/ 453359 h 1221598"/>
                    <a:gd name="connsiteX233" fmla="*/ 939095 w 988112"/>
                    <a:gd name="connsiteY233" fmla="*/ 353106 h 1221598"/>
                    <a:gd name="connsiteX234" fmla="*/ 939095 w 988112"/>
                    <a:gd name="connsiteY234" fmla="*/ 353106 h 1221598"/>
                    <a:gd name="connsiteX235" fmla="*/ 956543 w 988112"/>
                    <a:gd name="connsiteY235" fmla="*/ 274638 h 1221598"/>
                    <a:gd name="connsiteX236" fmla="*/ 956543 w 988112"/>
                    <a:gd name="connsiteY236" fmla="*/ 274638 h 1221598"/>
                    <a:gd name="connsiteX237" fmla="*/ 961183 w 988112"/>
                    <a:gd name="connsiteY237" fmla="*/ 253760 h 1221598"/>
                    <a:gd name="connsiteX238" fmla="*/ 961183 w 988112"/>
                    <a:gd name="connsiteY238" fmla="*/ 253760 h 1221598"/>
                    <a:gd name="connsiteX239" fmla="*/ 943230 w 988112"/>
                    <a:gd name="connsiteY239" fmla="*/ 173376 h 1221598"/>
                    <a:gd name="connsiteX240" fmla="*/ 943230 w 988112"/>
                    <a:gd name="connsiteY240" fmla="*/ 173376 h 1221598"/>
                    <a:gd name="connsiteX241" fmla="*/ 943331 w 988112"/>
                    <a:gd name="connsiteY241" fmla="*/ 170552 h 1221598"/>
                    <a:gd name="connsiteX242" fmla="*/ 943331 w 988112"/>
                    <a:gd name="connsiteY242" fmla="*/ 170552 h 1221598"/>
                    <a:gd name="connsiteX243" fmla="*/ 943432 w 988112"/>
                    <a:gd name="connsiteY243" fmla="*/ 168232 h 1221598"/>
                    <a:gd name="connsiteX244" fmla="*/ 943432 w 988112"/>
                    <a:gd name="connsiteY244" fmla="*/ 168232 h 1221598"/>
                    <a:gd name="connsiteX245" fmla="*/ 885942 w 988112"/>
                    <a:gd name="connsiteY245" fmla="*/ 80183 h 1221598"/>
                    <a:gd name="connsiteX246" fmla="*/ 885942 w 988112"/>
                    <a:gd name="connsiteY246" fmla="*/ 80183 h 1221598"/>
                    <a:gd name="connsiteX247" fmla="*/ 783672 w 988112"/>
                    <a:gd name="connsiteY247" fmla="*/ 16440 h 1221598"/>
                    <a:gd name="connsiteX248" fmla="*/ 783672 w 988112"/>
                    <a:gd name="connsiteY248" fmla="*/ 16440 h 1221598"/>
                    <a:gd name="connsiteX249" fmla="*/ 773485 w 988112"/>
                    <a:gd name="connsiteY249" fmla="*/ 3732 h 1221598"/>
                    <a:gd name="connsiteX250" fmla="*/ 773485 w 988112"/>
                    <a:gd name="connsiteY250" fmla="*/ 3732 h 1221598"/>
                    <a:gd name="connsiteX251" fmla="*/ 712466 w 988112"/>
                    <a:gd name="connsiteY251" fmla="*/ 33888 h 1221598"/>
                    <a:gd name="connsiteX252" fmla="*/ 712466 w 988112"/>
                    <a:gd name="connsiteY252" fmla="*/ 33888 h 1221598"/>
                    <a:gd name="connsiteX253" fmla="*/ 597386 w 988112"/>
                    <a:gd name="connsiteY253" fmla="*/ 111146 h 1221598"/>
                    <a:gd name="connsiteX254" fmla="*/ 597386 w 988112"/>
                    <a:gd name="connsiteY254" fmla="*/ 111146 h 1221598"/>
                    <a:gd name="connsiteX255" fmla="*/ 460723 w 988112"/>
                    <a:gd name="connsiteY255" fmla="*/ 138983 h 1221598"/>
                    <a:gd name="connsiteX256" fmla="*/ 460723 w 988112"/>
                    <a:gd name="connsiteY256" fmla="*/ 138983 h 1221598"/>
                    <a:gd name="connsiteX257" fmla="*/ 359057 w 988112"/>
                    <a:gd name="connsiteY257" fmla="*/ 157037 h 1221598"/>
                    <a:gd name="connsiteX258" fmla="*/ 359057 w 988112"/>
                    <a:gd name="connsiteY258" fmla="*/ 157037 h 1221598"/>
                    <a:gd name="connsiteX259" fmla="*/ 251138 w 988112"/>
                    <a:gd name="connsiteY259" fmla="*/ 209282 h 1221598"/>
                    <a:gd name="connsiteX260" fmla="*/ 251138 w 988112"/>
                    <a:gd name="connsiteY260" fmla="*/ 209282 h 1221598"/>
                    <a:gd name="connsiteX261" fmla="*/ 230059 w 988112"/>
                    <a:gd name="connsiteY261" fmla="*/ 220679 h 1221598"/>
                    <a:gd name="connsiteX262" fmla="*/ 230059 w 988112"/>
                    <a:gd name="connsiteY262" fmla="*/ 220679 h 1221598"/>
                    <a:gd name="connsiteX263" fmla="*/ 212611 w 988112"/>
                    <a:gd name="connsiteY263" fmla="*/ 218258 h 1221598"/>
                    <a:gd name="connsiteX264" fmla="*/ 212611 w 988112"/>
                    <a:gd name="connsiteY264" fmla="*/ 218258 h 1221598"/>
                    <a:gd name="connsiteX265" fmla="*/ 193649 w 988112"/>
                    <a:gd name="connsiteY265" fmla="*/ 222292 h 1221598"/>
                    <a:gd name="connsiteX266" fmla="*/ 193649 w 988112"/>
                    <a:gd name="connsiteY266" fmla="*/ 222292 h 1221598"/>
                    <a:gd name="connsiteX267" fmla="*/ 140597 w 988112"/>
                    <a:gd name="connsiteY267" fmla="*/ 269998 h 1221598"/>
                    <a:gd name="connsiteX268" fmla="*/ 140597 w 988112"/>
                    <a:gd name="connsiteY268" fmla="*/ 269998 h 1221598"/>
                    <a:gd name="connsiteX269" fmla="*/ 68181 w 988112"/>
                    <a:gd name="connsiteY269" fmla="*/ 314174 h 1221598"/>
                    <a:gd name="connsiteX270" fmla="*/ 68181 w 988112"/>
                    <a:gd name="connsiteY270" fmla="*/ 314174 h 1221598"/>
                    <a:gd name="connsiteX271" fmla="*/ 23198 w 988112"/>
                    <a:gd name="connsiteY271" fmla="*/ 400106 h 1221598"/>
                    <a:gd name="connsiteX272" fmla="*/ 23198 w 988112"/>
                    <a:gd name="connsiteY272" fmla="*/ 400106 h 1221598"/>
                    <a:gd name="connsiteX273" fmla="*/ 5346 w 988112"/>
                    <a:gd name="connsiteY273" fmla="*/ 440147 h 1221598"/>
                    <a:gd name="connsiteX274" fmla="*/ 5346 w 988112"/>
                    <a:gd name="connsiteY274" fmla="*/ 440147 h 1221598"/>
                    <a:gd name="connsiteX275" fmla="*/ 40142 w 988112"/>
                    <a:gd name="connsiteY275" fmla="*/ 490778 h 1221598"/>
                    <a:gd name="connsiteX276" fmla="*/ 40142 w 988112"/>
                    <a:gd name="connsiteY276" fmla="*/ 490778 h 1221598"/>
                    <a:gd name="connsiteX277" fmla="*/ 126074 w 988112"/>
                    <a:gd name="connsiteY277" fmla="*/ 509134 h 1221598"/>
                    <a:gd name="connsiteX278" fmla="*/ 126074 w 988112"/>
                    <a:gd name="connsiteY278" fmla="*/ 509134 h 1221598"/>
                    <a:gd name="connsiteX279" fmla="*/ 170956 w 988112"/>
                    <a:gd name="connsiteY279" fmla="*/ 504696 h 1221598"/>
                    <a:gd name="connsiteX280" fmla="*/ 170956 w 988112"/>
                    <a:gd name="connsiteY280" fmla="*/ 504696 h 1221598"/>
                    <a:gd name="connsiteX281" fmla="*/ 195969 w 988112"/>
                    <a:gd name="connsiteY281" fmla="*/ 501973 h 1221598"/>
                    <a:gd name="connsiteX282" fmla="*/ 195969 w 988112"/>
                    <a:gd name="connsiteY282" fmla="*/ 501973 h 1221598"/>
                    <a:gd name="connsiteX283" fmla="*/ 230362 w 988112"/>
                    <a:gd name="connsiteY283" fmla="*/ 515992 h 1221598"/>
                    <a:gd name="connsiteX284" fmla="*/ 230362 w 988112"/>
                    <a:gd name="connsiteY284" fmla="*/ 515992 h 1221598"/>
                    <a:gd name="connsiteX285" fmla="*/ 218460 w 988112"/>
                    <a:gd name="connsiteY285" fmla="*/ 527692 h 1221598"/>
                    <a:gd name="connsiteX286" fmla="*/ 218460 w 988112"/>
                    <a:gd name="connsiteY286" fmla="*/ 527692 h 1221598"/>
                    <a:gd name="connsiteX287" fmla="*/ 140698 w 988112"/>
                    <a:gd name="connsiteY287" fmla="*/ 536164 h 1221598"/>
                    <a:gd name="connsiteX288" fmla="*/ 140698 w 988112"/>
                    <a:gd name="connsiteY288" fmla="*/ 536164 h 1221598"/>
                    <a:gd name="connsiteX289" fmla="*/ 139791 w 988112"/>
                    <a:gd name="connsiteY289" fmla="*/ 558555 h 1221598"/>
                    <a:gd name="connsiteX290" fmla="*/ 139791 w 988112"/>
                    <a:gd name="connsiteY290" fmla="*/ 558555 h 1221598"/>
                    <a:gd name="connsiteX291" fmla="*/ 144027 w 988112"/>
                    <a:gd name="connsiteY291" fmla="*/ 590930 h 1221598"/>
                    <a:gd name="connsiteX292" fmla="*/ 144027 w 988112"/>
                    <a:gd name="connsiteY292" fmla="*/ 590930 h 1221598"/>
                    <a:gd name="connsiteX293" fmla="*/ 145640 w 988112"/>
                    <a:gd name="connsiteY293" fmla="*/ 597486 h 1221598"/>
                    <a:gd name="connsiteX294" fmla="*/ 145640 w 988112"/>
                    <a:gd name="connsiteY294" fmla="*/ 597486 h 1221598"/>
                    <a:gd name="connsiteX295" fmla="*/ 131520 w 988112"/>
                    <a:gd name="connsiteY295" fmla="*/ 628651 h 1221598"/>
                    <a:gd name="connsiteX296" fmla="*/ 131520 w 988112"/>
                    <a:gd name="connsiteY296" fmla="*/ 628651 h 1221598"/>
                    <a:gd name="connsiteX297" fmla="*/ 131823 w 988112"/>
                    <a:gd name="connsiteY297" fmla="*/ 632181 h 1221598"/>
                    <a:gd name="connsiteX298" fmla="*/ 131823 w 988112"/>
                    <a:gd name="connsiteY298" fmla="*/ 632181 h 1221598"/>
                    <a:gd name="connsiteX299" fmla="*/ 186589 w 988112"/>
                    <a:gd name="connsiteY299" fmla="*/ 803338 h 1221598"/>
                    <a:gd name="connsiteX300" fmla="*/ 186589 w 988112"/>
                    <a:gd name="connsiteY300" fmla="*/ 803338 h 1221598"/>
                    <a:gd name="connsiteX301" fmla="*/ 199801 w 988112"/>
                    <a:gd name="connsiteY301" fmla="*/ 863551 h 1221598"/>
                    <a:gd name="connsiteX302" fmla="*/ 199801 w 988112"/>
                    <a:gd name="connsiteY302" fmla="*/ 863551 h 1221598"/>
                    <a:gd name="connsiteX303" fmla="*/ 189917 w 988112"/>
                    <a:gd name="connsiteY303" fmla="*/ 875452 h 1221598"/>
                    <a:gd name="connsiteX304" fmla="*/ 189917 w 988112"/>
                    <a:gd name="connsiteY304" fmla="*/ 875452 h 1221598"/>
                    <a:gd name="connsiteX305" fmla="*/ 164703 w 988112"/>
                    <a:gd name="connsiteY305" fmla="*/ 894918 h 1221598"/>
                    <a:gd name="connsiteX306" fmla="*/ 164703 w 988112"/>
                    <a:gd name="connsiteY306" fmla="*/ 894918 h 1221598"/>
                    <a:gd name="connsiteX307" fmla="*/ 169947 w 988112"/>
                    <a:gd name="connsiteY307" fmla="*/ 904096 h 1221598"/>
                    <a:gd name="connsiteX308" fmla="*/ 169947 w 988112"/>
                    <a:gd name="connsiteY308" fmla="*/ 904096 h 1221598"/>
                    <a:gd name="connsiteX309" fmla="*/ 187497 w 988112"/>
                    <a:gd name="connsiteY309" fmla="*/ 945549 h 1221598"/>
                    <a:gd name="connsiteX310" fmla="*/ 187497 w 988112"/>
                    <a:gd name="connsiteY310" fmla="*/ 945549 h 1221598"/>
                    <a:gd name="connsiteX311" fmla="*/ 186791 w 988112"/>
                    <a:gd name="connsiteY311" fmla="*/ 962998 h 1221598"/>
                    <a:gd name="connsiteX312" fmla="*/ 186791 w 988112"/>
                    <a:gd name="connsiteY312" fmla="*/ 962998 h 1221598"/>
                    <a:gd name="connsiteX313" fmla="*/ 179630 w 988112"/>
                    <a:gd name="connsiteY313" fmla="*/ 1009090 h 1221598"/>
                    <a:gd name="connsiteX314" fmla="*/ 179630 w 988112"/>
                    <a:gd name="connsiteY314" fmla="*/ 1009090 h 1221598"/>
                    <a:gd name="connsiteX315" fmla="*/ 183563 w 988112"/>
                    <a:gd name="connsiteY315" fmla="*/ 1018671 h 1221598"/>
                    <a:gd name="connsiteX316" fmla="*/ 183563 w 988112"/>
                    <a:gd name="connsiteY316" fmla="*/ 1018671 h 1221598"/>
                    <a:gd name="connsiteX317" fmla="*/ 224713 w 988112"/>
                    <a:gd name="connsiteY317" fmla="*/ 1029665 h 1221598"/>
                    <a:gd name="connsiteX318" fmla="*/ 224713 w 988112"/>
                    <a:gd name="connsiteY318" fmla="*/ 1029665 h 1221598"/>
                    <a:gd name="connsiteX319" fmla="*/ 244785 w 988112"/>
                    <a:gd name="connsiteY319" fmla="*/ 1044189 h 1221598"/>
                    <a:gd name="connsiteX320" fmla="*/ 244785 w 988112"/>
                    <a:gd name="connsiteY320" fmla="*/ 1044189 h 1221598"/>
                    <a:gd name="connsiteX321" fmla="*/ 262334 w 988112"/>
                    <a:gd name="connsiteY321" fmla="*/ 1039650 h 1221598"/>
                    <a:gd name="connsiteX322" fmla="*/ 262334 w 988112"/>
                    <a:gd name="connsiteY322" fmla="*/ 1039650 h 1221598"/>
                    <a:gd name="connsiteX323" fmla="*/ 283212 w 988112"/>
                    <a:gd name="connsiteY323" fmla="*/ 1034405 h 1221598"/>
                    <a:gd name="connsiteX324" fmla="*/ 283212 w 988112"/>
                    <a:gd name="connsiteY324" fmla="*/ 1034405 h 1221598"/>
                    <a:gd name="connsiteX325" fmla="*/ 312158 w 988112"/>
                    <a:gd name="connsiteY325" fmla="*/ 1060931 h 1221598"/>
                    <a:gd name="connsiteX326" fmla="*/ 312158 w 988112"/>
                    <a:gd name="connsiteY326" fmla="*/ 1060931 h 1221598"/>
                    <a:gd name="connsiteX327" fmla="*/ 933447 w 988112"/>
                    <a:gd name="connsiteY327" fmla="*/ 741512 h 1221598"/>
                    <a:gd name="connsiteX328" fmla="*/ 934254 w 988112"/>
                    <a:gd name="connsiteY328" fmla="*/ 738890 h 1221598"/>
                    <a:gd name="connsiteX329" fmla="*/ 933447 w 988112"/>
                    <a:gd name="connsiteY329" fmla="*/ 741512 h 1221598"/>
                    <a:gd name="connsiteX330" fmla="*/ 933447 w 988112"/>
                    <a:gd name="connsiteY330" fmla="*/ 741512 h 1221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Lst>
                  <a:rect l="l" t="t" r="r" b="b"/>
                  <a:pathLst>
                    <a:path w="988112" h="1221598">
                      <a:moveTo>
                        <a:pt x="377615" y="1190232"/>
                      </a:moveTo>
                      <a:cubicBezTo>
                        <a:pt x="374186" y="1182365"/>
                        <a:pt x="372875" y="1176313"/>
                        <a:pt x="372875" y="1171270"/>
                      </a:cubicBezTo>
                      <a:lnTo>
                        <a:pt x="372875" y="1171270"/>
                      </a:lnTo>
                      <a:cubicBezTo>
                        <a:pt x="373480" y="1154125"/>
                        <a:pt x="386894" y="1150594"/>
                        <a:pt x="386289" y="1137886"/>
                      </a:cubicBezTo>
                      <a:lnTo>
                        <a:pt x="386289" y="1137886"/>
                      </a:lnTo>
                      <a:cubicBezTo>
                        <a:pt x="387398" y="1122152"/>
                        <a:pt x="351594" y="1111966"/>
                        <a:pt x="332027" y="1108839"/>
                      </a:cubicBezTo>
                      <a:lnTo>
                        <a:pt x="332027" y="1108839"/>
                      </a:lnTo>
                      <a:cubicBezTo>
                        <a:pt x="309838" y="1104200"/>
                        <a:pt x="313973" y="1080800"/>
                        <a:pt x="307014" y="1062848"/>
                      </a:cubicBezTo>
                      <a:lnTo>
                        <a:pt x="307014" y="1062848"/>
                      </a:lnTo>
                      <a:cubicBezTo>
                        <a:pt x="301770" y="1049030"/>
                        <a:pt x="295819" y="1040255"/>
                        <a:pt x="283413" y="1040255"/>
                      </a:cubicBezTo>
                      <a:lnTo>
                        <a:pt x="283413" y="1040255"/>
                      </a:lnTo>
                      <a:cubicBezTo>
                        <a:pt x="278471" y="1040255"/>
                        <a:pt x="272420" y="1041667"/>
                        <a:pt x="264754" y="1044996"/>
                      </a:cubicBezTo>
                      <a:lnTo>
                        <a:pt x="264754" y="1044996"/>
                      </a:lnTo>
                      <a:cubicBezTo>
                        <a:pt x="256585" y="1048425"/>
                        <a:pt x="250332" y="1050038"/>
                        <a:pt x="245087" y="1050038"/>
                      </a:cubicBezTo>
                      <a:lnTo>
                        <a:pt x="245087" y="1050038"/>
                      </a:lnTo>
                      <a:cubicBezTo>
                        <a:pt x="231270" y="1049938"/>
                        <a:pt x="226832" y="1039347"/>
                        <a:pt x="221184" y="1033800"/>
                      </a:cubicBezTo>
                      <a:lnTo>
                        <a:pt x="221184" y="1033800"/>
                      </a:lnTo>
                      <a:cubicBezTo>
                        <a:pt x="214527" y="1026337"/>
                        <a:pt x="195061" y="1031178"/>
                        <a:pt x="181143" y="1023614"/>
                      </a:cubicBezTo>
                      <a:lnTo>
                        <a:pt x="181143" y="1023614"/>
                      </a:lnTo>
                      <a:cubicBezTo>
                        <a:pt x="175898" y="1020689"/>
                        <a:pt x="174184" y="1015041"/>
                        <a:pt x="174284" y="1009292"/>
                      </a:cubicBezTo>
                      <a:lnTo>
                        <a:pt x="174284" y="1009292"/>
                      </a:lnTo>
                      <a:cubicBezTo>
                        <a:pt x="174284" y="996987"/>
                        <a:pt x="180336" y="980144"/>
                        <a:pt x="181445" y="962897"/>
                      </a:cubicBezTo>
                      <a:lnTo>
                        <a:pt x="181445" y="962897"/>
                      </a:lnTo>
                      <a:cubicBezTo>
                        <a:pt x="181748" y="956442"/>
                        <a:pt x="182151" y="950693"/>
                        <a:pt x="182151" y="945852"/>
                      </a:cubicBezTo>
                      <a:lnTo>
                        <a:pt x="182151" y="945852"/>
                      </a:lnTo>
                      <a:cubicBezTo>
                        <a:pt x="182051" y="929916"/>
                        <a:pt x="179327" y="920334"/>
                        <a:pt x="166417" y="908635"/>
                      </a:cubicBezTo>
                      <a:lnTo>
                        <a:pt x="166417" y="908635"/>
                      </a:lnTo>
                      <a:cubicBezTo>
                        <a:pt x="161677" y="904298"/>
                        <a:pt x="159357" y="899759"/>
                        <a:pt x="159357" y="895221"/>
                      </a:cubicBezTo>
                      <a:lnTo>
                        <a:pt x="159357" y="895221"/>
                      </a:lnTo>
                      <a:cubicBezTo>
                        <a:pt x="160063" y="881302"/>
                        <a:pt x="177814" y="873334"/>
                        <a:pt x="188808" y="870309"/>
                      </a:cubicBezTo>
                      <a:lnTo>
                        <a:pt x="188808" y="870309"/>
                      </a:lnTo>
                      <a:cubicBezTo>
                        <a:pt x="193851" y="868594"/>
                        <a:pt x="194153" y="868493"/>
                        <a:pt x="194456" y="863854"/>
                      </a:cubicBezTo>
                      <a:lnTo>
                        <a:pt x="194456" y="863854"/>
                      </a:lnTo>
                      <a:cubicBezTo>
                        <a:pt x="194456" y="856390"/>
                        <a:pt x="189010" y="839143"/>
                        <a:pt x="181344" y="804750"/>
                      </a:cubicBezTo>
                      <a:lnTo>
                        <a:pt x="181344" y="804750"/>
                      </a:lnTo>
                      <a:cubicBezTo>
                        <a:pt x="169040" y="748572"/>
                        <a:pt x="130310" y="653664"/>
                        <a:pt x="126578" y="633594"/>
                      </a:cubicBezTo>
                      <a:lnTo>
                        <a:pt x="126578" y="633594"/>
                      </a:lnTo>
                      <a:cubicBezTo>
                        <a:pt x="126175" y="631980"/>
                        <a:pt x="126074" y="630366"/>
                        <a:pt x="126074" y="628954"/>
                      </a:cubicBezTo>
                      <a:lnTo>
                        <a:pt x="126074" y="628954"/>
                      </a:lnTo>
                      <a:cubicBezTo>
                        <a:pt x="126578" y="613018"/>
                        <a:pt x="141001" y="605051"/>
                        <a:pt x="140194" y="597789"/>
                      </a:cubicBezTo>
                      <a:lnTo>
                        <a:pt x="140194" y="597789"/>
                      </a:lnTo>
                      <a:cubicBezTo>
                        <a:pt x="140194" y="596578"/>
                        <a:pt x="139992" y="595166"/>
                        <a:pt x="139186" y="593754"/>
                      </a:cubicBezTo>
                      <a:lnTo>
                        <a:pt x="139186" y="593754"/>
                      </a:lnTo>
                      <a:cubicBezTo>
                        <a:pt x="135151" y="585585"/>
                        <a:pt x="134546" y="571364"/>
                        <a:pt x="134445" y="558857"/>
                      </a:cubicBezTo>
                      <a:lnTo>
                        <a:pt x="134445" y="558857"/>
                      </a:lnTo>
                      <a:cubicBezTo>
                        <a:pt x="134445" y="546452"/>
                        <a:pt x="135353" y="535862"/>
                        <a:pt x="138177" y="533239"/>
                      </a:cubicBezTo>
                      <a:lnTo>
                        <a:pt x="138177" y="533239"/>
                      </a:lnTo>
                      <a:cubicBezTo>
                        <a:pt x="138177" y="533138"/>
                        <a:pt x="191128" y="533138"/>
                        <a:pt x="216645" y="522851"/>
                      </a:cubicBezTo>
                      <a:lnTo>
                        <a:pt x="216645" y="522851"/>
                      </a:lnTo>
                      <a:cubicBezTo>
                        <a:pt x="223402" y="520128"/>
                        <a:pt x="225218" y="517203"/>
                        <a:pt x="225016" y="516194"/>
                      </a:cubicBezTo>
                      <a:lnTo>
                        <a:pt x="225016" y="516194"/>
                      </a:lnTo>
                      <a:cubicBezTo>
                        <a:pt x="224915" y="514076"/>
                        <a:pt x="215132" y="507823"/>
                        <a:pt x="196272" y="507823"/>
                      </a:cubicBezTo>
                      <a:lnTo>
                        <a:pt x="196272" y="507823"/>
                      </a:lnTo>
                      <a:cubicBezTo>
                        <a:pt x="189211" y="507823"/>
                        <a:pt x="181143" y="508630"/>
                        <a:pt x="172267" y="510445"/>
                      </a:cubicBezTo>
                      <a:lnTo>
                        <a:pt x="172267" y="510445"/>
                      </a:lnTo>
                      <a:cubicBezTo>
                        <a:pt x="157037" y="513370"/>
                        <a:pt x="141808" y="514984"/>
                        <a:pt x="126376" y="514984"/>
                      </a:cubicBezTo>
                      <a:lnTo>
                        <a:pt x="126376" y="514984"/>
                      </a:lnTo>
                      <a:cubicBezTo>
                        <a:pt x="97027" y="514984"/>
                        <a:pt x="67576" y="509033"/>
                        <a:pt x="38125" y="496224"/>
                      </a:cubicBezTo>
                      <a:lnTo>
                        <a:pt x="38125" y="496224"/>
                      </a:lnTo>
                      <a:cubicBezTo>
                        <a:pt x="12003" y="484726"/>
                        <a:pt x="-100" y="462336"/>
                        <a:pt x="1" y="440449"/>
                      </a:cubicBezTo>
                      <a:lnTo>
                        <a:pt x="1" y="440449"/>
                      </a:lnTo>
                      <a:cubicBezTo>
                        <a:pt x="1" y="423808"/>
                        <a:pt x="6960" y="407469"/>
                        <a:pt x="19769" y="396173"/>
                      </a:cubicBezTo>
                      <a:lnTo>
                        <a:pt x="19769" y="396173"/>
                      </a:lnTo>
                      <a:cubicBezTo>
                        <a:pt x="47505" y="371765"/>
                        <a:pt x="41655" y="367831"/>
                        <a:pt x="63138" y="312460"/>
                      </a:cubicBezTo>
                      <a:lnTo>
                        <a:pt x="63138" y="312460"/>
                      </a:lnTo>
                      <a:cubicBezTo>
                        <a:pt x="84520" y="256181"/>
                        <a:pt x="125469" y="269696"/>
                        <a:pt x="138984" y="264855"/>
                      </a:cubicBezTo>
                      <a:lnTo>
                        <a:pt x="138984" y="264855"/>
                      </a:lnTo>
                      <a:cubicBezTo>
                        <a:pt x="152801" y="261022"/>
                        <a:pt x="166417" y="226730"/>
                        <a:pt x="191934" y="217249"/>
                      </a:cubicBezTo>
                      <a:lnTo>
                        <a:pt x="191934" y="217249"/>
                      </a:lnTo>
                      <a:cubicBezTo>
                        <a:pt x="200810" y="213921"/>
                        <a:pt x="207467" y="212912"/>
                        <a:pt x="212711" y="212912"/>
                      </a:cubicBezTo>
                      <a:lnTo>
                        <a:pt x="212711" y="212912"/>
                      </a:lnTo>
                      <a:cubicBezTo>
                        <a:pt x="221284" y="212912"/>
                        <a:pt x="226126" y="215434"/>
                        <a:pt x="230160" y="215333"/>
                      </a:cubicBezTo>
                      <a:lnTo>
                        <a:pt x="230160" y="215333"/>
                      </a:lnTo>
                      <a:cubicBezTo>
                        <a:pt x="233892" y="215333"/>
                        <a:pt x="238430" y="213719"/>
                        <a:pt x="247407" y="205449"/>
                      </a:cubicBezTo>
                      <a:lnTo>
                        <a:pt x="247407" y="205449"/>
                      </a:lnTo>
                      <a:cubicBezTo>
                        <a:pt x="272319" y="182352"/>
                        <a:pt x="306510" y="158852"/>
                        <a:pt x="358351" y="151691"/>
                      </a:cubicBezTo>
                      <a:lnTo>
                        <a:pt x="358351" y="151691"/>
                      </a:lnTo>
                      <a:cubicBezTo>
                        <a:pt x="410092" y="144631"/>
                        <a:pt x="427238" y="151590"/>
                        <a:pt x="457999" y="134444"/>
                      </a:cubicBezTo>
                      <a:lnTo>
                        <a:pt x="457999" y="134444"/>
                      </a:lnTo>
                      <a:cubicBezTo>
                        <a:pt x="490577" y="116391"/>
                        <a:pt x="536669" y="111247"/>
                        <a:pt x="596781" y="105901"/>
                      </a:cubicBezTo>
                      <a:lnTo>
                        <a:pt x="596781" y="105901"/>
                      </a:lnTo>
                      <a:cubicBezTo>
                        <a:pt x="655481" y="100758"/>
                        <a:pt x="692092" y="55674"/>
                        <a:pt x="707725" y="31266"/>
                      </a:cubicBezTo>
                      <a:lnTo>
                        <a:pt x="707725" y="31266"/>
                      </a:lnTo>
                      <a:cubicBezTo>
                        <a:pt x="719425" y="13515"/>
                        <a:pt x="751397" y="3933"/>
                        <a:pt x="775200" y="0"/>
                      </a:cubicBezTo>
                      <a:lnTo>
                        <a:pt x="775200" y="0"/>
                      </a:lnTo>
                      <a:cubicBezTo>
                        <a:pt x="777519" y="3833"/>
                        <a:pt x="780848" y="7968"/>
                        <a:pt x="786798" y="12406"/>
                      </a:cubicBezTo>
                      <a:lnTo>
                        <a:pt x="786798" y="12406"/>
                      </a:lnTo>
                      <a:cubicBezTo>
                        <a:pt x="802936" y="24710"/>
                        <a:pt x="865065" y="41856"/>
                        <a:pt x="890380" y="77359"/>
                      </a:cubicBezTo>
                      <a:lnTo>
                        <a:pt x="890380" y="77359"/>
                      </a:lnTo>
                      <a:cubicBezTo>
                        <a:pt x="916099" y="114273"/>
                        <a:pt x="948374" y="141202"/>
                        <a:pt x="948878" y="168636"/>
                      </a:cubicBezTo>
                      <a:lnTo>
                        <a:pt x="948878" y="168636"/>
                      </a:lnTo>
                      <a:cubicBezTo>
                        <a:pt x="948878" y="169543"/>
                        <a:pt x="948878" y="170451"/>
                        <a:pt x="948777" y="171560"/>
                      </a:cubicBezTo>
                      <a:lnTo>
                        <a:pt x="948777" y="171560"/>
                      </a:lnTo>
                      <a:cubicBezTo>
                        <a:pt x="948676" y="172166"/>
                        <a:pt x="948676" y="172872"/>
                        <a:pt x="948676" y="173678"/>
                      </a:cubicBezTo>
                      <a:lnTo>
                        <a:pt x="948676" y="173678"/>
                      </a:lnTo>
                      <a:cubicBezTo>
                        <a:pt x="948475" y="192640"/>
                        <a:pt x="966528" y="225116"/>
                        <a:pt x="966629" y="254063"/>
                      </a:cubicBezTo>
                      <a:lnTo>
                        <a:pt x="966629" y="254063"/>
                      </a:lnTo>
                      <a:cubicBezTo>
                        <a:pt x="966629" y="262131"/>
                        <a:pt x="965116" y="270200"/>
                        <a:pt x="961284" y="277462"/>
                      </a:cubicBezTo>
                      <a:lnTo>
                        <a:pt x="961284" y="277462"/>
                      </a:lnTo>
                      <a:cubicBezTo>
                        <a:pt x="943633" y="310947"/>
                        <a:pt x="947063" y="281799"/>
                        <a:pt x="944541" y="353408"/>
                      </a:cubicBezTo>
                      <a:lnTo>
                        <a:pt x="944541" y="353408"/>
                      </a:lnTo>
                      <a:cubicBezTo>
                        <a:pt x="943129" y="391230"/>
                        <a:pt x="937784" y="427136"/>
                        <a:pt x="937784" y="453561"/>
                      </a:cubicBezTo>
                      <a:lnTo>
                        <a:pt x="937784" y="453561"/>
                      </a:lnTo>
                      <a:cubicBezTo>
                        <a:pt x="937885" y="477162"/>
                        <a:pt x="942221" y="491484"/>
                        <a:pt x="955232" y="494409"/>
                      </a:cubicBezTo>
                      <a:lnTo>
                        <a:pt x="955232" y="494409"/>
                      </a:lnTo>
                      <a:cubicBezTo>
                        <a:pt x="977623" y="499754"/>
                        <a:pt x="988213" y="513471"/>
                        <a:pt x="988112" y="527188"/>
                      </a:cubicBezTo>
                      <a:lnTo>
                        <a:pt x="988112" y="527188"/>
                      </a:lnTo>
                      <a:cubicBezTo>
                        <a:pt x="988112" y="541711"/>
                        <a:pt x="976614" y="555327"/>
                        <a:pt x="958762" y="558353"/>
                      </a:cubicBezTo>
                      <a:lnTo>
                        <a:pt x="958762" y="558353"/>
                      </a:lnTo>
                      <a:cubicBezTo>
                        <a:pt x="953619" y="559160"/>
                        <a:pt x="951904" y="562488"/>
                        <a:pt x="951702" y="570456"/>
                      </a:cubicBezTo>
                      <a:lnTo>
                        <a:pt x="951702" y="570456"/>
                      </a:lnTo>
                      <a:cubicBezTo>
                        <a:pt x="951500" y="597890"/>
                        <a:pt x="983170" y="660018"/>
                        <a:pt x="985288" y="687755"/>
                      </a:cubicBezTo>
                      <a:lnTo>
                        <a:pt x="985288" y="687755"/>
                      </a:lnTo>
                      <a:cubicBezTo>
                        <a:pt x="985490" y="693302"/>
                        <a:pt x="985692" y="698345"/>
                        <a:pt x="985692" y="702782"/>
                      </a:cubicBezTo>
                      <a:lnTo>
                        <a:pt x="985692" y="702782"/>
                      </a:lnTo>
                      <a:cubicBezTo>
                        <a:pt x="985591" y="719222"/>
                        <a:pt x="983775" y="729107"/>
                        <a:pt x="974698" y="730014"/>
                      </a:cubicBezTo>
                      <a:lnTo>
                        <a:pt x="974698" y="730014"/>
                      </a:lnTo>
                      <a:cubicBezTo>
                        <a:pt x="971874" y="729913"/>
                        <a:pt x="969050" y="728804"/>
                        <a:pt x="965923" y="726686"/>
                      </a:cubicBezTo>
                      <a:lnTo>
                        <a:pt x="965923" y="726686"/>
                      </a:lnTo>
                      <a:cubicBezTo>
                        <a:pt x="964007" y="725375"/>
                        <a:pt x="961889" y="724871"/>
                        <a:pt x="959670" y="724871"/>
                      </a:cubicBezTo>
                      <a:lnTo>
                        <a:pt x="959670" y="724871"/>
                      </a:lnTo>
                      <a:cubicBezTo>
                        <a:pt x="950088" y="724467"/>
                        <a:pt x="937784" y="736167"/>
                        <a:pt x="935968" y="741714"/>
                      </a:cubicBezTo>
                      <a:lnTo>
                        <a:pt x="935968" y="741714"/>
                      </a:lnTo>
                      <a:cubicBezTo>
                        <a:pt x="936372" y="741815"/>
                        <a:pt x="937582" y="744235"/>
                        <a:pt x="941414" y="747059"/>
                      </a:cubicBezTo>
                      <a:lnTo>
                        <a:pt x="941414" y="747059"/>
                      </a:lnTo>
                      <a:lnTo>
                        <a:pt x="940608" y="751699"/>
                      </a:lnTo>
                      <a:cubicBezTo>
                        <a:pt x="917108" y="760776"/>
                        <a:pt x="913073" y="796682"/>
                        <a:pt x="908736" y="832688"/>
                      </a:cubicBezTo>
                      <a:lnTo>
                        <a:pt x="908736" y="832688"/>
                      </a:lnTo>
                      <a:cubicBezTo>
                        <a:pt x="903996" y="871922"/>
                        <a:pt x="876058" y="887253"/>
                        <a:pt x="844691" y="886849"/>
                      </a:cubicBezTo>
                      <a:lnTo>
                        <a:pt x="844691" y="886849"/>
                      </a:lnTo>
                      <a:cubicBezTo>
                        <a:pt x="840959" y="886849"/>
                        <a:pt x="837228" y="886749"/>
                        <a:pt x="833294" y="886345"/>
                      </a:cubicBezTo>
                      <a:lnTo>
                        <a:pt x="833294" y="886345"/>
                      </a:lnTo>
                      <a:cubicBezTo>
                        <a:pt x="829361" y="885942"/>
                        <a:pt x="826032" y="885740"/>
                        <a:pt x="822805" y="885740"/>
                      </a:cubicBezTo>
                      <a:lnTo>
                        <a:pt x="822805" y="885740"/>
                      </a:lnTo>
                      <a:cubicBezTo>
                        <a:pt x="804045" y="886143"/>
                        <a:pt x="797489" y="891287"/>
                        <a:pt x="797086" y="906618"/>
                      </a:cubicBezTo>
                      <a:lnTo>
                        <a:pt x="797086" y="906618"/>
                      </a:lnTo>
                      <a:cubicBezTo>
                        <a:pt x="797086" y="912367"/>
                        <a:pt x="798296" y="919830"/>
                        <a:pt x="800919" y="928807"/>
                      </a:cubicBezTo>
                      <a:lnTo>
                        <a:pt x="800919" y="928807"/>
                      </a:lnTo>
                      <a:cubicBezTo>
                        <a:pt x="811509" y="965922"/>
                        <a:pt x="813425" y="974697"/>
                        <a:pt x="813122" y="976714"/>
                      </a:cubicBezTo>
                      <a:lnTo>
                        <a:pt x="813122" y="976714"/>
                      </a:lnTo>
                      <a:cubicBezTo>
                        <a:pt x="813223" y="976815"/>
                        <a:pt x="802734" y="995978"/>
                        <a:pt x="801120" y="1012822"/>
                      </a:cubicBezTo>
                      <a:lnTo>
                        <a:pt x="801120" y="1012822"/>
                      </a:lnTo>
                      <a:cubicBezTo>
                        <a:pt x="799507" y="1030068"/>
                        <a:pt x="798801" y="1050240"/>
                        <a:pt x="765921" y="1064461"/>
                      </a:cubicBezTo>
                      <a:lnTo>
                        <a:pt x="765921" y="1064461"/>
                      </a:lnTo>
                      <a:cubicBezTo>
                        <a:pt x="735663" y="1077674"/>
                        <a:pt x="751901" y="1086650"/>
                        <a:pt x="726485" y="1123564"/>
                      </a:cubicBezTo>
                      <a:lnTo>
                        <a:pt x="726485" y="1123564"/>
                      </a:lnTo>
                      <a:cubicBezTo>
                        <a:pt x="708734" y="1148880"/>
                        <a:pt x="691588" y="1159672"/>
                        <a:pt x="675753" y="1159672"/>
                      </a:cubicBezTo>
                      <a:lnTo>
                        <a:pt x="675753" y="1159672"/>
                      </a:lnTo>
                      <a:cubicBezTo>
                        <a:pt x="669298" y="1159672"/>
                        <a:pt x="663045" y="1157755"/>
                        <a:pt x="657397" y="1154427"/>
                      </a:cubicBezTo>
                      <a:lnTo>
                        <a:pt x="657397" y="1154427"/>
                      </a:lnTo>
                      <a:cubicBezTo>
                        <a:pt x="646504" y="1147770"/>
                        <a:pt x="628753" y="1143232"/>
                        <a:pt x="608682" y="1143232"/>
                      </a:cubicBezTo>
                      <a:lnTo>
                        <a:pt x="608682" y="1143232"/>
                      </a:lnTo>
                      <a:cubicBezTo>
                        <a:pt x="597890" y="1143232"/>
                        <a:pt x="586392" y="1144543"/>
                        <a:pt x="574794" y="1147670"/>
                      </a:cubicBezTo>
                      <a:lnTo>
                        <a:pt x="574794" y="1147670"/>
                      </a:lnTo>
                      <a:cubicBezTo>
                        <a:pt x="542721" y="1155738"/>
                        <a:pt x="530819" y="1187509"/>
                        <a:pt x="503688" y="1190131"/>
                      </a:cubicBezTo>
                      <a:lnTo>
                        <a:pt x="503688" y="1190131"/>
                      </a:lnTo>
                      <a:cubicBezTo>
                        <a:pt x="478474" y="1192047"/>
                        <a:pt x="475045" y="1188114"/>
                        <a:pt x="443274" y="1208992"/>
                      </a:cubicBezTo>
                      <a:lnTo>
                        <a:pt x="443274" y="1208992"/>
                      </a:lnTo>
                      <a:cubicBezTo>
                        <a:pt x="430768" y="1217161"/>
                        <a:pt x="420480" y="1221498"/>
                        <a:pt x="411302" y="1221599"/>
                      </a:cubicBezTo>
                      <a:lnTo>
                        <a:pt x="411302" y="1221599"/>
                      </a:lnTo>
                      <a:cubicBezTo>
                        <a:pt x="396375" y="1221498"/>
                        <a:pt x="386188" y="1209899"/>
                        <a:pt x="377615" y="1190232"/>
                      </a:cubicBezTo>
                      <a:lnTo>
                        <a:pt x="377615" y="1190232"/>
                      </a:lnTo>
                      <a:close/>
                      <a:moveTo>
                        <a:pt x="312158" y="1060931"/>
                      </a:moveTo>
                      <a:cubicBezTo>
                        <a:pt x="319319" y="1081910"/>
                        <a:pt x="316495" y="1100972"/>
                        <a:pt x="332935" y="1103393"/>
                      </a:cubicBezTo>
                      <a:lnTo>
                        <a:pt x="332935" y="1103393"/>
                      </a:lnTo>
                      <a:cubicBezTo>
                        <a:pt x="352300" y="1107225"/>
                        <a:pt x="390525" y="1114689"/>
                        <a:pt x="391735" y="1137886"/>
                      </a:cubicBezTo>
                      <a:lnTo>
                        <a:pt x="391735" y="1137886"/>
                      </a:lnTo>
                      <a:cubicBezTo>
                        <a:pt x="391029" y="1154831"/>
                        <a:pt x="377716" y="1158260"/>
                        <a:pt x="378321" y="1171270"/>
                      </a:cubicBezTo>
                      <a:lnTo>
                        <a:pt x="378321" y="1171270"/>
                      </a:lnTo>
                      <a:cubicBezTo>
                        <a:pt x="378321" y="1175305"/>
                        <a:pt x="379330" y="1180650"/>
                        <a:pt x="382658" y="1188013"/>
                      </a:cubicBezTo>
                      <a:lnTo>
                        <a:pt x="382658" y="1188013"/>
                      </a:lnTo>
                      <a:cubicBezTo>
                        <a:pt x="391332" y="1207378"/>
                        <a:pt x="399804" y="1216153"/>
                        <a:pt x="411504" y="1216153"/>
                      </a:cubicBezTo>
                      <a:lnTo>
                        <a:pt x="411504" y="1216153"/>
                      </a:lnTo>
                      <a:cubicBezTo>
                        <a:pt x="418866" y="1216153"/>
                        <a:pt x="428347" y="1212522"/>
                        <a:pt x="440450" y="1204453"/>
                      </a:cubicBezTo>
                      <a:lnTo>
                        <a:pt x="440450" y="1204453"/>
                      </a:lnTo>
                      <a:cubicBezTo>
                        <a:pt x="472321" y="1183071"/>
                        <a:pt x="479482" y="1186298"/>
                        <a:pt x="503588" y="1184584"/>
                      </a:cubicBezTo>
                      <a:lnTo>
                        <a:pt x="503588" y="1184584"/>
                      </a:lnTo>
                      <a:cubicBezTo>
                        <a:pt x="525877" y="1183676"/>
                        <a:pt x="538787" y="1151906"/>
                        <a:pt x="573684" y="1142425"/>
                      </a:cubicBezTo>
                      <a:lnTo>
                        <a:pt x="573684" y="1142425"/>
                      </a:lnTo>
                      <a:cubicBezTo>
                        <a:pt x="585686" y="1139097"/>
                        <a:pt x="597689" y="1137786"/>
                        <a:pt x="608985" y="1137786"/>
                      </a:cubicBezTo>
                      <a:lnTo>
                        <a:pt x="608985" y="1137786"/>
                      </a:lnTo>
                      <a:cubicBezTo>
                        <a:pt x="629963" y="1137786"/>
                        <a:pt x="648319" y="1142425"/>
                        <a:pt x="660524" y="1149687"/>
                      </a:cubicBezTo>
                      <a:lnTo>
                        <a:pt x="660524" y="1149687"/>
                      </a:lnTo>
                      <a:cubicBezTo>
                        <a:pt x="665466" y="1152511"/>
                        <a:pt x="670508" y="1154125"/>
                        <a:pt x="675955" y="1154125"/>
                      </a:cubicBezTo>
                      <a:lnTo>
                        <a:pt x="675955" y="1154125"/>
                      </a:lnTo>
                      <a:cubicBezTo>
                        <a:pt x="688965" y="1154225"/>
                        <a:pt x="704901" y="1145047"/>
                        <a:pt x="722148" y="1120438"/>
                      </a:cubicBezTo>
                      <a:lnTo>
                        <a:pt x="722148" y="1120438"/>
                      </a:lnTo>
                      <a:cubicBezTo>
                        <a:pt x="746152" y="1086751"/>
                        <a:pt x="730620" y="1074446"/>
                        <a:pt x="763904" y="1059519"/>
                      </a:cubicBezTo>
                      <a:lnTo>
                        <a:pt x="763904" y="1059519"/>
                      </a:lnTo>
                      <a:cubicBezTo>
                        <a:pt x="794665" y="1045399"/>
                        <a:pt x="793758" y="1030270"/>
                        <a:pt x="795775" y="1012317"/>
                      </a:cubicBezTo>
                      <a:lnTo>
                        <a:pt x="795775" y="1012317"/>
                      </a:lnTo>
                      <a:cubicBezTo>
                        <a:pt x="797691" y="994566"/>
                        <a:pt x="807676" y="975706"/>
                        <a:pt x="808180" y="976008"/>
                      </a:cubicBezTo>
                      <a:lnTo>
                        <a:pt x="808180" y="976008"/>
                      </a:lnTo>
                      <a:cubicBezTo>
                        <a:pt x="807979" y="974899"/>
                        <a:pt x="805760" y="965317"/>
                        <a:pt x="795775" y="930319"/>
                      </a:cubicBezTo>
                      <a:lnTo>
                        <a:pt x="795775" y="930319"/>
                      </a:lnTo>
                      <a:cubicBezTo>
                        <a:pt x="793153" y="921141"/>
                        <a:pt x="791740" y="913274"/>
                        <a:pt x="791740" y="906618"/>
                      </a:cubicBezTo>
                      <a:lnTo>
                        <a:pt x="791740" y="906618"/>
                      </a:lnTo>
                      <a:cubicBezTo>
                        <a:pt x="791740" y="888766"/>
                        <a:pt x="803137" y="880193"/>
                        <a:pt x="823007" y="880193"/>
                      </a:cubicBezTo>
                      <a:lnTo>
                        <a:pt x="823007" y="880193"/>
                      </a:lnTo>
                      <a:cubicBezTo>
                        <a:pt x="826537" y="880193"/>
                        <a:pt x="830067" y="880394"/>
                        <a:pt x="834000" y="880899"/>
                      </a:cubicBezTo>
                      <a:lnTo>
                        <a:pt x="834000" y="880899"/>
                      </a:lnTo>
                      <a:cubicBezTo>
                        <a:pt x="837631" y="881201"/>
                        <a:pt x="841262" y="881504"/>
                        <a:pt x="844792" y="881504"/>
                      </a:cubicBezTo>
                      <a:lnTo>
                        <a:pt x="844792" y="881504"/>
                      </a:lnTo>
                      <a:cubicBezTo>
                        <a:pt x="874646" y="881100"/>
                        <a:pt x="898550" y="868594"/>
                        <a:pt x="903290" y="832083"/>
                      </a:cubicBezTo>
                      <a:lnTo>
                        <a:pt x="903290" y="832083"/>
                      </a:lnTo>
                      <a:cubicBezTo>
                        <a:pt x="907728" y="798195"/>
                        <a:pt x="910552" y="761986"/>
                        <a:pt x="934758" y="748471"/>
                      </a:cubicBezTo>
                      <a:lnTo>
                        <a:pt x="934758" y="748471"/>
                      </a:lnTo>
                      <a:cubicBezTo>
                        <a:pt x="932438" y="746353"/>
                        <a:pt x="930824" y="744639"/>
                        <a:pt x="930421" y="741714"/>
                      </a:cubicBezTo>
                      <a:lnTo>
                        <a:pt x="930421" y="741714"/>
                      </a:lnTo>
                      <a:lnTo>
                        <a:pt x="930421" y="741210"/>
                      </a:lnTo>
                      <a:cubicBezTo>
                        <a:pt x="930421" y="741109"/>
                        <a:pt x="930522" y="741008"/>
                        <a:pt x="930623" y="740907"/>
                      </a:cubicBezTo>
                      <a:lnTo>
                        <a:pt x="930623" y="740907"/>
                      </a:lnTo>
                      <a:lnTo>
                        <a:pt x="930522" y="740907"/>
                      </a:lnTo>
                      <a:cubicBezTo>
                        <a:pt x="933043" y="732233"/>
                        <a:pt x="945852" y="719626"/>
                        <a:pt x="959670" y="719222"/>
                      </a:cubicBezTo>
                      <a:lnTo>
                        <a:pt x="959670" y="719222"/>
                      </a:lnTo>
                      <a:cubicBezTo>
                        <a:pt x="962696" y="719222"/>
                        <a:pt x="966125" y="720029"/>
                        <a:pt x="969151" y="722047"/>
                      </a:cubicBezTo>
                      <a:lnTo>
                        <a:pt x="969151" y="722047"/>
                      </a:lnTo>
                      <a:cubicBezTo>
                        <a:pt x="971672" y="723761"/>
                        <a:pt x="973588" y="724366"/>
                        <a:pt x="974698" y="724366"/>
                      </a:cubicBezTo>
                      <a:lnTo>
                        <a:pt x="974698" y="724366"/>
                      </a:lnTo>
                      <a:cubicBezTo>
                        <a:pt x="976917" y="724265"/>
                        <a:pt x="980144" y="719525"/>
                        <a:pt x="980144" y="702682"/>
                      </a:cubicBezTo>
                      <a:lnTo>
                        <a:pt x="980144" y="702682"/>
                      </a:lnTo>
                      <a:cubicBezTo>
                        <a:pt x="980144" y="698345"/>
                        <a:pt x="980043" y="693504"/>
                        <a:pt x="979741" y="687956"/>
                      </a:cubicBezTo>
                      <a:lnTo>
                        <a:pt x="979741" y="687956"/>
                      </a:lnTo>
                      <a:cubicBezTo>
                        <a:pt x="978228" y="662439"/>
                        <a:pt x="946357" y="600310"/>
                        <a:pt x="946155" y="570254"/>
                      </a:cubicBezTo>
                      <a:lnTo>
                        <a:pt x="946155" y="570254"/>
                      </a:lnTo>
                      <a:cubicBezTo>
                        <a:pt x="945953" y="561580"/>
                        <a:pt x="949382" y="553814"/>
                        <a:pt x="957854" y="552604"/>
                      </a:cubicBezTo>
                      <a:lnTo>
                        <a:pt x="957854" y="552604"/>
                      </a:lnTo>
                      <a:cubicBezTo>
                        <a:pt x="973286" y="549982"/>
                        <a:pt x="982565" y="538484"/>
                        <a:pt x="982565" y="526986"/>
                      </a:cubicBezTo>
                      <a:lnTo>
                        <a:pt x="982565" y="526986"/>
                      </a:lnTo>
                      <a:cubicBezTo>
                        <a:pt x="982565" y="516295"/>
                        <a:pt x="974799" y="504797"/>
                        <a:pt x="953921" y="499653"/>
                      </a:cubicBezTo>
                      <a:lnTo>
                        <a:pt x="953921" y="499653"/>
                      </a:lnTo>
                      <a:cubicBezTo>
                        <a:pt x="936472" y="495216"/>
                        <a:pt x="932337" y="476859"/>
                        <a:pt x="932337" y="453359"/>
                      </a:cubicBezTo>
                      <a:lnTo>
                        <a:pt x="932337" y="453359"/>
                      </a:lnTo>
                      <a:cubicBezTo>
                        <a:pt x="932438" y="426228"/>
                        <a:pt x="937784" y="390423"/>
                        <a:pt x="939095" y="353106"/>
                      </a:cubicBezTo>
                      <a:lnTo>
                        <a:pt x="939095" y="353106"/>
                      </a:lnTo>
                      <a:cubicBezTo>
                        <a:pt x="940809" y="283110"/>
                        <a:pt x="939902" y="305702"/>
                        <a:pt x="956543" y="274638"/>
                      </a:cubicBezTo>
                      <a:lnTo>
                        <a:pt x="956543" y="274638"/>
                      </a:lnTo>
                      <a:cubicBezTo>
                        <a:pt x="959872" y="268284"/>
                        <a:pt x="961183" y="261324"/>
                        <a:pt x="961183" y="253760"/>
                      </a:cubicBezTo>
                      <a:lnTo>
                        <a:pt x="961183" y="253760"/>
                      </a:lnTo>
                      <a:cubicBezTo>
                        <a:pt x="961284" y="226932"/>
                        <a:pt x="943331" y="195161"/>
                        <a:pt x="943230" y="173376"/>
                      </a:cubicBezTo>
                      <a:lnTo>
                        <a:pt x="943230" y="173376"/>
                      </a:lnTo>
                      <a:cubicBezTo>
                        <a:pt x="943230" y="172367"/>
                        <a:pt x="943230" y="171359"/>
                        <a:pt x="943331" y="170552"/>
                      </a:cubicBezTo>
                      <a:lnTo>
                        <a:pt x="943331" y="170552"/>
                      </a:lnTo>
                      <a:cubicBezTo>
                        <a:pt x="943432" y="169846"/>
                        <a:pt x="943432" y="169039"/>
                        <a:pt x="943432" y="168232"/>
                      </a:cubicBezTo>
                      <a:lnTo>
                        <a:pt x="943432" y="168232"/>
                      </a:lnTo>
                      <a:cubicBezTo>
                        <a:pt x="943936" y="145438"/>
                        <a:pt x="912367" y="117399"/>
                        <a:pt x="885942" y="80183"/>
                      </a:cubicBezTo>
                      <a:lnTo>
                        <a:pt x="885942" y="80183"/>
                      </a:lnTo>
                      <a:cubicBezTo>
                        <a:pt x="862644" y="47000"/>
                        <a:pt x="801826" y="29854"/>
                        <a:pt x="783672" y="16440"/>
                      </a:cubicBezTo>
                      <a:lnTo>
                        <a:pt x="783672" y="16440"/>
                      </a:lnTo>
                      <a:cubicBezTo>
                        <a:pt x="777318" y="11700"/>
                        <a:pt x="773182" y="6959"/>
                        <a:pt x="773485" y="3732"/>
                      </a:cubicBezTo>
                      <a:lnTo>
                        <a:pt x="773485" y="3732"/>
                      </a:lnTo>
                      <a:cubicBezTo>
                        <a:pt x="753213" y="8674"/>
                        <a:pt x="721845" y="19062"/>
                        <a:pt x="712466" y="33888"/>
                      </a:cubicBezTo>
                      <a:lnTo>
                        <a:pt x="712466" y="33888"/>
                      </a:lnTo>
                      <a:cubicBezTo>
                        <a:pt x="696429" y="58901"/>
                        <a:pt x="658809" y="105599"/>
                        <a:pt x="597386" y="111146"/>
                      </a:cubicBezTo>
                      <a:lnTo>
                        <a:pt x="597386" y="111146"/>
                      </a:lnTo>
                      <a:cubicBezTo>
                        <a:pt x="537476" y="116391"/>
                        <a:pt x="491787" y="121736"/>
                        <a:pt x="460723" y="138983"/>
                      </a:cubicBezTo>
                      <a:lnTo>
                        <a:pt x="460723" y="138983"/>
                      </a:lnTo>
                      <a:cubicBezTo>
                        <a:pt x="428044" y="157138"/>
                        <a:pt x="409688" y="149876"/>
                        <a:pt x="359057" y="157037"/>
                      </a:cubicBezTo>
                      <a:lnTo>
                        <a:pt x="359057" y="157037"/>
                      </a:lnTo>
                      <a:cubicBezTo>
                        <a:pt x="308628" y="163996"/>
                        <a:pt x="275647" y="186487"/>
                        <a:pt x="251138" y="209282"/>
                      </a:cubicBezTo>
                      <a:lnTo>
                        <a:pt x="251138" y="209282"/>
                      </a:lnTo>
                      <a:cubicBezTo>
                        <a:pt x="241860" y="217955"/>
                        <a:pt x="235909" y="220679"/>
                        <a:pt x="230059" y="220679"/>
                      </a:cubicBezTo>
                      <a:lnTo>
                        <a:pt x="230059" y="220679"/>
                      </a:lnTo>
                      <a:cubicBezTo>
                        <a:pt x="224008" y="220578"/>
                        <a:pt x="219872" y="218157"/>
                        <a:pt x="212611" y="218258"/>
                      </a:cubicBezTo>
                      <a:lnTo>
                        <a:pt x="212611" y="218258"/>
                      </a:lnTo>
                      <a:cubicBezTo>
                        <a:pt x="208072" y="218258"/>
                        <a:pt x="202020" y="219065"/>
                        <a:pt x="193649" y="222292"/>
                      </a:cubicBezTo>
                      <a:lnTo>
                        <a:pt x="193649" y="222292"/>
                      </a:lnTo>
                      <a:cubicBezTo>
                        <a:pt x="170956" y="229857"/>
                        <a:pt x="158550" y="263241"/>
                        <a:pt x="140597" y="269998"/>
                      </a:cubicBezTo>
                      <a:lnTo>
                        <a:pt x="140597" y="269998"/>
                      </a:lnTo>
                      <a:cubicBezTo>
                        <a:pt x="122342" y="275747"/>
                        <a:pt x="89261" y="261123"/>
                        <a:pt x="68181" y="314174"/>
                      </a:cubicBezTo>
                      <a:lnTo>
                        <a:pt x="68181" y="314174"/>
                      </a:lnTo>
                      <a:cubicBezTo>
                        <a:pt x="47203" y="368335"/>
                        <a:pt x="52044" y="374992"/>
                        <a:pt x="23198" y="400106"/>
                      </a:cubicBezTo>
                      <a:lnTo>
                        <a:pt x="23198" y="400106"/>
                      </a:lnTo>
                      <a:cubicBezTo>
                        <a:pt x="11599" y="410293"/>
                        <a:pt x="5346" y="425119"/>
                        <a:pt x="5346" y="440147"/>
                      </a:cubicBezTo>
                      <a:lnTo>
                        <a:pt x="5346" y="440147"/>
                      </a:lnTo>
                      <a:cubicBezTo>
                        <a:pt x="5346" y="459915"/>
                        <a:pt x="16037" y="480087"/>
                        <a:pt x="40142" y="490778"/>
                      </a:cubicBezTo>
                      <a:lnTo>
                        <a:pt x="40142" y="490778"/>
                      </a:lnTo>
                      <a:cubicBezTo>
                        <a:pt x="68786" y="503385"/>
                        <a:pt x="97329" y="509134"/>
                        <a:pt x="126074" y="509134"/>
                      </a:cubicBezTo>
                      <a:lnTo>
                        <a:pt x="126074" y="509134"/>
                      </a:lnTo>
                      <a:cubicBezTo>
                        <a:pt x="141001" y="509134"/>
                        <a:pt x="155827" y="507520"/>
                        <a:pt x="170956" y="504696"/>
                      </a:cubicBezTo>
                      <a:lnTo>
                        <a:pt x="170956" y="504696"/>
                      </a:lnTo>
                      <a:cubicBezTo>
                        <a:pt x="180033" y="502881"/>
                        <a:pt x="188505" y="501973"/>
                        <a:pt x="195969" y="501973"/>
                      </a:cubicBezTo>
                      <a:lnTo>
                        <a:pt x="195969" y="501973"/>
                      </a:lnTo>
                      <a:cubicBezTo>
                        <a:pt x="215334" y="502477"/>
                        <a:pt x="229051" y="506108"/>
                        <a:pt x="230362" y="515992"/>
                      </a:cubicBezTo>
                      <a:lnTo>
                        <a:pt x="230362" y="515992"/>
                      </a:lnTo>
                      <a:cubicBezTo>
                        <a:pt x="230160" y="521136"/>
                        <a:pt x="225722" y="524666"/>
                        <a:pt x="218460" y="527692"/>
                      </a:cubicBezTo>
                      <a:lnTo>
                        <a:pt x="218460" y="527692"/>
                      </a:lnTo>
                      <a:cubicBezTo>
                        <a:pt x="192237" y="538181"/>
                        <a:pt x="142715" y="538383"/>
                        <a:pt x="140698" y="536164"/>
                      </a:cubicBezTo>
                      <a:lnTo>
                        <a:pt x="140698" y="536164"/>
                      </a:lnTo>
                      <a:cubicBezTo>
                        <a:pt x="140597" y="537980"/>
                        <a:pt x="139791" y="547561"/>
                        <a:pt x="139791" y="558555"/>
                      </a:cubicBezTo>
                      <a:lnTo>
                        <a:pt x="139791" y="558555"/>
                      </a:lnTo>
                      <a:cubicBezTo>
                        <a:pt x="139791" y="570658"/>
                        <a:pt x="140799" y="584778"/>
                        <a:pt x="144027" y="590930"/>
                      </a:cubicBezTo>
                      <a:lnTo>
                        <a:pt x="144027" y="590930"/>
                      </a:lnTo>
                      <a:cubicBezTo>
                        <a:pt x="145136" y="593149"/>
                        <a:pt x="145640" y="595368"/>
                        <a:pt x="145640" y="597486"/>
                      </a:cubicBezTo>
                      <a:lnTo>
                        <a:pt x="145640" y="597486"/>
                      </a:lnTo>
                      <a:cubicBezTo>
                        <a:pt x="144834" y="609993"/>
                        <a:pt x="131117" y="616448"/>
                        <a:pt x="131520" y="628651"/>
                      </a:cubicBezTo>
                      <a:lnTo>
                        <a:pt x="131520" y="628651"/>
                      </a:lnTo>
                      <a:cubicBezTo>
                        <a:pt x="131520" y="629761"/>
                        <a:pt x="131621" y="630870"/>
                        <a:pt x="131823" y="632181"/>
                      </a:cubicBezTo>
                      <a:lnTo>
                        <a:pt x="131823" y="632181"/>
                      </a:lnTo>
                      <a:cubicBezTo>
                        <a:pt x="135151" y="650739"/>
                        <a:pt x="174184" y="746555"/>
                        <a:pt x="186589" y="803338"/>
                      </a:cubicBezTo>
                      <a:lnTo>
                        <a:pt x="186589" y="803338"/>
                      </a:lnTo>
                      <a:cubicBezTo>
                        <a:pt x="194053" y="837731"/>
                        <a:pt x="199701" y="853970"/>
                        <a:pt x="199801" y="863551"/>
                      </a:cubicBezTo>
                      <a:lnTo>
                        <a:pt x="199801" y="863551"/>
                      </a:lnTo>
                      <a:cubicBezTo>
                        <a:pt x="200104" y="870006"/>
                        <a:pt x="195767" y="874242"/>
                        <a:pt x="189917" y="875452"/>
                      </a:cubicBezTo>
                      <a:lnTo>
                        <a:pt x="189917" y="875452"/>
                      </a:lnTo>
                      <a:cubicBezTo>
                        <a:pt x="179731" y="877671"/>
                        <a:pt x="163997" y="886950"/>
                        <a:pt x="164703" y="894918"/>
                      </a:cubicBezTo>
                      <a:lnTo>
                        <a:pt x="164703" y="894918"/>
                      </a:lnTo>
                      <a:cubicBezTo>
                        <a:pt x="164703" y="897540"/>
                        <a:pt x="165913" y="900465"/>
                        <a:pt x="169947" y="904096"/>
                      </a:cubicBezTo>
                      <a:lnTo>
                        <a:pt x="169947" y="904096"/>
                      </a:lnTo>
                      <a:cubicBezTo>
                        <a:pt x="183967" y="916502"/>
                        <a:pt x="187598" y="928907"/>
                        <a:pt x="187497" y="945549"/>
                      </a:cubicBezTo>
                      <a:lnTo>
                        <a:pt x="187497" y="945549"/>
                      </a:lnTo>
                      <a:cubicBezTo>
                        <a:pt x="187497" y="950794"/>
                        <a:pt x="187194" y="956442"/>
                        <a:pt x="186791" y="962998"/>
                      </a:cubicBezTo>
                      <a:lnTo>
                        <a:pt x="186791" y="962998"/>
                      </a:lnTo>
                      <a:cubicBezTo>
                        <a:pt x="185580" y="981253"/>
                        <a:pt x="179529" y="998500"/>
                        <a:pt x="179630" y="1009090"/>
                      </a:cubicBezTo>
                      <a:lnTo>
                        <a:pt x="179630" y="1009090"/>
                      </a:lnTo>
                      <a:cubicBezTo>
                        <a:pt x="179630" y="1014234"/>
                        <a:pt x="180638" y="1016957"/>
                        <a:pt x="183563" y="1018671"/>
                      </a:cubicBezTo>
                      <a:lnTo>
                        <a:pt x="183563" y="1018671"/>
                      </a:lnTo>
                      <a:cubicBezTo>
                        <a:pt x="194254" y="1025227"/>
                        <a:pt x="213821" y="1019478"/>
                        <a:pt x="224713" y="1029665"/>
                      </a:cubicBezTo>
                      <a:lnTo>
                        <a:pt x="224713" y="1029665"/>
                      </a:lnTo>
                      <a:cubicBezTo>
                        <a:pt x="231774" y="1036826"/>
                        <a:pt x="234497" y="1044189"/>
                        <a:pt x="244785" y="1044189"/>
                      </a:cubicBezTo>
                      <a:lnTo>
                        <a:pt x="244785" y="1044189"/>
                      </a:lnTo>
                      <a:cubicBezTo>
                        <a:pt x="248819" y="1044189"/>
                        <a:pt x="254467" y="1042978"/>
                        <a:pt x="262334" y="1039650"/>
                      </a:cubicBezTo>
                      <a:lnTo>
                        <a:pt x="262334" y="1039650"/>
                      </a:lnTo>
                      <a:cubicBezTo>
                        <a:pt x="270402" y="1036120"/>
                        <a:pt x="277160" y="1034405"/>
                        <a:pt x="283212" y="1034405"/>
                      </a:cubicBezTo>
                      <a:lnTo>
                        <a:pt x="283212" y="1034405"/>
                      </a:lnTo>
                      <a:cubicBezTo>
                        <a:pt x="299147" y="1034708"/>
                        <a:pt x="307014" y="1046710"/>
                        <a:pt x="312158" y="1060931"/>
                      </a:cubicBezTo>
                      <a:lnTo>
                        <a:pt x="312158" y="1060931"/>
                      </a:lnTo>
                      <a:close/>
                      <a:moveTo>
                        <a:pt x="933447" y="741512"/>
                      </a:moveTo>
                      <a:lnTo>
                        <a:pt x="934254" y="738890"/>
                      </a:lnTo>
                      <a:lnTo>
                        <a:pt x="933447" y="741512"/>
                      </a:lnTo>
                      <a:lnTo>
                        <a:pt x="933447" y="741512"/>
                      </a:lnTo>
                      <a:close/>
                    </a:path>
                  </a:pathLst>
                </a:custGeom>
                <a:solidFill>
                  <a:srgbClr val="ABDEF6"/>
                </a:solidFill>
                <a:ln w="10085" cap="flat">
                  <a:solidFill>
                    <a:srgbClr val="FFFFFF"/>
                  </a:solidFill>
                  <a:prstDash val="solid"/>
                  <a:miter/>
                </a:ln>
              </p:spPr>
              <p:txBody>
                <a:bodyPr rtlCol="0" anchor="ctr"/>
                <a:lstStyle/>
                <a:p>
                  <a:endParaRPr lang="fr-FR" sz="900"/>
                </a:p>
              </p:txBody>
            </p:sp>
          </p:grpSp>
          <p:grpSp>
            <p:nvGrpSpPr>
              <p:cNvPr id="67" name="Graphique 17">
                <a:extLst>
                  <a:ext uri="{FF2B5EF4-FFF2-40B4-BE49-F238E27FC236}">
                    <a16:creationId xmlns:a16="http://schemas.microsoft.com/office/drawing/2014/main" id="{EC9344BF-9990-3FF5-06D1-940ED28D5B70}"/>
                  </a:ext>
                </a:extLst>
              </p:cNvPr>
              <p:cNvGrpSpPr/>
              <p:nvPr/>
            </p:nvGrpSpPr>
            <p:grpSpPr>
              <a:xfrm>
                <a:off x="6762516" y="5658682"/>
                <a:ext cx="1610812" cy="1539202"/>
                <a:chOff x="6762516" y="5658682"/>
                <a:chExt cx="1610812" cy="1539202"/>
              </a:xfrm>
              <a:solidFill>
                <a:srgbClr val="ABDEF6"/>
              </a:solidFill>
            </p:grpSpPr>
            <p:sp>
              <p:nvSpPr>
                <p:cNvPr id="68" name="Forme libre : forme 67">
                  <a:extLst>
                    <a:ext uri="{FF2B5EF4-FFF2-40B4-BE49-F238E27FC236}">
                      <a16:creationId xmlns:a16="http://schemas.microsoft.com/office/drawing/2014/main" id="{B8AEB129-1255-638F-5681-F50C8F327F28}"/>
                    </a:ext>
                  </a:extLst>
                </p:cNvPr>
                <p:cNvSpPr/>
                <p:nvPr/>
              </p:nvSpPr>
              <p:spPr>
                <a:xfrm>
                  <a:off x="6765448" y="5660800"/>
                  <a:ext cx="1605235" cy="1534663"/>
                </a:xfrm>
                <a:custGeom>
                  <a:avLst/>
                  <a:gdLst>
                    <a:gd name="connsiteX0" fmla="*/ 1600014 w 1605235"/>
                    <a:gd name="connsiteY0" fmla="*/ 413621 h 1534663"/>
                    <a:gd name="connsiteX1" fmla="*/ 1528404 w 1605235"/>
                    <a:gd name="connsiteY1" fmla="*/ 379329 h 1534663"/>
                    <a:gd name="connsiteX2" fmla="*/ 1475453 w 1605235"/>
                    <a:gd name="connsiteY2" fmla="*/ 301466 h 1534663"/>
                    <a:gd name="connsiteX3" fmla="*/ 1403844 w 1605235"/>
                    <a:gd name="connsiteY3" fmla="*/ 357544 h 1534663"/>
                    <a:gd name="connsiteX4" fmla="*/ 1307221 w 1605235"/>
                    <a:gd name="connsiteY4" fmla="*/ 354417 h 1534663"/>
                    <a:gd name="connsiteX5" fmla="*/ 1260524 w 1605235"/>
                    <a:gd name="connsiteY5" fmla="*/ 354417 h 1534663"/>
                    <a:gd name="connsiteX6" fmla="*/ 1216953 w 1605235"/>
                    <a:gd name="connsiteY6" fmla="*/ 373076 h 1534663"/>
                    <a:gd name="connsiteX7" fmla="*/ 1185888 w 1605235"/>
                    <a:gd name="connsiteY7" fmla="*/ 285934 h 1534663"/>
                    <a:gd name="connsiteX8" fmla="*/ 1126684 w 1605235"/>
                    <a:gd name="connsiteY8" fmla="*/ 273428 h 1534663"/>
                    <a:gd name="connsiteX9" fmla="*/ 1095519 w 1605235"/>
                    <a:gd name="connsiteY9" fmla="*/ 351290 h 1534663"/>
                    <a:gd name="connsiteX10" fmla="*/ 1020884 w 1605235"/>
                    <a:gd name="connsiteY10" fmla="*/ 273428 h 1534663"/>
                    <a:gd name="connsiteX11" fmla="*/ 943021 w 1605235"/>
                    <a:gd name="connsiteY11" fmla="*/ 139487 h 1534663"/>
                    <a:gd name="connsiteX12" fmla="*/ 833993 w 1605235"/>
                    <a:gd name="connsiteY12" fmla="*/ 80283 h 1534663"/>
                    <a:gd name="connsiteX13" fmla="*/ 749877 w 1605235"/>
                    <a:gd name="connsiteY13" fmla="*/ 49118 h 1534663"/>
                    <a:gd name="connsiteX14" fmla="*/ 678267 w 1605235"/>
                    <a:gd name="connsiteY14" fmla="*/ 83410 h 1534663"/>
                    <a:gd name="connsiteX15" fmla="*/ 600404 w 1605235"/>
                    <a:gd name="connsiteY15" fmla="*/ 95816 h 1534663"/>
                    <a:gd name="connsiteX16" fmla="*/ 538074 w 1605235"/>
                    <a:gd name="connsiteY16" fmla="*/ 67777 h 1534663"/>
                    <a:gd name="connsiteX17" fmla="*/ 463338 w 1605235"/>
                    <a:gd name="connsiteY17" fmla="*/ 17953 h 1534663"/>
                    <a:gd name="connsiteX18" fmla="*/ 369943 w 1605235"/>
                    <a:gd name="connsiteY18" fmla="*/ 58397 h 1534663"/>
                    <a:gd name="connsiteX19" fmla="*/ 304486 w 1605235"/>
                    <a:gd name="connsiteY19" fmla="*/ 14826 h 1534663"/>
                    <a:gd name="connsiteX20" fmla="*/ 292282 w 1605235"/>
                    <a:gd name="connsiteY20" fmla="*/ 0 h 1534663"/>
                    <a:gd name="connsiteX21" fmla="*/ 246391 w 1605235"/>
                    <a:gd name="connsiteY21" fmla="*/ 50732 h 1534663"/>
                    <a:gd name="connsiteX22" fmla="*/ 194852 w 1605235"/>
                    <a:gd name="connsiteY22" fmla="*/ 42159 h 1534663"/>
                    <a:gd name="connsiteX23" fmla="*/ 106903 w 1605235"/>
                    <a:gd name="connsiteY23" fmla="*/ 74333 h 1534663"/>
                    <a:gd name="connsiteX24" fmla="*/ 104786 w 1605235"/>
                    <a:gd name="connsiteY24" fmla="*/ 211601 h 1534663"/>
                    <a:gd name="connsiteX25" fmla="*/ 83403 w 1605235"/>
                    <a:gd name="connsiteY25" fmla="*/ 282303 h 1534663"/>
                    <a:gd name="connsiteX26" fmla="*/ 46892 w 1605235"/>
                    <a:gd name="connsiteY26" fmla="*/ 350887 h 1534663"/>
                    <a:gd name="connsiteX27" fmla="*/ 57583 w 1605235"/>
                    <a:gd name="connsiteY27" fmla="*/ 468791 h 1534663"/>
                    <a:gd name="connsiteX28" fmla="*/ 83403 w 1605235"/>
                    <a:gd name="connsiteY28" fmla="*/ 518111 h 1534663"/>
                    <a:gd name="connsiteX29" fmla="*/ 29747 w 1605235"/>
                    <a:gd name="connsiteY29" fmla="*/ 612514 h 1534663"/>
                    <a:gd name="connsiteX30" fmla="*/ 23292 w 1605235"/>
                    <a:gd name="connsiteY30" fmla="*/ 732637 h 1534663"/>
                    <a:gd name="connsiteX31" fmla="*/ 63938 w 1605235"/>
                    <a:gd name="connsiteY31" fmla="*/ 818467 h 1534663"/>
                    <a:gd name="connsiteX32" fmla="*/ 182043 w 1605235"/>
                    <a:gd name="connsiteY32" fmla="*/ 927899 h 1534663"/>
                    <a:gd name="connsiteX33" fmla="*/ 332121 w 1605235"/>
                    <a:gd name="connsiteY33" fmla="*/ 1030775 h 1534663"/>
                    <a:gd name="connsiteX34" fmla="*/ 368531 w 1605235"/>
                    <a:gd name="connsiteY34" fmla="*/ 1110150 h 1534663"/>
                    <a:gd name="connsiteX35" fmla="*/ 486535 w 1605235"/>
                    <a:gd name="connsiteY35" fmla="*/ 1230273 h 1534663"/>
                    <a:gd name="connsiteX36" fmla="*/ 542310 w 1605235"/>
                    <a:gd name="connsiteY36" fmla="*/ 1378232 h 1534663"/>
                    <a:gd name="connsiteX37" fmla="*/ 598387 w 1605235"/>
                    <a:gd name="connsiteY37" fmla="*/ 1438344 h 1534663"/>
                    <a:gd name="connsiteX38" fmla="*/ 656381 w 1605235"/>
                    <a:gd name="connsiteY38" fmla="*/ 1428662 h 1534663"/>
                    <a:gd name="connsiteX39" fmla="*/ 727991 w 1605235"/>
                    <a:gd name="connsiteY39" fmla="*/ 1378837 h 1534663"/>
                    <a:gd name="connsiteX40" fmla="*/ 790321 w 1605235"/>
                    <a:gd name="connsiteY40" fmla="*/ 1441168 h 1534663"/>
                    <a:gd name="connsiteX41" fmla="*/ 846398 w 1605235"/>
                    <a:gd name="connsiteY41" fmla="*/ 1431788 h 1534663"/>
                    <a:gd name="connsiteX42" fmla="*/ 946047 w 1605235"/>
                    <a:gd name="connsiteY42" fmla="*/ 1444295 h 1534663"/>
                    <a:gd name="connsiteX43" fmla="*/ 1014530 w 1605235"/>
                    <a:gd name="connsiteY43" fmla="*/ 1447421 h 1534663"/>
                    <a:gd name="connsiteX44" fmla="*/ 1076760 w 1605235"/>
                    <a:gd name="connsiteY44" fmla="*/ 1441269 h 1534663"/>
                    <a:gd name="connsiteX45" fmla="*/ 1154622 w 1605235"/>
                    <a:gd name="connsiteY45" fmla="*/ 1500372 h 1534663"/>
                    <a:gd name="connsiteX46" fmla="*/ 1207573 w 1605235"/>
                    <a:gd name="connsiteY46" fmla="*/ 1534664 h 1534663"/>
                    <a:gd name="connsiteX47" fmla="*/ 1229359 w 1605235"/>
                    <a:gd name="connsiteY47" fmla="*/ 1475460 h 1534663"/>
                    <a:gd name="connsiteX48" fmla="*/ 1257296 w 1605235"/>
                    <a:gd name="connsiteY48" fmla="*/ 1378938 h 1534663"/>
                    <a:gd name="connsiteX49" fmla="*/ 1313374 w 1605235"/>
                    <a:gd name="connsiteY49" fmla="*/ 1260631 h 1534663"/>
                    <a:gd name="connsiteX50" fmla="*/ 1363198 w 1605235"/>
                    <a:gd name="connsiteY50" fmla="*/ 1117412 h 1534663"/>
                    <a:gd name="connsiteX51" fmla="*/ 1325780 w 1605235"/>
                    <a:gd name="connsiteY51" fmla="*/ 1067588 h 1534663"/>
                    <a:gd name="connsiteX52" fmla="*/ 1294715 w 1605235"/>
                    <a:gd name="connsiteY52" fmla="*/ 980446 h 1534663"/>
                    <a:gd name="connsiteX53" fmla="*/ 1341413 w 1605235"/>
                    <a:gd name="connsiteY53" fmla="*/ 896330 h 1534663"/>
                    <a:gd name="connsiteX54" fmla="*/ 1403642 w 1605235"/>
                    <a:gd name="connsiteY54" fmla="*/ 787302 h 1534663"/>
                    <a:gd name="connsiteX55" fmla="*/ 1375604 w 1605235"/>
                    <a:gd name="connsiteY55" fmla="*/ 703186 h 1534663"/>
                    <a:gd name="connsiteX56" fmla="*/ 1378730 w 1605235"/>
                    <a:gd name="connsiteY56" fmla="*/ 634703 h 1534663"/>
                    <a:gd name="connsiteX57" fmla="*/ 1331932 w 1605235"/>
                    <a:gd name="connsiteY57" fmla="*/ 659615 h 1534663"/>
                    <a:gd name="connsiteX58" fmla="*/ 1291487 w 1605235"/>
                    <a:gd name="connsiteY58" fmla="*/ 631576 h 1534663"/>
                    <a:gd name="connsiteX59" fmla="*/ 1257195 w 1605235"/>
                    <a:gd name="connsiteY59" fmla="*/ 594259 h 1534663"/>
                    <a:gd name="connsiteX60" fmla="*/ 1216751 w 1605235"/>
                    <a:gd name="connsiteY60" fmla="*/ 538181 h 1534663"/>
                    <a:gd name="connsiteX61" fmla="*/ 1263448 w 1605235"/>
                    <a:gd name="connsiteY61" fmla="*/ 435406 h 1534663"/>
                    <a:gd name="connsiteX62" fmla="*/ 1300766 w 1605235"/>
                    <a:gd name="connsiteY62" fmla="*/ 432280 h 1534663"/>
                    <a:gd name="connsiteX63" fmla="*/ 1319425 w 1605235"/>
                    <a:gd name="connsiteY63" fmla="*/ 478977 h 1534663"/>
                    <a:gd name="connsiteX64" fmla="*/ 1403541 w 1605235"/>
                    <a:gd name="connsiteY64" fmla="*/ 510143 h 1534663"/>
                    <a:gd name="connsiteX65" fmla="*/ 1553014 w 1605235"/>
                    <a:gd name="connsiteY65" fmla="*/ 519523 h 1534663"/>
                    <a:gd name="connsiteX66" fmla="*/ 1581053 w 1605235"/>
                    <a:gd name="connsiteY66" fmla="*/ 469698 h 1534663"/>
                    <a:gd name="connsiteX67" fmla="*/ 1600014 w 1605235"/>
                    <a:gd name="connsiteY67" fmla="*/ 413621 h 1534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1605235" h="1534663">
                      <a:moveTo>
                        <a:pt x="1600014" y="413621"/>
                      </a:moveTo>
                      <a:cubicBezTo>
                        <a:pt x="1581355" y="385582"/>
                        <a:pt x="1550290" y="394962"/>
                        <a:pt x="1528404" y="379329"/>
                      </a:cubicBezTo>
                      <a:cubicBezTo>
                        <a:pt x="1506619" y="363797"/>
                        <a:pt x="1531531" y="301466"/>
                        <a:pt x="1475453" y="301466"/>
                      </a:cubicBezTo>
                      <a:cubicBezTo>
                        <a:pt x="1419376" y="301466"/>
                        <a:pt x="1425629" y="338885"/>
                        <a:pt x="1403844" y="357544"/>
                      </a:cubicBezTo>
                      <a:cubicBezTo>
                        <a:pt x="1382058" y="376202"/>
                        <a:pt x="1322854" y="373076"/>
                        <a:pt x="1307221" y="354417"/>
                      </a:cubicBezTo>
                      <a:cubicBezTo>
                        <a:pt x="1291689" y="335758"/>
                        <a:pt x="1266777" y="335758"/>
                        <a:pt x="1260524" y="354417"/>
                      </a:cubicBezTo>
                      <a:cubicBezTo>
                        <a:pt x="1254271" y="373076"/>
                        <a:pt x="1244891" y="379329"/>
                        <a:pt x="1216953" y="373076"/>
                      </a:cubicBezTo>
                      <a:cubicBezTo>
                        <a:pt x="1188914" y="366823"/>
                        <a:pt x="1210801" y="310846"/>
                        <a:pt x="1185888" y="285934"/>
                      </a:cubicBezTo>
                      <a:cubicBezTo>
                        <a:pt x="1160976" y="261022"/>
                        <a:pt x="1126684" y="273428"/>
                        <a:pt x="1126684" y="273428"/>
                      </a:cubicBezTo>
                      <a:cubicBezTo>
                        <a:pt x="1126684" y="273428"/>
                        <a:pt x="1139090" y="341911"/>
                        <a:pt x="1095519" y="351290"/>
                      </a:cubicBezTo>
                      <a:cubicBezTo>
                        <a:pt x="1051948" y="360670"/>
                        <a:pt x="1042569" y="316999"/>
                        <a:pt x="1020884" y="273428"/>
                      </a:cubicBezTo>
                      <a:cubicBezTo>
                        <a:pt x="999099" y="229857"/>
                        <a:pt x="952401" y="189312"/>
                        <a:pt x="943021" y="139487"/>
                      </a:cubicBezTo>
                      <a:cubicBezTo>
                        <a:pt x="933641" y="89663"/>
                        <a:pt x="880691" y="77157"/>
                        <a:pt x="833993" y="80283"/>
                      </a:cubicBezTo>
                      <a:cubicBezTo>
                        <a:pt x="787296" y="83410"/>
                        <a:pt x="781143" y="52245"/>
                        <a:pt x="749877" y="49118"/>
                      </a:cubicBezTo>
                      <a:cubicBezTo>
                        <a:pt x="718712" y="45991"/>
                        <a:pt x="709432" y="55271"/>
                        <a:pt x="678267" y="83410"/>
                      </a:cubicBezTo>
                      <a:cubicBezTo>
                        <a:pt x="647203" y="111449"/>
                        <a:pt x="606657" y="111449"/>
                        <a:pt x="600404" y="95816"/>
                      </a:cubicBezTo>
                      <a:cubicBezTo>
                        <a:pt x="594050" y="80283"/>
                        <a:pt x="569239" y="67777"/>
                        <a:pt x="538074" y="67777"/>
                      </a:cubicBezTo>
                      <a:cubicBezTo>
                        <a:pt x="506909" y="67777"/>
                        <a:pt x="522542" y="14826"/>
                        <a:pt x="463338" y="17953"/>
                      </a:cubicBezTo>
                      <a:cubicBezTo>
                        <a:pt x="404134" y="21080"/>
                        <a:pt x="426020" y="45991"/>
                        <a:pt x="369943" y="58397"/>
                      </a:cubicBezTo>
                      <a:cubicBezTo>
                        <a:pt x="313865" y="70803"/>
                        <a:pt x="313966" y="39738"/>
                        <a:pt x="304486" y="14826"/>
                      </a:cubicBezTo>
                      <a:cubicBezTo>
                        <a:pt x="302165" y="8674"/>
                        <a:pt x="297728" y="3732"/>
                        <a:pt x="292282" y="0"/>
                      </a:cubicBezTo>
                      <a:cubicBezTo>
                        <a:pt x="286734" y="16541"/>
                        <a:pt x="263436" y="35200"/>
                        <a:pt x="246391" y="50732"/>
                      </a:cubicBezTo>
                      <a:cubicBezTo>
                        <a:pt x="222790" y="72215"/>
                        <a:pt x="224908" y="57187"/>
                        <a:pt x="194852" y="42159"/>
                      </a:cubicBezTo>
                      <a:cubicBezTo>
                        <a:pt x="164796" y="27131"/>
                        <a:pt x="106903" y="35704"/>
                        <a:pt x="106903" y="74333"/>
                      </a:cubicBezTo>
                      <a:cubicBezTo>
                        <a:pt x="106903" y="112962"/>
                        <a:pt x="134841" y="190219"/>
                        <a:pt x="104786" y="211601"/>
                      </a:cubicBezTo>
                      <a:cubicBezTo>
                        <a:pt x="74729" y="232983"/>
                        <a:pt x="85521" y="256584"/>
                        <a:pt x="83403" y="282303"/>
                      </a:cubicBezTo>
                      <a:cubicBezTo>
                        <a:pt x="81286" y="308022"/>
                        <a:pt x="51129" y="318814"/>
                        <a:pt x="46892" y="350887"/>
                      </a:cubicBezTo>
                      <a:cubicBezTo>
                        <a:pt x="42657" y="383061"/>
                        <a:pt x="57583" y="445190"/>
                        <a:pt x="57583" y="468791"/>
                      </a:cubicBezTo>
                      <a:cubicBezTo>
                        <a:pt x="57583" y="492392"/>
                        <a:pt x="79167" y="496728"/>
                        <a:pt x="83403" y="518111"/>
                      </a:cubicBezTo>
                      <a:cubicBezTo>
                        <a:pt x="87640" y="539493"/>
                        <a:pt x="70494" y="578222"/>
                        <a:pt x="29747" y="612514"/>
                      </a:cubicBezTo>
                      <a:cubicBezTo>
                        <a:pt x="-11000" y="646806"/>
                        <a:pt x="-6663" y="723963"/>
                        <a:pt x="23292" y="732637"/>
                      </a:cubicBezTo>
                      <a:cubicBezTo>
                        <a:pt x="53348" y="741210"/>
                        <a:pt x="48910" y="788411"/>
                        <a:pt x="63938" y="818467"/>
                      </a:cubicBezTo>
                      <a:cubicBezTo>
                        <a:pt x="78965" y="848523"/>
                        <a:pt x="121931" y="902180"/>
                        <a:pt x="182043" y="927899"/>
                      </a:cubicBezTo>
                      <a:cubicBezTo>
                        <a:pt x="242054" y="953618"/>
                        <a:pt x="325565" y="966427"/>
                        <a:pt x="332121" y="1030775"/>
                      </a:cubicBezTo>
                      <a:cubicBezTo>
                        <a:pt x="338576" y="1095122"/>
                        <a:pt x="323447" y="1093004"/>
                        <a:pt x="368531" y="1110150"/>
                      </a:cubicBezTo>
                      <a:cubicBezTo>
                        <a:pt x="413615" y="1127296"/>
                        <a:pt x="482198" y="1195981"/>
                        <a:pt x="486535" y="1230273"/>
                      </a:cubicBezTo>
                      <a:cubicBezTo>
                        <a:pt x="490872" y="1264565"/>
                        <a:pt x="512153" y="1339604"/>
                        <a:pt x="542310" y="1378232"/>
                      </a:cubicBezTo>
                      <a:cubicBezTo>
                        <a:pt x="560465" y="1401631"/>
                        <a:pt x="583964" y="1421803"/>
                        <a:pt x="598387" y="1438344"/>
                      </a:cubicBezTo>
                      <a:lnTo>
                        <a:pt x="656381" y="1428662"/>
                      </a:lnTo>
                      <a:cubicBezTo>
                        <a:pt x="656381" y="1428662"/>
                        <a:pt x="687445" y="1406876"/>
                        <a:pt x="727991" y="1378837"/>
                      </a:cubicBezTo>
                      <a:cubicBezTo>
                        <a:pt x="768536" y="1350799"/>
                        <a:pt x="790321" y="1422408"/>
                        <a:pt x="790321" y="1441168"/>
                      </a:cubicBezTo>
                      <a:cubicBezTo>
                        <a:pt x="790321" y="1459827"/>
                        <a:pt x="824613" y="1447320"/>
                        <a:pt x="846398" y="1431788"/>
                      </a:cubicBezTo>
                      <a:cubicBezTo>
                        <a:pt x="868184" y="1416256"/>
                        <a:pt x="936667" y="1425535"/>
                        <a:pt x="946047" y="1444295"/>
                      </a:cubicBezTo>
                      <a:cubicBezTo>
                        <a:pt x="955326" y="1462954"/>
                        <a:pt x="998998" y="1462954"/>
                        <a:pt x="1014530" y="1447421"/>
                      </a:cubicBezTo>
                      <a:cubicBezTo>
                        <a:pt x="1030163" y="1431889"/>
                        <a:pt x="1067480" y="1431889"/>
                        <a:pt x="1076760" y="1441269"/>
                      </a:cubicBezTo>
                      <a:cubicBezTo>
                        <a:pt x="1086039" y="1450548"/>
                        <a:pt x="1132837" y="1491093"/>
                        <a:pt x="1154622" y="1500372"/>
                      </a:cubicBezTo>
                      <a:cubicBezTo>
                        <a:pt x="1176408" y="1509752"/>
                        <a:pt x="1195067" y="1534664"/>
                        <a:pt x="1207573" y="1534664"/>
                      </a:cubicBezTo>
                      <a:cubicBezTo>
                        <a:pt x="1220079" y="1534664"/>
                        <a:pt x="1229359" y="1503499"/>
                        <a:pt x="1229359" y="1475460"/>
                      </a:cubicBezTo>
                      <a:cubicBezTo>
                        <a:pt x="1229359" y="1447421"/>
                        <a:pt x="1244891" y="1419383"/>
                        <a:pt x="1257296" y="1378938"/>
                      </a:cubicBezTo>
                      <a:cubicBezTo>
                        <a:pt x="1269803" y="1338494"/>
                        <a:pt x="1307120" y="1282417"/>
                        <a:pt x="1313374" y="1260631"/>
                      </a:cubicBezTo>
                      <a:cubicBezTo>
                        <a:pt x="1319627" y="1238846"/>
                        <a:pt x="1335159" y="1164110"/>
                        <a:pt x="1363198" y="1117412"/>
                      </a:cubicBezTo>
                      <a:cubicBezTo>
                        <a:pt x="1391136" y="1070715"/>
                        <a:pt x="1344539" y="1067588"/>
                        <a:pt x="1325780" y="1067588"/>
                      </a:cubicBezTo>
                      <a:cubicBezTo>
                        <a:pt x="1307019" y="1067588"/>
                        <a:pt x="1291588" y="1005257"/>
                        <a:pt x="1294715" y="980446"/>
                      </a:cubicBezTo>
                      <a:cubicBezTo>
                        <a:pt x="1297842" y="955534"/>
                        <a:pt x="1288462" y="924369"/>
                        <a:pt x="1341413" y="896330"/>
                      </a:cubicBezTo>
                      <a:cubicBezTo>
                        <a:pt x="1394363" y="868291"/>
                        <a:pt x="1403642" y="843379"/>
                        <a:pt x="1403642" y="787302"/>
                      </a:cubicBezTo>
                      <a:cubicBezTo>
                        <a:pt x="1403642" y="731225"/>
                        <a:pt x="1375604" y="703186"/>
                        <a:pt x="1375604" y="703186"/>
                      </a:cubicBezTo>
                      <a:cubicBezTo>
                        <a:pt x="1375604" y="703186"/>
                        <a:pt x="1409895" y="656489"/>
                        <a:pt x="1378730" y="634703"/>
                      </a:cubicBezTo>
                      <a:cubicBezTo>
                        <a:pt x="1347666" y="612918"/>
                        <a:pt x="1353818" y="647209"/>
                        <a:pt x="1331932" y="659615"/>
                      </a:cubicBezTo>
                      <a:cubicBezTo>
                        <a:pt x="1310046" y="672021"/>
                        <a:pt x="1291487" y="650235"/>
                        <a:pt x="1291487" y="631576"/>
                      </a:cubicBezTo>
                      <a:cubicBezTo>
                        <a:pt x="1291487" y="612918"/>
                        <a:pt x="1282108" y="591132"/>
                        <a:pt x="1257195" y="594259"/>
                      </a:cubicBezTo>
                      <a:cubicBezTo>
                        <a:pt x="1232384" y="597385"/>
                        <a:pt x="1210498" y="578727"/>
                        <a:pt x="1216751" y="538181"/>
                      </a:cubicBezTo>
                      <a:cubicBezTo>
                        <a:pt x="1223005" y="497737"/>
                        <a:pt x="1260322" y="478977"/>
                        <a:pt x="1263448" y="435406"/>
                      </a:cubicBezTo>
                      <a:cubicBezTo>
                        <a:pt x="1266575" y="391836"/>
                        <a:pt x="1303893" y="404241"/>
                        <a:pt x="1300766" y="432280"/>
                      </a:cubicBezTo>
                      <a:cubicBezTo>
                        <a:pt x="1297640" y="460318"/>
                        <a:pt x="1297640" y="457192"/>
                        <a:pt x="1319425" y="478977"/>
                      </a:cubicBezTo>
                      <a:cubicBezTo>
                        <a:pt x="1341211" y="500763"/>
                        <a:pt x="1359869" y="491383"/>
                        <a:pt x="1403541" y="510143"/>
                      </a:cubicBezTo>
                      <a:cubicBezTo>
                        <a:pt x="1447112" y="528802"/>
                        <a:pt x="1512569" y="525675"/>
                        <a:pt x="1553014" y="519523"/>
                      </a:cubicBezTo>
                      <a:cubicBezTo>
                        <a:pt x="1593458" y="513269"/>
                        <a:pt x="1581053" y="491484"/>
                        <a:pt x="1581053" y="469698"/>
                      </a:cubicBezTo>
                      <a:cubicBezTo>
                        <a:pt x="1581355" y="447812"/>
                        <a:pt x="1618673" y="441660"/>
                        <a:pt x="1600014" y="413621"/>
                      </a:cubicBezTo>
                      <a:close/>
                    </a:path>
                  </a:pathLst>
                </a:custGeom>
                <a:solidFill>
                  <a:schemeClr val="bg1">
                    <a:lumMod val="75000"/>
                  </a:schemeClr>
                </a:solidFill>
                <a:ln w="10085" cap="flat">
                  <a:solidFill>
                    <a:srgbClr val="FFFFFF"/>
                  </a:solidFill>
                  <a:prstDash val="solid"/>
                  <a:miter/>
                </a:ln>
              </p:spPr>
              <p:txBody>
                <a:bodyPr rtlCol="0" anchor="ctr"/>
                <a:lstStyle/>
                <a:p>
                  <a:endParaRPr lang="fr-FR" sz="900"/>
                </a:p>
              </p:txBody>
            </p:sp>
            <p:sp>
              <p:nvSpPr>
                <p:cNvPr id="69" name="Forme libre : forme 68">
                  <a:extLst>
                    <a:ext uri="{FF2B5EF4-FFF2-40B4-BE49-F238E27FC236}">
                      <a16:creationId xmlns:a16="http://schemas.microsoft.com/office/drawing/2014/main" id="{A09E6BBB-BD90-1E9E-2036-721B57660E25}"/>
                    </a:ext>
                  </a:extLst>
                </p:cNvPr>
                <p:cNvSpPr/>
                <p:nvPr/>
              </p:nvSpPr>
              <p:spPr>
                <a:xfrm>
                  <a:off x="6762516" y="5658682"/>
                  <a:ext cx="1610812" cy="1539202"/>
                </a:xfrm>
                <a:custGeom>
                  <a:avLst/>
                  <a:gdLst>
                    <a:gd name="connsiteX0" fmla="*/ 1156546 w 1610812"/>
                    <a:gd name="connsiteY0" fmla="*/ 1505012 h 1539202"/>
                    <a:gd name="connsiteX1" fmla="*/ 1077775 w 1610812"/>
                    <a:gd name="connsiteY1" fmla="*/ 1445303 h 1539202"/>
                    <a:gd name="connsiteX2" fmla="*/ 1077775 w 1610812"/>
                    <a:gd name="connsiteY2" fmla="*/ 1445303 h 1539202"/>
                    <a:gd name="connsiteX3" fmla="*/ 1055586 w 1610812"/>
                    <a:gd name="connsiteY3" fmla="*/ 1439655 h 1539202"/>
                    <a:gd name="connsiteX4" fmla="*/ 1055586 w 1610812"/>
                    <a:gd name="connsiteY4" fmla="*/ 1439655 h 1539202"/>
                    <a:gd name="connsiteX5" fmla="*/ 1019378 w 1610812"/>
                    <a:gd name="connsiteY5" fmla="*/ 1451556 h 1539202"/>
                    <a:gd name="connsiteX6" fmla="*/ 1019378 w 1610812"/>
                    <a:gd name="connsiteY6" fmla="*/ 1451556 h 1539202"/>
                    <a:gd name="connsiteX7" fmla="*/ 982666 w 1610812"/>
                    <a:gd name="connsiteY7" fmla="*/ 1463659 h 1539202"/>
                    <a:gd name="connsiteX8" fmla="*/ 982666 w 1610812"/>
                    <a:gd name="connsiteY8" fmla="*/ 1463659 h 1539202"/>
                    <a:gd name="connsiteX9" fmla="*/ 946457 w 1610812"/>
                    <a:gd name="connsiteY9" fmla="*/ 1447724 h 1539202"/>
                    <a:gd name="connsiteX10" fmla="*/ 946457 w 1610812"/>
                    <a:gd name="connsiteY10" fmla="*/ 1447724 h 1539202"/>
                    <a:gd name="connsiteX11" fmla="*/ 885034 w 1610812"/>
                    <a:gd name="connsiteY11" fmla="*/ 1428863 h 1539202"/>
                    <a:gd name="connsiteX12" fmla="*/ 885034 w 1610812"/>
                    <a:gd name="connsiteY12" fmla="*/ 1428863 h 1539202"/>
                    <a:gd name="connsiteX13" fmla="*/ 850944 w 1610812"/>
                    <a:gd name="connsiteY13" fmla="*/ 1436226 h 1539202"/>
                    <a:gd name="connsiteX14" fmla="*/ 850944 w 1610812"/>
                    <a:gd name="connsiteY14" fmla="*/ 1436226 h 1539202"/>
                    <a:gd name="connsiteX15" fmla="*/ 804247 w 1610812"/>
                    <a:gd name="connsiteY15" fmla="*/ 1455389 h 1539202"/>
                    <a:gd name="connsiteX16" fmla="*/ 804247 w 1610812"/>
                    <a:gd name="connsiteY16" fmla="*/ 1455389 h 1539202"/>
                    <a:gd name="connsiteX17" fmla="*/ 790530 w 1610812"/>
                    <a:gd name="connsiteY17" fmla="*/ 1443286 h 1539202"/>
                    <a:gd name="connsiteX18" fmla="*/ 790530 w 1610812"/>
                    <a:gd name="connsiteY18" fmla="*/ 1443286 h 1539202"/>
                    <a:gd name="connsiteX19" fmla="*/ 748875 w 1610812"/>
                    <a:gd name="connsiteY19" fmla="*/ 1377325 h 1539202"/>
                    <a:gd name="connsiteX20" fmla="*/ 748875 w 1610812"/>
                    <a:gd name="connsiteY20" fmla="*/ 1377325 h 1539202"/>
                    <a:gd name="connsiteX21" fmla="*/ 732536 w 1610812"/>
                    <a:gd name="connsiteY21" fmla="*/ 1383275 h 1539202"/>
                    <a:gd name="connsiteX22" fmla="*/ 732536 w 1610812"/>
                    <a:gd name="connsiteY22" fmla="*/ 1383275 h 1539202"/>
                    <a:gd name="connsiteX23" fmla="*/ 659817 w 1610812"/>
                    <a:gd name="connsiteY23" fmla="*/ 1433704 h 1539202"/>
                    <a:gd name="connsiteX24" fmla="*/ 659817 w 1610812"/>
                    <a:gd name="connsiteY24" fmla="*/ 1433704 h 1539202"/>
                    <a:gd name="connsiteX25" fmla="*/ 599302 w 1610812"/>
                    <a:gd name="connsiteY25" fmla="*/ 1442378 h 1539202"/>
                    <a:gd name="connsiteX26" fmla="*/ 543225 w 1610812"/>
                    <a:gd name="connsiteY26" fmla="*/ 1382065 h 1539202"/>
                    <a:gd name="connsiteX27" fmla="*/ 543225 w 1610812"/>
                    <a:gd name="connsiteY27" fmla="*/ 1382065 h 1539202"/>
                    <a:gd name="connsiteX28" fmla="*/ 486844 w 1610812"/>
                    <a:gd name="connsiteY28" fmla="*/ 1232794 h 1539202"/>
                    <a:gd name="connsiteX29" fmla="*/ 486844 w 1610812"/>
                    <a:gd name="connsiteY29" fmla="*/ 1232794 h 1539202"/>
                    <a:gd name="connsiteX30" fmla="*/ 370555 w 1610812"/>
                    <a:gd name="connsiteY30" fmla="*/ 1114991 h 1539202"/>
                    <a:gd name="connsiteX31" fmla="*/ 370555 w 1610812"/>
                    <a:gd name="connsiteY31" fmla="*/ 1114991 h 1539202"/>
                    <a:gd name="connsiteX32" fmla="*/ 332329 w 1610812"/>
                    <a:gd name="connsiteY32" fmla="*/ 1033296 h 1539202"/>
                    <a:gd name="connsiteX33" fmla="*/ 332329 w 1610812"/>
                    <a:gd name="connsiteY33" fmla="*/ 1033296 h 1539202"/>
                    <a:gd name="connsiteX34" fmla="*/ 183967 w 1610812"/>
                    <a:gd name="connsiteY34" fmla="*/ 932639 h 1539202"/>
                    <a:gd name="connsiteX35" fmla="*/ 183967 w 1610812"/>
                    <a:gd name="connsiteY35" fmla="*/ 932639 h 1539202"/>
                    <a:gd name="connsiteX36" fmla="*/ 64449 w 1610812"/>
                    <a:gd name="connsiteY36" fmla="*/ 821796 h 1539202"/>
                    <a:gd name="connsiteX37" fmla="*/ 64449 w 1610812"/>
                    <a:gd name="connsiteY37" fmla="*/ 821796 h 1539202"/>
                    <a:gd name="connsiteX38" fmla="*/ 25417 w 1610812"/>
                    <a:gd name="connsiteY38" fmla="*/ 737579 h 1539202"/>
                    <a:gd name="connsiteX39" fmla="*/ 25417 w 1610812"/>
                    <a:gd name="connsiteY39" fmla="*/ 737579 h 1539202"/>
                    <a:gd name="connsiteX40" fmla="*/ 0 w 1610812"/>
                    <a:gd name="connsiteY40" fmla="*/ 685435 h 1539202"/>
                    <a:gd name="connsiteX41" fmla="*/ 0 w 1610812"/>
                    <a:gd name="connsiteY41" fmla="*/ 685435 h 1539202"/>
                    <a:gd name="connsiteX42" fmla="*/ 30762 w 1610812"/>
                    <a:gd name="connsiteY42" fmla="*/ 612615 h 1539202"/>
                    <a:gd name="connsiteX43" fmla="*/ 30762 w 1610812"/>
                    <a:gd name="connsiteY43" fmla="*/ 612615 h 1539202"/>
                    <a:gd name="connsiteX44" fmla="*/ 84015 w 1610812"/>
                    <a:gd name="connsiteY44" fmla="*/ 527087 h 1539202"/>
                    <a:gd name="connsiteX45" fmla="*/ 84015 w 1610812"/>
                    <a:gd name="connsiteY45" fmla="*/ 527087 h 1539202"/>
                    <a:gd name="connsiteX46" fmla="*/ 83511 w 1610812"/>
                    <a:gd name="connsiteY46" fmla="*/ 520834 h 1539202"/>
                    <a:gd name="connsiteX47" fmla="*/ 83511 w 1610812"/>
                    <a:gd name="connsiteY47" fmla="*/ 520834 h 1539202"/>
                    <a:gd name="connsiteX48" fmla="*/ 57590 w 1610812"/>
                    <a:gd name="connsiteY48" fmla="*/ 470909 h 1539202"/>
                    <a:gd name="connsiteX49" fmla="*/ 57590 w 1610812"/>
                    <a:gd name="connsiteY49" fmla="*/ 470909 h 1539202"/>
                    <a:gd name="connsiteX50" fmla="*/ 46092 w 1610812"/>
                    <a:gd name="connsiteY50" fmla="*/ 366217 h 1539202"/>
                    <a:gd name="connsiteX51" fmla="*/ 46092 w 1610812"/>
                    <a:gd name="connsiteY51" fmla="*/ 366217 h 1539202"/>
                    <a:gd name="connsiteX52" fmla="*/ 46899 w 1610812"/>
                    <a:gd name="connsiteY52" fmla="*/ 352601 h 1539202"/>
                    <a:gd name="connsiteX53" fmla="*/ 46899 w 1610812"/>
                    <a:gd name="connsiteY53" fmla="*/ 352601 h 1539202"/>
                    <a:gd name="connsiteX54" fmla="*/ 83410 w 1610812"/>
                    <a:gd name="connsiteY54" fmla="*/ 284119 h 1539202"/>
                    <a:gd name="connsiteX55" fmla="*/ 83410 w 1610812"/>
                    <a:gd name="connsiteY55" fmla="*/ 284119 h 1539202"/>
                    <a:gd name="connsiteX56" fmla="*/ 83612 w 1610812"/>
                    <a:gd name="connsiteY56" fmla="*/ 276050 h 1539202"/>
                    <a:gd name="connsiteX57" fmla="*/ 83612 w 1610812"/>
                    <a:gd name="connsiteY57" fmla="*/ 276050 h 1539202"/>
                    <a:gd name="connsiteX58" fmla="*/ 83108 w 1610812"/>
                    <a:gd name="connsiteY58" fmla="*/ 256382 h 1539202"/>
                    <a:gd name="connsiteX59" fmla="*/ 83108 w 1610812"/>
                    <a:gd name="connsiteY59" fmla="*/ 256382 h 1539202"/>
                    <a:gd name="connsiteX60" fmla="*/ 105901 w 1610812"/>
                    <a:gd name="connsiteY60" fmla="*/ 211399 h 1539202"/>
                    <a:gd name="connsiteX61" fmla="*/ 105901 w 1610812"/>
                    <a:gd name="connsiteY61" fmla="*/ 211399 h 1539202"/>
                    <a:gd name="connsiteX62" fmla="*/ 118610 w 1610812"/>
                    <a:gd name="connsiteY62" fmla="*/ 174687 h 1539202"/>
                    <a:gd name="connsiteX63" fmla="*/ 118610 w 1610812"/>
                    <a:gd name="connsiteY63" fmla="*/ 174687 h 1539202"/>
                    <a:gd name="connsiteX64" fmla="*/ 106910 w 1610812"/>
                    <a:gd name="connsiteY64" fmla="*/ 76451 h 1539202"/>
                    <a:gd name="connsiteX65" fmla="*/ 106910 w 1610812"/>
                    <a:gd name="connsiteY65" fmla="*/ 76451 h 1539202"/>
                    <a:gd name="connsiteX66" fmla="*/ 164803 w 1610812"/>
                    <a:gd name="connsiteY66" fmla="*/ 34393 h 1539202"/>
                    <a:gd name="connsiteX67" fmla="*/ 164803 w 1610812"/>
                    <a:gd name="connsiteY67" fmla="*/ 34393 h 1539202"/>
                    <a:gd name="connsiteX68" fmla="*/ 198994 w 1610812"/>
                    <a:gd name="connsiteY68" fmla="*/ 41856 h 1539202"/>
                    <a:gd name="connsiteX69" fmla="*/ 198994 w 1610812"/>
                    <a:gd name="connsiteY69" fmla="*/ 41856 h 1539202"/>
                    <a:gd name="connsiteX70" fmla="*/ 231067 w 1610812"/>
                    <a:gd name="connsiteY70" fmla="*/ 60818 h 1539202"/>
                    <a:gd name="connsiteX71" fmla="*/ 231067 w 1610812"/>
                    <a:gd name="connsiteY71" fmla="*/ 60818 h 1539202"/>
                    <a:gd name="connsiteX72" fmla="*/ 247406 w 1610812"/>
                    <a:gd name="connsiteY72" fmla="*/ 50934 h 1539202"/>
                    <a:gd name="connsiteX73" fmla="*/ 247406 w 1610812"/>
                    <a:gd name="connsiteY73" fmla="*/ 50934 h 1539202"/>
                    <a:gd name="connsiteX74" fmla="*/ 292390 w 1610812"/>
                    <a:gd name="connsiteY74" fmla="*/ 1311 h 1539202"/>
                    <a:gd name="connsiteX75" fmla="*/ 292390 w 1610812"/>
                    <a:gd name="connsiteY75" fmla="*/ 1311 h 1539202"/>
                    <a:gd name="connsiteX76" fmla="*/ 296726 w 1610812"/>
                    <a:gd name="connsiteY76" fmla="*/ 0 h 1539202"/>
                    <a:gd name="connsiteX77" fmla="*/ 309838 w 1610812"/>
                    <a:gd name="connsiteY77" fmla="*/ 16137 h 1539202"/>
                    <a:gd name="connsiteX78" fmla="*/ 309838 w 1610812"/>
                    <a:gd name="connsiteY78" fmla="*/ 16137 h 1539202"/>
                    <a:gd name="connsiteX79" fmla="*/ 350181 w 1610812"/>
                    <a:gd name="connsiteY79" fmla="*/ 60717 h 1539202"/>
                    <a:gd name="connsiteX80" fmla="*/ 350181 w 1610812"/>
                    <a:gd name="connsiteY80" fmla="*/ 60717 h 1539202"/>
                    <a:gd name="connsiteX81" fmla="*/ 372067 w 1610812"/>
                    <a:gd name="connsiteY81" fmla="*/ 57994 h 1539202"/>
                    <a:gd name="connsiteX82" fmla="*/ 372067 w 1610812"/>
                    <a:gd name="connsiteY82" fmla="*/ 57994 h 1539202"/>
                    <a:gd name="connsiteX83" fmla="*/ 465866 w 1610812"/>
                    <a:gd name="connsiteY83" fmla="*/ 17549 h 1539202"/>
                    <a:gd name="connsiteX84" fmla="*/ 465866 w 1610812"/>
                    <a:gd name="connsiteY84" fmla="*/ 17549 h 1539202"/>
                    <a:gd name="connsiteX85" fmla="*/ 471010 w 1610812"/>
                    <a:gd name="connsiteY85" fmla="*/ 17348 h 1539202"/>
                    <a:gd name="connsiteX86" fmla="*/ 471010 w 1610812"/>
                    <a:gd name="connsiteY86" fmla="*/ 17348 h 1539202"/>
                    <a:gd name="connsiteX87" fmla="*/ 540905 w 1610812"/>
                    <a:gd name="connsiteY87" fmla="*/ 67373 h 1539202"/>
                    <a:gd name="connsiteX88" fmla="*/ 540905 w 1610812"/>
                    <a:gd name="connsiteY88" fmla="*/ 67373 h 1539202"/>
                    <a:gd name="connsiteX89" fmla="*/ 605757 w 1610812"/>
                    <a:gd name="connsiteY89" fmla="*/ 97127 h 1539202"/>
                    <a:gd name="connsiteX90" fmla="*/ 605757 w 1610812"/>
                    <a:gd name="connsiteY90" fmla="*/ 97127 h 1539202"/>
                    <a:gd name="connsiteX91" fmla="*/ 626533 w 1610812"/>
                    <a:gd name="connsiteY91" fmla="*/ 105801 h 1539202"/>
                    <a:gd name="connsiteX92" fmla="*/ 626533 w 1610812"/>
                    <a:gd name="connsiteY92" fmla="*/ 105801 h 1539202"/>
                    <a:gd name="connsiteX93" fmla="*/ 679182 w 1610812"/>
                    <a:gd name="connsiteY93" fmla="*/ 83713 h 1539202"/>
                    <a:gd name="connsiteX94" fmla="*/ 679182 w 1610812"/>
                    <a:gd name="connsiteY94" fmla="*/ 83713 h 1539202"/>
                    <a:gd name="connsiteX95" fmla="*/ 742319 w 1610812"/>
                    <a:gd name="connsiteY95" fmla="*/ 48009 h 1539202"/>
                    <a:gd name="connsiteX96" fmla="*/ 742319 w 1610812"/>
                    <a:gd name="connsiteY96" fmla="*/ 48009 h 1539202"/>
                    <a:gd name="connsiteX97" fmla="*/ 753010 w 1610812"/>
                    <a:gd name="connsiteY97" fmla="*/ 48715 h 1539202"/>
                    <a:gd name="connsiteX98" fmla="*/ 753010 w 1610812"/>
                    <a:gd name="connsiteY98" fmla="*/ 48715 h 1539202"/>
                    <a:gd name="connsiteX99" fmla="*/ 830369 w 1610812"/>
                    <a:gd name="connsiteY99" fmla="*/ 79981 h 1539202"/>
                    <a:gd name="connsiteX100" fmla="*/ 830369 w 1610812"/>
                    <a:gd name="connsiteY100" fmla="*/ 79981 h 1539202"/>
                    <a:gd name="connsiteX101" fmla="*/ 836622 w 1610812"/>
                    <a:gd name="connsiteY101" fmla="*/ 79880 h 1539202"/>
                    <a:gd name="connsiteX102" fmla="*/ 836622 w 1610812"/>
                    <a:gd name="connsiteY102" fmla="*/ 79880 h 1539202"/>
                    <a:gd name="connsiteX103" fmla="*/ 850137 w 1610812"/>
                    <a:gd name="connsiteY103" fmla="*/ 79275 h 1539202"/>
                    <a:gd name="connsiteX104" fmla="*/ 850137 w 1610812"/>
                    <a:gd name="connsiteY104" fmla="*/ 79275 h 1539202"/>
                    <a:gd name="connsiteX105" fmla="*/ 948676 w 1610812"/>
                    <a:gd name="connsiteY105" fmla="*/ 141303 h 1539202"/>
                    <a:gd name="connsiteX106" fmla="*/ 948676 w 1610812"/>
                    <a:gd name="connsiteY106" fmla="*/ 141303 h 1539202"/>
                    <a:gd name="connsiteX107" fmla="*/ 1026236 w 1610812"/>
                    <a:gd name="connsiteY107" fmla="*/ 274436 h 1539202"/>
                    <a:gd name="connsiteX108" fmla="*/ 1026236 w 1610812"/>
                    <a:gd name="connsiteY108" fmla="*/ 274436 h 1539202"/>
                    <a:gd name="connsiteX109" fmla="*/ 1087155 w 1610812"/>
                    <a:gd name="connsiteY109" fmla="*/ 351996 h 1539202"/>
                    <a:gd name="connsiteX110" fmla="*/ 1087155 w 1610812"/>
                    <a:gd name="connsiteY110" fmla="*/ 351996 h 1539202"/>
                    <a:gd name="connsiteX111" fmla="*/ 1097846 w 1610812"/>
                    <a:gd name="connsiteY111" fmla="*/ 350887 h 1539202"/>
                    <a:gd name="connsiteX112" fmla="*/ 1097846 w 1610812"/>
                    <a:gd name="connsiteY112" fmla="*/ 350887 h 1539202"/>
                    <a:gd name="connsiteX113" fmla="*/ 1128507 w 1610812"/>
                    <a:gd name="connsiteY113" fmla="*/ 296726 h 1539202"/>
                    <a:gd name="connsiteX114" fmla="*/ 1128507 w 1610812"/>
                    <a:gd name="connsiteY114" fmla="*/ 296726 h 1539202"/>
                    <a:gd name="connsiteX115" fmla="*/ 1128709 w 1610812"/>
                    <a:gd name="connsiteY115" fmla="*/ 273125 h 1539202"/>
                    <a:gd name="connsiteX116" fmla="*/ 1128709 w 1610812"/>
                    <a:gd name="connsiteY116" fmla="*/ 273125 h 1539202"/>
                    <a:gd name="connsiteX117" fmla="*/ 1149990 w 1610812"/>
                    <a:gd name="connsiteY117" fmla="*/ 269797 h 1539202"/>
                    <a:gd name="connsiteX118" fmla="*/ 1149990 w 1610812"/>
                    <a:gd name="connsiteY118" fmla="*/ 269797 h 1539202"/>
                    <a:gd name="connsiteX119" fmla="*/ 1190736 w 1610812"/>
                    <a:gd name="connsiteY119" fmla="*/ 286237 h 1539202"/>
                    <a:gd name="connsiteX120" fmla="*/ 1190736 w 1610812"/>
                    <a:gd name="connsiteY120" fmla="*/ 286237 h 1539202"/>
                    <a:gd name="connsiteX121" fmla="*/ 1220490 w 1610812"/>
                    <a:gd name="connsiteY121" fmla="*/ 372672 h 1539202"/>
                    <a:gd name="connsiteX122" fmla="*/ 1220490 w 1610812"/>
                    <a:gd name="connsiteY122" fmla="*/ 372672 h 1539202"/>
                    <a:gd name="connsiteX123" fmla="*/ 1237535 w 1610812"/>
                    <a:gd name="connsiteY123" fmla="*/ 374992 h 1539202"/>
                    <a:gd name="connsiteX124" fmla="*/ 1237535 w 1610812"/>
                    <a:gd name="connsiteY124" fmla="*/ 374992 h 1539202"/>
                    <a:gd name="connsiteX125" fmla="*/ 1260833 w 1610812"/>
                    <a:gd name="connsiteY125" fmla="*/ 355930 h 1539202"/>
                    <a:gd name="connsiteX126" fmla="*/ 1260833 w 1610812"/>
                    <a:gd name="connsiteY126" fmla="*/ 355930 h 1539202"/>
                    <a:gd name="connsiteX127" fmla="*/ 1283325 w 1610812"/>
                    <a:gd name="connsiteY127" fmla="*/ 339994 h 1539202"/>
                    <a:gd name="connsiteX128" fmla="*/ 1283325 w 1610812"/>
                    <a:gd name="connsiteY128" fmla="*/ 339994 h 1539202"/>
                    <a:gd name="connsiteX129" fmla="*/ 1312372 w 1610812"/>
                    <a:gd name="connsiteY129" fmla="*/ 355022 h 1539202"/>
                    <a:gd name="connsiteX130" fmla="*/ 1312372 w 1610812"/>
                    <a:gd name="connsiteY130" fmla="*/ 355022 h 1539202"/>
                    <a:gd name="connsiteX131" fmla="*/ 1360986 w 1610812"/>
                    <a:gd name="connsiteY131" fmla="*/ 369546 h 1539202"/>
                    <a:gd name="connsiteX132" fmla="*/ 1360986 w 1610812"/>
                    <a:gd name="connsiteY132" fmla="*/ 369546 h 1539202"/>
                    <a:gd name="connsiteX133" fmla="*/ 1404960 w 1610812"/>
                    <a:gd name="connsiteY133" fmla="*/ 357644 h 1539202"/>
                    <a:gd name="connsiteX134" fmla="*/ 1404960 w 1610812"/>
                    <a:gd name="connsiteY134" fmla="*/ 357644 h 1539202"/>
                    <a:gd name="connsiteX135" fmla="*/ 1478486 w 1610812"/>
                    <a:gd name="connsiteY135" fmla="*/ 300861 h 1539202"/>
                    <a:gd name="connsiteX136" fmla="*/ 1478486 w 1610812"/>
                    <a:gd name="connsiteY136" fmla="*/ 300861 h 1539202"/>
                    <a:gd name="connsiteX137" fmla="*/ 1532950 w 1610812"/>
                    <a:gd name="connsiteY137" fmla="*/ 379329 h 1539202"/>
                    <a:gd name="connsiteX138" fmla="*/ 1532950 w 1610812"/>
                    <a:gd name="connsiteY138" fmla="*/ 379329 h 1539202"/>
                    <a:gd name="connsiteX139" fmla="*/ 1605265 w 1610812"/>
                    <a:gd name="connsiteY139" fmla="*/ 414327 h 1539202"/>
                    <a:gd name="connsiteX140" fmla="*/ 1605265 w 1610812"/>
                    <a:gd name="connsiteY140" fmla="*/ 414327 h 1539202"/>
                    <a:gd name="connsiteX141" fmla="*/ 1602845 w 1610812"/>
                    <a:gd name="connsiteY141" fmla="*/ 415941 h 1539202"/>
                    <a:gd name="connsiteX142" fmla="*/ 1600525 w 1610812"/>
                    <a:gd name="connsiteY142" fmla="*/ 417454 h 1539202"/>
                    <a:gd name="connsiteX143" fmla="*/ 1529621 w 1610812"/>
                    <a:gd name="connsiteY143" fmla="*/ 383968 h 1539202"/>
                    <a:gd name="connsiteX144" fmla="*/ 1529621 w 1610812"/>
                    <a:gd name="connsiteY144" fmla="*/ 383968 h 1539202"/>
                    <a:gd name="connsiteX145" fmla="*/ 1478385 w 1610812"/>
                    <a:gd name="connsiteY145" fmla="*/ 306610 h 1539202"/>
                    <a:gd name="connsiteX146" fmla="*/ 1478385 w 1610812"/>
                    <a:gd name="connsiteY146" fmla="*/ 306610 h 1539202"/>
                    <a:gd name="connsiteX147" fmla="*/ 1408490 w 1610812"/>
                    <a:gd name="connsiteY147" fmla="*/ 361981 h 1539202"/>
                    <a:gd name="connsiteX148" fmla="*/ 1408490 w 1610812"/>
                    <a:gd name="connsiteY148" fmla="*/ 361981 h 1539202"/>
                    <a:gd name="connsiteX149" fmla="*/ 1360986 w 1610812"/>
                    <a:gd name="connsiteY149" fmla="*/ 375194 h 1539202"/>
                    <a:gd name="connsiteX150" fmla="*/ 1360986 w 1610812"/>
                    <a:gd name="connsiteY150" fmla="*/ 375194 h 1539202"/>
                    <a:gd name="connsiteX151" fmla="*/ 1308035 w 1610812"/>
                    <a:gd name="connsiteY151" fmla="*/ 358552 h 1539202"/>
                    <a:gd name="connsiteX152" fmla="*/ 1308035 w 1610812"/>
                    <a:gd name="connsiteY152" fmla="*/ 358552 h 1539202"/>
                    <a:gd name="connsiteX153" fmla="*/ 1283325 w 1610812"/>
                    <a:gd name="connsiteY153" fmla="*/ 345441 h 1539202"/>
                    <a:gd name="connsiteX154" fmla="*/ 1283325 w 1610812"/>
                    <a:gd name="connsiteY154" fmla="*/ 345441 h 1539202"/>
                    <a:gd name="connsiteX155" fmla="*/ 1266179 w 1610812"/>
                    <a:gd name="connsiteY155" fmla="*/ 357644 h 1539202"/>
                    <a:gd name="connsiteX156" fmla="*/ 1266179 w 1610812"/>
                    <a:gd name="connsiteY156" fmla="*/ 357644 h 1539202"/>
                    <a:gd name="connsiteX157" fmla="*/ 1237535 w 1610812"/>
                    <a:gd name="connsiteY157" fmla="*/ 380539 h 1539202"/>
                    <a:gd name="connsiteX158" fmla="*/ 1237535 w 1610812"/>
                    <a:gd name="connsiteY158" fmla="*/ 380539 h 1539202"/>
                    <a:gd name="connsiteX159" fmla="*/ 1219380 w 1610812"/>
                    <a:gd name="connsiteY159" fmla="*/ 378119 h 1539202"/>
                    <a:gd name="connsiteX160" fmla="*/ 1219380 w 1610812"/>
                    <a:gd name="connsiteY160" fmla="*/ 378119 h 1539202"/>
                    <a:gd name="connsiteX161" fmla="*/ 1186904 w 1610812"/>
                    <a:gd name="connsiteY161" fmla="*/ 290271 h 1539202"/>
                    <a:gd name="connsiteX162" fmla="*/ 1186904 w 1610812"/>
                    <a:gd name="connsiteY162" fmla="*/ 290271 h 1539202"/>
                    <a:gd name="connsiteX163" fmla="*/ 1149990 w 1610812"/>
                    <a:gd name="connsiteY163" fmla="*/ 275445 h 1539202"/>
                    <a:gd name="connsiteX164" fmla="*/ 1149990 w 1610812"/>
                    <a:gd name="connsiteY164" fmla="*/ 275445 h 1539202"/>
                    <a:gd name="connsiteX165" fmla="*/ 1132642 w 1610812"/>
                    <a:gd name="connsiteY165" fmla="*/ 276554 h 1539202"/>
                    <a:gd name="connsiteX166" fmla="*/ 1132642 w 1610812"/>
                    <a:gd name="connsiteY166" fmla="*/ 276554 h 1539202"/>
                    <a:gd name="connsiteX167" fmla="*/ 1134054 w 1610812"/>
                    <a:gd name="connsiteY167" fmla="*/ 296726 h 1539202"/>
                    <a:gd name="connsiteX168" fmla="*/ 1134054 w 1610812"/>
                    <a:gd name="connsiteY168" fmla="*/ 296726 h 1539202"/>
                    <a:gd name="connsiteX169" fmla="*/ 1099056 w 1610812"/>
                    <a:gd name="connsiteY169" fmla="*/ 356333 h 1539202"/>
                    <a:gd name="connsiteX170" fmla="*/ 1099056 w 1610812"/>
                    <a:gd name="connsiteY170" fmla="*/ 356333 h 1539202"/>
                    <a:gd name="connsiteX171" fmla="*/ 1087155 w 1610812"/>
                    <a:gd name="connsiteY171" fmla="*/ 357544 h 1539202"/>
                    <a:gd name="connsiteX172" fmla="*/ 1087155 w 1610812"/>
                    <a:gd name="connsiteY172" fmla="*/ 357544 h 1539202"/>
                    <a:gd name="connsiteX173" fmla="*/ 1021193 w 1610812"/>
                    <a:gd name="connsiteY173" fmla="*/ 276958 h 1539202"/>
                    <a:gd name="connsiteX174" fmla="*/ 1021193 w 1610812"/>
                    <a:gd name="connsiteY174" fmla="*/ 276958 h 1539202"/>
                    <a:gd name="connsiteX175" fmla="*/ 943129 w 1610812"/>
                    <a:gd name="connsiteY175" fmla="*/ 142311 h 1539202"/>
                    <a:gd name="connsiteX176" fmla="*/ 943129 w 1610812"/>
                    <a:gd name="connsiteY176" fmla="*/ 142311 h 1539202"/>
                    <a:gd name="connsiteX177" fmla="*/ 850137 w 1610812"/>
                    <a:gd name="connsiteY177" fmla="*/ 84822 h 1539202"/>
                    <a:gd name="connsiteX178" fmla="*/ 850137 w 1610812"/>
                    <a:gd name="connsiteY178" fmla="*/ 84822 h 1539202"/>
                    <a:gd name="connsiteX179" fmla="*/ 837126 w 1610812"/>
                    <a:gd name="connsiteY179" fmla="*/ 85427 h 1539202"/>
                    <a:gd name="connsiteX180" fmla="*/ 837126 w 1610812"/>
                    <a:gd name="connsiteY180" fmla="*/ 85427 h 1539202"/>
                    <a:gd name="connsiteX181" fmla="*/ 830369 w 1610812"/>
                    <a:gd name="connsiteY181" fmla="*/ 85528 h 1539202"/>
                    <a:gd name="connsiteX182" fmla="*/ 830369 w 1610812"/>
                    <a:gd name="connsiteY182" fmla="*/ 85528 h 1539202"/>
                    <a:gd name="connsiteX183" fmla="*/ 752506 w 1610812"/>
                    <a:gd name="connsiteY183" fmla="*/ 54161 h 1539202"/>
                    <a:gd name="connsiteX184" fmla="*/ 752506 w 1610812"/>
                    <a:gd name="connsiteY184" fmla="*/ 54161 h 1539202"/>
                    <a:gd name="connsiteX185" fmla="*/ 742420 w 1610812"/>
                    <a:gd name="connsiteY185" fmla="*/ 53556 h 1539202"/>
                    <a:gd name="connsiteX186" fmla="*/ 742420 w 1610812"/>
                    <a:gd name="connsiteY186" fmla="*/ 53556 h 1539202"/>
                    <a:gd name="connsiteX187" fmla="*/ 683115 w 1610812"/>
                    <a:gd name="connsiteY187" fmla="*/ 87747 h 1539202"/>
                    <a:gd name="connsiteX188" fmla="*/ 683115 w 1610812"/>
                    <a:gd name="connsiteY188" fmla="*/ 87747 h 1539202"/>
                    <a:gd name="connsiteX189" fmla="*/ 626634 w 1610812"/>
                    <a:gd name="connsiteY189" fmla="*/ 111348 h 1539202"/>
                    <a:gd name="connsiteX190" fmla="*/ 626634 w 1610812"/>
                    <a:gd name="connsiteY190" fmla="*/ 111348 h 1539202"/>
                    <a:gd name="connsiteX191" fmla="*/ 600714 w 1610812"/>
                    <a:gd name="connsiteY191" fmla="*/ 99144 h 1539202"/>
                    <a:gd name="connsiteX192" fmla="*/ 600714 w 1610812"/>
                    <a:gd name="connsiteY192" fmla="*/ 99144 h 1539202"/>
                    <a:gd name="connsiteX193" fmla="*/ 541006 w 1610812"/>
                    <a:gd name="connsiteY193" fmla="*/ 72820 h 1539202"/>
                    <a:gd name="connsiteX194" fmla="*/ 541006 w 1610812"/>
                    <a:gd name="connsiteY194" fmla="*/ 72820 h 1539202"/>
                    <a:gd name="connsiteX195" fmla="*/ 471111 w 1610812"/>
                    <a:gd name="connsiteY195" fmla="*/ 22895 h 1539202"/>
                    <a:gd name="connsiteX196" fmla="*/ 471111 w 1610812"/>
                    <a:gd name="connsiteY196" fmla="*/ 22895 h 1539202"/>
                    <a:gd name="connsiteX197" fmla="*/ 466471 w 1610812"/>
                    <a:gd name="connsiteY197" fmla="*/ 22996 h 1539202"/>
                    <a:gd name="connsiteX198" fmla="*/ 466471 w 1610812"/>
                    <a:gd name="connsiteY198" fmla="*/ 22996 h 1539202"/>
                    <a:gd name="connsiteX199" fmla="*/ 373480 w 1610812"/>
                    <a:gd name="connsiteY199" fmla="*/ 63440 h 1539202"/>
                    <a:gd name="connsiteX200" fmla="*/ 373480 w 1610812"/>
                    <a:gd name="connsiteY200" fmla="*/ 63440 h 1539202"/>
                    <a:gd name="connsiteX201" fmla="*/ 350383 w 1610812"/>
                    <a:gd name="connsiteY201" fmla="*/ 66264 h 1539202"/>
                    <a:gd name="connsiteX202" fmla="*/ 350383 w 1610812"/>
                    <a:gd name="connsiteY202" fmla="*/ 66264 h 1539202"/>
                    <a:gd name="connsiteX203" fmla="*/ 304896 w 1610812"/>
                    <a:gd name="connsiteY203" fmla="*/ 18054 h 1539202"/>
                    <a:gd name="connsiteX204" fmla="*/ 304896 w 1610812"/>
                    <a:gd name="connsiteY204" fmla="*/ 18054 h 1539202"/>
                    <a:gd name="connsiteX205" fmla="*/ 296524 w 1610812"/>
                    <a:gd name="connsiteY205" fmla="*/ 6657 h 1539202"/>
                    <a:gd name="connsiteX206" fmla="*/ 296524 w 1610812"/>
                    <a:gd name="connsiteY206" fmla="*/ 6657 h 1539202"/>
                    <a:gd name="connsiteX207" fmla="*/ 251340 w 1610812"/>
                    <a:gd name="connsiteY207" fmla="*/ 54968 h 1539202"/>
                    <a:gd name="connsiteX208" fmla="*/ 251340 w 1610812"/>
                    <a:gd name="connsiteY208" fmla="*/ 54968 h 1539202"/>
                    <a:gd name="connsiteX209" fmla="*/ 231269 w 1610812"/>
                    <a:gd name="connsiteY209" fmla="*/ 66365 h 1539202"/>
                    <a:gd name="connsiteX210" fmla="*/ 231269 w 1610812"/>
                    <a:gd name="connsiteY210" fmla="*/ 66365 h 1539202"/>
                    <a:gd name="connsiteX211" fmla="*/ 196775 w 1610812"/>
                    <a:gd name="connsiteY211" fmla="*/ 46798 h 1539202"/>
                    <a:gd name="connsiteX212" fmla="*/ 196775 w 1610812"/>
                    <a:gd name="connsiteY212" fmla="*/ 46798 h 1539202"/>
                    <a:gd name="connsiteX213" fmla="*/ 165105 w 1610812"/>
                    <a:gd name="connsiteY213" fmla="*/ 40041 h 1539202"/>
                    <a:gd name="connsiteX214" fmla="*/ 165105 w 1610812"/>
                    <a:gd name="connsiteY214" fmla="*/ 40041 h 1539202"/>
                    <a:gd name="connsiteX215" fmla="*/ 112861 w 1610812"/>
                    <a:gd name="connsiteY215" fmla="*/ 76552 h 1539202"/>
                    <a:gd name="connsiteX216" fmla="*/ 112861 w 1610812"/>
                    <a:gd name="connsiteY216" fmla="*/ 76552 h 1539202"/>
                    <a:gd name="connsiteX217" fmla="*/ 124561 w 1610812"/>
                    <a:gd name="connsiteY217" fmla="*/ 174788 h 1539202"/>
                    <a:gd name="connsiteX218" fmla="*/ 124561 w 1610812"/>
                    <a:gd name="connsiteY218" fmla="*/ 174788 h 1539202"/>
                    <a:gd name="connsiteX219" fmla="*/ 109432 w 1610812"/>
                    <a:gd name="connsiteY219" fmla="*/ 216039 h 1539202"/>
                    <a:gd name="connsiteX220" fmla="*/ 109432 w 1610812"/>
                    <a:gd name="connsiteY220" fmla="*/ 216039 h 1539202"/>
                    <a:gd name="connsiteX221" fmla="*/ 88957 w 1610812"/>
                    <a:gd name="connsiteY221" fmla="*/ 256483 h 1539202"/>
                    <a:gd name="connsiteX222" fmla="*/ 88957 w 1610812"/>
                    <a:gd name="connsiteY222" fmla="*/ 256483 h 1539202"/>
                    <a:gd name="connsiteX223" fmla="*/ 89361 w 1610812"/>
                    <a:gd name="connsiteY223" fmla="*/ 276151 h 1539202"/>
                    <a:gd name="connsiteX224" fmla="*/ 89361 w 1610812"/>
                    <a:gd name="connsiteY224" fmla="*/ 276151 h 1539202"/>
                    <a:gd name="connsiteX225" fmla="*/ 89159 w 1610812"/>
                    <a:gd name="connsiteY225" fmla="*/ 284724 h 1539202"/>
                    <a:gd name="connsiteX226" fmla="*/ 89159 w 1610812"/>
                    <a:gd name="connsiteY226" fmla="*/ 284724 h 1539202"/>
                    <a:gd name="connsiteX227" fmla="*/ 52648 w 1610812"/>
                    <a:gd name="connsiteY227" fmla="*/ 353509 h 1539202"/>
                    <a:gd name="connsiteX228" fmla="*/ 52648 w 1610812"/>
                    <a:gd name="connsiteY228" fmla="*/ 353509 h 1539202"/>
                    <a:gd name="connsiteX229" fmla="*/ 51841 w 1610812"/>
                    <a:gd name="connsiteY229" fmla="*/ 366419 h 1539202"/>
                    <a:gd name="connsiteX230" fmla="*/ 51841 w 1610812"/>
                    <a:gd name="connsiteY230" fmla="*/ 366419 h 1539202"/>
                    <a:gd name="connsiteX231" fmla="*/ 63339 w 1610812"/>
                    <a:gd name="connsiteY231" fmla="*/ 471110 h 1539202"/>
                    <a:gd name="connsiteX232" fmla="*/ 63339 w 1610812"/>
                    <a:gd name="connsiteY232" fmla="*/ 471110 h 1539202"/>
                    <a:gd name="connsiteX233" fmla="*/ 89159 w 1610812"/>
                    <a:gd name="connsiteY233" fmla="*/ 519926 h 1539202"/>
                    <a:gd name="connsiteX234" fmla="*/ 89159 w 1610812"/>
                    <a:gd name="connsiteY234" fmla="*/ 519926 h 1539202"/>
                    <a:gd name="connsiteX235" fmla="*/ 89663 w 1610812"/>
                    <a:gd name="connsiteY235" fmla="*/ 527289 h 1539202"/>
                    <a:gd name="connsiteX236" fmla="*/ 89663 w 1610812"/>
                    <a:gd name="connsiteY236" fmla="*/ 527289 h 1539202"/>
                    <a:gd name="connsiteX237" fmla="*/ 34494 w 1610812"/>
                    <a:gd name="connsiteY237" fmla="*/ 616952 h 1539202"/>
                    <a:gd name="connsiteX238" fmla="*/ 34494 w 1610812"/>
                    <a:gd name="connsiteY238" fmla="*/ 616952 h 1539202"/>
                    <a:gd name="connsiteX239" fmla="*/ 5648 w 1610812"/>
                    <a:gd name="connsiteY239" fmla="*/ 685536 h 1539202"/>
                    <a:gd name="connsiteX240" fmla="*/ 5648 w 1610812"/>
                    <a:gd name="connsiteY240" fmla="*/ 685536 h 1539202"/>
                    <a:gd name="connsiteX241" fmla="*/ 27131 w 1610812"/>
                    <a:gd name="connsiteY241" fmla="*/ 732233 h 1539202"/>
                    <a:gd name="connsiteX242" fmla="*/ 27131 w 1610812"/>
                    <a:gd name="connsiteY242" fmla="*/ 732233 h 1539202"/>
                    <a:gd name="connsiteX243" fmla="*/ 69492 w 1610812"/>
                    <a:gd name="connsiteY243" fmla="*/ 819375 h 1539202"/>
                    <a:gd name="connsiteX244" fmla="*/ 69492 w 1610812"/>
                    <a:gd name="connsiteY244" fmla="*/ 819375 h 1539202"/>
                    <a:gd name="connsiteX245" fmla="*/ 186084 w 1610812"/>
                    <a:gd name="connsiteY245" fmla="*/ 927394 h 1539202"/>
                    <a:gd name="connsiteX246" fmla="*/ 186084 w 1610812"/>
                    <a:gd name="connsiteY246" fmla="*/ 927394 h 1539202"/>
                    <a:gd name="connsiteX247" fmla="*/ 337776 w 1610812"/>
                    <a:gd name="connsiteY247" fmla="*/ 1032590 h 1539202"/>
                    <a:gd name="connsiteX248" fmla="*/ 337776 w 1610812"/>
                    <a:gd name="connsiteY248" fmla="*/ 1032590 h 1539202"/>
                    <a:gd name="connsiteX249" fmla="*/ 372370 w 1610812"/>
                    <a:gd name="connsiteY249" fmla="*/ 1109646 h 1539202"/>
                    <a:gd name="connsiteX250" fmla="*/ 372370 w 1610812"/>
                    <a:gd name="connsiteY250" fmla="*/ 1109646 h 1539202"/>
                    <a:gd name="connsiteX251" fmla="*/ 492190 w 1610812"/>
                    <a:gd name="connsiteY251" fmla="*/ 1232088 h 1539202"/>
                    <a:gd name="connsiteX252" fmla="*/ 492190 w 1610812"/>
                    <a:gd name="connsiteY252" fmla="*/ 1232088 h 1539202"/>
                    <a:gd name="connsiteX253" fmla="*/ 547360 w 1610812"/>
                    <a:gd name="connsiteY253" fmla="*/ 1378636 h 1539202"/>
                    <a:gd name="connsiteX254" fmla="*/ 547360 w 1610812"/>
                    <a:gd name="connsiteY254" fmla="*/ 1378636 h 1539202"/>
                    <a:gd name="connsiteX255" fmla="*/ 600714 w 1610812"/>
                    <a:gd name="connsiteY255" fmla="*/ 1437739 h 1539202"/>
                    <a:gd name="connsiteX256" fmla="*/ 600714 w 1610812"/>
                    <a:gd name="connsiteY256" fmla="*/ 1437739 h 1539202"/>
                    <a:gd name="connsiteX257" fmla="*/ 657497 w 1610812"/>
                    <a:gd name="connsiteY257" fmla="*/ 1428662 h 1539202"/>
                    <a:gd name="connsiteX258" fmla="*/ 729107 w 1610812"/>
                    <a:gd name="connsiteY258" fmla="*/ 1378736 h 1539202"/>
                    <a:gd name="connsiteX259" fmla="*/ 729107 w 1610812"/>
                    <a:gd name="connsiteY259" fmla="*/ 1378736 h 1539202"/>
                    <a:gd name="connsiteX260" fmla="*/ 748775 w 1610812"/>
                    <a:gd name="connsiteY260" fmla="*/ 1371777 h 1539202"/>
                    <a:gd name="connsiteX261" fmla="*/ 748775 w 1610812"/>
                    <a:gd name="connsiteY261" fmla="*/ 1371777 h 1539202"/>
                    <a:gd name="connsiteX262" fmla="*/ 795774 w 1610812"/>
                    <a:gd name="connsiteY262" fmla="*/ 1443387 h 1539202"/>
                    <a:gd name="connsiteX263" fmla="*/ 795774 w 1610812"/>
                    <a:gd name="connsiteY263" fmla="*/ 1443387 h 1539202"/>
                    <a:gd name="connsiteX264" fmla="*/ 804045 w 1610812"/>
                    <a:gd name="connsiteY264" fmla="*/ 1449842 h 1539202"/>
                    <a:gd name="connsiteX265" fmla="*/ 804045 w 1610812"/>
                    <a:gd name="connsiteY265" fmla="*/ 1449842 h 1539202"/>
                    <a:gd name="connsiteX266" fmla="*/ 847515 w 1610812"/>
                    <a:gd name="connsiteY266" fmla="*/ 1431687 h 1539202"/>
                    <a:gd name="connsiteX267" fmla="*/ 847515 w 1610812"/>
                    <a:gd name="connsiteY267" fmla="*/ 1431687 h 1539202"/>
                    <a:gd name="connsiteX268" fmla="*/ 884833 w 1610812"/>
                    <a:gd name="connsiteY268" fmla="*/ 1423215 h 1539202"/>
                    <a:gd name="connsiteX269" fmla="*/ 884833 w 1610812"/>
                    <a:gd name="connsiteY269" fmla="*/ 1423215 h 1539202"/>
                    <a:gd name="connsiteX270" fmla="*/ 951298 w 1610812"/>
                    <a:gd name="connsiteY270" fmla="*/ 1445102 h 1539202"/>
                    <a:gd name="connsiteX271" fmla="*/ 951298 w 1610812"/>
                    <a:gd name="connsiteY271" fmla="*/ 1445102 h 1539202"/>
                    <a:gd name="connsiteX272" fmla="*/ 982565 w 1610812"/>
                    <a:gd name="connsiteY272" fmla="*/ 1458011 h 1539202"/>
                    <a:gd name="connsiteX273" fmla="*/ 982565 w 1610812"/>
                    <a:gd name="connsiteY273" fmla="*/ 1458011 h 1539202"/>
                    <a:gd name="connsiteX274" fmla="*/ 1015445 w 1610812"/>
                    <a:gd name="connsiteY274" fmla="*/ 1447522 h 1539202"/>
                    <a:gd name="connsiteX275" fmla="*/ 1015445 w 1610812"/>
                    <a:gd name="connsiteY275" fmla="*/ 1447522 h 1539202"/>
                    <a:gd name="connsiteX276" fmla="*/ 1055485 w 1610812"/>
                    <a:gd name="connsiteY276" fmla="*/ 1434108 h 1539202"/>
                    <a:gd name="connsiteX277" fmla="*/ 1055485 w 1610812"/>
                    <a:gd name="connsiteY277" fmla="*/ 1434108 h 1539202"/>
                    <a:gd name="connsiteX278" fmla="*/ 1081708 w 1610812"/>
                    <a:gd name="connsiteY278" fmla="*/ 1441269 h 1539202"/>
                    <a:gd name="connsiteX279" fmla="*/ 1081708 w 1610812"/>
                    <a:gd name="connsiteY279" fmla="*/ 1441269 h 1539202"/>
                    <a:gd name="connsiteX280" fmla="*/ 1158562 w 1610812"/>
                    <a:gd name="connsiteY280" fmla="*/ 1499868 h 1539202"/>
                    <a:gd name="connsiteX281" fmla="*/ 1158562 w 1610812"/>
                    <a:gd name="connsiteY281" fmla="*/ 1499868 h 1539202"/>
                    <a:gd name="connsiteX282" fmla="*/ 1210404 w 1610812"/>
                    <a:gd name="connsiteY282" fmla="*/ 1533958 h 1539202"/>
                    <a:gd name="connsiteX283" fmla="*/ 1210404 w 1610812"/>
                    <a:gd name="connsiteY283" fmla="*/ 1533958 h 1539202"/>
                    <a:gd name="connsiteX284" fmla="*/ 1229466 w 1610812"/>
                    <a:gd name="connsiteY284" fmla="*/ 1477578 h 1539202"/>
                    <a:gd name="connsiteX285" fmla="*/ 1229466 w 1610812"/>
                    <a:gd name="connsiteY285" fmla="*/ 1477578 h 1539202"/>
                    <a:gd name="connsiteX286" fmla="*/ 1257606 w 1610812"/>
                    <a:gd name="connsiteY286" fmla="*/ 1380250 h 1539202"/>
                    <a:gd name="connsiteX287" fmla="*/ 1257606 w 1610812"/>
                    <a:gd name="connsiteY287" fmla="*/ 1380250 h 1539202"/>
                    <a:gd name="connsiteX288" fmla="*/ 1313683 w 1610812"/>
                    <a:gd name="connsiteY288" fmla="*/ 1261942 h 1539202"/>
                    <a:gd name="connsiteX289" fmla="*/ 1313683 w 1610812"/>
                    <a:gd name="connsiteY289" fmla="*/ 1261942 h 1539202"/>
                    <a:gd name="connsiteX290" fmla="*/ 1363709 w 1610812"/>
                    <a:gd name="connsiteY290" fmla="*/ 1118118 h 1539202"/>
                    <a:gd name="connsiteX291" fmla="*/ 1363709 w 1610812"/>
                    <a:gd name="connsiteY291" fmla="*/ 1118118 h 1539202"/>
                    <a:gd name="connsiteX292" fmla="*/ 1371979 w 1610812"/>
                    <a:gd name="connsiteY292" fmla="*/ 1094416 h 1539202"/>
                    <a:gd name="connsiteX293" fmla="*/ 1371979 w 1610812"/>
                    <a:gd name="connsiteY293" fmla="*/ 1094416 h 1539202"/>
                    <a:gd name="connsiteX294" fmla="*/ 1328711 w 1610812"/>
                    <a:gd name="connsiteY294" fmla="*/ 1072429 h 1539202"/>
                    <a:gd name="connsiteX295" fmla="*/ 1328711 w 1610812"/>
                    <a:gd name="connsiteY295" fmla="*/ 1072429 h 1539202"/>
                    <a:gd name="connsiteX296" fmla="*/ 1294318 w 1610812"/>
                    <a:gd name="connsiteY296" fmla="*/ 989725 h 1539202"/>
                    <a:gd name="connsiteX297" fmla="*/ 1294318 w 1610812"/>
                    <a:gd name="connsiteY297" fmla="*/ 989725 h 1539202"/>
                    <a:gd name="connsiteX298" fmla="*/ 1294822 w 1610812"/>
                    <a:gd name="connsiteY298" fmla="*/ 982161 h 1539202"/>
                    <a:gd name="connsiteX299" fmla="*/ 1294822 w 1610812"/>
                    <a:gd name="connsiteY299" fmla="*/ 982161 h 1539202"/>
                    <a:gd name="connsiteX300" fmla="*/ 1343033 w 1610812"/>
                    <a:gd name="connsiteY300" fmla="*/ 896027 h 1539202"/>
                    <a:gd name="connsiteX301" fmla="*/ 1343033 w 1610812"/>
                    <a:gd name="connsiteY301" fmla="*/ 896027 h 1539202"/>
                    <a:gd name="connsiteX302" fmla="*/ 1403750 w 1610812"/>
                    <a:gd name="connsiteY302" fmla="*/ 789420 h 1539202"/>
                    <a:gd name="connsiteX303" fmla="*/ 1403750 w 1610812"/>
                    <a:gd name="connsiteY303" fmla="*/ 789420 h 1539202"/>
                    <a:gd name="connsiteX304" fmla="*/ 1376518 w 1610812"/>
                    <a:gd name="connsiteY304" fmla="*/ 707321 h 1539202"/>
                    <a:gd name="connsiteX305" fmla="*/ 1376518 w 1610812"/>
                    <a:gd name="connsiteY305" fmla="*/ 707321 h 1539202"/>
                    <a:gd name="connsiteX306" fmla="*/ 1376215 w 1610812"/>
                    <a:gd name="connsiteY306" fmla="*/ 703690 h 1539202"/>
                    <a:gd name="connsiteX307" fmla="*/ 1391949 w 1610812"/>
                    <a:gd name="connsiteY307" fmla="*/ 662338 h 1539202"/>
                    <a:gd name="connsiteX308" fmla="*/ 1391949 w 1610812"/>
                    <a:gd name="connsiteY308" fmla="*/ 662338 h 1539202"/>
                    <a:gd name="connsiteX309" fmla="*/ 1380048 w 1610812"/>
                    <a:gd name="connsiteY309" fmla="*/ 639040 h 1539202"/>
                    <a:gd name="connsiteX310" fmla="*/ 1380048 w 1610812"/>
                    <a:gd name="connsiteY310" fmla="*/ 639040 h 1539202"/>
                    <a:gd name="connsiteX311" fmla="*/ 1365121 w 1610812"/>
                    <a:gd name="connsiteY311" fmla="*/ 632383 h 1539202"/>
                    <a:gd name="connsiteX312" fmla="*/ 1365121 w 1610812"/>
                    <a:gd name="connsiteY312" fmla="*/ 632383 h 1539202"/>
                    <a:gd name="connsiteX313" fmla="*/ 1336175 w 1610812"/>
                    <a:gd name="connsiteY313" fmla="*/ 664053 h 1539202"/>
                    <a:gd name="connsiteX314" fmla="*/ 1336175 w 1610812"/>
                    <a:gd name="connsiteY314" fmla="*/ 664053 h 1539202"/>
                    <a:gd name="connsiteX315" fmla="*/ 1321953 w 1610812"/>
                    <a:gd name="connsiteY315" fmla="*/ 667986 h 1539202"/>
                    <a:gd name="connsiteX316" fmla="*/ 1321953 w 1610812"/>
                    <a:gd name="connsiteY316" fmla="*/ 667986 h 1539202"/>
                    <a:gd name="connsiteX317" fmla="*/ 1291595 w 1610812"/>
                    <a:gd name="connsiteY317" fmla="*/ 633593 h 1539202"/>
                    <a:gd name="connsiteX318" fmla="*/ 1291595 w 1610812"/>
                    <a:gd name="connsiteY318" fmla="*/ 633593 h 1539202"/>
                    <a:gd name="connsiteX319" fmla="*/ 1264868 w 1610812"/>
                    <a:gd name="connsiteY319" fmla="*/ 598696 h 1539202"/>
                    <a:gd name="connsiteX320" fmla="*/ 1264868 w 1610812"/>
                    <a:gd name="connsiteY320" fmla="*/ 598696 h 1539202"/>
                    <a:gd name="connsiteX321" fmla="*/ 1260531 w 1610812"/>
                    <a:gd name="connsiteY321" fmla="*/ 598898 h 1539202"/>
                    <a:gd name="connsiteX322" fmla="*/ 1260531 w 1610812"/>
                    <a:gd name="connsiteY322" fmla="*/ 598898 h 1539202"/>
                    <a:gd name="connsiteX323" fmla="*/ 1254883 w 1610812"/>
                    <a:gd name="connsiteY323" fmla="*/ 599302 h 1539202"/>
                    <a:gd name="connsiteX324" fmla="*/ 1254883 w 1610812"/>
                    <a:gd name="connsiteY324" fmla="*/ 599302 h 1539202"/>
                    <a:gd name="connsiteX325" fmla="*/ 1215750 w 1610812"/>
                    <a:gd name="connsiteY325" fmla="*/ 553411 h 1539202"/>
                    <a:gd name="connsiteX326" fmla="*/ 1215750 w 1610812"/>
                    <a:gd name="connsiteY326" fmla="*/ 553411 h 1539202"/>
                    <a:gd name="connsiteX327" fmla="*/ 1217061 w 1610812"/>
                    <a:gd name="connsiteY327" fmla="*/ 539694 h 1539202"/>
                    <a:gd name="connsiteX328" fmla="*/ 1217061 w 1610812"/>
                    <a:gd name="connsiteY328" fmla="*/ 539694 h 1539202"/>
                    <a:gd name="connsiteX329" fmla="*/ 1263657 w 1610812"/>
                    <a:gd name="connsiteY329" fmla="*/ 437121 h 1539202"/>
                    <a:gd name="connsiteX330" fmla="*/ 1263657 w 1610812"/>
                    <a:gd name="connsiteY330" fmla="*/ 437121 h 1539202"/>
                    <a:gd name="connsiteX331" fmla="*/ 1285644 w 1610812"/>
                    <a:gd name="connsiteY331" fmla="*/ 405956 h 1539202"/>
                    <a:gd name="connsiteX332" fmla="*/ 1285644 w 1610812"/>
                    <a:gd name="connsiteY332" fmla="*/ 405956 h 1539202"/>
                    <a:gd name="connsiteX333" fmla="*/ 1306724 w 1610812"/>
                    <a:gd name="connsiteY333" fmla="*/ 430767 h 1539202"/>
                    <a:gd name="connsiteX334" fmla="*/ 1306724 w 1610812"/>
                    <a:gd name="connsiteY334" fmla="*/ 430767 h 1539202"/>
                    <a:gd name="connsiteX335" fmla="*/ 1306623 w 1610812"/>
                    <a:gd name="connsiteY335" fmla="*/ 434398 h 1539202"/>
                    <a:gd name="connsiteX336" fmla="*/ 1306623 w 1610812"/>
                    <a:gd name="connsiteY336" fmla="*/ 434398 h 1539202"/>
                    <a:gd name="connsiteX337" fmla="*/ 1305110 w 1610812"/>
                    <a:gd name="connsiteY337" fmla="*/ 451241 h 1539202"/>
                    <a:gd name="connsiteX338" fmla="*/ 1305110 w 1610812"/>
                    <a:gd name="connsiteY338" fmla="*/ 451241 h 1539202"/>
                    <a:gd name="connsiteX339" fmla="*/ 1324475 w 1610812"/>
                    <a:gd name="connsiteY339" fmla="*/ 478776 h 1539202"/>
                    <a:gd name="connsiteX340" fmla="*/ 1324475 w 1610812"/>
                    <a:gd name="connsiteY340" fmla="*/ 478776 h 1539202"/>
                    <a:gd name="connsiteX341" fmla="*/ 1407683 w 1610812"/>
                    <a:gd name="connsiteY341" fmla="*/ 509336 h 1539202"/>
                    <a:gd name="connsiteX342" fmla="*/ 1407683 w 1610812"/>
                    <a:gd name="connsiteY342" fmla="*/ 509336 h 1539202"/>
                    <a:gd name="connsiteX343" fmla="*/ 1493111 w 1610812"/>
                    <a:gd name="connsiteY343" fmla="*/ 523254 h 1539202"/>
                    <a:gd name="connsiteX344" fmla="*/ 1493111 w 1610812"/>
                    <a:gd name="connsiteY344" fmla="*/ 523254 h 1539202"/>
                    <a:gd name="connsiteX345" fmla="*/ 1555643 w 1610812"/>
                    <a:gd name="connsiteY345" fmla="*/ 518514 h 1539202"/>
                    <a:gd name="connsiteX346" fmla="*/ 1555643 w 1610812"/>
                    <a:gd name="connsiteY346" fmla="*/ 518514 h 1539202"/>
                    <a:gd name="connsiteX347" fmla="*/ 1583177 w 1610812"/>
                    <a:gd name="connsiteY347" fmla="*/ 495518 h 1539202"/>
                    <a:gd name="connsiteX348" fmla="*/ 1583177 w 1610812"/>
                    <a:gd name="connsiteY348" fmla="*/ 495518 h 1539202"/>
                    <a:gd name="connsiteX349" fmla="*/ 1581362 w 1610812"/>
                    <a:gd name="connsiteY349" fmla="*/ 471514 h 1539202"/>
                    <a:gd name="connsiteX350" fmla="*/ 1581362 w 1610812"/>
                    <a:gd name="connsiteY350" fmla="*/ 471514 h 1539202"/>
                    <a:gd name="connsiteX351" fmla="*/ 1605164 w 1610812"/>
                    <a:gd name="connsiteY351" fmla="*/ 430061 h 1539202"/>
                    <a:gd name="connsiteX352" fmla="*/ 1605164 w 1610812"/>
                    <a:gd name="connsiteY352" fmla="*/ 430061 h 1539202"/>
                    <a:gd name="connsiteX353" fmla="*/ 1600525 w 1610812"/>
                    <a:gd name="connsiteY353" fmla="*/ 417050 h 1539202"/>
                    <a:gd name="connsiteX354" fmla="*/ 1600525 w 1610812"/>
                    <a:gd name="connsiteY354" fmla="*/ 417050 h 1539202"/>
                    <a:gd name="connsiteX355" fmla="*/ 1602845 w 1610812"/>
                    <a:gd name="connsiteY355" fmla="*/ 415537 h 1539202"/>
                    <a:gd name="connsiteX356" fmla="*/ 1605265 w 1610812"/>
                    <a:gd name="connsiteY356" fmla="*/ 413923 h 1539202"/>
                    <a:gd name="connsiteX357" fmla="*/ 1610812 w 1610812"/>
                    <a:gd name="connsiteY357" fmla="*/ 429960 h 1539202"/>
                    <a:gd name="connsiteX358" fmla="*/ 1610812 w 1610812"/>
                    <a:gd name="connsiteY358" fmla="*/ 429960 h 1539202"/>
                    <a:gd name="connsiteX359" fmla="*/ 1587010 w 1610812"/>
                    <a:gd name="connsiteY359" fmla="*/ 471413 h 1539202"/>
                    <a:gd name="connsiteX360" fmla="*/ 1587010 w 1610812"/>
                    <a:gd name="connsiteY360" fmla="*/ 471413 h 1539202"/>
                    <a:gd name="connsiteX361" fmla="*/ 1588825 w 1610812"/>
                    <a:gd name="connsiteY361" fmla="*/ 495417 h 1539202"/>
                    <a:gd name="connsiteX362" fmla="*/ 1588825 w 1610812"/>
                    <a:gd name="connsiteY362" fmla="*/ 495417 h 1539202"/>
                    <a:gd name="connsiteX363" fmla="*/ 1556651 w 1610812"/>
                    <a:gd name="connsiteY363" fmla="*/ 524061 h 1539202"/>
                    <a:gd name="connsiteX364" fmla="*/ 1556651 w 1610812"/>
                    <a:gd name="connsiteY364" fmla="*/ 524061 h 1539202"/>
                    <a:gd name="connsiteX365" fmla="*/ 1493212 w 1610812"/>
                    <a:gd name="connsiteY365" fmla="*/ 528801 h 1539202"/>
                    <a:gd name="connsiteX366" fmla="*/ 1493212 w 1610812"/>
                    <a:gd name="connsiteY366" fmla="*/ 528801 h 1539202"/>
                    <a:gd name="connsiteX367" fmla="*/ 1405666 w 1610812"/>
                    <a:gd name="connsiteY367" fmla="*/ 514479 h 1539202"/>
                    <a:gd name="connsiteX368" fmla="*/ 1405666 w 1610812"/>
                    <a:gd name="connsiteY368" fmla="*/ 514479 h 1539202"/>
                    <a:gd name="connsiteX369" fmla="*/ 1320642 w 1610812"/>
                    <a:gd name="connsiteY369" fmla="*/ 482709 h 1539202"/>
                    <a:gd name="connsiteX370" fmla="*/ 1320642 w 1610812"/>
                    <a:gd name="connsiteY370" fmla="*/ 482709 h 1539202"/>
                    <a:gd name="connsiteX371" fmla="*/ 1299664 w 1610812"/>
                    <a:gd name="connsiteY371" fmla="*/ 451241 h 1539202"/>
                    <a:gd name="connsiteX372" fmla="*/ 1299664 w 1610812"/>
                    <a:gd name="connsiteY372" fmla="*/ 451241 h 1539202"/>
                    <a:gd name="connsiteX373" fmla="*/ 1301176 w 1610812"/>
                    <a:gd name="connsiteY373" fmla="*/ 433893 h 1539202"/>
                    <a:gd name="connsiteX374" fmla="*/ 1301176 w 1610812"/>
                    <a:gd name="connsiteY374" fmla="*/ 433893 h 1539202"/>
                    <a:gd name="connsiteX375" fmla="*/ 1301277 w 1610812"/>
                    <a:gd name="connsiteY375" fmla="*/ 430666 h 1539202"/>
                    <a:gd name="connsiteX376" fmla="*/ 1301277 w 1610812"/>
                    <a:gd name="connsiteY376" fmla="*/ 430666 h 1539202"/>
                    <a:gd name="connsiteX377" fmla="*/ 1285745 w 1610812"/>
                    <a:gd name="connsiteY377" fmla="*/ 411301 h 1539202"/>
                    <a:gd name="connsiteX378" fmla="*/ 1285745 w 1610812"/>
                    <a:gd name="connsiteY378" fmla="*/ 411301 h 1539202"/>
                    <a:gd name="connsiteX379" fmla="*/ 1269406 w 1610812"/>
                    <a:gd name="connsiteY379" fmla="*/ 437424 h 1539202"/>
                    <a:gd name="connsiteX380" fmla="*/ 1269406 w 1610812"/>
                    <a:gd name="connsiteY380" fmla="*/ 437424 h 1539202"/>
                    <a:gd name="connsiteX381" fmla="*/ 1222608 w 1610812"/>
                    <a:gd name="connsiteY381" fmla="*/ 540400 h 1539202"/>
                    <a:gd name="connsiteX382" fmla="*/ 1222608 w 1610812"/>
                    <a:gd name="connsiteY382" fmla="*/ 540400 h 1539202"/>
                    <a:gd name="connsiteX383" fmla="*/ 1221499 w 1610812"/>
                    <a:gd name="connsiteY383" fmla="*/ 553209 h 1539202"/>
                    <a:gd name="connsiteX384" fmla="*/ 1221499 w 1610812"/>
                    <a:gd name="connsiteY384" fmla="*/ 553209 h 1539202"/>
                    <a:gd name="connsiteX385" fmla="*/ 1255084 w 1610812"/>
                    <a:gd name="connsiteY385" fmla="*/ 593553 h 1539202"/>
                    <a:gd name="connsiteX386" fmla="*/ 1255084 w 1610812"/>
                    <a:gd name="connsiteY386" fmla="*/ 593553 h 1539202"/>
                    <a:gd name="connsiteX387" fmla="*/ 1260027 w 1610812"/>
                    <a:gd name="connsiteY387" fmla="*/ 593250 h 1539202"/>
                    <a:gd name="connsiteX388" fmla="*/ 1260027 w 1610812"/>
                    <a:gd name="connsiteY388" fmla="*/ 593250 h 1539202"/>
                    <a:gd name="connsiteX389" fmla="*/ 1265170 w 1610812"/>
                    <a:gd name="connsiteY389" fmla="*/ 592847 h 1539202"/>
                    <a:gd name="connsiteX390" fmla="*/ 1265170 w 1610812"/>
                    <a:gd name="connsiteY390" fmla="*/ 592847 h 1539202"/>
                    <a:gd name="connsiteX391" fmla="*/ 1297546 w 1610812"/>
                    <a:gd name="connsiteY391" fmla="*/ 633291 h 1539202"/>
                    <a:gd name="connsiteX392" fmla="*/ 1297546 w 1610812"/>
                    <a:gd name="connsiteY392" fmla="*/ 633291 h 1539202"/>
                    <a:gd name="connsiteX393" fmla="*/ 1322256 w 1610812"/>
                    <a:gd name="connsiteY393" fmla="*/ 662136 h 1539202"/>
                    <a:gd name="connsiteX394" fmla="*/ 1322256 w 1610812"/>
                    <a:gd name="connsiteY394" fmla="*/ 662136 h 1539202"/>
                    <a:gd name="connsiteX395" fmla="*/ 1333754 w 1610812"/>
                    <a:gd name="connsiteY395" fmla="*/ 658909 h 1539202"/>
                    <a:gd name="connsiteX396" fmla="*/ 1333754 w 1610812"/>
                    <a:gd name="connsiteY396" fmla="*/ 658909 h 1539202"/>
                    <a:gd name="connsiteX397" fmla="*/ 1365423 w 1610812"/>
                    <a:gd name="connsiteY397" fmla="*/ 626433 h 1539202"/>
                    <a:gd name="connsiteX398" fmla="*/ 1365423 w 1610812"/>
                    <a:gd name="connsiteY398" fmla="*/ 626433 h 1539202"/>
                    <a:gd name="connsiteX399" fmla="*/ 1383578 w 1610812"/>
                    <a:gd name="connsiteY399" fmla="*/ 634098 h 1539202"/>
                    <a:gd name="connsiteX400" fmla="*/ 1383578 w 1610812"/>
                    <a:gd name="connsiteY400" fmla="*/ 634098 h 1539202"/>
                    <a:gd name="connsiteX401" fmla="*/ 1397698 w 1610812"/>
                    <a:gd name="connsiteY401" fmla="*/ 661935 h 1539202"/>
                    <a:gd name="connsiteX402" fmla="*/ 1397698 w 1610812"/>
                    <a:gd name="connsiteY402" fmla="*/ 661935 h 1539202"/>
                    <a:gd name="connsiteX403" fmla="*/ 1382267 w 1610812"/>
                    <a:gd name="connsiteY403" fmla="*/ 704699 h 1539202"/>
                    <a:gd name="connsiteX404" fmla="*/ 1382267 w 1610812"/>
                    <a:gd name="connsiteY404" fmla="*/ 704699 h 1539202"/>
                    <a:gd name="connsiteX405" fmla="*/ 1409700 w 1610812"/>
                    <a:gd name="connsiteY405" fmla="*/ 789017 h 1539202"/>
                    <a:gd name="connsiteX406" fmla="*/ 1409700 w 1610812"/>
                    <a:gd name="connsiteY406" fmla="*/ 789017 h 1539202"/>
                    <a:gd name="connsiteX407" fmla="*/ 1345857 w 1610812"/>
                    <a:gd name="connsiteY407" fmla="*/ 900465 h 1539202"/>
                    <a:gd name="connsiteX408" fmla="*/ 1345857 w 1610812"/>
                    <a:gd name="connsiteY408" fmla="*/ 900465 h 1539202"/>
                    <a:gd name="connsiteX409" fmla="*/ 1300571 w 1610812"/>
                    <a:gd name="connsiteY409" fmla="*/ 982564 h 1539202"/>
                    <a:gd name="connsiteX410" fmla="*/ 1300571 w 1610812"/>
                    <a:gd name="connsiteY410" fmla="*/ 982564 h 1539202"/>
                    <a:gd name="connsiteX411" fmla="*/ 1300269 w 1610812"/>
                    <a:gd name="connsiteY411" fmla="*/ 989322 h 1539202"/>
                    <a:gd name="connsiteX412" fmla="*/ 1300269 w 1610812"/>
                    <a:gd name="connsiteY412" fmla="*/ 989322 h 1539202"/>
                    <a:gd name="connsiteX413" fmla="*/ 1329014 w 1610812"/>
                    <a:gd name="connsiteY413" fmla="*/ 1066478 h 1539202"/>
                    <a:gd name="connsiteX414" fmla="*/ 1329014 w 1610812"/>
                    <a:gd name="connsiteY414" fmla="*/ 1066478 h 1539202"/>
                    <a:gd name="connsiteX415" fmla="*/ 1377829 w 1610812"/>
                    <a:gd name="connsiteY415" fmla="*/ 1094013 h 1539202"/>
                    <a:gd name="connsiteX416" fmla="*/ 1377829 w 1610812"/>
                    <a:gd name="connsiteY416" fmla="*/ 1094013 h 1539202"/>
                    <a:gd name="connsiteX417" fmla="*/ 1368752 w 1610812"/>
                    <a:gd name="connsiteY417" fmla="*/ 1120539 h 1539202"/>
                    <a:gd name="connsiteX418" fmla="*/ 1368752 w 1610812"/>
                    <a:gd name="connsiteY418" fmla="*/ 1120539 h 1539202"/>
                    <a:gd name="connsiteX419" fmla="*/ 1319331 w 1610812"/>
                    <a:gd name="connsiteY419" fmla="*/ 1263153 h 1539202"/>
                    <a:gd name="connsiteX420" fmla="*/ 1319331 w 1610812"/>
                    <a:gd name="connsiteY420" fmla="*/ 1263153 h 1539202"/>
                    <a:gd name="connsiteX421" fmla="*/ 1263153 w 1610812"/>
                    <a:gd name="connsiteY421" fmla="*/ 1381460 h 1539202"/>
                    <a:gd name="connsiteX422" fmla="*/ 1263153 w 1610812"/>
                    <a:gd name="connsiteY422" fmla="*/ 1381460 h 1539202"/>
                    <a:gd name="connsiteX423" fmla="*/ 1235316 w 1610812"/>
                    <a:gd name="connsiteY423" fmla="*/ 1477174 h 1539202"/>
                    <a:gd name="connsiteX424" fmla="*/ 1235316 w 1610812"/>
                    <a:gd name="connsiteY424" fmla="*/ 1477174 h 1539202"/>
                    <a:gd name="connsiteX425" fmla="*/ 1210707 w 1610812"/>
                    <a:gd name="connsiteY425" fmla="*/ 1539202 h 1539202"/>
                    <a:gd name="connsiteX426" fmla="*/ 1210707 w 1610812"/>
                    <a:gd name="connsiteY426" fmla="*/ 1539202 h 1539202"/>
                    <a:gd name="connsiteX427" fmla="*/ 1156546 w 1610812"/>
                    <a:gd name="connsiteY427" fmla="*/ 1505012 h 1539202"/>
                    <a:gd name="connsiteX428" fmla="*/ 1156546 w 1610812"/>
                    <a:gd name="connsiteY428" fmla="*/ 1505012 h 1539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Lst>
                  <a:rect l="l" t="t" r="r" b="b"/>
                  <a:pathLst>
                    <a:path w="1610812" h="1539202">
                      <a:moveTo>
                        <a:pt x="1156546" y="1505012"/>
                      </a:moveTo>
                      <a:cubicBezTo>
                        <a:pt x="1133752" y="1495127"/>
                        <a:pt x="1087457" y="1454885"/>
                        <a:pt x="1077775" y="1445303"/>
                      </a:cubicBezTo>
                      <a:lnTo>
                        <a:pt x="1077775" y="1445303"/>
                      </a:lnTo>
                      <a:cubicBezTo>
                        <a:pt x="1074850" y="1442076"/>
                        <a:pt x="1065773" y="1439554"/>
                        <a:pt x="1055586" y="1439655"/>
                      </a:cubicBezTo>
                      <a:lnTo>
                        <a:pt x="1055586" y="1439655"/>
                      </a:lnTo>
                      <a:cubicBezTo>
                        <a:pt x="1042374" y="1439554"/>
                        <a:pt x="1027346" y="1443387"/>
                        <a:pt x="1019378" y="1451556"/>
                      </a:cubicBezTo>
                      <a:lnTo>
                        <a:pt x="1019378" y="1451556"/>
                      </a:lnTo>
                      <a:cubicBezTo>
                        <a:pt x="1010906" y="1459625"/>
                        <a:pt x="996684" y="1463558"/>
                        <a:pt x="982666" y="1463659"/>
                      </a:cubicBezTo>
                      <a:lnTo>
                        <a:pt x="982666" y="1463659"/>
                      </a:lnTo>
                      <a:cubicBezTo>
                        <a:pt x="967537" y="1463558"/>
                        <a:pt x="952307" y="1459121"/>
                        <a:pt x="946457" y="1447724"/>
                      </a:cubicBezTo>
                      <a:lnTo>
                        <a:pt x="946457" y="1447724"/>
                      </a:lnTo>
                      <a:cubicBezTo>
                        <a:pt x="942120" y="1437739"/>
                        <a:pt x="911358" y="1428561"/>
                        <a:pt x="885034" y="1428863"/>
                      </a:cubicBezTo>
                      <a:lnTo>
                        <a:pt x="885034" y="1428863"/>
                      </a:lnTo>
                      <a:cubicBezTo>
                        <a:pt x="870712" y="1428762"/>
                        <a:pt x="857601" y="1431385"/>
                        <a:pt x="850944" y="1436226"/>
                      </a:cubicBezTo>
                      <a:lnTo>
                        <a:pt x="850944" y="1436226"/>
                      </a:lnTo>
                      <a:cubicBezTo>
                        <a:pt x="836521" y="1446413"/>
                        <a:pt x="817257" y="1455288"/>
                        <a:pt x="804247" y="1455389"/>
                      </a:cubicBezTo>
                      <a:lnTo>
                        <a:pt x="804247" y="1455389"/>
                      </a:lnTo>
                      <a:cubicBezTo>
                        <a:pt x="797086" y="1455389"/>
                        <a:pt x="790530" y="1451456"/>
                        <a:pt x="790530" y="1443286"/>
                      </a:cubicBezTo>
                      <a:lnTo>
                        <a:pt x="790530" y="1443286"/>
                      </a:lnTo>
                      <a:cubicBezTo>
                        <a:pt x="790429" y="1428460"/>
                        <a:pt x="774190" y="1377325"/>
                        <a:pt x="748875" y="1377325"/>
                      </a:cubicBezTo>
                      <a:lnTo>
                        <a:pt x="748875" y="1377325"/>
                      </a:lnTo>
                      <a:cubicBezTo>
                        <a:pt x="744135" y="1377325"/>
                        <a:pt x="738588" y="1379039"/>
                        <a:pt x="732536" y="1383275"/>
                      </a:cubicBezTo>
                      <a:lnTo>
                        <a:pt x="732536" y="1383275"/>
                      </a:lnTo>
                      <a:cubicBezTo>
                        <a:pt x="691991" y="1411314"/>
                        <a:pt x="661027" y="1433099"/>
                        <a:pt x="659817" y="1433704"/>
                      </a:cubicBezTo>
                      <a:lnTo>
                        <a:pt x="659817" y="1433704"/>
                      </a:lnTo>
                      <a:lnTo>
                        <a:pt x="599302" y="1442378"/>
                      </a:lnTo>
                      <a:cubicBezTo>
                        <a:pt x="585182" y="1426039"/>
                        <a:pt x="561581" y="1405767"/>
                        <a:pt x="543225" y="1382065"/>
                      </a:cubicBezTo>
                      <a:lnTo>
                        <a:pt x="543225" y="1382065"/>
                      </a:lnTo>
                      <a:cubicBezTo>
                        <a:pt x="512563" y="1342629"/>
                        <a:pt x="491383" y="1267590"/>
                        <a:pt x="486844" y="1232794"/>
                      </a:cubicBezTo>
                      <a:lnTo>
                        <a:pt x="486844" y="1232794"/>
                      </a:lnTo>
                      <a:cubicBezTo>
                        <a:pt x="483315" y="1200721"/>
                        <a:pt x="414529" y="1131331"/>
                        <a:pt x="370555" y="1114991"/>
                      </a:cubicBezTo>
                      <a:lnTo>
                        <a:pt x="370555" y="1114991"/>
                      </a:lnTo>
                      <a:cubicBezTo>
                        <a:pt x="324765" y="1098350"/>
                        <a:pt x="338078" y="1095828"/>
                        <a:pt x="332329" y="1033296"/>
                      </a:cubicBezTo>
                      <a:lnTo>
                        <a:pt x="332329" y="1033296"/>
                      </a:lnTo>
                      <a:cubicBezTo>
                        <a:pt x="326681" y="971873"/>
                        <a:pt x="244784" y="958358"/>
                        <a:pt x="183967" y="932639"/>
                      </a:cubicBezTo>
                      <a:lnTo>
                        <a:pt x="183967" y="932639"/>
                      </a:lnTo>
                      <a:cubicBezTo>
                        <a:pt x="122947" y="906517"/>
                        <a:pt x="79880" y="852557"/>
                        <a:pt x="64449" y="821796"/>
                      </a:cubicBezTo>
                      <a:lnTo>
                        <a:pt x="64449" y="821796"/>
                      </a:lnTo>
                      <a:cubicBezTo>
                        <a:pt x="49320" y="790429"/>
                        <a:pt x="52548" y="744437"/>
                        <a:pt x="25417" y="737579"/>
                      </a:cubicBezTo>
                      <a:lnTo>
                        <a:pt x="25417" y="737579"/>
                      </a:lnTo>
                      <a:cubicBezTo>
                        <a:pt x="8472" y="732334"/>
                        <a:pt x="101" y="710246"/>
                        <a:pt x="0" y="685435"/>
                      </a:cubicBezTo>
                      <a:lnTo>
                        <a:pt x="0" y="685435"/>
                      </a:lnTo>
                      <a:cubicBezTo>
                        <a:pt x="101" y="659918"/>
                        <a:pt x="9380" y="630769"/>
                        <a:pt x="30762" y="612615"/>
                      </a:cubicBezTo>
                      <a:lnTo>
                        <a:pt x="30762" y="612615"/>
                      </a:lnTo>
                      <a:cubicBezTo>
                        <a:pt x="67071" y="582055"/>
                        <a:pt x="84116" y="547864"/>
                        <a:pt x="84015" y="527087"/>
                      </a:cubicBezTo>
                      <a:lnTo>
                        <a:pt x="84015" y="527087"/>
                      </a:lnTo>
                      <a:cubicBezTo>
                        <a:pt x="84015" y="524767"/>
                        <a:pt x="83813" y="522649"/>
                        <a:pt x="83511" y="520834"/>
                      </a:cubicBezTo>
                      <a:lnTo>
                        <a:pt x="83511" y="520834"/>
                      </a:lnTo>
                      <a:cubicBezTo>
                        <a:pt x="80284" y="501368"/>
                        <a:pt x="58196" y="496627"/>
                        <a:pt x="57590" y="470909"/>
                      </a:cubicBezTo>
                      <a:lnTo>
                        <a:pt x="57590" y="470909"/>
                      </a:lnTo>
                      <a:cubicBezTo>
                        <a:pt x="57691" y="450939"/>
                        <a:pt x="46092" y="400408"/>
                        <a:pt x="46092" y="366217"/>
                      </a:cubicBezTo>
                      <a:lnTo>
                        <a:pt x="46092" y="366217"/>
                      </a:lnTo>
                      <a:cubicBezTo>
                        <a:pt x="46092" y="361275"/>
                        <a:pt x="46294" y="356737"/>
                        <a:pt x="46899" y="352601"/>
                      </a:cubicBezTo>
                      <a:lnTo>
                        <a:pt x="46899" y="352601"/>
                      </a:lnTo>
                      <a:cubicBezTo>
                        <a:pt x="51841" y="318612"/>
                        <a:pt x="82099" y="307619"/>
                        <a:pt x="83410" y="284119"/>
                      </a:cubicBezTo>
                      <a:lnTo>
                        <a:pt x="83410" y="284119"/>
                      </a:lnTo>
                      <a:cubicBezTo>
                        <a:pt x="83612" y="281395"/>
                        <a:pt x="83612" y="278672"/>
                        <a:pt x="83612" y="276050"/>
                      </a:cubicBezTo>
                      <a:lnTo>
                        <a:pt x="83612" y="276050"/>
                      </a:lnTo>
                      <a:cubicBezTo>
                        <a:pt x="83612" y="269393"/>
                        <a:pt x="83108" y="262837"/>
                        <a:pt x="83108" y="256382"/>
                      </a:cubicBezTo>
                      <a:lnTo>
                        <a:pt x="83108" y="256382"/>
                      </a:lnTo>
                      <a:cubicBezTo>
                        <a:pt x="83007" y="240951"/>
                        <a:pt x="86436" y="225116"/>
                        <a:pt x="105901" y="211399"/>
                      </a:cubicBezTo>
                      <a:lnTo>
                        <a:pt x="105901" y="211399"/>
                      </a:lnTo>
                      <a:cubicBezTo>
                        <a:pt x="115282" y="204743"/>
                        <a:pt x="118610" y="191530"/>
                        <a:pt x="118610" y="174687"/>
                      </a:cubicBezTo>
                      <a:lnTo>
                        <a:pt x="118610" y="174687"/>
                      </a:lnTo>
                      <a:cubicBezTo>
                        <a:pt x="118711" y="143421"/>
                        <a:pt x="106910" y="102170"/>
                        <a:pt x="106910" y="76451"/>
                      </a:cubicBezTo>
                      <a:lnTo>
                        <a:pt x="106910" y="76451"/>
                      </a:lnTo>
                      <a:cubicBezTo>
                        <a:pt x="107213" y="47101"/>
                        <a:pt x="137067" y="34494"/>
                        <a:pt x="164803" y="34393"/>
                      </a:cubicBezTo>
                      <a:lnTo>
                        <a:pt x="164803" y="34393"/>
                      </a:lnTo>
                      <a:cubicBezTo>
                        <a:pt x="177108" y="34393"/>
                        <a:pt x="189312" y="36914"/>
                        <a:pt x="198994" y="41856"/>
                      </a:cubicBezTo>
                      <a:lnTo>
                        <a:pt x="198994" y="41856"/>
                      </a:lnTo>
                      <a:cubicBezTo>
                        <a:pt x="218460" y="51740"/>
                        <a:pt x="225419" y="61322"/>
                        <a:pt x="231067" y="60818"/>
                      </a:cubicBezTo>
                      <a:lnTo>
                        <a:pt x="231067" y="60818"/>
                      </a:lnTo>
                      <a:cubicBezTo>
                        <a:pt x="234295" y="60818"/>
                        <a:pt x="239035" y="58397"/>
                        <a:pt x="247406" y="50934"/>
                      </a:cubicBezTo>
                      <a:lnTo>
                        <a:pt x="247406" y="50934"/>
                      </a:lnTo>
                      <a:cubicBezTo>
                        <a:pt x="264451" y="35401"/>
                        <a:pt x="287548" y="16541"/>
                        <a:pt x="292390" y="1311"/>
                      </a:cubicBezTo>
                      <a:lnTo>
                        <a:pt x="292390" y="1311"/>
                      </a:lnTo>
                      <a:lnTo>
                        <a:pt x="296726" y="0"/>
                      </a:lnTo>
                      <a:cubicBezTo>
                        <a:pt x="302475" y="4034"/>
                        <a:pt x="307417" y="9380"/>
                        <a:pt x="309838" y="16137"/>
                      </a:cubicBezTo>
                      <a:lnTo>
                        <a:pt x="309838" y="16137"/>
                      </a:lnTo>
                      <a:cubicBezTo>
                        <a:pt x="318209" y="38125"/>
                        <a:pt x="318411" y="60717"/>
                        <a:pt x="350181" y="60717"/>
                      </a:cubicBezTo>
                      <a:lnTo>
                        <a:pt x="350181" y="60717"/>
                      </a:lnTo>
                      <a:cubicBezTo>
                        <a:pt x="356132" y="60717"/>
                        <a:pt x="363293" y="59910"/>
                        <a:pt x="372067" y="57994"/>
                      </a:cubicBezTo>
                      <a:lnTo>
                        <a:pt x="372067" y="57994"/>
                      </a:lnTo>
                      <a:cubicBezTo>
                        <a:pt x="426329" y="46496"/>
                        <a:pt x="405149" y="21079"/>
                        <a:pt x="465866" y="17549"/>
                      </a:cubicBezTo>
                      <a:lnTo>
                        <a:pt x="465866" y="17549"/>
                      </a:lnTo>
                      <a:cubicBezTo>
                        <a:pt x="467581" y="17348"/>
                        <a:pt x="469396" y="17348"/>
                        <a:pt x="471010" y="17348"/>
                      </a:cubicBezTo>
                      <a:lnTo>
                        <a:pt x="471010" y="17348"/>
                      </a:lnTo>
                      <a:cubicBezTo>
                        <a:pt x="526785" y="18155"/>
                        <a:pt x="514783" y="69794"/>
                        <a:pt x="540905" y="67373"/>
                      </a:cubicBezTo>
                      <a:lnTo>
                        <a:pt x="540905" y="67373"/>
                      </a:lnTo>
                      <a:cubicBezTo>
                        <a:pt x="572675" y="67373"/>
                        <a:pt x="598394" y="79678"/>
                        <a:pt x="605757" y="97127"/>
                      </a:cubicBezTo>
                      <a:lnTo>
                        <a:pt x="605757" y="97127"/>
                      </a:lnTo>
                      <a:cubicBezTo>
                        <a:pt x="607472" y="101867"/>
                        <a:pt x="615237" y="105801"/>
                        <a:pt x="626533" y="105801"/>
                      </a:cubicBezTo>
                      <a:lnTo>
                        <a:pt x="626533" y="105801"/>
                      </a:lnTo>
                      <a:cubicBezTo>
                        <a:pt x="641562" y="105801"/>
                        <a:pt x="662036" y="99245"/>
                        <a:pt x="679182" y="83713"/>
                      </a:cubicBezTo>
                      <a:lnTo>
                        <a:pt x="679182" y="83713"/>
                      </a:lnTo>
                      <a:cubicBezTo>
                        <a:pt x="706414" y="59103"/>
                        <a:pt x="717811" y="48009"/>
                        <a:pt x="742319" y="48009"/>
                      </a:cubicBezTo>
                      <a:lnTo>
                        <a:pt x="742319" y="48009"/>
                      </a:lnTo>
                      <a:cubicBezTo>
                        <a:pt x="745547" y="48009"/>
                        <a:pt x="749178" y="48210"/>
                        <a:pt x="753010" y="48715"/>
                      </a:cubicBezTo>
                      <a:lnTo>
                        <a:pt x="753010" y="48715"/>
                      </a:lnTo>
                      <a:cubicBezTo>
                        <a:pt x="784881" y="52346"/>
                        <a:pt x="791034" y="80283"/>
                        <a:pt x="830369" y="79981"/>
                      </a:cubicBezTo>
                      <a:lnTo>
                        <a:pt x="830369" y="79981"/>
                      </a:lnTo>
                      <a:cubicBezTo>
                        <a:pt x="832386" y="79981"/>
                        <a:pt x="834605" y="79981"/>
                        <a:pt x="836622" y="79880"/>
                      </a:cubicBezTo>
                      <a:lnTo>
                        <a:pt x="836622" y="79880"/>
                      </a:lnTo>
                      <a:cubicBezTo>
                        <a:pt x="841060" y="79476"/>
                        <a:pt x="845598" y="79275"/>
                        <a:pt x="850137" y="79275"/>
                      </a:cubicBezTo>
                      <a:lnTo>
                        <a:pt x="850137" y="79275"/>
                      </a:lnTo>
                      <a:cubicBezTo>
                        <a:pt x="893506" y="79275"/>
                        <a:pt x="939700" y="94101"/>
                        <a:pt x="948676" y="141303"/>
                      </a:cubicBezTo>
                      <a:lnTo>
                        <a:pt x="948676" y="141303"/>
                      </a:lnTo>
                      <a:cubicBezTo>
                        <a:pt x="957551" y="189715"/>
                        <a:pt x="1003947" y="230260"/>
                        <a:pt x="1026236" y="274436"/>
                      </a:cubicBezTo>
                      <a:lnTo>
                        <a:pt x="1026236" y="274436"/>
                      </a:lnTo>
                      <a:cubicBezTo>
                        <a:pt x="1046004" y="314679"/>
                        <a:pt x="1055888" y="352501"/>
                        <a:pt x="1087155" y="351996"/>
                      </a:cubicBezTo>
                      <a:lnTo>
                        <a:pt x="1087155" y="351996"/>
                      </a:lnTo>
                      <a:cubicBezTo>
                        <a:pt x="1090382" y="351996"/>
                        <a:pt x="1094013" y="351593"/>
                        <a:pt x="1097846" y="350887"/>
                      </a:cubicBezTo>
                      <a:lnTo>
                        <a:pt x="1097846" y="350887"/>
                      </a:lnTo>
                      <a:cubicBezTo>
                        <a:pt x="1123363" y="345642"/>
                        <a:pt x="1128406" y="317503"/>
                        <a:pt x="1128507" y="296726"/>
                      </a:cubicBezTo>
                      <a:lnTo>
                        <a:pt x="1128507" y="296726"/>
                      </a:lnTo>
                      <a:cubicBezTo>
                        <a:pt x="1128507" y="285026"/>
                        <a:pt x="1126994" y="276352"/>
                        <a:pt x="1128709" y="273125"/>
                      </a:cubicBezTo>
                      <a:lnTo>
                        <a:pt x="1128709" y="273125"/>
                      </a:lnTo>
                      <a:cubicBezTo>
                        <a:pt x="1128911" y="273125"/>
                        <a:pt x="1137685" y="269797"/>
                        <a:pt x="1149990" y="269797"/>
                      </a:cubicBezTo>
                      <a:lnTo>
                        <a:pt x="1149990" y="269797"/>
                      </a:lnTo>
                      <a:cubicBezTo>
                        <a:pt x="1162093" y="269797"/>
                        <a:pt x="1177625" y="273125"/>
                        <a:pt x="1190736" y="286237"/>
                      </a:cubicBezTo>
                      <a:lnTo>
                        <a:pt x="1190736" y="286237"/>
                      </a:lnTo>
                      <a:cubicBezTo>
                        <a:pt x="1216556" y="313771"/>
                        <a:pt x="1196183" y="369445"/>
                        <a:pt x="1220490" y="372672"/>
                      </a:cubicBezTo>
                      <a:lnTo>
                        <a:pt x="1220490" y="372672"/>
                      </a:lnTo>
                      <a:cubicBezTo>
                        <a:pt x="1227348" y="374185"/>
                        <a:pt x="1233097" y="374992"/>
                        <a:pt x="1237535" y="374992"/>
                      </a:cubicBezTo>
                      <a:lnTo>
                        <a:pt x="1237535" y="374992"/>
                      </a:lnTo>
                      <a:cubicBezTo>
                        <a:pt x="1251352" y="374690"/>
                        <a:pt x="1255992" y="369546"/>
                        <a:pt x="1260833" y="355930"/>
                      </a:cubicBezTo>
                      <a:lnTo>
                        <a:pt x="1260833" y="355930"/>
                      </a:lnTo>
                      <a:cubicBezTo>
                        <a:pt x="1264162" y="345340"/>
                        <a:pt x="1273440" y="339893"/>
                        <a:pt x="1283325" y="339994"/>
                      </a:cubicBezTo>
                      <a:lnTo>
                        <a:pt x="1283325" y="339994"/>
                      </a:lnTo>
                      <a:cubicBezTo>
                        <a:pt x="1293310" y="339994"/>
                        <a:pt x="1304001" y="345138"/>
                        <a:pt x="1312372" y="355022"/>
                      </a:cubicBezTo>
                      <a:lnTo>
                        <a:pt x="1312372" y="355022"/>
                      </a:lnTo>
                      <a:cubicBezTo>
                        <a:pt x="1319432" y="363797"/>
                        <a:pt x="1340310" y="369748"/>
                        <a:pt x="1360986" y="369546"/>
                      </a:cubicBezTo>
                      <a:lnTo>
                        <a:pt x="1360986" y="369546"/>
                      </a:lnTo>
                      <a:cubicBezTo>
                        <a:pt x="1378535" y="369647"/>
                        <a:pt x="1395883" y="365612"/>
                        <a:pt x="1404960" y="357644"/>
                      </a:cubicBezTo>
                      <a:lnTo>
                        <a:pt x="1404960" y="357644"/>
                      </a:lnTo>
                      <a:cubicBezTo>
                        <a:pt x="1425031" y="341205"/>
                        <a:pt x="1420492" y="300760"/>
                        <a:pt x="1478486" y="300861"/>
                      </a:cubicBezTo>
                      <a:lnTo>
                        <a:pt x="1478486" y="300861"/>
                      </a:lnTo>
                      <a:cubicBezTo>
                        <a:pt x="1537690" y="301567"/>
                        <a:pt x="1513383" y="368033"/>
                        <a:pt x="1532950" y="379329"/>
                      </a:cubicBezTo>
                      <a:lnTo>
                        <a:pt x="1532950" y="379329"/>
                      </a:lnTo>
                      <a:cubicBezTo>
                        <a:pt x="1552819" y="394155"/>
                        <a:pt x="1585195" y="384775"/>
                        <a:pt x="1605265" y="414327"/>
                      </a:cubicBezTo>
                      <a:lnTo>
                        <a:pt x="1605265" y="414327"/>
                      </a:lnTo>
                      <a:lnTo>
                        <a:pt x="1602845" y="415941"/>
                      </a:lnTo>
                      <a:lnTo>
                        <a:pt x="1600525" y="417454"/>
                      </a:lnTo>
                      <a:cubicBezTo>
                        <a:pt x="1583379" y="390928"/>
                        <a:pt x="1553323" y="400207"/>
                        <a:pt x="1529621" y="383968"/>
                      </a:cubicBezTo>
                      <a:lnTo>
                        <a:pt x="1529621" y="383968"/>
                      </a:lnTo>
                      <a:cubicBezTo>
                        <a:pt x="1505617" y="364099"/>
                        <a:pt x="1531235" y="306005"/>
                        <a:pt x="1478385" y="306610"/>
                      </a:cubicBezTo>
                      <a:lnTo>
                        <a:pt x="1478385" y="306610"/>
                      </a:lnTo>
                      <a:cubicBezTo>
                        <a:pt x="1424022" y="306812"/>
                        <a:pt x="1431990" y="341104"/>
                        <a:pt x="1408490" y="361981"/>
                      </a:cubicBezTo>
                      <a:lnTo>
                        <a:pt x="1408490" y="361981"/>
                      </a:lnTo>
                      <a:cubicBezTo>
                        <a:pt x="1397597" y="371361"/>
                        <a:pt x="1379241" y="375093"/>
                        <a:pt x="1360986" y="375194"/>
                      </a:cubicBezTo>
                      <a:lnTo>
                        <a:pt x="1360986" y="375194"/>
                      </a:lnTo>
                      <a:cubicBezTo>
                        <a:pt x="1339200" y="375093"/>
                        <a:pt x="1317717" y="369748"/>
                        <a:pt x="1308035" y="358552"/>
                      </a:cubicBezTo>
                      <a:lnTo>
                        <a:pt x="1308035" y="358552"/>
                      </a:lnTo>
                      <a:cubicBezTo>
                        <a:pt x="1300773" y="349777"/>
                        <a:pt x="1291293" y="345441"/>
                        <a:pt x="1283325" y="345441"/>
                      </a:cubicBezTo>
                      <a:lnTo>
                        <a:pt x="1283325" y="345441"/>
                      </a:lnTo>
                      <a:cubicBezTo>
                        <a:pt x="1275357" y="345541"/>
                        <a:pt x="1269003" y="349374"/>
                        <a:pt x="1266179" y="357644"/>
                      </a:cubicBezTo>
                      <a:lnTo>
                        <a:pt x="1266179" y="357644"/>
                      </a:lnTo>
                      <a:cubicBezTo>
                        <a:pt x="1261640" y="371966"/>
                        <a:pt x="1253471" y="380741"/>
                        <a:pt x="1237535" y="380539"/>
                      </a:cubicBezTo>
                      <a:lnTo>
                        <a:pt x="1237535" y="380539"/>
                      </a:lnTo>
                      <a:cubicBezTo>
                        <a:pt x="1232391" y="380539"/>
                        <a:pt x="1226340" y="379632"/>
                        <a:pt x="1219380" y="378119"/>
                      </a:cubicBezTo>
                      <a:lnTo>
                        <a:pt x="1219380" y="378119"/>
                      </a:lnTo>
                      <a:cubicBezTo>
                        <a:pt x="1187509" y="368840"/>
                        <a:pt x="1210908" y="312460"/>
                        <a:pt x="1186904" y="290271"/>
                      </a:cubicBezTo>
                      <a:lnTo>
                        <a:pt x="1186904" y="290271"/>
                      </a:lnTo>
                      <a:cubicBezTo>
                        <a:pt x="1175002" y="278370"/>
                        <a:pt x="1160983" y="275445"/>
                        <a:pt x="1149990" y="275445"/>
                      </a:cubicBezTo>
                      <a:lnTo>
                        <a:pt x="1149990" y="275445"/>
                      </a:lnTo>
                      <a:cubicBezTo>
                        <a:pt x="1141215" y="275445"/>
                        <a:pt x="1134357" y="277159"/>
                        <a:pt x="1132642" y="276554"/>
                      </a:cubicBezTo>
                      <a:lnTo>
                        <a:pt x="1132642" y="276554"/>
                      </a:lnTo>
                      <a:cubicBezTo>
                        <a:pt x="1133045" y="279479"/>
                        <a:pt x="1134054" y="287144"/>
                        <a:pt x="1134054" y="296726"/>
                      </a:cubicBezTo>
                      <a:lnTo>
                        <a:pt x="1134054" y="296726"/>
                      </a:lnTo>
                      <a:cubicBezTo>
                        <a:pt x="1134155" y="317805"/>
                        <a:pt x="1129011" y="349576"/>
                        <a:pt x="1099056" y="356333"/>
                      </a:cubicBezTo>
                      <a:lnTo>
                        <a:pt x="1099056" y="356333"/>
                      </a:lnTo>
                      <a:cubicBezTo>
                        <a:pt x="1094820" y="357241"/>
                        <a:pt x="1090887" y="357544"/>
                        <a:pt x="1087155" y="357544"/>
                      </a:cubicBezTo>
                      <a:lnTo>
                        <a:pt x="1087155" y="357544"/>
                      </a:lnTo>
                      <a:cubicBezTo>
                        <a:pt x="1050039" y="357039"/>
                        <a:pt x="1040861" y="315687"/>
                        <a:pt x="1021193" y="276958"/>
                      </a:cubicBezTo>
                      <a:lnTo>
                        <a:pt x="1021193" y="276958"/>
                      </a:lnTo>
                      <a:cubicBezTo>
                        <a:pt x="999912" y="234093"/>
                        <a:pt x="952811" y="193548"/>
                        <a:pt x="943129" y="142311"/>
                      </a:cubicBezTo>
                      <a:lnTo>
                        <a:pt x="943129" y="142311"/>
                      </a:lnTo>
                      <a:cubicBezTo>
                        <a:pt x="935060" y="99144"/>
                        <a:pt x="892699" y="84923"/>
                        <a:pt x="850137" y="84822"/>
                      </a:cubicBezTo>
                      <a:lnTo>
                        <a:pt x="850137" y="84822"/>
                      </a:lnTo>
                      <a:cubicBezTo>
                        <a:pt x="845699" y="84822"/>
                        <a:pt x="841262" y="84923"/>
                        <a:pt x="837126" y="85427"/>
                      </a:cubicBezTo>
                      <a:lnTo>
                        <a:pt x="837126" y="85427"/>
                      </a:lnTo>
                      <a:cubicBezTo>
                        <a:pt x="834706" y="85528"/>
                        <a:pt x="832588" y="85528"/>
                        <a:pt x="830369" y="85528"/>
                      </a:cubicBezTo>
                      <a:lnTo>
                        <a:pt x="830369" y="85528"/>
                      </a:lnTo>
                      <a:cubicBezTo>
                        <a:pt x="787807" y="85125"/>
                        <a:pt x="779939" y="56279"/>
                        <a:pt x="752506" y="54161"/>
                      </a:cubicBezTo>
                      <a:lnTo>
                        <a:pt x="752506" y="54161"/>
                      </a:lnTo>
                      <a:cubicBezTo>
                        <a:pt x="748875" y="53858"/>
                        <a:pt x="745446" y="53556"/>
                        <a:pt x="742420" y="53556"/>
                      </a:cubicBezTo>
                      <a:lnTo>
                        <a:pt x="742420" y="53556"/>
                      </a:lnTo>
                      <a:cubicBezTo>
                        <a:pt x="720130" y="53657"/>
                        <a:pt x="710751" y="62835"/>
                        <a:pt x="683115" y="87747"/>
                      </a:cubicBezTo>
                      <a:lnTo>
                        <a:pt x="683115" y="87747"/>
                      </a:lnTo>
                      <a:cubicBezTo>
                        <a:pt x="664759" y="104187"/>
                        <a:pt x="643276" y="111247"/>
                        <a:pt x="626634" y="111348"/>
                      </a:cubicBezTo>
                      <a:lnTo>
                        <a:pt x="626634" y="111348"/>
                      </a:lnTo>
                      <a:cubicBezTo>
                        <a:pt x="614330" y="111247"/>
                        <a:pt x="604143" y="107414"/>
                        <a:pt x="600714" y="99144"/>
                      </a:cubicBezTo>
                      <a:lnTo>
                        <a:pt x="600714" y="99144"/>
                      </a:lnTo>
                      <a:cubicBezTo>
                        <a:pt x="595368" y="85326"/>
                        <a:pt x="571465" y="72719"/>
                        <a:pt x="541006" y="72820"/>
                      </a:cubicBezTo>
                      <a:lnTo>
                        <a:pt x="541006" y="72820"/>
                      </a:lnTo>
                      <a:cubicBezTo>
                        <a:pt x="506512" y="70399"/>
                        <a:pt x="522347" y="22088"/>
                        <a:pt x="471111" y="22895"/>
                      </a:cubicBezTo>
                      <a:lnTo>
                        <a:pt x="471111" y="22895"/>
                      </a:lnTo>
                      <a:cubicBezTo>
                        <a:pt x="469497" y="22895"/>
                        <a:pt x="467883" y="22895"/>
                        <a:pt x="466471" y="22996"/>
                      </a:cubicBezTo>
                      <a:lnTo>
                        <a:pt x="466471" y="22996"/>
                      </a:lnTo>
                      <a:cubicBezTo>
                        <a:pt x="408982" y="25719"/>
                        <a:pt x="431372" y="50127"/>
                        <a:pt x="373480" y="63440"/>
                      </a:cubicBezTo>
                      <a:lnTo>
                        <a:pt x="373480" y="63440"/>
                      </a:lnTo>
                      <a:cubicBezTo>
                        <a:pt x="364503" y="65356"/>
                        <a:pt x="356838" y="66264"/>
                        <a:pt x="350383" y="66264"/>
                      </a:cubicBezTo>
                      <a:lnTo>
                        <a:pt x="350383" y="66264"/>
                      </a:lnTo>
                      <a:cubicBezTo>
                        <a:pt x="314478" y="66365"/>
                        <a:pt x="312157" y="38024"/>
                        <a:pt x="304896" y="18054"/>
                      </a:cubicBezTo>
                      <a:lnTo>
                        <a:pt x="304896" y="18054"/>
                      </a:lnTo>
                      <a:cubicBezTo>
                        <a:pt x="303181" y="13616"/>
                        <a:pt x="300256" y="9783"/>
                        <a:pt x="296524" y="6657"/>
                      </a:cubicBezTo>
                      <a:lnTo>
                        <a:pt x="296524" y="6657"/>
                      </a:lnTo>
                      <a:cubicBezTo>
                        <a:pt x="288758" y="23399"/>
                        <a:pt x="267074" y="40545"/>
                        <a:pt x="251340" y="54968"/>
                      </a:cubicBezTo>
                      <a:lnTo>
                        <a:pt x="251340" y="54968"/>
                      </a:lnTo>
                      <a:cubicBezTo>
                        <a:pt x="242666" y="62734"/>
                        <a:pt x="237220" y="66264"/>
                        <a:pt x="231269" y="66365"/>
                      </a:cubicBezTo>
                      <a:lnTo>
                        <a:pt x="231269" y="66365"/>
                      </a:lnTo>
                      <a:cubicBezTo>
                        <a:pt x="220780" y="65760"/>
                        <a:pt x="215535" y="55977"/>
                        <a:pt x="196775" y="46798"/>
                      </a:cubicBezTo>
                      <a:lnTo>
                        <a:pt x="196775" y="46798"/>
                      </a:lnTo>
                      <a:cubicBezTo>
                        <a:pt x="188101" y="42461"/>
                        <a:pt x="176603" y="40041"/>
                        <a:pt x="165105" y="40041"/>
                      </a:cubicBezTo>
                      <a:lnTo>
                        <a:pt x="165105" y="40041"/>
                      </a:lnTo>
                      <a:cubicBezTo>
                        <a:pt x="138378" y="40142"/>
                        <a:pt x="112861" y="52043"/>
                        <a:pt x="112861" y="76552"/>
                      </a:cubicBezTo>
                      <a:lnTo>
                        <a:pt x="112861" y="76552"/>
                      </a:lnTo>
                      <a:cubicBezTo>
                        <a:pt x="112760" y="100959"/>
                        <a:pt x="124561" y="142412"/>
                        <a:pt x="124561" y="174788"/>
                      </a:cubicBezTo>
                      <a:lnTo>
                        <a:pt x="124561" y="174788"/>
                      </a:lnTo>
                      <a:cubicBezTo>
                        <a:pt x="124561" y="192236"/>
                        <a:pt x="121030" y="207466"/>
                        <a:pt x="109432" y="216039"/>
                      </a:cubicBezTo>
                      <a:lnTo>
                        <a:pt x="109432" y="216039"/>
                      </a:lnTo>
                      <a:cubicBezTo>
                        <a:pt x="91378" y="229050"/>
                        <a:pt x="89058" y="241657"/>
                        <a:pt x="88957" y="256483"/>
                      </a:cubicBezTo>
                      <a:lnTo>
                        <a:pt x="88957" y="256483"/>
                      </a:lnTo>
                      <a:cubicBezTo>
                        <a:pt x="88957" y="262737"/>
                        <a:pt x="89361" y="269292"/>
                        <a:pt x="89361" y="276151"/>
                      </a:cubicBezTo>
                      <a:lnTo>
                        <a:pt x="89361" y="276151"/>
                      </a:lnTo>
                      <a:cubicBezTo>
                        <a:pt x="89361" y="278874"/>
                        <a:pt x="89361" y="281698"/>
                        <a:pt x="89159" y="284724"/>
                      </a:cubicBezTo>
                      <a:lnTo>
                        <a:pt x="89159" y="284724"/>
                      </a:lnTo>
                      <a:cubicBezTo>
                        <a:pt x="86134" y="312762"/>
                        <a:pt x="56178" y="323050"/>
                        <a:pt x="52648" y="353509"/>
                      </a:cubicBezTo>
                      <a:lnTo>
                        <a:pt x="52648" y="353509"/>
                      </a:lnTo>
                      <a:cubicBezTo>
                        <a:pt x="52043" y="357342"/>
                        <a:pt x="51841" y="361578"/>
                        <a:pt x="51841" y="366419"/>
                      </a:cubicBezTo>
                      <a:lnTo>
                        <a:pt x="51841" y="366419"/>
                      </a:lnTo>
                      <a:cubicBezTo>
                        <a:pt x="51841" y="399702"/>
                        <a:pt x="63239" y="449728"/>
                        <a:pt x="63339" y="471110"/>
                      </a:cubicBezTo>
                      <a:lnTo>
                        <a:pt x="63339" y="471110"/>
                      </a:lnTo>
                      <a:cubicBezTo>
                        <a:pt x="62835" y="492492"/>
                        <a:pt x="83713" y="496527"/>
                        <a:pt x="89159" y="519926"/>
                      </a:cubicBezTo>
                      <a:lnTo>
                        <a:pt x="89159" y="519926"/>
                      </a:lnTo>
                      <a:cubicBezTo>
                        <a:pt x="89562" y="522346"/>
                        <a:pt x="89663" y="524666"/>
                        <a:pt x="89663" y="527289"/>
                      </a:cubicBezTo>
                      <a:lnTo>
                        <a:pt x="89663" y="527289"/>
                      </a:lnTo>
                      <a:cubicBezTo>
                        <a:pt x="89562" y="550789"/>
                        <a:pt x="71509" y="585686"/>
                        <a:pt x="34494" y="616952"/>
                      </a:cubicBezTo>
                      <a:lnTo>
                        <a:pt x="34494" y="616952"/>
                      </a:lnTo>
                      <a:cubicBezTo>
                        <a:pt x="14625" y="633593"/>
                        <a:pt x="5648" y="661330"/>
                        <a:pt x="5648" y="685536"/>
                      </a:cubicBezTo>
                      <a:lnTo>
                        <a:pt x="5648" y="685536"/>
                      </a:lnTo>
                      <a:cubicBezTo>
                        <a:pt x="5548" y="709237"/>
                        <a:pt x="14322" y="728905"/>
                        <a:pt x="27131" y="732233"/>
                      </a:cubicBezTo>
                      <a:lnTo>
                        <a:pt x="27131" y="732233"/>
                      </a:lnTo>
                      <a:cubicBezTo>
                        <a:pt x="59910" y="742521"/>
                        <a:pt x="54464" y="790832"/>
                        <a:pt x="69492" y="819375"/>
                      </a:cubicBezTo>
                      <a:lnTo>
                        <a:pt x="69492" y="819375"/>
                      </a:lnTo>
                      <a:cubicBezTo>
                        <a:pt x="84217" y="848826"/>
                        <a:pt x="126880" y="902180"/>
                        <a:pt x="186084" y="927394"/>
                      </a:cubicBezTo>
                      <a:lnTo>
                        <a:pt x="186084" y="927394"/>
                      </a:lnTo>
                      <a:cubicBezTo>
                        <a:pt x="245389" y="953012"/>
                        <a:pt x="330514" y="965519"/>
                        <a:pt x="337776" y="1032590"/>
                      </a:cubicBezTo>
                      <a:lnTo>
                        <a:pt x="337776" y="1032590"/>
                      </a:lnTo>
                      <a:cubicBezTo>
                        <a:pt x="345037" y="1098652"/>
                        <a:pt x="328093" y="1091996"/>
                        <a:pt x="372370" y="1109646"/>
                      </a:cubicBezTo>
                      <a:lnTo>
                        <a:pt x="372370" y="1109646"/>
                      </a:lnTo>
                      <a:cubicBezTo>
                        <a:pt x="418664" y="1127700"/>
                        <a:pt x="487046" y="1195477"/>
                        <a:pt x="492190" y="1232088"/>
                      </a:cubicBezTo>
                      <a:lnTo>
                        <a:pt x="492190" y="1232088"/>
                      </a:lnTo>
                      <a:cubicBezTo>
                        <a:pt x="496426" y="1265775"/>
                        <a:pt x="517808" y="1340814"/>
                        <a:pt x="547360" y="1378636"/>
                      </a:cubicBezTo>
                      <a:lnTo>
                        <a:pt x="547360" y="1378636"/>
                      </a:lnTo>
                      <a:cubicBezTo>
                        <a:pt x="565212" y="1401631"/>
                        <a:pt x="588711" y="1421702"/>
                        <a:pt x="600714" y="1437739"/>
                      </a:cubicBezTo>
                      <a:lnTo>
                        <a:pt x="600714" y="1437739"/>
                      </a:lnTo>
                      <a:lnTo>
                        <a:pt x="657497" y="1428662"/>
                      </a:lnTo>
                      <a:cubicBezTo>
                        <a:pt x="657497" y="1428662"/>
                        <a:pt x="688562" y="1406775"/>
                        <a:pt x="729107" y="1378736"/>
                      </a:cubicBezTo>
                      <a:lnTo>
                        <a:pt x="729107" y="1378736"/>
                      </a:lnTo>
                      <a:cubicBezTo>
                        <a:pt x="735965" y="1374097"/>
                        <a:pt x="742622" y="1371777"/>
                        <a:pt x="748775" y="1371777"/>
                      </a:cubicBezTo>
                      <a:lnTo>
                        <a:pt x="748775" y="1371777"/>
                      </a:lnTo>
                      <a:cubicBezTo>
                        <a:pt x="781251" y="1372887"/>
                        <a:pt x="795371" y="1426544"/>
                        <a:pt x="795774" y="1443387"/>
                      </a:cubicBezTo>
                      <a:lnTo>
                        <a:pt x="795774" y="1443387"/>
                      </a:lnTo>
                      <a:cubicBezTo>
                        <a:pt x="796178" y="1448531"/>
                        <a:pt x="797993" y="1449539"/>
                        <a:pt x="804045" y="1449842"/>
                      </a:cubicBezTo>
                      <a:lnTo>
                        <a:pt x="804045" y="1449842"/>
                      </a:lnTo>
                      <a:cubicBezTo>
                        <a:pt x="814736" y="1449943"/>
                        <a:pt x="833899" y="1441370"/>
                        <a:pt x="847515" y="1431687"/>
                      </a:cubicBezTo>
                      <a:lnTo>
                        <a:pt x="847515" y="1431687"/>
                      </a:lnTo>
                      <a:cubicBezTo>
                        <a:pt x="856088" y="1425636"/>
                        <a:pt x="869905" y="1423215"/>
                        <a:pt x="884833" y="1423215"/>
                      </a:cubicBezTo>
                      <a:lnTo>
                        <a:pt x="884833" y="1423215"/>
                      </a:lnTo>
                      <a:cubicBezTo>
                        <a:pt x="912266" y="1423518"/>
                        <a:pt x="943431" y="1430679"/>
                        <a:pt x="951298" y="1445102"/>
                      </a:cubicBezTo>
                      <a:lnTo>
                        <a:pt x="951298" y="1445102"/>
                      </a:lnTo>
                      <a:cubicBezTo>
                        <a:pt x="955030" y="1453170"/>
                        <a:pt x="968343" y="1458011"/>
                        <a:pt x="982565" y="1458011"/>
                      </a:cubicBezTo>
                      <a:lnTo>
                        <a:pt x="982565" y="1458011"/>
                      </a:lnTo>
                      <a:cubicBezTo>
                        <a:pt x="995474" y="1458011"/>
                        <a:pt x="1008788" y="1453977"/>
                        <a:pt x="1015445" y="1447522"/>
                      </a:cubicBezTo>
                      <a:lnTo>
                        <a:pt x="1015445" y="1447522"/>
                      </a:lnTo>
                      <a:cubicBezTo>
                        <a:pt x="1025127" y="1437941"/>
                        <a:pt x="1041365" y="1434108"/>
                        <a:pt x="1055485" y="1434108"/>
                      </a:cubicBezTo>
                      <a:lnTo>
                        <a:pt x="1055485" y="1434108"/>
                      </a:lnTo>
                      <a:cubicBezTo>
                        <a:pt x="1066479" y="1434108"/>
                        <a:pt x="1076363" y="1436125"/>
                        <a:pt x="1081708" y="1441269"/>
                      </a:cubicBezTo>
                      <a:lnTo>
                        <a:pt x="1081708" y="1441269"/>
                      </a:lnTo>
                      <a:cubicBezTo>
                        <a:pt x="1090584" y="1450346"/>
                        <a:pt x="1137685" y="1490992"/>
                        <a:pt x="1158562" y="1499868"/>
                      </a:cubicBezTo>
                      <a:lnTo>
                        <a:pt x="1158562" y="1499868"/>
                      </a:lnTo>
                      <a:cubicBezTo>
                        <a:pt x="1180953" y="1509752"/>
                        <a:pt x="1200923" y="1534664"/>
                        <a:pt x="1210404" y="1533958"/>
                      </a:cubicBezTo>
                      <a:lnTo>
                        <a:pt x="1210404" y="1533958"/>
                      </a:lnTo>
                      <a:cubicBezTo>
                        <a:pt x="1218573" y="1533857"/>
                        <a:pt x="1229466" y="1505112"/>
                        <a:pt x="1229466" y="1477578"/>
                      </a:cubicBezTo>
                      <a:lnTo>
                        <a:pt x="1229466" y="1477578"/>
                      </a:lnTo>
                      <a:cubicBezTo>
                        <a:pt x="1229567" y="1448430"/>
                        <a:pt x="1245301" y="1420391"/>
                        <a:pt x="1257606" y="1380250"/>
                      </a:cubicBezTo>
                      <a:lnTo>
                        <a:pt x="1257606" y="1380250"/>
                      </a:lnTo>
                      <a:cubicBezTo>
                        <a:pt x="1270213" y="1339200"/>
                        <a:pt x="1307733" y="1282820"/>
                        <a:pt x="1313683" y="1261942"/>
                      </a:cubicBezTo>
                      <a:lnTo>
                        <a:pt x="1313683" y="1261942"/>
                      </a:lnTo>
                      <a:cubicBezTo>
                        <a:pt x="1319836" y="1240359"/>
                        <a:pt x="1335469" y="1165421"/>
                        <a:pt x="1363709" y="1118118"/>
                      </a:cubicBezTo>
                      <a:lnTo>
                        <a:pt x="1363709" y="1118118"/>
                      </a:lnTo>
                      <a:cubicBezTo>
                        <a:pt x="1369760" y="1107931"/>
                        <a:pt x="1371979" y="1100266"/>
                        <a:pt x="1371979" y="1094416"/>
                      </a:cubicBezTo>
                      <a:lnTo>
                        <a:pt x="1371979" y="1094416"/>
                      </a:lnTo>
                      <a:cubicBezTo>
                        <a:pt x="1371979" y="1074951"/>
                        <a:pt x="1343335" y="1072530"/>
                        <a:pt x="1328711" y="1072429"/>
                      </a:cubicBezTo>
                      <a:lnTo>
                        <a:pt x="1328711" y="1072429"/>
                      </a:lnTo>
                      <a:cubicBezTo>
                        <a:pt x="1307026" y="1070513"/>
                        <a:pt x="1295226" y="1018369"/>
                        <a:pt x="1294318" y="989725"/>
                      </a:cubicBezTo>
                      <a:lnTo>
                        <a:pt x="1294318" y="989725"/>
                      </a:lnTo>
                      <a:cubicBezTo>
                        <a:pt x="1294318" y="987002"/>
                        <a:pt x="1294419" y="984480"/>
                        <a:pt x="1294822" y="982161"/>
                      </a:cubicBezTo>
                      <a:lnTo>
                        <a:pt x="1294822" y="982161"/>
                      </a:lnTo>
                      <a:cubicBezTo>
                        <a:pt x="1297748" y="958459"/>
                        <a:pt x="1288771" y="924268"/>
                        <a:pt x="1343033" y="896027"/>
                      </a:cubicBezTo>
                      <a:lnTo>
                        <a:pt x="1343033" y="896027"/>
                      </a:lnTo>
                      <a:cubicBezTo>
                        <a:pt x="1395379" y="867888"/>
                        <a:pt x="1403447" y="845296"/>
                        <a:pt x="1403750" y="789420"/>
                      </a:cubicBezTo>
                      <a:lnTo>
                        <a:pt x="1403750" y="789420"/>
                      </a:lnTo>
                      <a:cubicBezTo>
                        <a:pt x="1403750" y="734351"/>
                        <a:pt x="1376518" y="707321"/>
                        <a:pt x="1376518" y="707321"/>
                      </a:cubicBezTo>
                      <a:lnTo>
                        <a:pt x="1376518" y="707321"/>
                      </a:lnTo>
                      <a:lnTo>
                        <a:pt x="1376215" y="703690"/>
                      </a:lnTo>
                      <a:cubicBezTo>
                        <a:pt x="1376215" y="703589"/>
                        <a:pt x="1391949" y="681804"/>
                        <a:pt x="1391949" y="662338"/>
                      </a:cubicBezTo>
                      <a:lnTo>
                        <a:pt x="1391949" y="662338"/>
                      </a:lnTo>
                      <a:cubicBezTo>
                        <a:pt x="1391748" y="653463"/>
                        <a:pt x="1388924" y="645293"/>
                        <a:pt x="1380048" y="639040"/>
                      </a:cubicBezTo>
                      <a:lnTo>
                        <a:pt x="1380048" y="639040"/>
                      </a:lnTo>
                      <a:cubicBezTo>
                        <a:pt x="1372988" y="634098"/>
                        <a:pt x="1368147" y="632383"/>
                        <a:pt x="1365121" y="632383"/>
                      </a:cubicBezTo>
                      <a:lnTo>
                        <a:pt x="1365121" y="632383"/>
                      </a:lnTo>
                      <a:cubicBezTo>
                        <a:pt x="1355438" y="631072"/>
                        <a:pt x="1354026" y="652958"/>
                        <a:pt x="1336175" y="664053"/>
                      </a:cubicBezTo>
                      <a:lnTo>
                        <a:pt x="1336175" y="664053"/>
                      </a:lnTo>
                      <a:cubicBezTo>
                        <a:pt x="1331434" y="666776"/>
                        <a:pt x="1326492" y="667986"/>
                        <a:pt x="1321953" y="667986"/>
                      </a:cubicBezTo>
                      <a:lnTo>
                        <a:pt x="1321953" y="667986"/>
                      </a:lnTo>
                      <a:cubicBezTo>
                        <a:pt x="1304102" y="667784"/>
                        <a:pt x="1291696" y="649630"/>
                        <a:pt x="1291595" y="633593"/>
                      </a:cubicBezTo>
                      <a:lnTo>
                        <a:pt x="1291595" y="633593"/>
                      </a:lnTo>
                      <a:cubicBezTo>
                        <a:pt x="1291494" y="616750"/>
                        <a:pt x="1284030" y="598696"/>
                        <a:pt x="1264868" y="598696"/>
                      </a:cubicBezTo>
                      <a:lnTo>
                        <a:pt x="1264868" y="598696"/>
                      </a:lnTo>
                      <a:cubicBezTo>
                        <a:pt x="1263355" y="598696"/>
                        <a:pt x="1261842" y="598696"/>
                        <a:pt x="1260531" y="598898"/>
                      </a:cubicBezTo>
                      <a:lnTo>
                        <a:pt x="1260531" y="598898"/>
                      </a:lnTo>
                      <a:cubicBezTo>
                        <a:pt x="1258614" y="599100"/>
                        <a:pt x="1256698" y="599302"/>
                        <a:pt x="1254883" y="599302"/>
                      </a:cubicBezTo>
                      <a:lnTo>
                        <a:pt x="1254883" y="599302"/>
                      </a:lnTo>
                      <a:cubicBezTo>
                        <a:pt x="1233702" y="599302"/>
                        <a:pt x="1215851" y="583265"/>
                        <a:pt x="1215750" y="553411"/>
                      </a:cubicBezTo>
                      <a:lnTo>
                        <a:pt x="1215750" y="553411"/>
                      </a:lnTo>
                      <a:cubicBezTo>
                        <a:pt x="1215750" y="549074"/>
                        <a:pt x="1216254" y="544535"/>
                        <a:pt x="1217061" y="539694"/>
                      </a:cubicBezTo>
                      <a:lnTo>
                        <a:pt x="1217061" y="539694"/>
                      </a:lnTo>
                      <a:cubicBezTo>
                        <a:pt x="1223818" y="497535"/>
                        <a:pt x="1261035" y="478977"/>
                        <a:pt x="1263657" y="437121"/>
                      </a:cubicBezTo>
                      <a:lnTo>
                        <a:pt x="1263657" y="437121"/>
                      </a:lnTo>
                      <a:cubicBezTo>
                        <a:pt x="1265070" y="416142"/>
                        <a:pt x="1274853" y="405956"/>
                        <a:pt x="1285644" y="405956"/>
                      </a:cubicBezTo>
                      <a:lnTo>
                        <a:pt x="1285644" y="405956"/>
                      </a:lnTo>
                      <a:cubicBezTo>
                        <a:pt x="1296638" y="405956"/>
                        <a:pt x="1306724" y="416445"/>
                        <a:pt x="1306724" y="430767"/>
                      </a:cubicBezTo>
                      <a:lnTo>
                        <a:pt x="1306724" y="430767"/>
                      </a:lnTo>
                      <a:cubicBezTo>
                        <a:pt x="1306724" y="431977"/>
                        <a:pt x="1306623" y="433188"/>
                        <a:pt x="1306623" y="434398"/>
                      </a:cubicBezTo>
                      <a:lnTo>
                        <a:pt x="1306623" y="434398"/>
                      </a:lnTo>
                      <a:cubicBezTo>
                        <a:pt x="1305715" y="442164"/>
                        <a:pt x="1305110" y="447409"/>
                        <a:pt x="1305110" y="451241"/>
                      </a:cubicBezTo>
                      <a:lnTo>
                        <a:pt x="1305110" y="451241"/>
                      </a:lnTo>
                      <a:cubicBezTo>
                        <a:pt x="1305110" y="461024"/>
                        <a:pt x="1308136" y="462537"/>
                        <a:pt x="1324475" y="478776"/>
                      </a:cubicBezTo>
                      <a:lnTo>
                        <a:pt x="1324475" y="478776"/>
                      </a:lnTo>
                      <a:cubicBezTo>
                        <a:pt x="1344848" y="499552"/>
                        <a:pt x="1363104" y="490374"/>
                        <a:pt x="1407683" y="509336"/>
                      </a:cubicBezTo>
                      <a:lnTo>
                        <a:pt x="1407683" y="509336"/>
                      </a:lnTo>
                      <a:cubicBezTo>
                        <a:pt x="1431687" y="519724"/>
                        <a:pt x="1463054" y="523254"/>
                        <a:pt x="1493111" y="523254"/>
                      </a:cubicBezTo>
                      <a:lnTo>
                        <a:pt x="1493111" y="523254"/>
                      </a:lnTo>
                      <a:cubicBezTo>
                        <a:pt x="1516005" y="523254"/>
                        <a:pt x="1538093" y="521035"/>
                        <a:pt x="1555643" y="518514"/>
                      </a:cubicBezTo>
                      <a:lnTo>
                        <a:pt x="1555643" y="518514"/>
                      </a:lnTo>
                      <a:cubicBezTo>
                        <a:pt x="1580253" y="514278"/>
                        <a:pt x="1582774" y="506613"/>
                        <a:pt x="1583177" y="495518"/>
                      </a:cubicBezTo>
                      <a:lnTo>
                        <a:pt x="1583177" y="495518"/>
                      </a:lnTo>
                      <a:cubicBezTo>
                        <a:pt x="1583177" y="488458"/>
                        <a:pt x="1581362" y="480087"/>
                        <a:pt x="1581362" y="471514"/>
                      </a:cubicBezTo>
                      <a:lnTo>
                        <a:pt x="1581362" y="471514"/>
                      </a:lnTo>
                      <a:cubicBezTo>
                        <a:pt x="1582269" y="451443"/>
                        <a:pt x="1606173" y="443878"/>
                        <a:pt x="1605164" y="430061"/>
                      </a:cubicBezTo>
                      <a:lnTo>
                        <a:pt x="1605164" y="430061"/>
                      </a:lnTo>
                      <a:cubicBezTo>
                        <a:pt x="1605164" y="426531"/>
                        <a:pt x="1603954" y="422295"/>
                        <a:pt x="1600525" y="417050"/>
                      </a:cubicBezTo>
                      <a:lnTo>
                        <a:pt x="1600525" y="417050"/>
                      </a:lnTo>
                      <a:lnTo>
                        <a:pt x="1602845" y="415537"/>
                      </a:lnTo>
                      <a:lnTo>
                        <a:pt x="1605265" y="413923"/>
                      </a:lnTo>
                      <a:cubicBezTo>
                        <a:pt x="1609199" y="419672"/>
                        <a:pt x="1610812" y="425119"/>
                        <a:pt x="1610812" y="429960"/>
                      </a:cubicBezTo>
                      <a:lnTo>
                        <a:pt x="1610812" y="429960"/>
                      </a:lnTo>
                      <a:cubicBezTo>
                        <a:pt x="1609904" y="449325"/>
                        <a:pt x="1586102" y="456587"/>
                        <a:pt x="1587010" y="471413"/>
                      </a:cubicBezTo>
                      <a:lnTo>
                        <a:pt x="1587010" y="471413"/>
                      </a:lnTo>
                      <a:cubicBezTo>
                        <a:pt x="1587010" y="479280"/>
                        <a:pt x="1588724" y="487550"/>
                        <a:pt x="1588825" y="495417"/>
                      </a:cubicBezTo>
                      <a:lnTo>
                        <a:pt x="1588825" y="495417"/>
                      </a:lnTo>
                      <a:cubicBezTo>
                        <a:pt x="1589128" y="508529"/>
                        <a:pt x="1582269" y="520531"/>
                        <a:pt x="1556651" y="524061"/>
                      </a:cubicBezTo>
                      <a:lnTo>
                        <a:pt x="1556651" y="524061"/>
                      </a:lnTo>
                      <a:cubicBezTo>
                        <a:pt x="1538799" y="526683"/>
                        <a:pt x="1516510" y="528801"/>
                        <a:pt x="1493212" y="528801"/>
                      </a:cubicBezTo>
                      <a:lnTo>
                        <a:pt x="1493212" y="528801"/>
                      </a:lnTo>
                      <a:cubicBezTo>
                        <a:pt x="1462752" y="528801"/>
                        <a:pt x="1430880" y="525271"/>
                        <a:pt x="1405666" y="514479"/>
                      </a:cubicBezTo>
                      <a:lnTo>
                        <a:pt x="1405666" y="514479"/>
                      </a:lnTo>
                      <a:cubicBezTo>
                        <a:pt x="1362902" y="496022"/>
                        <a:pt x="1343840" y="505604"/>
                        <a:pt x="1320642" y="482709"/>
                      </a:cubicBezTo>
                      <a:lnTo>
                        <a:pt x="1320642" y="482709"/>
                      </a:lnTo>
                      <a:cubicBezTo>
                        <a:pt x="1305211" y="467278"/>
                        <a:pt x="1299664" y="463445"/>
                        <a:pt x="1299664" y="451241"/>
                      </a:cubicBezTo>
                      <a:lnTo>
                        <a:pt x="1299664" y="451241"/>
                      </a:lnTo>
                      <a:cubicBezTo>
                        <a:pt x="1299664" y="446803"/>
                        <a:pt x="1300370" y="441458"/>
                        <a:pt x="1301176" y="433893"/>
                      </a:cubicBezTo>
                      <a:lnTo>
                        <a:pt x="1301176" y="433893"/>
                      </a:lnTo>
                      <a:cubicBezTo>
                        <a:pt x="1301277" y="432784"/>
                        <a:pt x="1301277" y="431775"/>
                        <a:pt x="1301277" y="430666"/>
                      </a:cubicBezTo>
                      <a:lnTo>
                        <a:pt x="1301277" y="430666"/>
                      </a:lnTo>
                      <a:cubicBezTo>
                        <a:pt x="1301277" y="418866"/>
                        <a:pt x="1293209" y="411402"/>
                        <a:pt x="1285745" y="411301"/>
                      </a:cubicBezTo>
                      <a:lnTo>
                        <a:pt x="1285745" y="411301"/>
                      </a:lnTo>
                      <a:cubicBezTo>
                        <a:pt x="1278987" y="411301"/>
                        <a:pt x="1270919" y="417554"/>
                        <a:pt x="1269406" y="437424"/>
                      </a:cubicBezTo>
                      <a:lnTo>
                        <a:pt x="1269406" y="437424"/>
                      </a:lnTo>
                      <a:cubicBezTo>
                        <a:pt x="1265775" y="482709"/>
                        <a:pt x="1228155" y="501670"/>
                        <a:pt x="1222608" y="540400"/>
                      </a:cubicBezTo>
                      <a:lnTo>
                        <a:pt x="1222608" y="540400"/>
                      </a:lnTo>
                      <a:cubicBezTo>
                        <a:pt x="1221801" y="544939"/>
                        <a:pt x="1221499" y="549276"/>
                        <a:pt x="1221499" y="553209"/>
                      </a:cubicBezTo>
                      <a:lnTo>
                        <a:pt x="1221499" y="553209"/>
                      </a:lnTo>
                      <a:cubicBezTo>
                        <a:pt x="1221801" y="580844"/>
                        <a:pt x="1236829" y="593351"/>
                        <a:pt x="1255084" y="593553"/>
                      </a:cubicBezTo>
                      <a:lnTo>
                        <a:pt x="1255084" y="593553"/>
                      </a:lnTo>
                      <a:cubicBezTo>
                        <a:pt x="1256597" y="593553"/>
                        <a:pt x="1258312" y="593452"/>
                        <a:pt x="1260027" y="593250"/>
                      </a:cubicBezTo>
                      <a:lnTo>
                        <a:pt x="1260027" y="593250"/>
                      </a:lnTo>
                      <a:cubicBezTo>
                        <a:pt x="1261741" y="592847"/>
                        <a:pt x="1263455" y="592847"/>
                        <a:pt x="1265170" y="592847"/>
                      </a:cubicBezTo>
                      <a:lnTo>
                        <a:pt x="1265170" y="592847"/>
                      </a:lnTo>
                      <a:cubicBezTo>
                        <a:pt x="1288771" y="592947"/>
                        <a:pt x="1297546" y="615237"/>
                        <a:pt x="1297546" y="633291"/>
                      </a:cubicBezTo>
                      <a:lnTo>
                        <a:pt x="1297546" y="633291"/>
                      </a:lnTo>
                      <a:cubicBezTo>
                        <a:pt x="1297647" y="646705"/>
                        <a:pt x="1308540" y="662136"/>
                        <a:pt x="1322256" y="662136"/>
                      </a:cubicBezTo>
                      <a:lnTo>
                        <a:pt x="1322256" y="662136"/>
                      </a:lnTo>
                      <a:cubicBezTo>
                        <a:pt x="1325786" y="662136"/>
                        <a:pt x="1329619" y="661229"/>
                        <a:pt x="1333754" y="658909"/>
                      </a:cubicBezTo>
                      <a:lnTo>
                        <a:pt x="1333754" y="658909"/>
                      </a:lnTo>
                      <a:cubicBezTo>
                        <a:pt x="1349185" y="650840"/>
                        <a:pt x="1348479" y="627845"/>
                        <a:pt x="1365423" y="626433"/>
                      </a:cubicBezTo>
                      <a:lnTo>
                        <a:pt x="1365423" y="626433"/>
                      </a:lnTo>
                      <a:cubicBezTo>
                        <a:pt x="1370466" y="626533"/>
                        <a:pt x="1376014" y="628954"/>
                        <a:pt x="1383578" y="634098"/>
                      </a:cubicBezTo>
                      <a:lnTo>
                        <a:pt x="1383578" y="634098"/>
                      </a:lnTo>
                      <a:cubicBezTo>
                        <a:pt x="1393866" y="641360"/>
                        <a:pt x="1397799" y="651748"/>
                        <a:pt x="1397698" y="661935"/>
                      </a:cubicBezTo>
                      <a:lnTo>
                        <a:pt x="1397698" y="661935"/>
                      </a:lnTo>
                      <a:cubicBezTo>
                        <a:pt x="1397597" y="680392"/>
                        <a:pt x="1386200" y="698849"/>
                        <a:pt x="1382267" y="704699"/>
                      </a:cubicBezTo>
                      <a:lnTo>
                        <a:pt x="1382267" y="704699"/>
                      </a:lnTo>
                      <a:cubicBezTo>
                        <a:pt x="1388318" y="711759"/>
                        <a:pt x="1409700" y="739898"/>
                        <a:pt x="1409700" y="789017"/>
                      </a:cubicBezTo>
                      <a:lnTo>
                        <a:pt x="1409700" y="789017"/>
                      </a:lnTo>
                      <a:cubicBezTo>
                        <a:pt x="1410003" y="845195"/>
                        <a:pt x="1399514" y="872427"/>
                        <a:pt x="1345857" y="900465"/>
                      </a:cubicBezTo>
                      <a:lnTo>
                        <a:pt x="1345857" y="900465"/>
                      </a:lnTo>
                      <a:cubicBezTo>
                        <a:pt x="1294217" y="928302"/>
                        <a:pt x="1304001" y="956341"/>
                        <a:pt x="1300571" y="982564"/>
                      </a:cubicBezTo>
                      <a:lnTo>
                        <a:pt x="1300571" y="982564"/>
                      </a:lnTo>
                      <a:cubicBezTo>
                        <a:pt x="1300269" y="984379"/>
                        <a:pt x="1300269" y="986699"/>
                        <a:pt x="1300269" y="989322"/>
                      </a:cubicBezTo>
                      <a:lnTo>
                        <a:pt x="1300269" y="989322"/>
                      </a:lnTo>
                      <a:cubicBezTo>
                        <a:pt x="1300269" y="1016553"/>
                        <a:pt x="1316305" y="1066478"/>
                        <a:pt x="1329014" y="1066478"/>
                      </a:cubicBezTo>
                      <a:lnTo>
                        <a:pt x="1329014" y="1066478"/>
                      </a:lnTo>
                      <a:cubicBezTo>
                        <a:pt x="1343235" y="1066680"/>
                        <a:pt x="1377123" y="1067588"/>
                        <a:pt x="1377829" y="1094013"/>
                      </a:cubicBezTo>
                      <a:lnTo>
                        <a:pt x="1377829" y="1094013"/>
                      </a:lnTo>
                      <a:cubicBezTo>
                        <a:pt x="1377829" y="1101376"/>
                        <a:pt x="1375106" y="1109949"/>
                        <a:pt x="1368752" y="1120539"/>
                      </a:cubicBezTo>
                      <a:lnTo>
                        <a:pt x="1368752" y="1120539"/>
                      </a:lnTo>
                      <a:cubicBezTo>
                        <a:pt x="1341218" y="1166631"/>
                        <a:pt x="1325484" y="1241065"/>
                        <a:pt x="1319331" y="1263153"/>
                      </a:cubicBezTo>
                      <a:lnTo>
                        <a:pt x="1319331" y="1263153"/>
                      </a:lnTo>
                      <a:cubicBezTo>
                        <a:pt x="1312574" y="1285846"/>
                        <a:pt x="1275357" y="1341621"/>
                        <a:pt x="1263153" y="1381460"/>
                      </a:cubicBezTo>
                      <a:lnTo>
                        <a:pt x="1263153" y="1381460"/>
                      </a:lnTo>
                      <a:cubicBezTo>
                        <a:pt x="1250646" y="1422207"/>
                        <a:pt x="1235215" y="1450144"/>
                        <a:pt x="1235316" y="1477174"/>
                      </a:cubicBezTo>
                      <a:lnTo>
                        <a:pt x="1235316" y="1477174"/>
                      </a:lnTo>
                      <a:cubicBezTo>
                        <a:pt x="1234812" y="1505718"/>
                        <a:pt x="1227449" y="1537488"/>
                        <a:pt x="1210707" y="1539202"/>
                      </a:cubicBezTo>
                      <a:lnTo>
                        <a:pt x="1210707" y="1539202"/>
                      </a:lnTo>
                      <a:cubicBezTo>
                        <a:pt x="1195174" y="1538799"/>
                        <a:pt x="1177726" y="1513887"/>
                        <a:pt x="1156546" y="1505012"/>
                      </a:cubicBezTo>
                      <a:lnTo>
                        <a:pt x="1156546" y="1505012"/>
                      </a:lnTo>
                      <a:close/>
                    </a:path>
                  </a:pathLst>
                </a:custGeom>
                <a:solidFill>
                  <a:srgbClr val="ABDEF6"/>
                </a:solidFill>
                <a:ln w="10085" cap="flat">
                  <a:solidFill>
                    <a:srgbClr val="FFFFFF"/>
                  </a:solidFill>
                  <a:prstDash val="solid"/>
                  <a:miter/>
                </a:ln>
              </p:spPr>
              <p:txBody>
                <a:bodyPr rtlCol="0" anchor="ctr"/>
                <a:lstStyle/>
                <a:p>
                  <a:endParaRPr lang="fr-FR" sz="900"/>
                </a:p>
              </p:txBody>
            </p:sp>
          </p:grpSp>
          <p:grpSp>
            <p:nvGrpSpPr>
              <p:cNvPr id="70" name="Graphique 17">
                <a:extLst>
                  <a:ext uri="{FF2B5EF4-FFF2-40B4-BE49-F238E27FC236}">
                    <a16:creationId xmlns:a16="http://schemas.microsoft.com/office/drawing/2014/main" id="{1440B633-7D47-E371-32BC-F016A9840FE2}"/>
                  </a:ext>
                </a:extLst>
              </p:cNvPr>
              <p:cNvGrpSpPr/>
              <p:nvPr/>
            </p:nvGrpSpPr>
            <p:grpSpPr>
              <a:xfrm>
                <a:off x="7024446" y="7030661"/>
                <a:ext cx="1113276" cy="1548884"/>
                <a:chOff x="7024446" y="7030661"/>
                <a:chExt cx="1113276" cy="1548884"/>
              </a:xfrm>
              <a:solidFill>
                <a:srgbClr val="ABDEF6"/>
              </a:solidFill>
            </p:grpSpPr>
            <p:sp>
              <p:nvSpPr>
                <p:cNvPr id="71" name="Forme libre : forme 70">
                  <a:extLst>
                    <a:ext uri="{FF2B5EF4-FFF2-40B4-BE49-F238E27FC236}">
                      <a16:creationId xmlns:a16="http://schemas.microsoft.com/office/drawing/2014/main" id="{BA048DFA-9D9E-5E8A-CF79-86FADEAD9F65}"/>
                    </a:ext>
                  </a:extLst>
                </p:cNvPr>
                <p:cNvSpPr/>
                <p:nvPr/>
              </p:nvSpPr>
              <p:spPr>
                <a:xfrm>
                  <a:off x="7027449" y="7033416"/>
                  <a:ext cx="1107605" cy="1543278"/>
                </a:xfrm>
                <a:custGeom>
                  <a:avLst/>
                  <a:gdLst>
                    <a:gd name="connsiteX0" fmla="*/ 1020308 w 1107605"/>
                    <a:gd name="connsiteY0" fmla="*/ 448588 h 1543278"/>
                    <a:gd name="connsiteX1" fmla="*/ 1095044 w 1107605"/>
                    <a:gd name="connsiteY1" fmla="*/ 408143 h 1543278"/>
                    <a:gd name="connsiteX2" fmla="*/ 1079512 w 1107605"/>
                    <a:gd name="connsiteY2" fmla="*/ 317875 h 1543278"/>
                    <a:gd name="connsiteX3" fmla="*/ 1054600 w 1107605"/>
                    <a:gd name="connsiteY3" fmla="*/ 224480 h 1543278"/>
                    <a:gd name="connsiteX4" fmla="*/ 967458 w 1107605"/>
                    <a:gd name="connsiteY4" fmla="*/ 196441 h 1543278"/>
                    <a:gd name="connsiteX5" fmla="*/ 945068 w 1107605"/>
                    <a:gd name="connsiteY5" fmla="*/ 161947 h 1543278"/>
                    <a:gd name="connsiteX6" fmla="*/ 892722 w 1107605"/>
                    <a:gd name="connsiteY6" fmla="*/ 127958 h 1543278"/>
                    <a:gd name="connsiteX7" fmla="*/ 814859 w 1107605"/>
                    <a:gd name="connsiteY7" fmla="*/ 68855 h 1543278"/>
                    <a:gd name="connsiteX8" fmla="*/ 752629 w 1107605"/>
                    <a:gd name="connsiteY8" fmla="*/ 75007 h 1543278"/>
                    <a:gd name="connsiteX9" fmla="*/ 684147 w 1107605"/>
                    <a:gd name="connsiteY9" fmla="*/ 71881 h 1543278"/>
                    <a:gd name="connsiteX10" fmla="*/ 584498 w 1107605"/>
                    <a:gd name="connsiteY10" fmla="*/ 59374 h 1543278"/>
                    <a:gd name="connsiteX11" fmla="*/ 528421 w 1107605"/>
                    <a:gd name="connsiteY11" fmla="*/ 68754 h 1543278"/>
                    <a:gd name="connsiteX12" fmla="*/ 466090 w 1107605"/>
                    <a:gd name="connsiteY12" fmla="*/ 6424 h 1543278"/>
                    <a:gd name="connsiteX13" fmla="*/ 394481 w 1107605"/>
                    <a:gd name="connsiteY13" fmla="*/ 56248 h 1543278"/>
                    <a:gd name="connsiteX14" fmla="*/ 336588 w 1107605"/>
                    <a:gd name="connsiteY14" fmla="*/ 65930 h 1543278"/>
                    <a:gd name="connsiteX15" fmla="*/ 349094 w 1107605"/>
                    <a:gd name="connsiteY15" fmla="*/ 93767 h 1543278"/>
                    <a:gd name="connsiteX16" fmla="*/ 284746 w 1107605"/>
                    <a:gd name="connsiteY16" fmla="*/ 155997 h 1543278"/>
                    <a:gd name="connsiteX17" fmla="*/ 256809 w 1107605"/>
                    <a:gd name="connsiteY17" fmla="*/ 205317 h 1543278"/>
                    <a:gd name="connsiteX18" fmla="*/ 192461 w 1107605"/>
                    <a:gd name="connsiteY18" fmla="*/ 310512 h 1543278"/>
                    <a:gd name="connsiteX19" fmla="*/ 76675 w 1107605"/>
                    <a:gd name="connsiteY19" fmla="*/ 314849 h 1543278"/>
                    <a:gd name="connsiteX20" fmla="*/ 59530 w 1107605"/>
                    <a:gd name="connsiteY20" fmla="*/ 381315 h 1543278"/>
                    <a:gd name="connsiteX21" fmla="*/ 52267 w 1107605"/>
                    <a:gd name="connsiteY21" fmla="*/ 381819 h 1543278"/>
                    <a:gd name="connsiteX22" fmla="*/ 89282 w 1107605"/>
                    <a:gd name="connsiteY22" fmla="*/ 395838 h 1543278"/>
                    <a:gd name="connsiteX23" fmla="*/ 117321 w 1107605"/>
                    <a:gd name="connsiteY23" fmla="*/ 439510 h 1543278"/>
                    <a:gd name="connsiteX24" fmla="*/ 83029 w 1107605"/>
                    <a:gd name="connsiteY24" fmla="*/ 539159 h 1543278"/>
                    <a:gd name="connsiteX25" fmla="*/ 139107 w 1107605"/>
                    <a:gd name="connsiteY25" fmla="*/ 595236 h 1543278"/>
                    <a:gd name="connsiteX26" fmla="*/ 151513 w 1107605"/>
                    <a:gd name="connsiteY26" fmla="*/ 660592 h 1543278"/>
                    <a:gd name="connsiteX27" fmla="*/ 114195 w 1107605"/>
                    <a:gd name="connsiteY27" fmla="*/ 778899 h 1543278"/>
                    <a:gd name="connsiteX28" fmla="*/ 45712 w 1107605"/>
                    <a:gd name="connsiteY28" fmla="*/ 863015 h 1543278"/>
                    <a:gd name="connsiteX29" fmla="*/ 5167 w 1107605"/>
                    <a:gd name="connsiteY29" fmla="*/ 919093 h 1543278"/>
                    <a:gd name="connsiteX30" fmla="*/ 83029 w 1107605"/>
                    <a:gd name="connsiteY30" fmla="*/ 990702 h 1543278"/>
                    <a:gd name="connsiteX31" fmla="*/ 114195 w 1107605"/>
                    <a:gd name="connsiteY31" fmla="*/ 1037400 h 1543278"/>
                    <a:gd name="connsiteX32" fmla="*/ 92410 w 1107605"/>
                    <a:gd name="connsiteY32" fmla="*/ 1118389 h 1543278"/>
                    <a:gd name="connsiteX33" fmla="*/ 111068 w 1107605"/>
                    <a:gd name="connsiteY33" fmla="*/ 1239823 h 1543278"/>
                    <a:gd name="connsiteX34" fmla="*/ 98663 w 1107605"/>
                    <a:gd name="connsiteY34" fmla="*/ 1317686 h 1543278"/>
                    <a:gd name="connsiteX35" fmla="*/ 86156 w 1107605"/>
                    <a:gd name="connsiteY35" fmla="*/ 1358130 h 1543278"/>
                    <a:gd name="connsiteX36" fmla="*/ 55092 w 1107605"/>
                    <a:gd name="connsiteY36" fmla="*/ 1404828 h 1543278"/>
                    <a:gd name="connsiteX37" fmla="*/ 108043 w 1107605"/>
                    <a:gd name="connsiteY37" fmla="*/ 1470184 h 1543278"/>
                    <a:gd name="connsiteX38" fmla="*/ 167246 w 1107605"/>
                    <a:gd name="connsiteY38" fmla="*/ 1535641 h 1543278"/>
                    <a:gd name="connsiteX39" fmla="*/ 232704 w 1107605"/>
                    <a:gd name="connsiteY39" fmla="*/ 1492070 h 1543278"/>
                    <a:gd name="connsiteX40" fmla="*/ 288781 w 1107605"/>
                    <a:gd name="connsiteY40" fmla="*/ 1504476 h 1543278"/>
                    <a:gd name="connsiteX41" fmla="*/ 369771 w 1107605"/>
                    <a:gd name="connsiteY41" fmla="*/ 1541894 h 1543278"/>
                    <a:gd name="connsiteX42" fmla="*/ 441380 w 1107605"/>
                    <a:gd name="connsiteY42" fmla="*/ 1482690 h 1543278"/>
                    <a:gd name="connsiteX43" fmla="*/ 494331 w 1107605"/>
                    <a:gd name="connsiteY43" fmla="*/ 1429740 h 1543278"/>
                    <a:gd name="connsiteX44" fmla="*/ 485052 w 1107605"/>
                    <a:gd name="connsiteY44" fmla="*/ 1348750 h 1543278"/>
                    <a:gd name="connsiteX45" fmla="*/ 534876 w 1107605"/>
                    <a:gd name="connsiteY45" fmla="*/ 1249102 h 1543278"/>
                    <a:gd name="connsiteX46" fmla="*/ 637651 w 1107605"/>
                    <a:gd name="connsiteY46" fmla="*/ 1130795 h 1543278"/>
                    <a:gd name="connsiteX47" fmla="*/ 699881 w 1107605"/>
                    <a:gd name="connsiteY47" fmla="*/ 1028020 h 1543278"/>
                    <a:gd name="connsiteX48" fmla="*/ 718539 w 1107605"/>
                    <a:gd name="connsiteY48" fmla="*/ 928372 h 1543278"/>
                    <a:gd name="connsiteX49" fmla="*/ 808808 w 1107605"/>
                    <a:gd name="connsiteY49" fmla="*/ 863015 h 1543278"/>
                    <a:gd name="connsiteX50" fmla="*/ 858632 w 1107605"/>
                    <a:gd name="connsiteY50" fmla="*/ 782026 h 1543278"/>
                    <a:gd name="connsiteX51" fmla="*/ 964533 w 1107605"/>
                    <a:gd name="connsiteY51" fmla="*/ 685404 h 1543278"/>
                    <a:gd name="connsiteX52" fmla="*/ 1001952 w 1107605"/>
                    <a:gd name="connsiteY52" fmla="*/ 607541 h 1543278"/>
                    <a:gd name="connsiteX53" fmla="*/ 1054903 w 1107605"/>
                    <a:gd name="connsiteY53" fmla="*/ 570223 h 1543278"/>
                    <a:gd name="connsiteX54" fmla="*/ 1005079 w 1107605"/>
                    <a:gd name="connsiteY54" fmla="*/ 542184 h 1543278"/>
                    <a:gd name="connsiteX55" fmla="*/ 955255 w 1107605"/>
                    <a:gd name="connsiteY55" fmla="*/ 514146 h 1543278"/>
                    <a:gd name="connsiteX56" fmla="*/ 1020308 w 1107605"/>
                    <a:gd name="connsiteY56" fmla="*/ 448588 h 1543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1107605" h="1543278">
                      <a:moveTo>
                        <a:pt x="1020308" y="448588"/>
                      </a:moveTo>
                      <a:cubicBezTo>
                        <a:pt x="1023435" y="420549"/>
                        <a:pt x="1076386" y="429929"/>
                        <a:pt x="1095044" y="408143"/>
                      </a:cubicBezTo>
                      <a:cubicBezTo>
                        <a:pt x="1113804" y="386358"/>
                        <a:pt x="1113804" y="364572"/>
                        <a:pt x="1079512" y="317875"/>
                      </a:cubicBezTo>
                      <a:cubicBezTo>
                        <a:pt x="1045220" y="271177"/>
                        <a:pt x="1085766" y="258671"/>
                        <a:pt x="1054600" y="224480"/>
                      </a:cubicBezTo>
                      <a:cubicBezTo>
                        <a:pt x="1023535" y="190289"/>
                        <a:pt x="986117" y="205821"/>
                        <a:pt x="967458" y="196441"/>
                      </a:cubicBezTo>
                      <a:cubicBezTo>
                        <a:pt x="959490" y="192508"/>
                        <a:pt x="951523" y="177581"/>
                        <a:pt x="945068" y="161947"/>
                      </a:cubicBezTo>
                      <a:cubicBezTo>
                        <a:pt x="932561" y="161242"/>
                        <a:pt x="914104" y="137136"/>
                        <a:pt x="892722" y="127958"/>
                      </a:cubicBezTo>
                      <a:cubicBezTo>
                        <a:pt x="870936" y="118578"/>
                        <a:pt x="824138" y="78134"/>
                        <a:pt x="814859" y="68855"/>
                      </a:cubicBezTo>
                      <a:cubicBezTo>
                        <a:pt x="805479" y="59475"/>
                        <a:pt x="768162" y="59475"/>
                        <a:pt x="752629" y="75007"/>
                      </a:cubicBezTo>
                      <a:cubicBezTo>
                        <a:pt x="737097" y="90540"/>
                        <a:pt x="693425" y="90540"/>
                        <a:pt x="684147" y="71881"/>
                      </a:cubicBezTo>
                      <a:cubicBezTo>
                        <a:pt x="674767" y="53121"/>
                        <a:pt x="606284" y="43842"/>
                        <a:pt x="584498" y="59374"/>
                      </a:cubicBezTo>
                      <a:cubicBezTo>
                        <a:pt x="562713" y="74907"/>
                        <a:pt x="528421" y="87413"/>
                        <a:pt x="528421" y="68754"/>
                      </a:cubicBezTo>
                      <a:cubicBezTo>
                        <a:pt x="528421" y="50095"/>
                        <a:pt x="506635" y="-21615"/>
                        <a:pt x="466090" y="6424"/>
                      </a:cubicBezTo>
                      <a:cubicBezTo>
                        <a:pt x="425646" y="34462"/>
                        <a:pt x="394481" y="56248"/>
                        <a:pt x="394481" y="56248"/>
                      </a:cubicBezTo>
                      <a:lnTo>
                        <a:pt x="336588" y="65930"/>
                      </a:lnTo>
                      <a:cubicBezTo>
                        <a:pt x="345968" y="76722"/>
                        <a:pt x="351616" y="86102"/>
                        <a:pt x="349094" y="93767"/>
                      </a:cubicBezTo>
                      <a:cubicBezTo>
                        <a:pt x="342640" y="113031"/>
                        <a:pt x="301892" y="138851"/>
                        <a:pt x="284746" y="155997"/>
                      </a:cubicBezTo>
                      <a:cubicBezTo>
                        <a:pt x="267601" y="173143"/>
                        <a:pt x="261247" y="177480"/>
                        <a:pt x="256809" y="205317"/>
                      </a:cubicBezTo>
                      <a:cubicBezTo>
                        <a:pt x="252472" y="233154"/>
                        <a:pt x="273854" y="316866"/>
                        <a:pt x="192461" y="310512"/>
                      </a:cubicBezTo>
                      <a:cubicBezTo>
                        <a:pt x="110967" y="304057"/>
                        <a:pt x="93720" y="297602"/>
                        <a:pt x="76675" y="314849"/>
                      </a:cubicBezTo>
                      <a:cubicBezTo>
                        <a:pt x="59530" y="331995"/>
                        <a:pt x="59530" y="381315"/>
                        <a:pt x="59530" y="381315"/>
                      </a:cubicBezTo>
                      <a:cubicBezTo>
                        <a:pt x="59530" y="381315"/>
                        <a:pt x="56806" y="381718"/>
                        <a:pt x="52267" y="381819"/>
                      </a:cubicBezTo>
                      <a:cubicBezTo>
                        <a:pt x="70826" y="391502"/>
                        <a:pt x="89282" y="395838"/>
                        <a:pt x="89282" y="395838"/>
                      </a:cubicBezTo>
                      <a:cubicBezTo>
                        <a:pt x="89282" y="395838"/>
                        <a:pt x="120347" y="417725"/>
                        <a:pt x="117321" y="439510"/>
                      </a:cubicBezTo>
                      <a:cubicBezTo>
                        <a:pt x="114195" y="461296"/>
                        <a:pt x="70624" y="489335"/>
                        <a:pt x="83029" y="539159"/>
                      </a:cubicBezTo>
                      <a:cubicBezTo>
                        <a:pt x="95435" y="588983"/>
                        <a:pt x="139107" y="579704"/>
                        <a:pt x="139107" y="595236"/>
                      </a:cubicBezTo>
                      <a:cubicBezTo>
                        <a:pt x="139107" y="610768"/>
                        <a:pt x="173298" y="638807"/>
                        <a:pt x="151513" y="660592"/>
                      </a:cubicBezTo>
                      <a:cubicBezTo>
                        <a:pt x="129727" y="682378"/>
                        <a:pt x="145360" y="719796"/>
                        <a:pt x="114195" y="778899"/>
                      </a:cubicBezTo>
                      <a:cubicBezTo>
                        <a:pt x="83130" y="838002"/>
                        <a:pt x="61244" y="825597"/>
                        <a:pt x="45712" y="863015"/>
                      </a:cubicBezTo>
                      <a:cubicBezTo>
                        <a:pt x="30179" y="900333"/>
                        <a:pt x="30078" y="887928"/>
                        <a:pt x="5167" y="919093"/>
                      </a:cubicBezTo>
                      <a:cubicBezTo>
                        <a:pt x="-19746" y="950258"/>
                        <a:pt x="51864" y="990702"/>
                        <a:pt x="83029" y="990702"/>
                      </a:cubicBezTo>
                      <a:cubicBezTo>
                        <a:pt x="114094" y="990702"/>
                        <a:pt x="135980" y="1012488"/>
                        <a:pt x="114195" y="1037400"/>
                      </a:cubicBezTo>
                      <a:cubicBezTo>
                        <a:pt x="92410" y="1062312"/>
                        <a:pt x="86156" y="1068565"/>
                        <a:pt x="92410" y="1118389"/>
                      </a:cubicBezTo>
                      <a:cubicBezTo>
                        <a:pt x="98763" y="1168214"/>
                        <a:pt x="142233" y="1174366"/>
                        <a:pt x="111068" y="1239823"/>
                      </a:cubicBezTo>
                      <a:cubicBezTo>
                        <a:pt x="80004" y="1305179"/>
                        <a:pt x="89282" y="1305179"/>
                        <a:pt x="98663" y="1317686"/>
                      </a:cubicBezTo>
                      <a:cubicBezTo>
                        <a:pt x="107942" y="1330091"/>
                        <a:pt x="114195" y="1358130"/>
                        <a:pt x="86156" y="1358130"/>
                      </a:cubicBezTo>
                      <a:cubicBezTo>
                        <a:pt x="58117" y="1358130"/>
                        <a:pt x="55092" y="1376789"/>
                        <a:pt x="55092" y="1404828"/>
                      </a:cubicBezTo>
                      <a:cubicBezTo>
                        <a:pt x="55092" y="1432866"/>
                        <a:pt x="73750" y="1451525"/>
                        <a:pt x="108043" y="1470184"/>
                      </a:cubicBezTo>
                      <a:cubicBezTo>
                        <a:pt x="142233" y="1488843"/>
                        <a:pt x="154840" y="1513755"/>
                        <a:pt x="167246" y="1535641"/>
                      </a:cubicBezTo>
                      <a:cubicBezTo>
                        <a:pt x="179652" y="1557427"/>
                        <a:pt x="213944" y="1529388"/>
                        <a:pt x="232704" y="1492070"/>
                      </a:cubicBezTo>
                      <a:cubicBezTo>
                        <a:pt x="251362" y="1454753"/>
                        <a:pt x="282528" y="1479564"/>
                        <a:pt x="288781" y="1504476"/>
                      </a:cubicBezTo>
                      <a:cubicBezTo>
                        <a:pt x="295034" y="1529388"/>
                        <a:pt x="338605" y="1548047"/>
                        <a:pt x="369771" y="1541894"/>
                      </a:cubicBezTo>
                      <a:cubicBezTo>
                        <a:pt x="400936" y="1535641"/>
                        <a:pt x="432000" y="1513856"/>
                        <a:pt x="441380" y="1482690"/>
                      </a:cubicBezTo>
                      <a:cubicBezTo>
                        <a:pt x="450760" y="1451626"/>
                        <a:pt x="475672" y="1445373"/>
                        <a:pt x="494331" y="1429740"/>
                      </a:cubicBezTo>
                      <a:cubicBezTo>
                        <a:pt x="512989" y="1414107"/>
                        <a:pt x="497558" y="1383042"/>
                        <a:pt x="485052" y="1348750"/>
                      </a:cubicBezTo>
                      <a:cubicBezTo>
                        <a:pt x="472646" y="1314559"/>
                        <a:pt x="528623" y="1317686"/>
                        <a:pt x="534876" y="1249102"/>
                      </a:cubicBezTo>
                      <a:cubicBezTo>
                        <a:pt x="541028" y="1180518"/>
                        <a:pt x="587827" y="1168113"/>
                        <a:pt x="637651" y="1130795"/>
                      </a:cubicBezTo>
                      <a:cubicBezTo>
                        <a:pt x="687475" y="1093477"/>
                        <a:pt x="693728" y="1049805"/>
                        <a:pt x="699881" y="1028020"/>
                      </a:cubicBezTo>
                      <a:cubicBezTo>
                        <a:pt x="706033" y="1006235"/>
                        <a:pt x="718539" y="962664"/>
                        <a:pt x="718539" y="928372"/>
                      </a:cubicBezTo>
                      <a:cubicBezTo>
                        <a:pt x="718539" y="894080"/>
                        <a:pt x="759084" y="881674"/>
                        <a:pt x="808808" y="863015"/>
                      </a:cubicBezTo>
                      <a:cubicBezTo>
                        <a:pt x="858632" y="844357"/>
                        <a:pt x="840074" y="816318"/>
                        <a:pt x="858632" y="782026"/>
                      </a:cubicBezTo>
                      <a:cubicBezTo>
                        <a:pt x="877391" y="747734"/>
                        <a:pt x="933368" y="697910"/>
                        <a:pt x="964533" y="685404"/>
                      </a:cubicBezTo>
                      <a:cubicBezTo>
                        <a:pt x="995699" y="672998"/>
                        <a:pt x="1001952" y="629326"/>
                        <a:pt x="1001952" y="607541"/>
                      </a:cubicBezTo>
                      <a:cubicBezTo>
                        <a:pt x="1001952" y="585755"/>
                        <a:pt x="1054903" y="582629"/>
                        <a:pt x="1054903" y="570223"/>
                      </a:cubicBezTo>
                      <a:cubicBezTo>
                        <a:pt x="1054903" y="557817"/>
                        <a:pt x="1039269" y="526551"/>
                        <a:pt x="1005079" y="542184"/>
                      </a:cubicBezTo>
                      <a:cubicBezTo>
                        <a:pt x="970887" y="557817"/>
                        <a:pt x="952128" y="539058"/>
                        <a:pt x="955255" y="514146"/>
                      </a:cubicBezTo>
                      <a:cubicBezTo>
                        <a:pt x="958078" y="489032"/>
                        <a:pt x="1017282" y="476626"/>
                        <a:pt x="1020308" y="448588"/>
                      </a:cubicBezTo>
                      <a:close/>
                    </a:path>
                  </a:pathLst>
                </a:custGeom>
                <a:solidFill>
                  <a:schemeClr val="bg1">
                    <a:lumMod val="75000"/>
                  </a:schemeClr>
                </a:solidFill>
                <a:ln w="10085" cap="flat">
                  <a:solidFill>
                    <a:srgbClr val="FFFFFF"/>
                  </a:solidFill>
                  <a:prstDash val="solid"/>
                  <a:miter/>
                </a:ln>
              </p:spPr>
              <p:txBody>
                <a:bodyPr rtlCol="0" anchor="ctr"/>
                <a:lstStyle/>
                <a:p>
                  <a:endParaRPr lang="fr-FR" sz="900"/>
                </a:p>
              </p:txBody>
            </p:sp>
            <p:sp>
              <p:nvSpPr>
                <p:cNvPr id="72" name="Forme libre : forme 71">
                  <a:extLst>
                    <a:ext uri="{FF2B5EF4-FFF2-40B4-BE49-F238E27FC236}">
                      <a16:creationId xmlns:a16="http://schemas.microsoft.com/office/drawing/2014/main" id="{615DB10E-9EEC-6291-CE5C-549EAEC4F10C}"/>
                    </a:ext>
                  </a:extLst>
                </p:cNvPr>
                <p:cNvSpPr/>
                <p:nvPr/>
              </p:nvSpPr>
              <p:spPr>
                <a:xfrm>
                  <a:off x="7024446" y="7030661"/>
                  <a:ext cx="1113276" cy="1548884"/>
                </a:xfrm>
                <a:custGeom>
                  <a:avLst/>
                  <a:gdLst>
                    <a:gd name="connsiteX0" fmla="*/ 167627 w 1113276"/>
                    <a:gd name="connsiteY0" fmla="*/ 1539505 h 1548884"/>
                    <a:gd name="connsiteX1" fmla="*/ 109532 w 1113276"/>
                    <a:gd name="connsiteY1" fmla="*/ 1475157 h 1548884"/>
                    <a:gd name="connsiteX2" fmla="*/ 109532 w 1113276"/>
                    <a:gd name="connsiteY2" fmla="*/ 1475157 h 1548884"/>
                    <a:gd name="connsiteX3" fmla="*/ 55069 w 1113276"/>
                    <a:gd name="connsiteY3" fmla="*/ 1407381 h 1548884"/>
                    <a:gd name="connsiteX4" fmla="*/ 55069 w 1113276"/>
                    <a:gd name="connsiteY4" fmla="*/ 1407381 h 1548884"/>
                    <a:gd name="connsiteX5" fmla="*/ 89058 w 1113276"/>
                    <a:gd name="connsiteY5" fmla="*/ 1357859 h 1548884"/>
                    <a:gd name="connsiteX6" fmla="*/ 89058 w 1113276"/>
                    <a:gd name="connsiteY6" fmla="*/ 1357859 h 1548884"/>
                    <a:gd name="connsiteX7" fmla="*/ 106507 w 1113276"/>
                    <a:gd name="connsiteY7" fmla="*/ 1342730 h 1548884"/>
                    <a:gd name="connsiteX8" fmla="*/ 106507 w 1113276"/>
                    <a:gd name="connsiteY8" fmla="*/ 1342730 h 1548884"/>
                    <a:gd name="connsiteX9" fmla="*/ 99345 w 1113276"/>
                    <a:gd name="connsiteY9" fmla="*/ 1321751 h 1548884"/>
                    <a:gd name="connsiteX10" fmla="*/ 99345 w 1113276"/>
                    <a:gd name="connsiteY10" fmla="*/ 1321751 h 1548884"/>
                    <a:gd name="connsiteX11" fmla="*/ 89764 w 1113276"/>
                    <a:gd name="connsiteY11" fmla="*/ 1302084 h 1548884"/>
                    <a:gd name="connsiteX12" fmla="*/ 89764 w 1113276"/>
                    <a:gd name="connsiteY12" fmla="*/ 1302084 h 1548884"/>
                    <a:gd name="connsiteX13" fmla="*/ 111449 w 1113276"/>
                    <a:gd name="connsiteY13" fmla="*/ 1241065 h 1548884"/>
                    <a:gd name="connsiteX14" fmla="*/ 111449 w 1113276"/>
                    <a:gd name="connsiteY14" fmla="*/ 1241065 h 1548884"/>
                    <a:gd name="connsiteX15" fmla="*/ 122241 w 1113276"/>
                    <a:gd name="connsiteY15" fmla="*/ 1201629 h 1548884"/>
                    <a:gd name="connsiteX16" fmla="*/ 122241 w 1113276"/>
                    <a:gd name="connsiteY16" fmla="*/ 1201629 h 1548884"/>
                    <a:gd name="connsiteX17" fmla="*/ 92386 w 1113276"/>
                    <a:gd name="connsiteY17" fmla="*/ 1121144 h 1548884"/>
                    <a:gd name="connsiteX18" fmla="*/ 92386 w 1113276"/>
                    <a:gd name="connsiteY18" fmla="*/ 1121144 h 1548884"/>
                    <a:gd name="connsiteX19" fmla="*/ 90067 w 1113276"/>
                    <a:gd name="connsiteY19" fmla="*/ 1091290 h 1548884"/>
                    <a:gd name="connsiteX20" fmla="*/ 90067 w 1113276"/>
                    <a:gd name="connsiteY20" fmla="*/ 1091290 h 1548884"/>
                    <a:gd name="connsiteX21" fmla="*/ 114878 w 1113276"/>
                    <a:gd name="connsiteY21" fmla="*/ 1038036 h 1548884"/>
                    <a:gd name="connsiteX22" fmla="*/ 114878 w 1113276"/>
                    <a:gd name="connsiteY22" fmla="*/ 1038036 h 1548884"/>
                    <a:gd name="connsiteX23" fmla="*/ 122947 w 1113276"/>
                    <a:gd name="connsiteY23" fmla="*/ 1019983 h 1548884"/>
                    <a:gd name="connsiteX24" fmla="*/ 122947 w 1113276"/>
                    <a:gd name="connsiteY24" fmla="*/ 1019983 h 1548884"/>
                    <a:gd name="connsiteX25" fmla="*/ 85831 w 1113276"/>
                    <a:gd name="connsiteY25" fmla="*/ 995978 h 1548884"/>
                    <a:gd name="connsiteX26" fmla="*/ 85831 w 1113276"/>
                    <a:gd name="connsiteY26" fmla="*/ 995978 h 1548884"/>
                    <a:gd name="connsiteX27" fmla="*/ 0 w 1113276"/>
                    <a:gd name="connsiteY27" fmla="*/ 935362 h 1548884"/>
                    <a:gd name="connsiteX28" fmla="*/ 0 w 1113276"/>
                    <a:gd name="connsiteY28" fmla="*/ 935362 h 1548884"/>
                    <a:gd name="connsiteX29" fmla="*/ 5749 w 1113276"/>
                    <a:gd name="connsiteY29" fmla="*/ 919729 h 1548884"/>
                    <a:gd name="connsiteX30" fmla="*/ 5749 w 1113276"/>
                    <a:gd name="connsiteY30" fmla="*/ 919729 h 1548884"/>
                    <a:gd name="connsiteX31" fmla="*/ 45891 w 1113276"/>
                    <a:gd name="connsiteY31" fmla="*/ 864358 h 1548884"/>
                    <a:gd name="connsiteX32" fmla="*/ 45891 w 1113276"/>
                    <a:gd name="connsiteY32" fmla="*/ 864358 h 1548884"/>
                    <a:gd name="connsiteX33" fmla="*/ 114575 w 1113276"/>
                    <a:gd name="connsiteY33" fmla="*/ 780141 h 1548884"/>
                    <a:gd name="connsiteX34" fmla="*/ 114575 w 1113276"/>
                    <a:gd name="connsiteY34" fmla="*/ 780141 h 1548884"/>
                    <a:gd name="connsiteX35" fmla="*/ 152296 w 1113276"/>
                    <a:gd name="connsiteY35" fmla="*/ 661128 h 1548884"/>
                    <a:gd name="connsiteX36" fmla="*/ 152296 w 1113276"/>
                    <a:gd name="connsiteY36" fmla="*/ 661128 h 1548884"/>
                    <a:gd name="connsiteX37" fmla="*/ 158852 w 1113276"/>
                    <a:gd name="connsiteY37" fmla="*/ 646403 h 1548884"/>
                    <a:gd name="connsiteX38" fmla="*/ 158852 w 1113276"/>
                    <a:gd name="connsiteY38" fmla="*/ 646403 h 1548884"/>
                    <a:gd name="connsiteX39" fmla="*/ 139185 w 1113276"/>
                    <a:gd name="connsiteY39" fmla="*/ 597688 h 1548884"/>
                    <a:gd name="connsiteX40" fmla="*/ 139185 w 1113276"/>
                    <a:gd name="connsiteY40" fmla="*/ 597688 h 1548884"/>
                    <a:gd name="connsiteX41" fmla="*/ 83208 w 1113276"/>
                    <a:gd name="connsiteY41" fmla="*/ 542316 h 1548884"/>
                    <a:gd name="connsiteX42" fmla="*/ 83208 w 1113276"/>
                    <a:gd name="connsiteY42" fmla="*/ 542316 h 1548884"/>
                    <a:gd name="connsiteX43" fmla="*/ 80889 w 1113276"/>
                    <a:gd name="connsiteY43" fmla="*/ 524061 h 1548884"/>
                    <a:gd name="connsiteX44" fmla="*/ 80889 w 1113276"/>
                    <a:gd name="connsiteY44" fmla="*/ 524061 h 1548884"/>
                    <a:gd name="connsiteX45" fmla="*/ 117299 w 1113276"/>
                    <a:gd name="connsiteY45" fmla="*/ 441760 h 1548884"/>
                    <a:gd name="connsiteX46" fmla="*/ 117299 w 1113276"/>
                    <a:gd name="connsiteY46" fmla="*/ 441760 h 1548884"/>
                    <a:gd name="connsiteX47" fmla="*/ 117500 w 1113276"/>
                    <a:gd name="connsiteY47" fmla="*/ 438936 h 1548884"/>
                    <a:gd name="connsiteX48" fmla="*/ 117500 w 1113276"/>
                    <a:gd name="connsiteY48" fmla="*/ 438936 h 1548884"/>
                    <a:gd name="connsiteX49" fmla="*/ 91479 w 1113276"/>
                    <a:gd name="connsiteY49" fmla="*/ 401114 h 1548884"/>
                    <a:gd name="connsiteX50" fmla="*/ 91479 w 1113276"/>
                    <a:gd name="connsiteY50" fmla="*/ 401114 h 1548884"/>
                    <a:gd name="connsiteX51" fmla="*/ 53758 w 1113276"/>
                    <a:gd name="connsiteY51" fmla="*/ 386793 h 1548884"/>
                    <a:gd name="connsiteX52" fmla="*/ 53758 w 1113276"/>
                    <a:gd name="connsiteY52" fmla="*/ 386793 h 1548884"/>
                    <a:gd name="connsiteX53" fmla="*/ 52346 w 1113276"/>
                    <a:gd name="connsiteY53" fmla="*/ 383666 h 1548884"/>
                    <a:gd name="connsiteX54" fmla="*/ 52346 w 1113276"/>
                    <a:gd name="connsiteY54" fmla="*/ 383666 h 1548884"/>
                    <a:gd name="connsiteX55" fmla="*/ 54968 w 1113276"/>
                    <a:gd name="connsiteY55" fmla="*/ 381548 h 1548884"/>
                    <a:gd name="connsiteX56" fmla="*/ 54968 w 1113276"/>
                    <a:gd name="connsiteY56" fmla="*/ 381548 h 1548884"/>
                    <a:gd name="connsiteX57" fmla="*/ 59607 w 1113276"/>
                    <a:gd name="connsiteY57" fmla="*/ 381649 h 1548884"/>
                    <a:gd name="connsiteX58" fmla="*/ 59607 w 1113276"/>
                    <a:gd name="connsiteY58" fmla="*/ 381649 h 1548884"/>
                    <a:gd name="connsiteX59" fmla="*/ 77459 w 1113276"/>
                    <a:gd name="connsiteY59" fmla="*/ 315486 h 1548884"/>
                    <a:gd name="connsiteX60" fmla="*/ 77459 w 1113276"/>
                    <a:gd name="connsiteY60" fmla="*/ 315486 h 1548884"/>
                    <a:gd name="connsiteX61" fmla="*/ 110944 w 1113276"/>
                    <a:gd name="connsiteY61" fmla="*/ 303584 h 1548884"/>
                    <a:gd name="connsiteX62" fmla="*/ 110944 w 1113276"/>
                    <a:gd name="connsiteY62" fmla="*/ 303584 h 1548884"/>
                    <a:gd name="connsiteX63" fmla="*/ 195464 w 1113276"/>
                    <a:gd name="connsiteY63" fmla="*/ 310342 h 1548884"/>
                    <a:gd name="connsiteX64" fmla="*/ 195464 w 1113276"/>
                    <a:gd name="connsiteY64" fmla="*/ 310342 h 1548884"/>
                    <a:gd name="connsiteX65" fmla="*/ 203734 w 1113276"/>
                    <a:gd name="connsiteY65" fmla="*/ 310544 h 1548884"/>
                    <a:gd name="connsiteX66" fmla="*/ 203734 w 1113276"/>
                    <a:gd name="connsiteY66" fmla="*/ 310544 h 1548884"/>
                    <a:gd name="connsiteX67" fmla="*/ 256281 w 1113276"/>
                    <a:gd name="connsiteY67" fmla="*/ 241254 h 1548884"/>
                    <a:gd name="connsiteX68" fmla="*/ 256281 w 1113276"/>
                    <a:gd name="connsiteY68" fmla="*/ 241254 h 1548884"/>
                    <a:gd name="connsiteX69" fmla="*/ 255979 w 1113276"/>
                    <a:gd name="connsiteY69" fmla="*/ 219973 h 1548884"/>
                    <a:gd name="connsiteX70" fmla="*/ 255979 w 1113276"/>
                    <a:gd name="connsiteY70" fmla="*/ 219973 h 1548884"/>
                    <a:gd name="connsiteX71" fmla="*/ 256886 w 1113276"/>
                    <a:gd name="connsiteY71" fmla="*/ 207567 h 1548884"/>
                    <a:gd name="connsiteX72" fmla="*/ 256886 w 1113276"/>
                    <a:gd name="connsiteY72" fmla="*/ 207567 h 1548884"/>
                    <a:gd name="connsiteX73" fmla="*/ 285531 w 1113276"/>
                    <a:gd name="connsiteY73" fmla="*/ 156734 h 1548884"/>
                    <a:gd name="connsiteX74" fmla="*/ 285531 w 1113276"/>
                    <a:gd name="connsiteY74" fmla="*/ 156734 h 1548884"/>
                    <a:gd name="connsiteX75" fmla="*/ 349071 w 1113276"/>
                    <a:gd name="connsiteY75" fmla="*/ 95816 h 1548884"/>
                    <a:gd name="connsiteX76" fmla="*/ 349071 w 1113276"/>
                    <a:gd name="connsiteY76" fmla="*/ 95816 h 1548884"/>
                    <a:gd name="connsiteX77" fmla="*/ 349475 w 1113276"/>
                    <a:gd name="connsiteY77" fmla="*/ 92588 h 1548884"/>
                    <a:gd name="connsiteX78" fmla="*/ 349475 w 1113276"/>
                    <a:gd name="connsiteY78" fmla="*/ 92588 h 1548884"/>
                    <a:gd name="connsiteX79" fmla="*/ 337170 w 1113276"/>
                    <a:gd name="connsiteY79" fmla="*/ 70500 h 1548884"/>
                    <a:gd name="connsiteX80" fmla="*/ 337170 w 1113276"/>
                    <a:gd name="connsiteY80" fmla="*/ 70500 h 1548884"/>
                    <a:gd name="connsiteX81" fmla="*/ 336565 w 1113276"/>
                    <a:gd name="connsiteY81" fmla="*/ 67777 h 1548884"/>
                    <a:gd name="connsiteX82" fmla="*/ 336565 w 1113276"/>
                    <a:gd name="connsiteY82" fmla="*/ 67777 h 1548884"/>
                    <a:gd name="connsiteX83" fmla="*/ 338784 w 1113276"/>
                    <a:gd name="connsiteY83" fmla="*/ 65962 h 1548884"/>
                    <a:gd name="connsiteX84" fmla="*/ 338784 w 1113276"/>
                    <a:gd name="connsiteY84" fmla="*/ 65962 h 1548884"/>
                    <a:gd name="connsiteX85" fmla="*/ 395668 w 1113276"/>
                    <a:gd name="connsiteY85" fmla="*/ 56783 h 1548884"/>
                    <a:gd name="connsiteX86" fmla="*/ 467278 w 1113276"/>
                    <a:gd name="connsiteY86" fmla="*/ 6959 h 1548884"/>
                    <a:gd name="connsiteX87" fmla="*/ 467278 w 1113276"/>
                    <a:gd name="connsiteY87" fmla="*/ 6959 h 1548884"/>
                    <a:gd name="connsiteX88" fmla="*/ 486844 w 1113276"/>
                    <a:gd name="connsiteY88" fmla="*/ 0 h 1548884"/>
                    <a:gd name="connsiteX89" fmla="*/ 486844 w 1113276"/>
                    <a:gd name="connsiteY89" fmla="*/ 0 h 1548884"/>
                    <a:gd name="connsiteX90" fmla="*/ 533945 w 1113276"/>
                    <a:gd name="connsiteY90" fmla="*/ 71610 h 1548884"/>
                    <a:gd name="connsiteX91" fmla="*/ 533945 w 1113276"/>
                    <a:gd name="connsiteY91" fmla="*/ 71610 h 1548884"/>
                    <a:gd name="connsiteX92" fmla="*/ 542115 w 1113276"/>
                    <a:gd name="connsiteY92" fmla="*/ 78165 h 1548884"/>
                    <a:gd name="connsiteX93" fmla="*/ 542115 w 1113276"/>
                    <a:gd name="connsiteY93" fmla="*/ 78165 h 1548884"/>
                    <a:gd name="connsiteX94" fmla="*/ 585585 w 1113276"/>
                    <a:gd name="connsiteY94" fmla="*/ 60011 h 1548884"/>
                    <a:gd name="connsiteX95" fmla="*/ 585585 w 1113276"/>
                    <a:gd name="connsiteY95" fmla="*/ 60011 h 1548884"/>
                    <a:gd name="connsiteX96" fmla="*/ 622802 w 1113276"/>
                    <a:gd name="connsiteY96" fmla="*/ 51539 h 1548884"/>
                    <a:gd name="connsiteX97" fmla="*/ 622802 w 1113276"/>
                    <a:gd name="connsiteY97" fmla="*/ 51539 h 1548884"/>
                    <a:gd name="connsiteX98" fmla="*/ 689167 w 1113276"/>
                    <a:gd name="connsiteY98" fmla="*/ 73526 h 1548884"/>
                    <a:gd name="connsiteX99" fmla="*/ 689167 w 1113276"/>
                    <a:gd name="connsiteY99" fmla="*/ 73526 h 1548884"/>
                    <a:gd name="connsiteX100" fmla="*/ 720534 w 1113276"/>
                    <a:gd name="connsiteY100" fmla="*/ 86335 h 1548884"/>
                    <a:gd name="connsiteX101" fmla="*/ 720534 w 1113276"/>
                    <a:gd name="connsiteY101" fmla="*/ 86335 h 1548884"/>
                    <a:gd name="connsiteX102" fmla="*/ 753313 w 1113276"/>
                    <a:gd name="connsiteY102" fmla="*/ 75946 h 1548884"/>
                    <a:gd name="connsiteX103" fmla="*/ 753313 w 1113276"/>
                    <a:gd name="connsiteY103" fmla="*/ 75946 h 1548884"/>
                    <a:gd name="connsiteX104" fmla="*/ 793454 w 1113276"/>
                    <a:gd name="connsiteY104" fmla="*/ 62431 h 1548884"/>
                    <a:gd name="connsiteX105" fmla="*/ 793454 w 1113276"/>
                    <a:gd name="connsiteY105" fmla="*/ 62431 h 1548884"/>
                    <a:gd name="connsiteX106" fmla="*/ 819577 w 1113276"/>
                    <a:gd name="connsiteY106" fmla="*/ 69592 h 1548884"/>
                    <a:gd name="connsiteX107" fmla="*/ 819577 w 1113276"/>
                    <a:gd name="connsiteY107" fmla="*/ 69592 h 1548884"/>
                    <a:gd name="connsiteX108" fmla="*/ 896532 w 1113276"/>
                    <a:gd name="connsiteY108" fmla="*/ 128090 h 1548884"/>
                    <a:gd name="connsiteX109" fmla="*/ 896532 w 1113276"/>
                    <a:gd name="connsiteY109" fmla="*/ 128090 h 1548884"/>
                    <a:gd name="connsiteX110" fmla="*/ 950390 w 1113276"/>
                    <a:gd name="connsiteY110" fmla="*/ 163694 h 1548884"/>
                    <a:gd name="connsiteX111" fmla="*/ 950390 w 1113276"/>
                    <a:gd name="connsiteY111" fmla="*/ 163694 h 1548884"/>
                    <a:gd name="connsiteX112" fmla="*/ 971571 w 1113276"/>
                    <a:gd name="connsiteY112" fmla="*/ 196876 h 1548884"/>
                    <a:gd name="connsiteX113" fmla="*/ 971571 w 1113276"/>
                    <a:gd name="connsiteY113" fmla="*/ 196876 h 1548884"/>
                    <a:gd name="connsiteX114" fmla="*/ 1059519 w 1113276"/>
                    <a:gd name="connsiteY114" fmla="*/ 225520 h 1548884"/>
                    <a:gd name="connsiteX115" fmla="*/ 1059519 w 1113276"/>
                    <a:gd name="connsiteY115" fmla="*/ 225520 h 1548884"/>
                    <a:gd name="connsiteX116" fmla="*/ 1072833 w 1113276"/>
                    <a:gd name="connsiteY116" fmla="*/ 255677 h 1548884"/>
                    <a:gd name="connsiteX117" fmla="*/ 1072833 w 1113276"/>
                    <a:gd name="connsiteY117" fmla="*/ 255677 h 1548884"/>
                    <a:gd name="connsiteX118" fmla="*/ 1070412 w 1113276"/>
                    <a:gd name="connsiteY118" fmla="*/ 282101 h 1548884"/>
                    <a:gd name="connsiteX119" fmla="*/ 1070412 w 1113276"/>
                    <a:gd name="connsiteY119" fmla="*/ 282101 h 1548884"/>
                    <a:gd name="connsiteX120" fmla="*/ 1084633 w 1113276"/>
                    <a:gd name="connsiteY120" fmla="*/ 319116 h 1548884"/>
                    <a:gd name="connsiteX121" fmla="*/ 1084633 w 1113276"/>
                    <a:gd name="connsiteY121" fmla="*/ 319116 h 1548884"/>
                    <a:gd name="connsiteX122" fmla="*/ 1113277 w 1113276"/>
                    <a:gd name="connsiteY122" fmla="*/ 381346 h 1548884"/>
                    <a:gd name="connsiteX123" fmla="*/ 1113277 w 1113276"/>
                    <a:gd name="connsiteY123" fmla="*/ 381346 h 1548884"/>
                    <a:gd name="connsiteX124" fmla="*/ 1100165 w 1113276"/>
                    <a:gd name="connsiteY124" fmla="*/ 412915 h 1548884"/>
                    <a:gd name="connsiteX125" fmla="*/ 1100165 w 1113276"/>
                    <a:gd name="connsiteY125" fmla="*/ 412915 h 1548884"/>
                    <a:gd name="connsiteX126" fmla="*/ 1026034 w 1113276"/>
                    <a:gd name="connsiteY126" fmla="*/ 451947 h 1548884"/>
                    <a:gd name="connsiteX127" fmla="*/ 1026034 w 1113276"/>
                    <a:gd name="connsiteY127" fmla="*/ 451947 h 1548884"/>
                    <a:gd name="connsiteX128" fmla="*/ 960577 w 1113276"/>
                    <a:gd name="connsiteY128" fmla="*/ 517606 h 1548884"/>
                    <a:gd name="connsiteX129" fmla="*/ 960577 w 1113276"/>
                    <a:gd name="connsiteY129" fmla="*/ 517606 h 1548884"/>
                    <a:gd name="connsiteX130" fmla="*/ 960275 w 1113276"/>
                    <a:gd name="connsiteY130" fmla="*/ 522246 h 1548884"/>
                    <a:gd name="connsiteX131" fmla="*/ 960275 w 1113276"/>
                    <a:gd name="connsiteY131" fmla="*/ 522246 h 1548884"/>
                    <a:gd name="connsiteX132" fmla="*/ 984783 w 1113276"/>
                    <a:gd name="connsiteY132" fmla="*/ 547964 h 1548884"/>
                    <a:gd name="connsiteX133" fmla="*/ 984783 w 1113276"/>
                    <a:gd name="connsiteY133" fmla="*/ 547964 h 1548884"/>
                    <a:gd name="connsiteX134" fmla="*/ 1006568 w 1113276"/>
                    <a:gd name="connsiteY134" fmla="*/ 542619 h 1548884"/>
                    <a:gd name="connsiteX135" fmla="*/ 1006568 w 1113276"/>
                    <a:gd name="connsiteY135" fmla="*/ 542619 h 1548884"/>
                    <a:gd name="connsiteX136" fmla="*/ 1025530 w 1113276"/>
                    <a:gd name="connsiteY136" fmla="*/ 538081 h 1548884"/>
                    <a:gd name="connsiteX137" fmla="*/ 1025530 w 1113276"/>
                    <a:gd name="connsiteY137" fmla="*/ 538081 h 1548884"/>
                    <a:gd name="connsiteX138" fmla="*/ 1060427 w 1113276"/>
                    <a:gd name="connsiteY138" fmla="*/ 573179 h 1548884"/>
                    <a:gd name="connsiteX139" fmla="*/ 1060427 w 1113276"/>
                    <a:gd name="connsiteY139" fmla="*/ 573179 h 1548884"/>
                    <a:gd name="connsiteX140" fmla="*/ 1007476 w 1113276"/>
                    <a:gd name="connsiteY140" fmla="*/ 610598 h 1548884"/>
                    <a:gd name="connsiteX141" fmla="*/ 1007476 w 1113276"/>
                    <a:gd name="connsiteY141" fmla="*/ 610598 h 1548884"/>
                    <a:gd name="connsiteX142" fmla="*/ 968242 w 1113276"/>
                    <a:gd name="connsiteY142" fmla="*/ 690982 h 1548884"/>
                    <a:gd name="connsiteX143" fmla="*/ 968242 w 1113276"/>
                    <a:gd name="connsiteY143" fmla="*/ 690982 h 1548884"/>
                    <a:gd name="connsiteX144" fmla="*/ 863753 w 1113276"/>
                    <a:gd name="connsiteY144" fmla="*/ 786293 h 1548884"/>
                    <a:gd name="connsiteX145" fmla="*/ 863753 w 1113276"/>
                    <a:gd name="connsiteY145" fmla="*/ 786293 h 1548884"/>
                    <a:gd name="connsiteX146" fmla="*/ 812416 w 1113276"/>
                    <a:gd name="connsiteY146" fmla="*/ 868493 h 1548884"/>
                    <a:gd name="connsiteX147" fmla="*/ 812416 w 1113276"/>
                    <a:gd name="connsiteY147" fmla="*/ 868493 h 1548884"/>
                    <a:gd name="connsiteX148" fmla="*/ 724063 w 1113276"/>
                    <a:gd name="connsiteY148" fmla="*/ 931328 h 1548884"/>
                    <a:gd name="connsiteX149" fmla="*/ 724063 w 1113276"/>
                    <a:gd name="connsiteY149" fmla="*/ 931328 h 1548884"/>
                    <a:gd name="connsiteX150" fmla="*/ 705102 w 1113276"/>
                    <a:gd name="connsiteY150" fmla="*/ 1031682 h 1548884"/>
                    <a:gd name="connsiteX151" fmla="*/ 705102 w 1113276"/>
                    <a:gd name="connsiteY151" fmla="*/ 1031682 h 1548884"/>
                    <a:gd name="connsiteX152" fmla="*/ 641864 w 1113276"/>
                    <a:gd name="connsiteY152" fmla="*/ 1135869 h 1548884"/>
                    <a:gd name="connsiteX153" fmla="*/ 641864 w 1113276"/>
                    <a:gd name="connsiteY153" fmla="*/ 1135869 h 1548884"/>
                    <a:gd name="connsiteX154" fmla="*/ 540098 w 1113276"/>
                    <a:gd name="connsiteY154" fmla="*/ 1252260 h 1548884"/>
                    <a:gd name="connsiteX155" fmla="*/ 540098 w 1113276"/>
                    <a:gd name="connsiteY155" fmla="*/ 1252260 h 1548884"/>
                    <a:gd name="connsiteX156" fmla="*/ 488458 w 1113276"/>
                    <a:gd name="connsiteY156" fmla="*/ 1342528 h 1548884"/>
                    <a:gd name="connsiteX157" fmla="*/ 488458 w 1113276"/>
                    <a:gd name="connsiteY157" fmla="*/ 1342528 h 1548884"/>
                    <a:gd name="connsiteX158" fmla="*/ 490071 w 1113276"/>
                    <a:gd name="connsiteY158" fmla="*/ 1350698 h 1548884"/>
                    <a:gd name="connsiteX159" fmla="*/ 490071 w 1113276"/>
                    <a:gd name="connsiteY159" fmla="*/ 1350698 h 1548884"/>
                    <a:gd name="connsiteX160" fmla="*/ 508126 w 1113276"/>
                    <a:gd name="connsiteY160" fmla="*/ 1412222 h 1548884"/>
                    <a:gd name="connsiteX161" fmla="*/ 508126 w 1113276"/>
                    <a:gd name="connsiteY161" fmla="*/ 1412222 h 1548884"/>
                    <a:gd name="connsiteX162" fmla="*/ 498544 w 1113276"/>
                    <a:gd name="connsiteY162" fmla="*/ 1434713 h 1548884"/>
                    <a:gd name="connsiteX163" fmla="*/ 498544 w 1113276"/>
                    <a:gd name="connsiteY163" fmla="*/ 1434713 h 1548884"/>
                    <a:gd name="connsiteX164" fmla="*/ 446501 w 1113276"/>
                    <a:gd name="connsiteY164" fmla="*/ 1486353 h 1548884"/>
                    <a:gd name="connsiteX165" fmla="*/ 446501 w 1113276"/>
                    <a:gd name="connsiteY165" fmla="*/ 1486353 h 1548884"/>
                    <a:gd name="connsiteX166" fmla="*/ 372773 w 1113276"/>
                    <a:gd name="connsiteY166" fmla="*/ 1547473 h 1548884"/>
                    <a:gd name="connsiteX167" fmla="*/ 372773 w 1113276"/>
                    <a:gd name="connsiteY167" fmla="*/ 1547473 h 1548884"/>
                    <a:gd name="connsiteX168" fmla="*/ 359460 w 1113276"/>
                    <a:gd name="connsiteY168" fmla="*/ 1548683 h 1548884"/>
                    <a:gd name="connsiteX169" fmla="*/ 359460 w 1113276"/>
                    <a:gd name="connsiteY169" fmla="*/ 1548683 h 1548884"/>
                    <a:gd name="connsiteX170" fmla="*/ 288556 w 1113276"/>
                    <a:gd name="connsiteY170" fmla="*/ 1507937 h 1548884"/>
                    <a:gd name="connsiteX171" fmla="*/ 288556 w 1113276"/>
                    <a:gd name="connsiteY171" fmla="*/ 1507937 h 1548884"/>
                    <a:gd name="connsiteX172" fmla="*/ 258904 w 1113276"/>
                    <a:gd name="connsiteY172" fmla="*/ 1478587 h 1548884"/>
                    <a:gd name="connsiteX173" fmla="*/ 258904 w 1113276"/>
                    <a:gd name="connsiteY173" fmla="*/ 1478587 h 1548884"/>
                    <a:gd name="connsiteX174" fmla="*/ 237623 w 1113276"/>
                    <a:gd name="connsiteY174" fmla="*/ 1496035 h 1548884"/>
                    <a:gd name="connsiteX175" fmla="*/ 237623 w 1113276"/>
                    <a:gd name="connsiteY175" fmla="*/ 1496035 h 1548884"/>
                    <a:gd name="connsiteX176" fmla="*/ 182050 w 1113276"/>
                    <a:gd name="connsiteY176" fmla="*/ 1548885 h 1548884"/>
                    <a:gd name="connsiteX177" fmla="*/ 182050 w 1113276"/>
                    <a:gd name="connsiteY177" fmla="*/ 1548885 h 1548884"/>
                    <a:gd name="connsiteX178" fmla="*/ 167627 w 1113276"/>
                    <a:gd name="connsiteY178" fmla="*/ 1539505 h 1548884"/>
                    <a:gd name="connsiteX179" fmla="*/ 167627 w 1113276"/>
                    <a:gd name="connsiteY179" fmla="*/ 1539505 h 1548884"/>
                    <a:gd name="connsiteX180" fmla="*/ 93798 w 1113276"/>
                    <a:gd name="connsiteY180" fmla="*/ 396071 h 1548884"/>
                    <a:gd name="connsiteX181" fmla="*/ 123249 w 1113276"/>
                    <a:gd name="connsiteY181" fmla="*/ 438936 h 1548884"/>
                    <a:gd name="connsiteX182" fmla="*/ 123249 w 1113276"/>
                    <a:gd name="connsiteY182" fmla="*/ 438936 h 1548884"/>
                    <a:gd name="connsiteX183" fmla="*/ 122947 w 1113276"/>
                    <a:gd name="connsiteY183" fmla="*/ 442466 h 1548884"/>
                    <a:gd name="connsiteX184" fmla="*/ 122947 w 1113276"/>
                    <a:gd name="connsiteY184" fmla="*/ 442466 h 1548884"/>
                    <a:gd name="connsiteX185" fmla="*/ 86436 w 1113276"/>
                    <a:gd name="connsiteY185" fmla="*/ 524061 h 1548884"/>
                    <a:gd name="connsiteX186" fmla="*/ 86436 w 1113276"/>
                    <a:gd name="connsiteY186" fmla="*/ 524061 h 1548884"/>
                    <a:gd name="connsiteX187" fmla="*/ 88654 w 1113276"/>
                    <a:gd name="connsiteY187" fmla="*/ 541005 h 1548884"/>
                    <a:gd name="connsiteX188" fmla="*/ 88654 w 1113276"/>
                    <a:gd name="connsiteY188" fmla="*/ 541005 h 1548884"/>
                    <a:gd name="connsiteX189" fmla="*/ 144833 w 1113276"/>
                    <a:gd name="connsiteY189" fmla="*/ 597688 h 1548884"/>
                    <a:gd name="connsiteX190" fmla="*/ 144833 w 1113276"/>
                    <a:gd name="connsiteY190" fmla="*/ 597688 h 1548884"/>
                    <a:gd name="connsiteX191" fmla="*/ 164500 w 1113276"/>
                    <a:gd name="connsiteY191" fmla="*/ 646403 h 1548884"/>
                    <a:gd name="connsiteX192" fmla="*/ 164500 w 1113276"/>
                    <a:gd name="connsiteY192" fmla="*/ 646403 h 1548884"/>
                    <a:gd name="connsiteX193" fmla="*/ 156533 w 1113276"/>
                    <a:gd name="connsiteY193" fmla="*/ 665061 h 1548884"/>
                    <a:gd name="connsiteX194" fmla="*/ 156533 w 1113276"/>
                    <a:gd name="connsiteY194" fmla="*/ 665061 h 1548884"/>
                    <a:gd name="connsiteX195" fmla="*/ 119719 w 1113276"/>
                    <a:gd name="connsiteY195" fmla="*/ 782763 h 1548884"/>
                    <a:gd name="connsiteX196" fmla="*/ 119719 w 1113276"/>
                    <a:gd name="connsiteY196" fmla="*/ 782763 h 1548884"/>
                    <a:gd name="connsiteX197" fmla="*/ 51337 w 1113276"/>
                    <a:gd name="connsiteY197" fmla="*/ 866678 h 1548884"/>
                    <a:gd name="connsiteX198" fmla="*/ 51337 w 1113276"/>
                    <a:gd name="connsiteY198" fmla="*/ 866678 h 1548884"/>
                    <a:gd name="connsiteX199" fmla="*/ 10388 w 1113276"/>
                    <a:gd name="connsiteY199" fmla="*/ 923360 h 1548884"/>
                    <a:gd name="connsiteX200" fmla="*/ 10388 w 1113276"/>
                    <a:gd name="connsiteY200" fmla="*/ 923360 h 1548884"/>
                    <a:gd name="connsiteX201" fmla="*/ 5850 w 1113276"/>
                    <a:gd name="connsiteY201" fmla="*/ 935463 h 1548884"/>
                    <a:gd name="connsiteX202" fmla="*/ 5850 w 1113276"/>
                    <a:gd name="connsiteY202" fmla="*/ 935463 h 1548884"/>
                    <a:gd name="connsiteX203" fmla="*/ 86133 w 1113276"/>
                    <a:gd name="connsiteY203" fmla="*/ 990431 h 1548884"/>
                    <a:gd name="connsiteX204" fmla="*/ 86133 w 1113276"/>
                    <a:gd name="connsiteY204" fmla="*/ 990431 h 1548884"/>
                    <a:gd name="connsiteX205" fmla="*/ 128797 w 1113276"/>
                    <a:gd name="connsiteY205" fmla="*/ 1020083 h 1548884"/>
                    <a:gd name="connsiteX206" fmla="*/ 128797 w 1113276"/>
                    <a:gd name="connsiteY206" fmla="*/ 1020083 h 1548884"/>
                    <a:gd name="connsiteX207" fmla="*/ 119316 w 1113276"/>
                    <a:gd name="connsiteY207" fmla="*/ 1041768 h 1548884"/>
                    <a:gd name="connsiteX208" fmla="*/ 119316 w 1113276"/>
                    <a:gd name="connsiteY208" fmla="*/ 1041768 h 1548884"/>
                    <a:gd name="connsiteX209" fmla="*/ 95917 w 1113276"/>
                    <a:gd name="connsiteY209" fmla="*/ 1091390 h 1548884"/>
                    <a:gd name="connsiteX210" fmla="*/ 95917 w 1113276"/>
                    <a:gd name="connsiteY210" fmla="*/ 1091390 h 1548884"/>
                    <a:gd name="connsiteX211" fmla="*/ 98337 w 1113276"/>
                    <a:gd name="connsiteY211" fmla="*/ 1120539 h 1548884"/>
                    <a:gd name="connsiteX212" fmla="*/ 98337 w 1113276"/>
                    <a:gd name="connsiteY212" fmla="*/ 1120539 h 1548884"/>
                    <a:gd name="connsiteX213" fmla="*/ 128091 w 1113276"/>
                    <a:gd name="connsiteY213" fmla="*/ 1201730 h 1548884"/>
                    <a:gd name="connsiteX214" fmla="*/ 128091 w 1113276"/>
                    <a:gd name="connsiteY214" fmla="*/ 1201730 h 1548884"/>
                    <a:gd name="connsiteX215" fmla="*/ 116794 w 1113276"/>
                    <a:gd name="connsiteY215" fmla="*/ 1243586 h 1548884"/>
                    <a:gd name="connsiteX216" fmla="*/ 116794 w 1113276"/>
                    <a:gd name="connsiteY216" fmla="*/ 1243586 h 1548884"/>
                    <a:gd name="connsiteX217" fmla="*/ 95614 w 1113276"/>
                    <a:gd name="connsiteY217" fmla="*/ 1302286 h 1548884"/>
                    <a:gd name="connsiteX218" fmla="*/ 95614 w 1113276"/>
                    <a:gd name="connsiteY218" fmla="*/ 1302286 h 1548884"/>
                    <a:gd name="connsiteX219" fmla="*/ 104086 w 1113276"/>
                    <a:gd name="connsiteY219" fmla="*/ 1318625 h 1548884"/>
                    <a:gd name="connsiteX220" fmla="*/ 104086 w 1113276"/>
                    <a:gd name="connsiteY220" fmla="*/ 1318625 h 1548884"/>
                    <a:gd name="connsiteX221" fmla="*/ 112457 w 1113276"/>
                    <a:gd name="connsiteY221" fmla="*/ 1342932 h 1548884"/>
                    <a:gd name="connsiteX222" fmla="*/ 112457 w 1113276"/>
                    <a:gd name="connsiteY222" fmla="*/ 1342932 h 1548884"/>
                    <a:gd name="connsiteX223" fmla="*/ 89361 w 1113276"/>
                    <a:gd name="connsiteY223" fmla="*/ 1363608 h 1548884"/>
                    <a:gd name="connsiteX224" fmla="*/ 89361 w 1113276"/>
                    <a:gd name="connsiteY224" fmla="*/ 1363608 h 1548884"/>
                    <a:gd name="connsiteX225" fmla="*/ 61019 w 1113276"/>
                    <a:gd name="connsiteY225" fmla="*/ 1407481 h 1548884"/>
                    <a:gd name="connsiteX226" fmla="*/ 61019 w 1113276"/>
                    <a:gd name="connsiteY226" fmla="*/ 1407481 h 1548884"/>
                    <a:gd name="connsiteX227" fmla="*/ 112457 w 1113276"/>
                    <a:gd name="connsiteY227" fmla="*/ 1470316 h 1548884"/>
                    <a:gd name="connsiteX228" fmla="*/ 112457 w 1113276"/>
                    <a:gd name="connsiteY228" fmla="*/ 1470316 h 1548884"/>
                    <a:gd name="connsiteX229" fmla="*/ 172670 w 1113276"/>
                    <a:gd name="connsiteY229" fmla="*/ 1536883 h 1548884"/>
                    <a:gd name="connsiteX230" fmla="*/ 172670 w 1113276"/>
                    <a:gd name="connsiteY230" fmla="*/ 1536883 h 1548884"/>
                    <a:gd name="connsiteX231" fmla="*/ 182554 w 1113276"/>
                    <a:gd name="connsiteY231" fmla="*/ 1543035 h 1548884"/>
                    <a:gd name="connsiteX232" fmla="*/ 182554 w 1113276"/>
                    <a:gd name="connsiteY232" fmla="*/ 1543035 h 1548884"/>
                    <a:gd name="connsiteX233" fmla="*/ 233286 w 1113276"/>
                    <a:gd name="connsiteY233" fmla="*/ 1493413 h 1548884"/>
                    <a:gd name="connsiteX234" fmla="*/ 233286 w 1113276"/>
                    <a:gd name="connsiteY234" fmla="*/ 1493413 h 1548884"/>
                    <a:gd name="connsiteX235" fmla="*/ 259408 w 1113276"/>
                    <a:gd name="connsiteY235" fmla="*/ 1472737 h 1548884"/>
                    <a:gd name="connsiteX236" fmla="*/ 259408 w 1113276"/>
                    <a:gd name="connsiteY236" fmla="*/ 1472737 h 1548884"/>
                    <a:gd name="connsiteX237" fmla="*/ 294406 w 1113276"/>
                    <a:gd name="connsiteY237" fmla="*/ 1506323 h 1548884"/>
                    <a:gd name="connsiteX238" fmla="*/ 294406 w 1113276"/>
                    <a:gd name="connsiteY238" fmla="*/ 1506323 h 1548884"/>
                    <a:gd name="connsiteX239" fmla="*/ 359964 w 1113276"/>
                    <a:gd name="connsiteY239" fmla="*/ 1542833 h 1548884"/>
                    <a:gd name="connsiteX240" fmla="*/ 359964 w 1113276"/>
                    <a:gd name="connsiteY240" fmla="*/ 1542833 h 1548884"/>
                    <a:gd name="connsiteX241" fmla="*/ 372168 w 1113276"/>
                    <a:gd name="connsiteY241" fmla="*/ 1541825 h 1548884"/>
                    <a:gd name="connsiteX242" fmla="*/ 372168 w 1113276"/>
                    <a:gd name="connsiteY242" fmla="*/ 1541825 h 1548884"/>
                    <a:gd name="connsiteX243" fmla="*/ 441558 w 1113276"/>
                    <a:gd name="connsiteY243" fmla="*/ 1484537 h 1548884"/>
                    <a:gd name="connsiteX244" fmla="*/ 441558 w 1113276"/>
                    <a:gd name="connsiteY244" fmla="*/ 1484537 h 1548884"/>
                    <a:gd name="connsiteX245" fmla="*/ 495417 w 1113276"/>
                    <a:gd name="connsiteY245" fmla="*/ 1430174 h 1548884"/>
                    <a:gd name="connsiteX246" fmla="*/ 495417 w 1113276"/>
                    <a:gd name="connsiteY246" fmla="*/ 1430174 h 1548884"/>
                    <a:gd name="connsiteX247" fmla="*/ 502982 w 1113276"/>
                    <a:gd name="connsiteY247" fmla="*/ 1411919 h 1548884"/>
                    <a:gd name="connsiteX248" fmla="*/ 502982 w 1113276"/>
                    <a:gd name="connsiteY248" fmla="*/ 1411919 h 1548884"/>
                    <a:gd name="connsiteX249" fmla="*/ 485230 w 1113276"/>
                    <a:gd name="connsiteY249" fmla="*/ 1352312 h 1548884"/>
                    <a:gd name="connsiteX250" fmla="*/ 485230 w 1113276"/>
                    <a:gd name="connsiteY250" fmla="*/ 1352312 h 1548884"/>
                    <a:gd name="connsiteX251" fmla="*/ 483314 w 1113276"/>
                    <a:gd name="connsiteY251" fmla="*/ 1342125 h 1548884"/>
                    <a:gd name="connsiteX252" fmla="*/ 483314 w 1113276"/>
                    <a:gd name="connsiteY252" fmla="*/ 1342125 h 1548884"/>
                    <a:gd name="connsiteX253" fmla="*/ 534954 w 1113276"/>
                    <a:gd name="connsiteY253" fmla="*/ 1251453 h 1548884"/>
                    <a:gd name="connsiteX254" fmla="*/ 534954 w 1113276"/>
                    <a:gd name="connsiteY254" fmla="*/ 1251453 h 1548884"/>
                    <a:gd name="connsiteX255" fmla="*/ 638737 w 1113276"/>
                    <a:gd name="connsiteY255" fmla="*/ 1131230 h 1548884"/>
                    <a:gd name="connsiteX256" fmla="*/ 638737 w 1113276"/>
                    <a:gd name="connsiteY256" fmla="*/ 1131230 h 1548884"/>
                    <a:gd name="connsiteX257" fmla="*/ 700059 w 1113276"/>
                    <a:gd name="connsiteY257" fmla="*/ 1029766 h 1548884"/>
                    <a:gd name="connsiteX258" fmla="*/ 700059 w 1113276"/>
                    <a:gd name="connsiteY258" fmla="*/ 1029766 h 1548884"/>
                    <a:gd name="connsiteX259" fmla="*/ 718617 w 1113276"/>
                    <a:gd name="connsiteY259" fmla="*/ 931025 h 1548884"/>
                    <a:gd name="connsiteX260" fmla="*/ 718617 w 1113276"/>
                    <a:gd name="connsiteY260" fmla="*/ 931025 h 1548884"/>
                    <a:gd name="connsiteX261" fmla="*/ 810701 w 1113276"/>
                    <a:gd name="connsiteY261" fmla="*/ 863047 h 1548884"/>
                    <a:gd name="connsiteX262" fmla="*/ 810701 w 1113276"/>
                    <a:gd name="connsiteY262" fmla="*/ 863047 h 1548884"/>
                    <a:gd name="connsiteX263" fmla="*/ 859113 w 1113276"/>
                    <a:gd name="connsiteY263" fmla="*/ 783268 h 1548884"/>
                    <a:gd name="connsiteX264" fmla="*/ 859113 w 1113276"/>
                    <a:gd name="connsiteY264" fmla="*/ 783268 h 1548884"/>
                    <a:gd name="connsiteX265" fmla="*/ 966326 w 1113276"/>
                    <a:gd name="connsiteY265" fmla="*/ 685536 h 1548884"/>
                    <a:gd name="connsiteX266" fmla="*/ 966326 w 1113276"/>
                    <a:gd name="connsiteY266" fmla="*/ 685536 h 1548884"/>
                    <a:gd name="connsiteX267" fmla="*/ 1002030 w 1113276"/>
                    <a:gd name="connsiteY267" fmla="*/ 610295 h 1548884"/>
                    <a:gd name="connsiteX268" fmla="*/ 1002030 w 1113276"/>
                    <a:gd name="connsiteY268" fmla="*/ 610295 h 1548884"/>
                    <a:gd name="connsiteX269" fmla="*/ 1054980 w 1113276"/>
                    <a:gd name="connsiteY269" fmla="*/ 572877 h 1548884"/>
                    <a:gd name="connsiteX270" fmla="*/ 1054980 w 1113276"/>
                    <a:gd name="connsiteY270" fmla="*/ 572877 h 1548884"/>
                    <a:gd name="connsiteX271" fmla="*/ 1025631 w 1113276"/>
                    <a:gd name="connsiteY271" fmla="*/ 543224 h 1548884"/>
                    <a:gd name="connsiteX272" fmla="*/ 1025631 w 1113276"/>
                    <a:gd name="connsiteY272" fmla="*/ 543224 h 1548884"/>
                    <a:gd name="connsiteX273" fmla="*/ 1009090 w 1113276"/>
                    <a:gd name="connsiteY273" fmla="*/ 547359 h 1548884"/>
                    <a:gd name="connsiteX274" fmla="*/ 1009090 w 1113276"/>
                    <a:gd name="connsiteY274" fmla="*/ 547359 h 1548884"/>
                    <a:gd name="connsiteX275" fmla="*/ 984884 w 1113276"/>
                    <a:gd name="connsiteY275" fmla="*/ 553209 h 1548884"/>
                    <a:gd name="connsiteX276" fmla="*/ 984884 w 1113276"/>
                    <a:gd name="connsiteY276" fmla="*/ 553209 h 1548884"/>
                    <a:gd name="connsiteX277" fmla="*/ 954828 w 1113276"/>
                    <a:gd name="connsiteY277" fmla="*/ 522044 h 1548884"/>
                    <a:gd name="connsiteX278" fmla="*/ 954828 w 1113276"/>
                    <a:gd name="connsiteY278" fmla="*/ 522044 h 1548884"/>
                    <a:gd name="connsiteX279" fmla="*/ 955232 w 1113276"/>
                    <a:gd name="connsiteY279" fmla="*/ 516396 h 1548884"/>
                    <a:gd name="connsiteX280" fmla="*/ 955232 w 1113276"/>
                    <a:gd name="connsiteY280" fmla="*/ 516396 h 1548884"/>
                    <a:gd name="connsiteX281" fmla="*/ 1020689 w 1113276"/>
                    <a:gd name="connsiteY281" fmla="*/ 451140 h 1548884"/>
                    <a:gd name="connsiteX282" fmla="*/ 1020689 w 1113276"/>
                    <a:gd name="connsiteY282" fmla="*/ 451140 h 1548884"/>
                    <a:gd name="connsiteX283" fmla="*/ 1096131 w 1113276"/>
                    <a:gd name="connsiteY283" fmla="*/ 409082 h 1548884"/>
                    <a:gd name="connsiteX284" fmla="*/ 1096131 w 1113276"/>
                    <a:gd name="connsiteY284" fmla="*/ 409082 h 1548884"/>
                    <a:gd name="connsiteX285" fmla="*/ 1107931 w 1113276"/>
                    <a:gd name="connsiteY285" fmla="*/ 381145 h 1548884"/>
                    <a:gd name="connsiteX286" fmla="*/ 1107931 w 1113276"/>
                    <a:gd name="connsiteY286" fmla="*/ 381145 h 1548884"/>
                    <a:gd name="connsiteX287" fmla="*/ 1080397 w 1113276"/>
                    <a:gd name="connsiteY287" fmla="*/ 322243 h 1548884"/>
                    <a:gd name="connsiteX288" fmla="*/ 1080397 w 1113276"/>
                    <a:gd name="connsiteY288" fmla="*/ 322243 h 1548884"/>
                    <a:gd name="connsiteX289" fmla="*/ 1065066 w 1113276"/>
                    <a:gd name="connsiteY289" fmla="*/ 281900 h 1548884"/>
                    <a:gd name="connsiteX290" fmla="*/ 1065066 w 1113276"/>
                    <a:gd name="connsiteY290" fmla="*/ 281900 h 1548884"/>
                    <a:gd name="connsiteX291" fmla="*/ 1067588 w 1113276"/>
                    <a:gd name="connsiteY291" fmla="*/ 255475 h 1548884"/>
                    <a:gd name="connsiteX292" fmla="*/ 1067588 w 1113276"/>
                    <a:gd name="connsiteY292" fmla="*/ 255475 h 1548884"/>
                    <a:gd name="connsiteX293" fmla="*/ 1055686 w 1113276"/>
                    <a:gd name="connsiteY293" fmla="*/ 229050 h 1548884"/>
                    <a:gd name="connsiteX294" fmla="*/ 1055686 w 1113276"/>
                    <a:gd name="connsiteY294" fmla="*/ 229050 h 1548884"/>
                    <a:gd name="connsiteX295" fmla="*/ 969352 w 1113276"/>
                    <a:gd name="connsiteY295" fmla="*/ 201616 h 1548884"/>
                    <a:gd name="connsiteX296" fmla="*/ 969352 w 1113276"/>
                    <a:gd name="connsiteY296" fmla="*/ 201616 h 1548884"/>
                    <a:gd name="connsiteX297" fmla="*/ 947970 w 1113276"/>
                    <a:gd name="connsiteY297" fmla="*/ 167425 h 1548884"/>
                    <a:gd name="connsiteX298" fmla="*/ 947970 w 1113276"/>
                    <a:gd name="connsiteY298" fmla="*/ 167425 h 1548884"/>
                    <a:gd name="connsiteX299" fmla="*/ 894717 w 1113276"/>
                    <a:gd name="connsiteY299" fmla="*/ 133133 h 1548884"/>
                    <a:gd name="connsiteX300" fmla="*/ 894717 w 1113276"/>
                    <a:gd name="connsiteY300" fmla="*/ 133133 h 1548884"/>
                    <a:gd name="connsiteX301" fmla="*/ 815945 w 1113276"/>
                    <a:gd name="connsiteY301" fmla="*/ 73425 h 1548884"/>
                    <a:gd name="connsiteX302" fmla="*/ 815945 w 1113276"/>
                    <a:gd name="connsiteY302" fmla="*/ 73425 h 1548884"/>
                    <a:gd name="connsiteX303" fmla="*/ 793757 w 1113276"/>
                    <a:gd name="connsiteY303" fmla="*/ 67777 h 1548884"/>
                    <a:gd name="connsiteX304" fmla="*/ 793757 w 1113276"/>
                    <a:gd name="connsiteY304" fmla="*/ 67777 h 1548884"/>
                    <a:gd name="connsiteX305" fmla="*/ 757650 w 1113276"/>
                    <a:gd name="connsiteY305" fmla="*/ 79577 h 1548884"/>
                    <a:gd name="connsiteX306" fmla="*/ 757650 w 1113276"/>
                    <a:gd name="connsiteY306" fmla="*/ 79577 h 1548884"/>
                    <a:gd name="connsiteX307" fmla="*/ 720937 w 1113276"/>
                    <a:gd name="connsiteY307" fmla="*/ 91680 h 1548884"/>
                    <a:gd name="connsiteX308" fmla="*/ 720937 w 1113276"/>
                    <a:gd name="connsiteY308" fmla="*/ 91680 h 1548884"/>
                    <a:gd name="connsiteX309" fmla="*/ 684729 w 1113276"/>
                    <a:gd name="connsiteY309" fmla="*/ 75745 h 1548884"/>
                    <a:gd name="connsiteX310" fmla="*/ 684729 w 1113276"/>
                    <a:gd name="connsiteY310" fmla="*/ 75745 h 1548884"/>
                    <a:gd name="connsiteX311" fmla="*/ 623205 w 1113276"/>
                    <a:gd name="connsiteY311" fmla="*/ 56884 h 1548884"/>
                    <a:gd name="connsiteX312" fmla="*/ 623205 w 1113276"/>
                    <a:gd name="connsiteY312" fmla="*/ 56884 h 1548884"/>
                    <a:gd name="connsiteX313" fmla="*/ 589115 w 1113276"/>
                    <a:gd name="connsiteY313" fmla="*/ 64348 h 1548884"/>
                    <a:gd name="connsiteX314" fmla="*/ 589115 w 1113276"/>
                    <a:gd name="connsiteY314" fmla="*/ 64348 h 1548884"/>
                    <a:gd name="connsiteX315" fmla="*/ 542417 w 1113276"/>
                    <a:gd name="connsiteY315" fmla="*/ 83410 h 1548884"/>
                    <a:gd name="connsiteX316" fmla="*/ 542417 w 1113276"/>
                    <a:gd name="connsiteY316" fmla="*/ 83410 h 1548884"/>
                    <a:gd name="connsiteX317" fmla="*/ 528599 w 1113276"/>
                    <a:gd name="connsiteY317" fmla="*/ 71408 h 1548884"/>
                    <a:gd name="connsiteX318" fmla="*/ 528599 w 1113276"/>
                    <a:gd name="connsiteY318" fmla="*/ 71408 h 1548884"/>
                    <a:gd name="connsiteX319" fmla="*/ 487147 w 1113276"/>
                    <a:gd name="connsiteY319" fmla="*/ 5345 h 1548884"/>
                    <a:gd name="connsiteX320" fmla="*/ 487147 w 1113276"/>
                    <a:gd name="connsiteY320" fmla="*/ 5345 h 1548884"/>
                    <a:gd name="connsiteX321" fmla="*/ 470808 w 1113276"/>
                    <a:gd name="connsiteY321" fmla="*/ 11397 h 1548884"/>
                    <a:gd name="connsiteX322" fmla="*/ 470808 w 1113276"/>
                    <a:gd name="connsiteY322" fmla="*/ 11397 h 1548884"/>
                    <a:gd name="connsiteX323" fmla="*/ 398189 w 1113276"/>
                    <a:gd name="connsiteY323" fmla="*/ 61725 h 1548884"/>
                    <a:gd name="connsiteX324" fmla="*/ 398189 w 1113276"/>
                    <a:gd name="connsiteY324" fmla="*/ 61725 h 1548884"/>
                    <a:gd name="connsiteX325" fmla="*/ 345037 w 1113276"/>
                    <a:gd name="connsiteY325" fmla="*/ 70500 h 1548884"/>
                    <a:gd name="connsiteX326" fmla="*/ 355728 w 1113276"/>
                    <a:gd name="connsiteY326" fmla="*/ 92487 h 1548884"/>
                    <a:gd name="connsiteX327" fmla="*/ 355728 w 1113276"/>
                    <a:gd name="connsiteY327" fmla="*/ 92487 h 1548884"/>
                    <a:gd name="connsiteX328" fmla="*/ 354921 w 1113276"/>
                    <a:gd name="connsiteY328" fmla="*/ 97328 h 1548884"/>
                    <a:gd name="connsiteX329" fmla="*/ 354921 w 1113276"/>
                    <a:gd name="connsiteY329" fmla="*/ 97328 h 1548884"/>
                    <a:gd name="connsiteX330" fmla="*/ 289867 w 1113276"/>
                    <a:gd name="connsiteY330" fmla="*/ 160567 h 1548884"/>
                    <a:gd name="connsiteX331" fmla="*/ 289867 w 1113276"/>
                    <a:gd name="connsiteY331" fmla="*/ 160567 h 1548884"/>
                    <a:gd name="connsiteX332" fmla="*/ 262736 w 1113276"/>
                    <a:gd name="connsiteY332" fmla="*/ 208374 h 1548884"/>
                    <a:gd name="connsiteX333" fmla="*/ 262736 w 1113276"/>
                    <a:gd name="connsiteY333" fmla="*/ 208374 h 1548884"/>
                    <a:gd name="connsiteX334" fmla="*/ 262030 w 1113276"/>
                    <a:gd name="connsiteY334" fmla="*/ 220073 h 1548884"/>
                    <a:gd name="connsiteX335" fmla="*/ 262030 w 1113276"/>
                    <a:gd name="connsiteY335" fmla="*/ 220073 h 1548884"/>
                    <a:gd name="connsiteX336" fmla="*/ 262232 w 1113276"/>
                    <a:gd name="connsiteY336" fmla="*/ 241354 h 1548884"/>
                    <a:gd name="connsiteX337" fmla="*/ 262232 w 1113276"/>
                    <a:gd name="connsiteY337" fmla="*/ 241354 h 1548884"/>
                    <a:gd name="connsiteX338" fmla="*/ 204037 w 1113276"/>
                    <a:gd name="connsiteY338" fmla="*/ 316292 h 1548884"/>
                    <a:gd name="connsiteX339" fmla="*/ 204037 w 1113276"/>
                    <a:gd name="connsiteY339" fmla="*/ 316292 h 1548884"/>
                    <a:gd name="connsiteX340" fmla="*/ 195363 w 1113276"/>
                    <a:gd name="connsiteY340" fmla="*/ 316091 h 1548884"/>
                    <a:gd name="connsiteX341" fmla="*/ 195363 w 1113276"/>
                    <a:gd name="connsiteY341" fmla="*/ 316091 h 1548884"/>
                    <a:gd name="connsiteX342" fmla="*/ 111247 w 1113276"/>
                    <a:gd name="connsiteY342" fmla="*/ 309333 h 1548884"/>
                    <a:gd name="connsiteX343" fmla="*/ 111247 w 1113276"/>
                    <a:gd name="connsiteY343" fmla="*/ 309333 h 1548884"/>
                    <a:gd name="connsiteX344" fmla="*/ 81695 w 1113276"/>
                    <a:gd name="connsiteY344" fmla="*/ 319520 h 1548884"/>
                    <a:gd name="connsiteX345" fmla="*/ 81695 w 1113276"/>
                    <a:gd name="connsiteY345" fmla="*/ 319520 h 1548884"/>
                    <a:gd name="connsiteX346" fmla="*/ 63541 w 1113276"/>
                    <a:gd name="connsiteY346" fmla="*/ 385481 h 1548884"/>
                    <a:gd name="connsiteX347" fmla="*/ 63541 w 1113276"/>
                    <a:gd name="connsiteY347" fmla="*/ 385481 h 1548884"/>
                    <a:gd name="connsiteX348" fmla="*/ 93798 w 1113276"/>
                    <a:gd name="connsiteY348" fmla="*/ 396071 h 1548884"/>
                    <a:gd name="connsiteX349" fmla="*/ 93798 w 1113276"/>
                    <a:gd name="connsiteY349" fmla="*/ 396071 h 1548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Lst>
                  <a:rect l="l" t="t" r="r" b="b"/>
                  <a:pathLst>
                    <a:path w="1113276" h="1548884">
                      <a:moveTo>
                        <a:pt x="167627" y="1539505"/>
                      </a:moveTo>
                      <a:cubicBezTo>
                        <a:pt x="155221" y="1517518"/>
                        <a:pt x="143017" y="1493413"/>
                        <a:pt x="109532" y="1475157"/>
                      </a:cubicBezTo>
                      <a:lnTo>
                        <a:pt x="109532" y="1475157"/>
                      </a:lnTo>
                      <a:cubicBezTo>
                        <a:pt x="75140" y="1456499"/>
                        <a:pt x="55069" y="1436831"/>
                        <a:pt x="55069" y="1407381"/>
                      </a:cubicBezTo>
                      <a:lnTo>
                        <a:pt x="55069" y="1407381"/>
                      </a:lnTo>
                      <a:cubicBezTo>
                        <a:pt x="55169" y="1379745"/>
                        <a:pt x="59002" y="1357859"/>
                        <a:pt x="89058" y="1357859"/>
                      </a:cubicBezTo>
                      <a:lnTo>
                        <a:pt x="89058" y="1357859"/>
                      </a:lnTo>
                      <a:cubicBezTo>
                        <a:pt x="103178" y="1357455"/>
                        <a:pt x="106204" y="1351303"/>
                        <a:pt x="106507" y="1342730"/>
                      </a:cubicBezTo>
                      <a:lnTo>
                        <a:pt x="106507" y="1342730"/>
                      </a:lnTo>
                      <a:cubicBezTo>
                        <a:pt x="106608" y="1335569"/>
                        <a:pt x="103279" y="1326996"/>
                        <a:pt x="99345" y="1321751"/>
                      </a:cubicBezTo>
                      <a:lnTo>
                        <a:pt x="99345" y="1321751"/>
                      </a:lnTo>
                      <a:cubicBezTo>
                        <a:pt x="95110" y="1316103"/>
                        <a:pt x="89764" y="1312069"/>
                        <a:pt x="89764" y="1302084"/>
                      </a:cubicBezTo>
                      <a:lnTo>
                        <a:pt x="89764" y="1302084"/>
                      </a:lnTo>
                      <a:cubicBezTo>
                        <a:pt x="89865" y="1291494"/>
                        <a:pt x="95211" y="1275155"/>
                        <a:pt x="111449" y="1241065"/>
                      </a:cubicBezTo>
                      <a:lnTo>
                        <a:pt x="111449" y="1241065"/>
                      </a:lnTo>
                      <a:cubicBezTo>
                        <a:pt x="119316" y="1224322"/>
                        <a:pt x="122241" y="1211816"/>
                        <a:pt x="122241" y="1201629"/>
                      </a:cubicBezTo>
                      <a:lnTo>
                        <a:pt x="122241" y="1201629"/>
                      </a:lnTo>
                      <a:cubicBezTo>
                        <a:pt x="122644" y="1172582"/>
                        <a:pt x="97530" y="1159470"/>
                        <a:pt x="92386" y="1121144"/>
                      </a:cubicBezTo>
                      <a:lnTo>
                        <a:pt x="92386" y="1121144"/>
                      </a:lnTo>
                      <a:cubicBezTo>
                        <a:pt x="90874" y="1108940"/>
                        <a:pt x="90067" y="1099358"/>
                        <a:pt x="90067" y="1091290"/>
                      </a:cubicBezTo>
                      <a:lnTo>
                        <a:pt x="90067" y="1091290"/>
                      </a:lnTo>
                      <a:cubicBezTo>
                        <a:pt x="89865" y="1066176"/>
                        <a:pt x="98438" y="1056493"/>
                        <a:pt x="114878" y="1038036"/>
                      </a:cubicBezTo>
                      <a:lnTo>
                        <a:pt x="114878" y="1038036"/>
                      </a:lnTo>
                      <a:cubicBezTo>
                        <a:pt x="120627" y="1031279"/>
                        <a:pt x="122947" y="1025227"/>
                        <a:pt x="122947" y="1019983"/>
                      </a:cubicBezTo>
                      <a:lnTo>
                        <a:pt x="122947" y="1019983"/>
                      </a:lnTo>
                      <a:cubicBezTo>
                        <a:pt x="122947" y="1006871"/>
                        <a:pt x="107515" y="995978"/>
                        <a:pt x="85831" y="995978"/>
                      </a:cubicBezTo>
                      <a:lnTo>
                        <a:pt x="85831" y="995978"/>
                      </a:lnTo>
                      <a:cubicBezTo>
                        <a:pt x="57691" y="995373"/>
                        <a:pt x="1109" y="966729"/>
                        <a:pt x="0" y="935362"/>
                      </a:cubicBezTo>
                      <a:lnTo>
                        <a:pt x="0" y="935362"/>
                      </a:lnTo>
                      <a:cubicBezTo>
                        <a:pt x="0" y="930017"/>
                        <a:pt x="1916" y="924671"/>
                        <a:pt x="5749" y="919729"/>
                      </a:cubicBezTo>
                      <a:lnTo>
                        <a:pt x="5749" y="919729"/>
                      </a:lnTo>
                      <a:cubicBezTo>
                        <a:pt x="31468" y="887959"/>
                        <a:pt x="30459" y="901474"/>
                        <a:pt x="45891" y="864358"/>
                      </a:cubicBezTo>
                      <a:lnTo>
                        <a:pt x="45891" y="864358"/>
                      </a:lnTo>
                      <a:cubicBezTo>
                        <a:pt x="62633" y="825325"/>
                        <a:pt x="83914" y="838437"/>
                        <a:pt x="114575" y="780141"/>
                      </a:cubicBezTo>
                      <a:lnTo>
                        <a:pt x="114575" y="780141"/>
                      </a:lnTo>
                      <a:cubicBezTo>
                        <a:pt x="145438" y="721845"/>
                        <a:pt x="129200" y="685233"/>
                        <a:pt x="152296" y="661128"/>
                      </a:cubicBezTo>
                      <a:lnTo>
                        <a:pt x="152296" y="661128"/>
                      </a:lnTo>
                      <a:cubicBezTo>
                        <a:pt x="157037" y="656186"/>
                        <a:pt x="158751" y="651445"/>
                        <a:pt x="158852" y="646403"/>
                      </a:cubicBezTo>
                      <a:lnTo>
                        <a:pt x="158852" y="646403"/>
                      </a:lnTo>
                      <a:cubicBezTo>
                        <a:pt x="159155" y="630063"/>
                        <a:pt x="139689" y="611808"/>
                        <a:pt x="139185" y="597688"/>
                      </a:cubicBezTo>
                      <a:lnTo>
                        <a:pt x="139185" y="597688"/>
                      </a:lnTo>
                      <a:cubicBezTo>
                        <a:pt x="142513" y="587300"/>
                        <a:pt x="96219" y="593250"/>
                        <a:pt x="83208" y="542316"/>
                      </a:cubicBezTo>
                      <a:lnTo>
                        <a:pt x="83208" y="542316"/>
                      </a:lnTo>
                      <a:cubicBezTo>
                        <a:pt x="81494" y="535761"/>
                        <a:pt x="80889" y="529709"/>
                        <a:pt x="80889" y="524061"/>
                      </a:cubicBezTo>
                      <a:lnTo>
                        <a:pt x="80889" y="524061"/>
                      </a:lnTo>
                      <a:cubicBezTo>
                        <a:pt x="80989" y="483415"/>
                        <a:pt x="115684" y="458402"/>
                        <a:pt x="117299" y="441760"/>
                      </a:cubicBezTo>
                      <a:lnTo>
                        <a:pt x="117299" y="441760"/>
                      </a:lnTo>
                      <a:cubicBezTo>
                        <a:pt x="117400" y="440752"/>
                        <a:pt x="117500" y="439743"/>
                        <a:pt x="117500" y="438936"/>
                      </a:cubicBezTo>
                      <a:lnTo>
                        <a:pt x="117500" y="438936"/>
                      </a:lnTo>
                      <a:cubicBezTo>
                        <a:pt x="117803" y="420782"/>
                        <a:pt x="91176" y="401114"/>
                        <a:pt x="91479" y="401114"/>
                      </a:cubicBezTo>
                      <a:lnTo>
                        <a:pt x="91479" y="401114"/>
                      </a:lnTo>
                      <a:cubicBezTo>
                        <a:pt x="91075" y="401014"/>
                        <a:pt x="72618" y="396677"/>
                        <a:pt x="53758" y="386793"/>
                      </a:cubicBezTo>
                      <a:lnTo>
                        <a:pt x="53758" y="386793"/>
                      </a:lnTo>
                      <a:cubicBezTo>
                        <a:pt x="52548" y="386188"/>
                        <a:pt x="52043" y="384977"/>
                        <a:pt x="52346" y="383666"/>
                      </a:cubicBezTo>
                      <a:lnTo>
                        <a:pt x="52346" y="383666"/>
                      </a:lnTo>
                      <a:cubicBezTo>
                        <a:pt x="52548" y="382456"/>
                        <a:pt x="53758" y="381548"/>
                        <a:pt x="54968" y="381548"/>
                      </a:cubicBezTo>
                      <a:lnTo>
                        <a:pt x="54968" y="381548"/>
                      </a:lnTo>
                      <a:cubicBezTo>
                        <a:pt x="57086" y="381548"/>
                        <a:pt x="58700" y="381447"/>
                        <a:pt x="59607" y="381649"/>
                      </a:cubicBezTo>
                      <a:lnTo>
                        <a:pt x="59607" y="381649"/>
                      </a:lnTo>
                      <a:cubicBezTo>
                        <a:pt x="59910" y="371664"/>
                        <a:pt x="61423" y="332026"/>
                        <a:pt x="77459" y="315486"/>
                      </a:cubicBezTo>
                      <a:lnTo>
                        <a:pt x="77459" y="315486"/>
                      </a:lnTo>
                      <a:cubicBezTo>
                        <a:pt x="85932" y="306711"/>
                        <a:pt x="95614" y="303483"/>
                        <a:pt x="110944" y="303584"/>
                      </a:cubicBezTo>
                      <a:lnTo>
                        <a:pt x="110944" y="303584"/>
                      </a:lnTo>
                      <a:cubicBezTo>
                        <a:pt x="127990" y="303584"/>
                        <a:pt x="152901" y="307013"/>
                        <a:pt x="195464" y="310342"/>
                      </a:cubicBezTo>
                      <a:lnTo>
                        <a:pt x="195464" y="310342"/>
                      </a:lnTo>
                      <a:cubicBezTo>
                        <a:pt x="198389" y="310544"/>
                        <a:pt x="201112" y="310544"/>
                        <a:pt x="203734" y="310544"/>
                      </a:cubicBezTo>
                      <a:lnTo>
                        <a:pt x="203734" y="310544"/>
                      </a:lnTo>
                      <a:cubicBezTo>
                        <a:pt x="252045" y="310443"/>
                        <a:pt x="255979" y="274033"/>
                        <a:pt x="256281" y="241254"/>
                      </a:cubicBezTo>
                      <a:lnTo>
                        <a:pt x="256281" y="241254"/>
                      </a:lnTo>
                      <a:cubicBezTo>
                        <a:pt x="256281" y="233588"/>
                        <a:pt x="255979" y="226327"/>
                        <a:pt x="255979" y="219973"/>
                      </a:cubicBezTo>
                      <a:lnTo>
                        <a:pt x="255979" y="219973"/>
                      </a:lnTo>
                      <a:cubicBezTo>
                        <a:pt x="255979" y="215333"/>
                        <a:pt x="256281" y="211097"/>
                        <a:pt x="256886" y="207567"/>
                      </a:cubicBezTo>
                      <a:lnTo>
                        <a:pt x="256886" y="207567"/>
                      </a:lnTo>
                      <a:cubicBezTo>
                        <a:pt x="261123" y="179327"/>
                        <a:pt x="268485" y="173477"/>
                        <a:pt x="285531" y="156734"/>
                      </a:cubicBezTo>
                      <a:lnTo>
                        <a:pt x="285531" y="156734"/>
                      </a:lnTo>
                      <a:cubicBezTo>
                        <a:pt x="302979" y="139487"/>
                        <a:pt x="343726" y="113062"/>
                        <a:pt x="349071" y="95816"/>
                      </a:cubicBezTo>
                      <a:lnTo>
                        <a:pt x="349071" y="95816"/>
                      </a:lnTo>
                      <a:cubicBezTo>
                        <a:pt x="349374" y="94706"/>
                        <a:pt x="349475" y="93597"/>
                        <a:pt x="349475" y="92588"/>
                      </a:cubicBezTo>
                      <a:lnTo>
                        <a:pt x="349475" y="92588"/>
                      </a:lnTo>
                      <a:cubicBezTo>
                        <a:pt x="349576" y="87243"/>
                        <a:pt x="344936" y="79477"/>
                        <a:pt x="337170" y="70500"/>
                      </a:cubicBezTo>
                      <a:lnTo>
                        <a:pt x="337170" y="70500"/>
                      </a:lnTo>
                      <a:cubicBezTo>
                        <a:pt x="336464" y="69693"/>
                        <a:pt x="336262" y="68685"/>
                        <a:pt x="336565" y="67777"/>
                      </a:cubicBezTo>
                      <a:lnTo>
                        <a:pt x="336565" y="67777"/>
                      </a:lnTo>
                      <a:cubicBezTo>
                        <a:pt x="336968" y="66869"/>
                        <a:pt x="337775" y="66062"/>
                        <a:pt x="338784" y="65962"/>
                      </a:cubicBezTo>
                      <a:lnTo>
                        <a:pt x="338784" y="65962"/>
                      </a:lnTo>
                      <a:lnTo>
                        <a:pt x="395668" y="56783"/>
                      </a:lnTo>
                      <a:cubicBezTo>
                        <a:pt x="395668" y="56783"/>
                        <a:pt x="426733" y="34998"/>
                        <a:pt x="467278" y="6959"/>
                      </a:cubicBezTo>
                      <a:lnTo>
                        <a:pt x="467278" y="6959"/>
                      </a:lnTo>
                      <a:cubicBezTo>
                        <a:pt x="474035" y="2017"/>
                        <a:pt x="480692" y="0"/>
                        <a:pt x="486844" y="0"/>
                      </a:cubicBezTo>
                      <a:lnTo>
                        <a:pt x="486844" y="0"/>
                      </a:lnTo>
                      <a:cubicBezTo>
                        <a:pt x="519321" y="1109"/>
                        <a:pt x="533541" y="54867"/>
                        <a:pt x="533945" y="71610"/>
                      </a:cubicBezTo>
                      <a:lnTo>
                        <a:pt x="533945" y="71610"/>
                      </a:lnTo>
                      <a:cubicBezTo>
                        <a:pt x="534248" y="76653"/>
                        <a:pt x="536063" y="77661"/>
                        <a:pt x="542115" y="78165"/>
                      </a:cubicBezTo>
                      <a:lnTo>
                        <a:pt x="542115" y="78165"/>
                      </a:lnTo>
                      <a:cubicBezTo>
                        <a:pt x="552806" y="78266"/>
                        <a:pt x="572070" y="69693"/>
                        <a:pt x="585585" y="60011"/>
                      </a:cubicBezTo>
                      <a:lnTo>
                        <a:pt x="585585" y="60011"/>
                      </a:lnTo>
                      <a:cubicBezTo>
                        <a:pt x="594158" y="53858"/>
                        <a:pt x="607975" y="51640"/>
                        <a:pt x="622802" y="51539"/>
                      </a:cubicBezTo>
                      <a:lnTo>
                        <a:pt x="622802" y="51539"/>
                      </a:lnTo>
                      <a:cubicBezTo>
                        <a:pt x="650336" y="51841"/>
                        <a:pt x="681400" y="59103"/>
                        <a:pt x="689167" y="73526"/>
                      </a:cubicBezTo>
                      <a:lnTo>
                        <a:pt x="689167" y="73526"/>
                      </a:lnTo>
                      <a:cubicBezTo>
                        <a:pt x="692999" y="81494"/>
                        <a:pt x="706312" y="86436"/>
                        <a:pt x="720534" y="86335"/>
                      </a:cubicBezTo>
                      <a:lnTo>
                        <a:pt x="720534" y="86335"/>
                      </a:lnTo>
                      <a:cubicBezTo>
                        <a:pt x="733443" y="86436"/>
                        <a:pt x="746858" y="82401"/>
                        <a:pt x="753313" y="75946"/>
                      </a:cubicBezTo>
                      <a:lnTo>
                        <a:pt x="753313" y="75946"/>
                      </a:lnTo>
                      <a:cubicBezTo>
                        <a:pt x="762995" y="66163"/>
                        <a:pt x="779233" y="62431"/>
                        <a:pt x="793454" y="62431"/>
                      </a:cubicBezTo>
                      <a:lnTo>
                        <a:pt x="793454" y="62431"/>
                      </a:lnTo>
                      <a:cubicBezTo>
                        <a:pt x="804549" y="62532"/>
                        <a:pt x="814332" y="64650"/>
                        <a:pt x="819577" y="69592"/>
                      </a:cubicBezTo>
                      <a:lnTo>
                        <a:pt x="819577" y="69592"/>
                      </a:lnTo>
                      <a:cubicBezTo>
                        <a:pt x="828452" y="78771"/>
                        <a:pt x="875755" y="119316"/>
                        <a:pt x="896532" y="128090"/>
                      </a:cubicBezTo>
                      <a:lnTo>
                        <a:pt x="896532" y="128090"/>
                      </a:lnTo>
                      <a:cubicBezTo>
                        <a:pt x="918620" y="137974"/>
                        <a:pt x="938187" y="162080"/>
                        <a:pt x="950390" y="163694"/>
                      </a:cubicBezTo>
                      <a:lnTo>
                        <a:pt x="950390" y="163694"/>
                      </a:lnTo>
                      <a:cubicBezTo>
                        <a:pt x="956744" y="179226"/>
                        <a:pt x="965116" y="193850"/>
                        <a:pt x="971571" y="196876"/>
                      </a:cubicBezTo>
                      <a:lnTo>
                        <a:pt x="971571" y="196876"/>
                      </a:lnTo>
                      <a:cubicBezTo>
                        <a:pt x="987708" y="205650"/>
                        <a:pt x="1027244" y="190017"/>
                        <a:pt x="1059519" y="225520"/>
                      </a:cubicBezTo>
                      <a:lnTo>
                        <a:pt x="1059519" y="225520"/>
                      </a:lnTo>
                      <a:cubicBezTo>
                        <a:pt x="1069908" y="236917"/>
                        <a:pt x="1072934" y="246801"/>
                        <a:pt x="1072833" y="255677"/>
                      </a:cubicBezTo>
                      <a:lnTo>
                        <a:pt x="1072833" y="255677"/>
                      </a:lnTo>
                      <a:cubicBezTo>
                        <a:pt x="1072833" y="264855"/>
                        <a:pt x="1070311" y="272822"/>
                        <a:pt x="1070412" y="282101"/>
                      </a:cubicBezTo>
                      <a:lnTo>
                        <a:pt x="1070412" y="282101"/>
                      </a:lnTo>
                      <a:cubicBezTo>
                        <a:pt x="1070412" y="291986"/>
                        <a:pt x="1073034" y="303282"/>
                        <a:pt x="1084633" y="319116"/>
                      </a:cubicBezTo>
                      <a:lnTo>
                        <a:pt x="1084633" y="319116"/>
                      </a:lnTo>
                      <a:cubicBezTo>
                        <a:pt x="1104401" y="346147"/>
                        <a:pt x="1113176" y="365108"/>
                        <a:pt x="1113277" y="381346"/>
                      </a:cubicBezTo>
                      <a:lnTo>
                        <a:pt x="1113277" y="381346"/>
                      </a:lnTo>
                      <a:cubicBezTo>
                        <a:pt x="1113277" y="393348"/>
                        <a:pt x="1108234" y="403434"/>
                        <a:pt x="1100165" y="412915"/>
                      </a:cubicBezTo>
                      <a:lnTo>
                        <a:pt x="1100165" y="412915"/>
                      </a:lnTo>
                      <a:cubicBezTo>
                        <a:pt x="1078884" y="435810"/>
                        <a:pt x="1026942" y="427640"/>
                        <a:pt x="1026034" y="451947"/>
                      </a:cubicBezTo>
                      <a:lnTo>
                        <a:pt x="1026034" y="451947"/>
                      </a:lnTo>
                      <a:cubicBezTo>
                        <a:pt x="1021495" y="482810"/>
                        <a:pt x="961989" y="495518"/>
                        <a:pt x="960577" y="517606"/>
                      </a:cubicBezTo>
                      <a:lnTo>
                        <a:pt x="960577" y="517606"/>
                      </a:lnTo>
                      <a:cubicBezTo>
                        <a:pt x="960375" y="519119"/>
                        <a:pt x="960275" y="520632"/>
                        <a:pt x="960275" y="522246"/>
                      </a:cubicBezTo>
                      <a:lnTo>
                        <a:pt x="960275" y="522246"/>
                      </a:lnTo>
                      <a:cubicBezTo>
                        <a:pt x="960476" y="537273"/>
                        <a:pt x="968746" y="547763"/>
                        <a:pt x="984783" y="547964"/>
                      </a:cubicBezTo>
                      <a:lnTo>
                        <a:pt x="984783" y="547964"/>
                      </a:lnTo>
                      <a:cubicBezTo>
                        <a:pt x="990935" y="547964"/>
                        <a:pt x="998298" y="546351"/>
                        <a:pt x="1006568" y="542619"/>
                      </a:cubicBezTo>
                      <a:lnTo>
                        <a:pt x="1006568" y="542619"/>
                      </a:lnTo>
                      <a:cubicBezTo>
                        <a:pt x="1013427" y="539291"/>
                        <a:pt x="1019882" y="538081"/>
                        <a:pt x="1025530" y="538081"/>
                      </a:cubicBezTo>
                      <a:lnTo>
                        <a:pt x="1025530" y="538081"/>
                      </a:lnTo>
                      <a:cubicBezTo>
                        <a:pt x="1049635" y="538282"/>
                        <a:pt x="1060326" y="561883"/>
                        <a:pt x="1060427" y="573179"/>
                      </a:cubicBezTo>
                      <a:lnTo>
                        <a:pt x="1060427" y="573179"/>
                      </a:lnTo>
                      <a:cubicBezTo>
                        <a:pt x="1057301" y="590224"/>
                        <a:pt x="1005963" y="592040"/>
                        <a:pt x="1007476" y="610598"/>
                      </a:cubicBezTo>
                      <a:lnTo>
                        <a:pt x="1007476" y="610598"/>
                      </a:lnTo>
                      <a:cubicBezTo>
                        <a:pt x="1007375" y="632686"/>
                        <a:pt x="1001525" y="677366"/>
                        <a:pt x="968242" y="690982"/>
                      </a:cubicBezTo>
                      <a:lnTo>
                        <a:pt x="968242" y="690982"/>
                      </a:lnTo>
                      <a:cubicBezTo>
                        <a:pt x="938187" y="702883"/>
                        <a:pt x="881907" y="752909"/>
                        <a:pt x="863753" y="786293"/>
                      </a:cubicBezTo>
                      <a:lnTo>
                        <a:pt x="863753" y="786293"/>
                      </a:lnTo>
                      <a:cubicBezTo>
                        <a:pt x="845901" y="818266"/>
                        <a:pt x="863954" y="849229"/>
                        <a:pt x="812416" y="868493"/>
                      </a:cubicBezTo>
                      <a:lnTo>
                        <a:pt x="812416" y="868493"/>
                      </a:lnTo>
                      <a:cubicBezTo>
                        <a:pt x="762289" y="887152"/>
                        <a:pt x="723458" y="899961"/>
                        <a:pt x="724063" y="931328"/>
                      </a:cubicBezTo>
                      <a:lnTo>
                        <a:pt x="724063" y="931328"/>
                      </a:lnTo>
                      <a:cubicBezTo>
                        <a:pt x="723962" y="966124"/>
                        <a:pt x="711355" y="1009897"/>
                        <a:pt x="705102" y="1031682"/>
                      </a:cubicBezTo>
                      <a:lnTo>
                        <a:pt x="705102" y="1031682"/>
                      </a:lnTo>
                      <a:cubicBezTo>
                        <a:pt x="699051" y="1053064"/>
                        <a:pt x="692596" y="1098047"/>
                        <a:pt x="641864" y="1135869"/>
                      </a:cubicBezTo>
                      <a:lnTo>
                        <a:pt x="641864" y="1135869"/>
                      </a:lnTo>
                      <a:cubicBezTo>
                        <a:pt x="591132" y="1173691"/>
                        <a:pt x="546149" y="1185391"/>
                        <a:pt x="540098" y="1252260"/>
                      </a:cubicBezTo>
                      <a:lnTo>
                        <a:pt x="540098" y="1252260"/>
                      </a:lnTo>
                      <a:cubicBezTo>
                        <a:pt x="534046" y="1315297"/>
                        <a:pt x="486844" y="1321247"/>
                        <a:pt x="488458" y="1342528"/>
                      </a:cubicBezTo>
                      <a:lnTo>
                        <a:pt x="488458" y="1342528"/>
                      </a:lnTo>
                      <a:cubicBezTo>
                        <a:pt x="488458" y="1344848"/>
                        <a:pt x="488962" y="1347571"/>
                        <a:pt x="490071" y="1350698"/>
                      </a:cubicBezTo>
                      <a:lnTo>
                        <a:pt x="490071" y="1350698"/>
                      </a:lnTo>
                      <a:cubicBezTo>
                        <a:pt x="498241" y="1373391"/>
                        <a:pt x="508126" y="1394874"/>
                        <a:pt x="508126" y="1412222"/>
                      </a:cubicBezTo>
                      <a:lnTo>
                        <a:pt x="508126" y="1412222"/>
                      </a:lnTo>
                      <a:cubicBezTo>
                        <a:pt x="508226" y="1420996"/>
                        <a:pt x="505503" y="1429065"/>
                        <a:pt x="498544" y="1434713"/>
                      </a:cubicBezTo>
                      <a:lnTo>
                        <a:pt x="498544" y="1434713"/>
                      </a:lnTo>
                      <a:cubicBezTo>
                        <a:pt x="479078" y="1450951"/>
                        <a:pt x="455376" y="1456700"/>
                        <a:pt x="446501" y="1486353"/>
                      </a:cubicBezTo>
                      <a:lnTo>
                        <a:pt x="446501" y="1486353"/>
                      </a:lnTo>
                      <a:cubicBezTo>
                        <a:pt x="436717" y="1518829"/>
                        <a:pt x="404745" y="1541119"/>
                        <a:pt x="372773" y="1547473"/>
                      </a:cubicBezTo>
                      <a:lnTo>
                        <a:pt x="372773" y="1547473"/>
                      </a:lnTo>
                      <a:cubicBezTo>
                        <a:pt x="368638" y="1548280"/>
                        <a:pt x="364099" y="1548683"/>
                        <a:pt x="359460" y="1548683"/>
                      </a:cubicBezTo>
                      <a:lnTo>
                        <a:pt x="359460" y="1548683"/>
                      </a:lnTo>
                      <a:cubicBezTo>
                        <a:pt x="329404" y="1548482"/>
                        <a:pt x="294910" y="1531739"/>
                        <a:pt x="288556" y="1507937"/>
                      </a:cubicBezTo>
                      <a:lnTo>
                        <a:pt x="288556" y="1507937"/>
                      </a:lnTo>
                      <a:cubicBezTo>
                        <a:pt x="284825" y="1493110"/>
                        <a:pt x="271309" y="1478183"/>
                        <a:pt x="258904" y="1478587"/>
                      </a:cubicBezTo>
                      <a:lnTo>
                        <a:pt x="258904" y="1478587"/>
                      </a:lnTo>
                      <a:cubicBezTo>
                        <a:pt x="251844" y="1478587"/>
                        <a:pt x="244279" y="1482923"/>
                        <a:pt x="237623" y="1496035"/>
                      </a:cubicBezTo>
                      <a:lnTo>
                        <a:pt x="237623" y="1496035"/>
                      </a:lnTo>
                      <a:cubicBezTo>
                        <a:pt x="222897" y="1524679"/>
                        <a:pt x="200204" y="1548381"/>
                        <a:pt x="182050" y="1548885"/>
                      </a:cubicBezTo>
                      <a:lnTo>
                        <a:pt x="182050" y="1548885"/>
                      </a:lnTo>
                      <a:cubicBezTo>
                        <a:pt x="176402" y="1548582"/>
                        <a:pt x="170955" y="1545557"/>
                        <a:pt x="167627" y="1539505"/>
                      </a:cubicBezTo>
                      <a:lnTo>
                        <a:pt x="167627" y="1539505"/>
                      </a:lnTo>
                      <a:close/>
                      <a:moveTo>
                        <a:pt x="93798" y="396071"/>
                      </a:moveTo>
                      <a:cubicBezTo>
                        <a:pt x="93899" y="396374"/>
                        <a:pt x="122846" y="415840"/>
                        <a:pt x="123249" y="438936"/>
                      </a:cubicBezTo>
                      <a:lnTo>
                        <a:pt x="123249" y="438936"/>
                      </a:lnTo>
                      <a:cubicBezTo>
                        <a:pt x="123249" y="440248"/>
                        <a:pt x="123149" y="441256"/>
                        <a:pt x="122947" y="442466"/>
                      </a:cubicBezTo>
                      <a:lnTo>
                        <a:pt x="122947" y="442466"/>
                      </a:lnTo>
                      <a:cubicBezTo>
                        <a:pt x="119316" y="463748"/>
                        <a:pt x="86335" y="486441"/>
                        <a:pt x="86436" y="524061"/>
                      </a:cubicBezTo>
                      <a:lnTo>
                        <a:pt x="86436" y="524061"/>
                      </a:lnTo>
                      <a:cubicBezTo>
                        <a:pt x="86436" y="529306"/>
                        <a:pt x="87142" y="534954"/>
                        <a:pt x="88654" y="541005"/>
                      </a:cubicBezTo>
                      <a:lnTo>
                        <a:pt x="88654" y="541005"/>
                      </a:lnTo>
                      <a:cubicBezTo>
                        <a:pt x="100556" y="589720"/>
                        <a:pt x="141504" y="577012"/>
                        <a:pt x="144833" y="597688"/>
                      </a:cubicBezTo>
                      <a:lnTo>
                        <a:pt x="144833" y="597688"/>
                      </a:lnTo>
                      <a:cubicBezTo>
                        <a:pt x="144228" y="607169"/>
                        <a:pt x="164197" y="626836"/>
                        <a:pt x="164500" y="646403"/>
                      </a:cubicBezTo>
                      <a:lnTo>
                        <a:pt x="164500" y="646403"/>
                      </a:lnTo>
                      <a:cubicBezTo>
                        <a:pt x="164601" y="652757"/>
                        <a:pt x="162181" y="659312"/>
                        <a:pt x="156533" y="665061"/>
                      </a:cubicBezTo>
                      <a:lnTo>
                        <a:pt x="156533" y="665061"/>
                      </a:lnTo>
                      <a:cubicBezTo>
                        <a:pt x="136159" y="684527"/>
                        <a:pt x="150985" y="722652"/>
                        <a:pt x="119719" y="782763"/>
                      </a:cubicBezTo>
                      <a:lnTo>
                        <a:pt x="119719" y="782763"/>
                      </a:lnTo>
                      <a:cubicBezTo>
                        <a:pt x="87948" y="842774"/>
                        <a:pt x="65659" y="830974"/>
                        <a:pt x="51337" y="866678"/>
                      </a:cubicBezTo>
                      <a:lnTo>
                        <a:pt x="51337" y="866678"/>
                      </a:lnTo>
                      <a:cubicBezTo>
                        <a:pt x="35704" y="904298"/>
                        <a:pt x="34594" y="893002"/>
                        <a:pt x="10388" y="923360"/>
                      </a:cubicBezTo>
                      <a:lnTo>
                        <a:pt x="10388" y="923360"/>
                      </a:lnTo>
                      <a:cubicBezTo>
                        <a:pt x="7262" y="927395"/>
                        <a:pt x="5850" y="931328"/>
                        <a:pt x="5850" y="935463"/>
                      </a:cubicBezTo>
                      <a:lnTo>
                        <a:pt x="5850" y="935463"/>
                      </a:lnTo>
                      <a:cubicBezTo>
                        <a:pt x="5950" y="960174"/>
                        <a:pt x="60918" y="990330"/>
                        <a:pt x="86133" y="990431"/>
                      </a:cubicBezTo>
                      <a:lnTo>
                        <a:pt x="86133" y="990431"/>
                      </a:lnTo>
                      <a:cubicBezTo>
                        <a:pt x="109129" y="990431"/>
                        <a:pt x="128595" y="1002030"/>
                        <a:pt x="128797" y="1020083"/>
                      </a:cubicBezTo>
                      <a:lnTo>
                        <a:pt x="128797" y="1020083"/>
                      </a:lnTo>
                      <a:cubicBezTo>
                        <a:pt x="128797" y="1027043"/>
                        <a:pt x="125770" y="1034405"/>
                        <a:pt x="119316" y="1041768"/>
                      </a:cubicBezTo>
                      <a:lnTo>
                        <a:pt x="119316" y="1041768"/>
                      </a:lnTo>
                      <a:cubicBezTo>
                        <a:pt x="102775" y="1060830"/>
                        <a:pt x="96118" y="1067487"/>
                        <a:pt x="95917" y="1091390"/>
                      </a:cubicBezTo>
                      <a:lnTo>
                        <a:pt x="95917" y="1091390"/>
                      </a:lnTo>
                      <a:cubicBezTo>
                        <a:pt x="95917" y="1099056"/>
                        <a:pt x="96723" y="1108436"/>
                        <a:pt x="98337" y="1120539"/>
                      </a:cubicBezTo>
                      <a:lnTo>
                        <a:pt x="98337" y="1120539"/>
                      </a:lnTo>
                      <a:cubicBezTo>
                        <a:pt x="102573" y="1156142"/>
                        <a:pt x="127788" y="1168951"/>
                        <a:pt x="128091" y="1201730"/>
                      </a:cubicBezTo>
                      <a:lnTo>
                        <a:pt x="128091" y="1201730"/>
                      </a:lnTo>
                      <a:cubicBezTo>
                        <a:pt x="128091" y="1212925"/>
                        <a:pt x="124863" y="1226339"/>
                        <a:pt x="116794" y="1243586"/>
                      </a:cubicBezTo>
                      <a:lnTo>
                        <a:pt x="116794" y="1243586"/>
                      </a:lnTo>
                      <a:cubicBezTo>
                        <a:pt x="100657" y="1277475"/>
                        <a:pt x="95513" y="1293713"/>
                        <a:pt x="95614" y="1302286"/>
                      </a:cubicBezTo>
                      <a:lnTo>
                        <a:pt x="95614" y="1302286"/>
                      </a:lnTo>
                      <a:cubicBezTo>
                        <a:pt x="95614" y="1309951"/>
                        <a:pt x="99043" y="1312069"/>
                        <a:pt x="104086" y="1318625"/>
                      </a:cubicBezTo>
                      <a:lnTo>
                        <a:pt x="104086" y="1318625"/>
                      </a:lnTo>
                      <a:cubicBezTo>
                        <a:pt x="108625" y="1324878"/>
                        <a:pt x="112357" y="1334056"/>
                        <a:pt x="112457" y="1342932"/>
                      </a:cubicBezTo>
                      <a:lnTo>
                        <a:pt x="112457" y="1342932"/>
                      </a:lnTo>
                      <a:cubicBezTo>
                        <a:pt x="112457" y="1353421"/>
                        <a:pt x="105599" y="1363507"/>
                        <a:pt x="89361" y="1363608"/>
                      </a:cubicBezTo>
                      <a:lnTo>
                        <a:pt x="89361" y="1363608"/>
                      </a:lnTo>
                      <a:cubicBezTo>
                        <a:pt x="63339" y="1363810"/>
                        <a:pt x="61523" y="1379039"/>
                        <a:pt x="61019" y="1407481"/>
                      </a:cubicBezTo>
                      <a:lnTo>
                        <a:pt x="61019" y="1407481"/>
                      </a:lnTo>
                      <a:cubicBezTo>
                        <a:pt x="61019" y="1434007"/>
                        <a:pt x="78468" y="1451758"/>
                        <a:pt x="112457" y="1470316"/>
                      </a:cubicBezTo>
                      <a:lnTo>
                        <a:pt x="112457" y="1470316"/>
                      </a:lnTo>
                      <a:cubicBezTo>
                        <a:pt x="147455" y="1489378"/>
                        <a:pt x="160264" y="1515097"/>
                        <a:pt x="172670" y="1536883"/>
                      </a:cubicBezTo>
                      <a:lnTo>
                        <a:pt x="172670" y="1536883"/>
                      </a:lnTo>
                      <a:cubicBezTo>
                        <a:pt x="175393" y="1541522"/>
                        <a:pt x="178419" y="1542934"/>
                        <a:pt x="182554" y="1543035"/>
                      </a:cubicBezTo>
                      <a:lnTo>
                        <a:pt x="182554" y="1543035"/>
                      </a:lnTo>
                      <a:cubicBezTo>
                        <a:pt x="195867" y="1543540"/>
                        <a:pt x="219468" y="1521250"/>
                        <a:pt x="233286" y="1493413"/>
                      </a:cubicBezTo>
                      <a:lnTo>
                        <a:pt x="233286" y="1493413"/>
                      </a:lnTo>
                      <a:cubicBezTo>
                        <a:pt x="240245" y="1478990"/>
                        <a:pt x="249827" y="1472737"/>
                        <a:pt x="259408" y="1472737"/>
                      </a:cubicBezTo>
                      <a:lnTo>
                        <a:pt x="259408" y="1472737"/>
                      </a:lnTo>
                      <a:cubicBezTo>
                        <a:pt x="275848" y="1472939"/>
                        <a:pt x="290170" y="1489681"/>
                        <a:pt x="294406" y="1506323"/>
                      </a:cubicBezTo>
                      <a:lnTo>
                        <a:pt x="294406" y="1506323"/>
                      </a:lnTo>
                      <a:cubicBezTo>
                        <a:pt x="298844" y="1525889"/>
                        <a:pt x="331724" y="1543035"/>
                        <a:pt x="359964" y="1542833"/>
                      </a:cubicBezTo>
                      <a:lnTo>
                        <a:pt x="359964" y="1542833"/>
                      </a:lnTo>
                      <a:cubicBezTo>
                        <a:pt x="364200" y="1542833"/>
                        <a:pt x="368235" y="1542531"/>
                        <a:pt x="372168" y="1541825"/>
                      </a:cubicBezTo>
                      <a:lnTo>
                        <a:pt x="372168" y="1541825"/>
                      </a:lnTo>
                      <a:cubicBezTo>
                        <a:pt x="402627" y="1535773"/>
                        <a:pt x="432784" y="1514391"/>
                        <a:pt x="441558" y="1484537"/>
                      </a:cubicBezTo>
                      <a:lnTo>
                        <a:pt x="441558" y="1484537"/>
                      </a:lnTo>
                      <a:cubicBezTo>
                        <a:pt x="451544" y="1451960"/>
                        <a:pt x="477666" y="1445303"/>
                        <a:pt x="495417" y="1430174"/>
                      </a:cubicBezTo>
                      <a:lnTo>
                        <a:pt x="495417" y="1430174"/>
                      </a:lnTo>
                      <a:cubicBezTo>
                        <a:pt x="500964" y="1425535"/>
                        <a:pt x="502982" y="1419685"/>
                        <a:pt x="502982" y="1411919"/>
                      </a:cubicBezTo>
                      <a:lnTo>
                        <a:pt x="502982" y="1411919"/>
                      </a:lnTo>
                      <a:cubicBezTo>
                        <a:pt x="503083" y="1396589"/>
                        <a:pt x="493602" y="1375106"/>
                        <a:pt x="485230" y="1352312"/>
                      </a:cubicBezTo>
                      <a:lnTo>
                        <a:pt x="485230" y="1352312"/>
                      </a:lnTo>
                      <a:cubicBezTo>
                        <a:pt x="483919" y="1348681"/>
                        <a:pt x="483314" y="1345252"/>
                        <a:pt x="483314" y="1342125"/>
                      </a:cubicBezTo>
                      <a:lnTo>
                        <a:pt x="483314" y="1342125"/>
                      </a:lnTo>
                      <a:cubicBezTo>
                        <a:pt x="484928" y="1313078"/>
                        <a:pt x="529709" y="1311766"/>
                        <a:pt x="534954" y="1251453"/>
                      </a:cubicBezTo>
                      <a:lnTo>
                        <a:pt x="534954" y="1251453"/>
                      </a:lnTo>
                      <a:cubicBezTo>
                        <a:pt x="541308" y="1181255"/>
                        <a:pt x="589720" y="1167942"/>
                        <a:pt x="638737" y="1131230"/>
                      </a:cubicBezTo>
                      <a:lnTo>
                        <a:pt x="638737" y="1131230"/>
                      </a:lnTo>
                      <a:cubicBezTo>
                        <a:pt x="687755" y="1094315"/>
                        <a:pt x="693705" y="1051955"/>
                        <a:pt x="700059" y="1029766"/>
                      </a:cubicBezTo>
                      <a:lnTo>
                        <a:pt x="700059" y="1029766"/>
                      </a:lnTo>
                      <a:cubicBezTo>
                        <a:pt x="706212" y="1008081"/>
                        <a:pt x="718617" y="964510"/>
                        <a:pt x="718617" y="931025"/>
                      </a:cubicBezTo>
                      <a:lnTo>
                        <a:pt x="718617" y="931025"/>
                      </a:lnTo>
                      <a:cubicBezTo>
                        <a:pt x="719222" y="893809"/>
                        <a:pt x="761381" y="881605"/>
                        <a:pt x="810701" y="863047"/>
                      </a:cubicBezTo>
                      <a:lnTo>
                        <a:pt x="810701" y="863047"/>
                      </a:lnTo>
                      <a:cubicBezTo>
                        <a:pt x="858810" y="844993"/>
                        <a:pt x="839749" y="819677"/>
                        <a:pt x="859113" y="783268"/>
                      </a:cubicBezTo>
                      <a:lnTo>
                        <a:pt x="859113" y="783268"/>
                      </a:lnTo>
                      <a:cubicBezTo>
                        <a:pt x="878478" y="748169"/>
                        <a:pt x="934253" y="698547"/>
                        <a:pt x="966326" y="685536"/>
                      </a:cubicBezTo>
                      <a:lnTo>
                        <a:pt x="966326" y="685536"/>
                      </a:lnTo>
                      <a:cubicBezTo>
                        <a:pt x="995474" y="674240"/>
                        <a:pt x="1002131" y="631677"/>
                        <a:pt x="1002030" y="610295"/>
                      </a:cubicBezTo>
                      <a:lnTo>
                        <a:pt x="1002030" y="610295"/>
                      </a:lnTo>
                      <a:cubicBezTo>
                        <a:pt x="1003644" y="585181"/>
                        <a:pt x="1058006" y="580743"/>
                        <a:pt x="1054980" y="572877"/>
                      </a:cubicBezTo>
                      <a:lnTo>
                        <a:pt x="1054980" y="572877"/>
                      </a:lnTo>
                      <a:cubicBezTo>
                        <a:pt x="1054980" y="564102"/>
                        <a:pt x="1045399" y="543426"/>
                        <a:pt x="1025631" y="543224"/>
                      </a:cubicBezTo>
                      <a:lnTo>
                        <a:pt x="1025631" y="543224"/>
                      </a:lnTo>
                      <a:cubicBezTo>
                        <a:pt x="1020790" y="543224"/>
                        <a:pt x="1015343" y="544334"/>
                        <a:pt x="1009090" y="547359"/>
                      </a:cubicBezTo>
                      <a:lnTo>
                        <a:pt x="1009090" y="547359"/>
                      </a:lnTo>
                      <a:cubicBezTo>
                        <a:pt x="1000113" y="551394"/>
                        <a:pt x="991944" y="553209"/>
                        <a:pt x="984884" y="553209"/>
                      </a:cubicBezTo>
                      <a:lnTo>
                        <a:pt x="984884" y="553209"/>
                      </a:lnTo>
                      <a:cubicBezTo>
                        <a:pt x="965923" y="553209"/>
                        <a:pt x="954929" y="539190"/>
                        <a:pt x="954828" y="522044"/>
                      </a:cubicBezTo>
                      <a:lnTo>
                        <a:pt x="954828" y="522044"/>
                      </a:lnTo>
                      <a:cubicBezTo>
                        <a:pt x="954828" y="520228"/>
                        <a:pt x="954929" y="518312"/>
                        <a:pt x="955232" y="516396"/>
                      </a:cubicBezTo>
                      <a:lnTo>
                        <a:pt x="955232" y="516396"/>
                      </a:lnTo>
                      <a:cubicBezTo>
                        <a:pt x="960073" y="488458"/>
                        <a:pt x="1019075" y="476254"/>
                        <a:pt x="1020689" y="451140"/>
                      </a:cubicBezTo>
                      <a:lnTo>
                        <a:pt x="1020689" y="451140"/>
                      </a:lnTo>
                      <a:cubicBezTo>
                        <a:pt x="1025833" y="419370"/>
                        <a:pt x="1079994" y="429859"/>
                        <a:pt x="1096131" y="409082"/>
                      </a:cubicBezTo>
                      <a:lnTo>
                        <a:pt x="1096131" y="409082"/>
                      </a:lnTo>
                      <a:cubicBezTo>
                        <a:pt x="1103897" y="400005"/>
                        <a:pt x="1107931" y="391533"/>
                        <a:pt x="1107931" y="381145"/>
                      </a:cubicBezTo>
                      <a:lnTo>
                        <a:pt x="1107931" y="381145"/>
                      </a:lnTo>
                      <a:cubicBezTo>
                        <a:pt x="1108032" y="367125"/>
                        <a:pt x="1100064" y="348769"/>
                        <a:pt x="1080397" y="322243"/>
                      </a:cubicBezTo>
                      <a:lnTo>
                        <a:pt x="1080397" y="322243"/>
                      </a:lnTo>
                      <a:cubicBezTo>
                        <a:pt x="1068294" y="305702"/>
                        <a:pt x="1065066" y="292691"/>
                        <a:pt x="1065066" y="281900"/>
                      </a:cubicBezTo>
                      <a:lnTo>
                        <a:pt x="1065066" y="281900"/>
                      </a:lnTo>
                      <a:cubicBezTo>
                        <a:pt x="1065066" y="271713"/>
                        <a:pt x="1067588" y="263543"/>
                        <a:pt x="1067588" y="255475"/>
                      </a:cubicBezTo>
                      <a:lnTo>
                        <a:pt x="1067588" y="255475"/>
                      </a:lnTo>
                      <a:cubicBezTo>
                        <a:pt x="1067386" y="247709"/>
                        <a:pt x="1065369" y="239842"/>
                        <a:pt x="1055686" y="229050"/>
                      </a:cubicBezTo>
                      <a:lnTo>
                        <a:pt x="1055686" y="229050"/>
                      </a:lnTo>
                      <a:cubicBezTo>
                        <a:pt x="1025732" y="195867"/>
                        <a:pt x="990532" y="211500"/>
                        <a:pt x="969352" y="201616"/>
                      </a:cubicBezTo>
                      <a:lnTo>
                        <a:pt x="969352" y="201616"/>
                      </a:lnTo>
                      <a:cubicBezTo>
                        <a:pt x="959871" y="196573"/>
                        <a:pt x="952306" y="181545"/>
                        <a:pt x="947970" y="167425"/>
                      </a:cubicBezTo>
                      <a:lnTo>
                        <a:pt x="947970" y="167425"/>
                      </a:lnTo>
                      <a:cubicBezTo>
                        <a:pt x="932841" y="165812"/>
                        <a:pt x="915493" y="141807"/>
                        <a:pt x="894717" y="133133"/>
                      </a:cubicBezTo>
                      <a:lnTo>
                        <a:pt x="894717" y="133133"/>
                      </a:lnTo>
                      <a:cubicBezTo>
                        <a:pt x="872023" y="123249"/>
                        <a:pt x="825628" y="83007"/>
                        <a:pt x="815945" y="73425"/>
                      </a:cubicBezTo>
                      <a:lnTo>
                        <a:pt x="815945" y="73425"/>
                      </a:lnTo>
                      <a:cubicBezTo>
                        <a:pt x="813021" y="70298"/>
                        <a:pt x="803944" y="67676"/>
                        <a:pt x="793757" y="67777"/>
                      </a:cubicBezTo>
                      <a:lnTo>
                        <a:pt x="793757" y="67777"/>
                      </a:lnTo>
                      <a:cubicBezTo>
                        <a:pt x="780444" y="67676"/>
                        <a:pt x="765416" y="71509"/>
                        <a:pt x="757650" y="79577"/>
                      </a:cubicBezTo>
                      <a:lnTo>
                        <a:pt x="757650" y="79577"/>
                      </a:lnTo>
                      <a:cubicBezTo>
                        <a:pt x="749278" y="87848"/>
                        <a:pt x="734855" y="91680"/>
                        <a:pt x="720937" y="91680"/>
                      </a:cubicBezTo>
                      <a:lnTo>
                        <a:pt x="720937" y="91680"/>
                      </a:lnTo>
                      <a:cubicBezTo>
                        <a:pt x="705808" y="91579"/>
                        <a:pt x="690578" y="87041"/>
                        <a:pt x="684729" y="75745"/>
                      </a:cubicBezTo>
                      <a:lnTo>
                        <a:pt x="684729" y="75745"/>
                      </a:lnTo>
                      <a:cubicBezTo>
                        <a:pt x="680392" y="65760"/>
                        <a:pt x="649529" y="56582"/>
                        <a:pt x="623205" y="56884"/>
                      </a:cubicBezTo>
                      <a:lnTo>
                        <a:pt x="623205" y="56884"/>
                      </a:lnTo>
                      <a:cubicBezTo>
                        <a:pt x="608883" y="56884"/>
                        <a:pt x="595873" y="59305"/>
                        <a:pt x="589115" y="64348"/>
                      </a:cubicBezTo>
                      <a:lnTo>
                        <a:pt x="589115" y="64348"/>
                      </a:lnTo>
                      <a:cubicBezTo>
                        <a:pt x="574793" y="74534"/>
                        <a:pt x="555529" y="83309"/>
                        <a:pt x="542417" y="83410"/>
                      </a:cubicBezTo>
                      <a:lnTo>
                        <a:pt x="542417" y="83410"/>
                      </a:lnTo>
                      <a:cubicBezTo>
                        <a:pt x="535257" y="83410"/>
                        <a:pt x="528700" y="79477"/>
                        <a:pt x="528599" y="71408"/>
                      </a:cubicBezTo>
                      <a:lnTo>
                        <a:pt x="528599" y="71408"/>
                      </a:lnTo>
                      <a:cubicBezTo>
                        <a:pt x="528599" y="56582"/>
                        <a:pt x="512462" y="5446"/>
                        <a:pt x="487147" y="5345"/>
                      </a:cubicBezTo>
                      <a:lnTo>
                        <a:pt x="487147" y="5345"/>
                      </a:lnTo>
                      <a:cubicBezTo>
                        <a:pt x="482205" y="5345"/>
                        <a:pt x="476859" y="7060"/>
                        <a:pt x="470808" y="11397"/>
                      </a:cubicBezTo>
                      <a:lnTo>
                        <a:pt x="470808" y="11397"/>
                      </a:lnTo>
                      <a:cubicBezTo>
                        <a:pt x="430363" y="39436"/>
                        <a:pt x="399198" y="61120"/>
                        <a:pt x="398189" y="61725"/>
                      </a:cubicBezTo>
                      <a:lnTo>
                        <a:pt x="398189" y="61725"/>
                      </a:lnTo>
                      <a:lnTo>
                        <a:pt x="345037" y="70500"/>
                      </a:lnTo>
                      <a:cubicBezTo>
                        <a:pt x="351291" y="78266"/>
                        <a:pt x="355627" y="85326"/>
                        <a:pt x="355728" y="92487"/>
                      </a:cubicBezTo>
                      <a:lnTo>
                        <a:pt x="355728" y="92487"/>
                      </a:lnTo>
                      <a:cubicBezTo>
                        <a:pt x="355728" y="94101"/>
                        <a:pt x="355325" y="95715"/>
                        <a:pt x="354921" y="97328"/>
                      </a:cubicBezTo>
                      <a:lnTo>
                        <a:pt x="354921" y="97328"/>
                      </a:lnTo>
                      <a:cubicBezTo>
                        <a:pt x="347559" y="118408"/>
                        <a:pt x="306610" y="143622"/>
                        <a:pt x="289867" y="160567"/>
                      </a:cubicBezTo>
                      <a:lnTo>
                        <a:pt x="289867" y="160567"/>
                      </a:lnTo>
                      <a:cubicBezTo>
                        <a:pt x="272620" y="178116"/>
                        <a:pt x="267275" y="180940"/>
                        <a:pt x="262736" y="208374"/>
                      </a:cubicBezTo>
                      <a:lnTo>
                        <a:pt x="262736" y="208374"/>
                      </a:lnTo>
                      <a:cubicBezTo>
                        <a:pt x="262333" y="211500"/>
                        <a:pt x="262030" y="215434"/>
                        <a:pt x="262030" y="220073"/>
                      </a:cubicBezTo>
                      <a:lnTo>
                        <a:pt x="262030" y="220073"/>
                      </a:lnTo>
                      <a:cubicBezTo>
                        <a:pt x="262030" y="226226"/>
                        <a:pt x="262232" y="233588"/>
                        <a:pt x="262232" y="241354"/>
                      </a:cubicBezTo>
                      <a:lnTo>
                        <a:pt x="262232" y="241354"/>
                      </a:lnTo>
                      <a:cubicBezTo>
                        <a:pt x="262232" y="273831"/>
                        <a:pt x="256886" y="316292"/>
                        <a:pt x="204037" y="316292"/>
                      </a:cubicBezTo>
                      <a:lnTo>
                        <a:pt x="204037" y="316292"/>
                      </a:lnTo>
                      <a:cubicBezTo>
                        <a:pt x="201314" y="316292"/>
                        <a:pt x="198389" y="316192"/>
                        <a:pt x="195363" y="316091"/>
                      </a:cubicBezTo>
                      <a:lnTo>
                        <a:pt x="195363" y="316091"/>
                      </a:lnTo>
                      <a:cubicBezTo>
                        <a:pt x="152700" y="312662"/>
                        <a:pt x="127687" y="309333"/>
                        <a:pt x="111247" y="309333"/>
                      </a:cubicBezTo>
                      <a:lnTo>
                        <a:pt x="111247" y="309333"/>
                      </a:lnTo>
                      <a:cubicBezTo>
                        <a:pt x="96320" y="309333"/>
                        <a:pt x="89462" y="311855"/>
                        <a:pt x="81695" y="319520"/>
                      </a:cubicBezTo>
                      <a:lnTo>
                        <a:pt x="81695" y="319520"/>
                      </a:lnTo>
                      <a:cubicBezTo>
                        <a:pt x="67071" y="333640"/>
                        <a:pt x="65457" y="376707"/>
                        <a:pt x="63541" y="385481"/>
                      </a:cubicBezTo>
                      <a:lnTo>
                        <a:pt x="63541" y="385481"/>
                      </a:lnTo>
                      <a:cubicBezTo>
                        <a:pt x="79073" y="392340"/>
                        <a:pt x="92991" y="395769"/>
                        <a:pt x="93798" y="396071"/>
                      </a:cubicBezTo>
                      <a:lnTo>
                        <a:pt x="93798" y="396071"/>
                      </a:lnTo>
                      <a:close/>
                    </a:path>
                  </a:pathLst>
                </a:custGeom>
                <a:solidFill>
                  <a:srgbClr val="ABDEF6"/>
                </a:solidFill>
                <a:ln w="10085" cap="flat">
                  <a:solidFill>
                    <a:srgbClr val="FFFFFF"/>
                  </a:solidFill>
                  <a:prstDash val="solid"/>
                  <a:miter/>
                </a:ln>
              </p:spPr>
              <p:txBody>
                <a:bodyPr rtlCol="0" anchor="ctr"/>
                <a:lstStyle/>
                <a:p>
                  <a:endParaRPr lang="fr-FR" sz="900"/>
                </a:p>
              </p:txBody>
            </p:sp>
          </p:grpSp>
          <p:grpSp>
            <p:nvGrpSpPr>
              <p:cNvPr id="73" name="Graphique 17">
                <a:extLst>
                  <a:ext uri="{FF2B5EF4-FFF2-40B4-BE49-F238E27FC236}">
                    <a16:creationId xmlns:a16="http://schemas.microsoft.com/office/drawing/2014/main" id="{BED981CB-B3FF-D671-CD24-D0815B4D7032}"/>
                  </a:ext>
                </a:extLst>
              </p:cNvPr>
              <p:cNvGrpSpPr/>
              <p:nvPr/>
            </p:nvGrpSpPr>
            <p:grpSpPr>
              <a:xfrm>
                <a:off x="7969815" y="6056973"/>
                <a:ext cx="729085" cy="1472131"/>
                <a:chOff x="7969815" y="6056973"/>
                <a:chExt cx="729085" cy="1472131"/>
              </a:xfrm>
              <a:solidFill>
                <a:srgbClr val="ABDEF6"/>
              </a:solidFill>
            </p:grpSpPr>
            <p:sp>
              <p:nvSpPr>
                <p:cNvPr id="74" name="Forme libre : forme 73">
                  <a:extLst>
                    <a:ext uri="{FF2B5EF4-FFF2-40B4-BE49-F238E27FC236}">
                      <a16:creationId xmlns:a16="http://schemas.microsoft.com/office/drawing/2014/main" id="{90424549-A004-5CF3-A303-A46A5887CEDD}"/>
                    </a:ext>
                  </a:extLst>
                </p:cNvPr>
                <p:cNvSpPr/>
                <p:nvPr/>
              </p:nvSpPr>
              <p:spPr>
                <a:xfrm>
                  <a:off x="7972719" y="6059872"/>
                  <a:ext cx="723948" cy="1466235"/>
                </a:xfrm>
                <a:custGeom>
                  <a:avLst/>
                  <a:gdLst>
                    <a:gd name="connsiteX0" fmla="*/ 716600 w 723948"/>
                    <a:gd name="connsiteY0" fmla="*/ 48741 h 1466235"/>
                    <a:gd name="connsiteX1" fmla="*/ 620078 w 723948"/>
                    <a:gd name="connsiteY1" fmla="*/ 36234 h 1466235"/>
                    <a:gd name="connsiteX2" fmla="*/ 539089 w 723948"/>
                    <a:gd name="connsiteY2" fmla="*/ 2043 h 1466235"/>
                    <a:gd name="connsiteX3" fmla="*/ 448821 w 723948"/>
                    <a:gd name="connsiteY3" fmla="*/ 20702 h 1466235"/>
                    <a:gd name="connsiteX4" fmla="*/ 396374 w 723948"/>
                    <a:gd name="connsiteY4" fmla="*/ 22114 h 1466235"/>
                    <a:gd name="connsiteX5" fmla="*/ 374084 w 723948"/>
                    <a:gd name="connsiteY5" fmla="*/ 70526 h 1466235"/>
                    <a:gd name="connsiteX6" fmla="*/ 346046 w 723948"/>
                    <a:gd name="connsiteY6" fmla="*/ 120350 h 1466235"/>
                    <a:gd name="connsiteX7" fmla="*/ 196573 w 723948"/>
                    <a:gd name="connsiteY7" fmla="*/ 110970 h 1466235"/>
                    <a:gd name="connsiteX8" fmla="*/ 112457 w 723948"/>
                    <a:gd name="connsiteY8" fmla="*/ 79805 h 1466235"/>
                    <a:gd name="connsiteX9" fmla="*/ 93798 w 723948"/>
                    <a:gd name="connsiteY9" fmla="*/ 33108 h 1466235"/>
                    <a:gd name="connsiteX10" fmla="*/ 56481 w 723948"/>
                    <a:gd name="connsiteY10" fmla="*/ 36234 h 1466235"/>
                    <a:gd name="connsiteX11" fmla="*/ 9783 w 723948"/>
                    <a:gd name="connsiteY11" fmla="*/ 139009 h 1466235"/>
                    <a:gd name="connsiteX12" fmla="*/ 50227 w 723948"/>
                    <a:gd name="connsiteY12" fmla="*/ 195086 h 1466235"/>
                    <a:gd name="connsiteX13" fmla="*/ 84519 w 723948"/>
                    <a:gd name="connsiteY13" fmla="*/ 232404 h 1466235"/>
                    <a:gd name="connsiteX14" fmla="*/ 124963 w 723948"/>
                    <a:gd name="connsiteY14" fmla="*/ 260443 h 1466235"/>
                    <a:gd name="connsiteX15" fmla="*/ 171762 w 723948"/>
                    <a:gd name="connsiteY15" fmla="*/ 235531 h 1466235"/>
                    <a:gd name="connsiteX16" fmla="*/ 168635 w 723948"/>
                    <a:gd name="connsiteY16" fmla="*/ 304014 h 1466235"/>
                    <a:gd name="connsiteX17" fmla="*/ 196674 w 723948"/>
                    <a:gd name="connsiteY17" fmla="*/ 388130 h 1466235"/>
                    <a:gd name="connsiteX18" fmla="*/ 134444 w 723948"/>
                    <a:gd name="connsiteY18" fmla="*/ 497158 h 1466235"/>
                    <a:gd name="connsiteX19" fmla="*/ 87746 w 723948"/>
                    <a:gd name="connsiteY19" fmla="*/ 581274 h 1466235"/>
                    <a:gd name="connsiteX20" fmla="*/ 118811 w 723948"/>
                    <a:gd name="connsiteY20" fmla="*/ 668416 h 1466235"/>
                    <a:gd name="connsiteX21" fmla="*/ 156230 w 723948"/>
                    <a:gd name="connsiteY21" fmla="*/ 718240 h 1466235"/>
                    <a:gd name="connsiteX22" fmla="*/ 106406 w 723948"/>
                    <a:gd name="connsiteY22" fmla="*/ 861459 h 1466235"/>
                    <a:gd name="connsiteX23" fmla="*/ 50328 w 723948"/>
                    <a:gd name="connsiteY23" fmla="*/ 979766 h 1466235"/>
                    <a:gd name="connsiteX24" fmla="*/ 22390 w 723948"/>
                    <a:gd name="connsiteY24" fmla="*/ 1076288 h 1466235"/>
                    <a:gd name="connsiteX25" fmla="*/ 605 w 723948"/>
                    <a:gd name="connsiteY25" fmla="*/ 1135492 h 1466235"/>
                    <a:gd name="connsiteX26" fmla="*/ 0 w 723948"/>
                    <a:gd name="connsiteY26" fmla="*/ 1135290 h 1466235"/>
                    <a:gd name="connsiteX27" fmla="*/ 22390 w 723948"/>
                    <a:gd name="connsiteY27" fmla="*/ 1169784 h 1466235"/>
                    <a:gd name="connsiteX28" fmla="*/ 109532 w 723948"/>
                    <a:gd name="connsiteY28" fmla="*/ 1197822 h 1466235"/>
                    <a:gd name="connsiteX29" fmla="*/ 134444 w 723948"/>
                    <a:gd name="connsiteY29" fmla="*/ 1291217 h 1466235"/>
                    <a:gd name="connsiteX30" fmla="*/ 149977 w 723948"/>
                    <a:gd name="connsiteY30" fmla="*/ 1381486 h 1466235"/>
                    <a:gd name="connsiteX31" fmla="*/ 209080 w 723948"/>
                    <a:gd name="connsiteY31" fmla="*/ 1459349 h 1466235"/>
                    <a:gd name="connsiteX32" fmla="*/ 283816 w 723948"/>
                    <a:gd name="connsiteY32" fmla="*/ 1449969 h 1466235"/>
                    <a:gd name="connsiteX33" fmla="*/ 324361 w 723948"/>
                    <a:gd name="connsiteY33" fmla="*/ 1406398 h 1466235"/>
                    <a:gd name="connsiteX34" fmla="*/ 386590 w 723948"/>
                    <a:gd name="connsiteY34" fmla="*/ 1378359 h 1466235"/>
                    <a:gd name="connsiteX35" fmla="*/ 399097 w 723948"/>
                    <a:gd name="connsiteY35" fmla="*/ 1325408 h 1466235"/>
                    <a:gd name="connsiteX36" fmla="*/ 386590 w 723948"/>
                    <a:gd name="connsiteY36" fmla="*/ 1260052 h 1466235"/>
                    <a:gd name="connsiteX37" fmla="*/ 371058 w 723948"/>
                    <a:gd name="connsiteY37" fmla="*/ 1210228 h 1466235"/>
                    <a:gd name="connsiteX38" fmla="*/ 377211 w 723948"/>
                    <a:gd name="connsiteY38" fmla="*/ 1107453 h 1466235"/>
                    <a:gd name="connsiteX39" fmla="*/ 402123 w 723948"/>
                    <a:gd name="connsiteY39" fmla="*/ 1004678 h 1466235"/>
                    <a:gd name="connsiteX40" fmla="*/ 386590 w 723948"/>
                    <a:gd name="connsiteY40" fmla="*/ 898776 h 1466235"/>
                    <a:gd name="connsiteX41" fmla="*/ 408376 w 723948"/>
                    <a:gd name="connsiteY41" fmla="*/ 767963 h 1466235"/>
                    <a:gd name="connsiteX42" fmla="*/ 458200 w 723948"/>
                    <a:gd name="connsiteY42" fmla="*/ 615364 h 1466235"/>
                    <a:gd name="connsiteX43" fmla="*/ 498645 w 723948"/>
                    <a:gd name="connsiteY43" fmla="*/ 406688 h 1466235"/>
                    <a:gd name="connsiteX44" fmla="*/ 601419 w 723948"/>
                    <a:gd name="connsiteY44" fmla="*/ 254089 h 1466235"/>
                    <a:gd name="connsiteX45" fmla="*/ 651243 w 723948"/>
                    <a:gd name="connsiteY45" fmla="*/ 191758 h 1466235"/>
                    <a:gd name="connsiteX46" fmla="*/ 704194 w 723948"/>
                    <a:gd name="connsiteY46" fmla="*/ 110769 h 1466235"/>
                    <a:gd name="connsiteX47" fmla="*/ 716600 w 723948"/>
                    <a:gd name="connsiteY47" fmla="*/ 48741 h 1466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723948" h="1466235">
                      <a:moveTo>
                        <a:pt x="716600" y="48741"/>
                      </a:moveTo>
                      <a:cubicBezTo>
                        <a:pt x="704094" y="36234"/>
                        <a:pt x="663649" y="54994"/>
                        <a:pt x="620078" y="36234"/>
                      </a:cubicBezTo>
                      <a:cubicBezTo>
                        <a:pt x="576507" y="17575"/>
                        <a:pt x="560874" y="-7337"/>
                        <a:pt x="539089" y="2043"/>
                      </a:cubicBezTo>
                      <a:cubicBezTo>
                        <a:pt x="517303" y="11322"/>
                        <a:pt x="486138" y="26955"/>
                        <a:pt x="448821" y="20702"/>
                      </a:cubicBezTo>
                      <a:cubicBezTo>
                        <a:pt x="432381" y="17979"/>
                        <a:pt x="413015" y="19492"/>
                        <a:pt x="396374" y="22114"/>
                      </a:cubicBezTo>
                      <a:cubicBezTo>
                        <a:pt x="404039" y="43798"/>
                        <a:pt x="374084" y="50960"/>
                        <a:pt x="374084" y="70526"/>
                      </a:cubicBezTo>
                      <a:cubicBezTo>
                        <a:pt x="374084" y="92311"/>
                        <a:pt x="386489" y="114097"/>
                        <a:pt x="346046" y="120350"/>
                      </a:cubicBezTo>
                      <a:cubicBezTo>
                        <a:pt x="305500" y="126502"/>
                        <a:pt x="240144" y="129629"/>
                        <a:pt x="196573" y="110970"/>
                      </a:cubicBezTo>
                      <a:cubicBezTo>
                        <a:pt x="153002" y="92311"/>
                        <a:pt x="134343" y="101590"/>
                        <a:pt x="112457" y="79805"/>
                      </a:cubicBezTo>
                      <a:cubicBezTo>
                        <a:pt x="90672" y="58020"/>
                        <a:pt x="90672" y="61146"/>
                        <a:pt x="93798" y="33108"/>
                      </a:cubicBezTo>
                      <a:cubicBezTo>
                        <a:pt x="96925" y="5069"/>
                        <a:pt x="59506" y="-7337"/>
                        <a:pt x="56481" y="36234"/>
                      </a:cubicBezTo>
                      <a:cubicBezTo>
                        <a:pt x="53354" y="79805"/>
                        <a:pt x="15935" y="98565"/>
                        <a:pt x="9783" y="139009"/>
                      </a:cubicBezTo>
                      <a:cubicBezTo>
                        <a:pt x="3631" y="179453"/>
                        <a:pt x="25416" y="198213"/>
                        <a:pt x="50227" y="195086"/>
                      </a:cubicBezTo>
                      <a:cubicBezTo>
                        <a:pt x="75139" y="191960"/>
                        <a:pt x="84519" y="213745"/>
                        <a:pt x="84519" y="232404"/>
                      </a:cubicBezTo>
                      <a:cubicBezTo>
                        <a:pt x="84519" y="251063"/>
                        <a:pt x="103077" y="272848"/>
                        <a:pt x="124963" y="260443"/>
                      </a:cubicBezTo>
                      <a:cubicBezTo>
                        <a:pt x="146850" y="248037"/>
                        <a:pt x="140597" y="213745"/>
                        <a:pt x="171762" y="235531"/>
                      </a:cubicBezTo>
                      <a:cubicBezTo>
                        <a:pt x="202826" y="257316"/>
                        <a:pt x="168635" y="304014"/>
                        <a:pt x="168635" y="304014"/>
                      </a:cubicBezTo>
                      <a:cubicBezTo>
                        <a:pt x="168635" y="304014"/>
                        <a:pt x="196674" y="332052"/>
                        <a:pt x="196674" y="388130"/>
                      </a:cubicBezTo>
                      <a:cubicBezTo>
                        <a:pt x="196674" y="444207"/>
                        <a:pt x="187395" y="469119"/>
                        <a:pt x="134444" y="497158"/>
                      </a:cubicBezTo>
                      <a:cubicBezTo>
                        <a:pt x="81493" y="525196"/>
                        <a:pt x="90873" y="556362"/>
                        <a:pt x="87746" y="581274"/>
                      </a:cubicBezTo>
                      <a:cubicBezTo>
                        <a:pt x="84620" y="606186"/>
                        <a:pt x="100152" y="668416"/>
                        <a:pt x="118811" y="668416"/>
                      </a:cubicBezTo>
                      <a:cubicBezTo>
                        <a:pt x="137470" y="668416"/>
                        <a:pt x="184167" y="671542"/>
                        <a:pt x="156230" y="718240"/>
                      </a:cubicBezTo>
                      <a:cubicBezTo>
                        <a:pt x="128191" y="764937"/>
                        <a:pt x="112659" y="839673"/>
                        <a:pt x="106406" y="861459"/>
                      </a:cubicBezTo>
                      <a:cubicBezTo>
                        <a:pt x="100052" y="883244"/>
                        <a:pt x="62835" y="939322"/>
                        <a:pt x="50328" y="979766"/>
                      </a:cubicBezTo>
                      <a:cubicBezTo>
                        <a:pt x="37922" y="1020210"/>
                        <a:pt x="22390" y="1048249"/>
                        <a:pt x="22390" y="1076288"/>
                      </a:cubicBezTo>
                      <a:cubicBezTo>
                        <a:pt x="22390" y="1104326"/>
                        <a:pt x="13011" y="1135492"/>
                        <a:pt x="605" y="1135492"/>
                      </a:cubicBezTo>
                      <a:cubicBezTo>
                        <a:pt x="403" y="1135492"/>
                        <a:pt x="201" y="1135290"/>
                        <a:pt x="0" y="1135290"/>
                      </a:cubicBezTo>
                      <a:cubicBezTo>
                        <a:pt x="6454" y="1150923"/>
                        <a:pt x="14423" y="1165850"/>
                        <a:pt x="22390" y="1169784"/>
                      </a:cubicBezTo>
                      <a:cubicBezTo>
                        <a:pt x="41049" y="1179062"/>
                        <a:pt x="78468" y="1163530"/>
                        <a:pt x="109532" y="1197822"/>
                      </a:cubicBezTo>
                      <a:cubicBezTo>
                        <a:pt x="140597" y="1232114"/>
                        <a:pt x="100152" y="1244520"/>
                        <a:pt x="134444" y="1291217"/>
                      </a:cubicBezTo>
                      <a:cubicBezTo>
                        <a:pt x="168736" y="1337915"/>
                        <a:pt x="168736" y="1359700"/>
                        <a:pt x="149977" y="1381486"/>
                      </a:cubicBezTo>
                      <a:cubicBezTo>
                        <a:pt x="202927" y="1390865"/>
                        <a:pt x="193548" y="1440690"/>
                        <a:pt x="209080" y="1459349"/>
                      </a:cubicBezTo>
                      <a:cubicBezTo>
                        <a:pt x="224612" y="1478007"/>
                        <a:pt x="262131" y="1453196"/>
                        <a:pt x="283816" y="1449969"/>
                      </a:cubicBezTo>
                      <a:cubicBezTo>
                        <a:pt x="305601" y="1446842"/>
                        <a:pt x="324361" y="1431310"/>
                        <a:pt x="324361" y="1406398"/>
                      </a:cubicBezTo>
                      <a:cubicBezTo>
                        <a:pt x="324361" y="1381486"/>
                        <a:pt x="371058" y="1393992"/>
                        <a:pt x="386590" y="1378359"/>
                      </a:cubicBezTo>
                      <a:cubicBezTo>
                        <a:pt x="402223" y="1362827"/>
                        <a:pt x="389717" y="1344067"/>
                        <a:pt x="399097" y="1325408"/>
                      </a:cubicBezTo>
                      <a:cubicBezTo>
                        <a:pt x="408376" y="1306749"/>
                        <a:pt x="399097" y="1266204"/>
                        <a:pt x="386590" y="1260052"/>
                      </a:cubicBezTo>
                      <a:cubicBezTo>
                        <a:pt x="374185" y="1253900"/>
                        <a:pt x="355425" y="1244520"/>
                        <a:pt x="371058" y="1210228"/>
                      </a:cubicBezTo>
                      <a:cubicBezTo>
                        <a:pt x="386590" y="1176037"/>
                        <a:pt x="380337" y="1135492"/>
                        <a:pt x="377211" y="1107453"/>
                      </a:cubicBezTo>
                      <a:cubicBezTo>
                        <a:pt x="374084" y="1079414"/>
                        <a:pt x="395870" y="1045223"/>
                        <a:pt x="402123" y="1004678"/>
                      </a:cubicBezTo>
                      <a:cubicBezTo>
                        <a:pt x="408275" y="964234"/>
                        <a:pt x="408376" y="926815"/>
                        <a:pt x="386590" y="898776"/>
                      </a:cubicBezTo>
                      <a:cubicBezTo>
                        <a:pt x="364805" y="870738"/>
                        <a:pt x="399097" y="805281"/>
                        <a:pt x="408376" y="767963"/>
                      </a:cubicBezTo>
                      <a:cubicBezTo>
                        <a:pt x="417756" y="730645"/>
                        <a:pt x="451947" y="686974"/>
                        <a:pt x="458200" y="615364"/>
                      </a:cubicBezTo>
                      <a:cubicBezTo>
                        <a:pt x="464353" y="543754"/>
                        <a:pt x="498645" y="453486"/>
                        <a:pt x="498645" y="406688"/>
                      </a:cubicBezTo>
                      <a:cubicBezTo>
                        <a:pt x="498645" y="359990"/>
                        <a:pt x="570254" y="279001"/>
                        <a:pt x="601419" y="254089"/>
                      </a:cubicBezTo>
                      <a:cubicBezTo>
                        <a:pt x="632686" y="229177"/>
                        <a:pt x="644990" y="222923"/>
                        <a:pt x="651243" y="191758"/>
                      </a:cubicBezTo>
                      <a:cubicBezTo>
                        <a:pt x="657396" y="160593"/>
                        <a:pt x="682308" y="129427"/>
                        <a:pt x="704194" y="110769"/>
                      </a:cubicBezTo>
                      <a:cubicBezTo>
                        <a:pt x="726081" y="92311"/>
                        <a:pt x="729106" y="61247"/>
                        <a:pt x="716600" y="48741"/>
                      </a:cubicBezTo>
                      <a:close/>
                    </a:path>
                  </a:pathLst>
                </a:custGeom>
                <a:solidFill>
                  <a:schemeClr val="bg1">
                    <a:lumMod val="75000"/>
                  </a:schemeClr>
                </a:solidFill>
                <a:ln w="10085" cap="flat">
                  <a:solidFill>
                    <a:srgbClr val="FFFFFF"/>
                  </a:solidFill>
                  <a:prstDash val="solid"/>
                  <a:miter/>
                </a:ln>
              </p:spPr>
              <p:txBody>
                <a:bodyPr rtlCol="0" anchor="ctr"/>
                <a:lstStyle/>
                <a:p>
                  <a:endParaRPr lang="fr-FR" sz="900"/>
                </a:p>
              </p:txBody>
            </p:sp>
            <p:sp>
              <p:nvSpPr>
                <p:cNvPr id="75" name="Forme libre : forme 74">
                  <a:extLst>
                    <a:ext uri="{FF2B5EF4-FFF2-40B4-BE49-F238E27FC236}">
                      <a16:creationId xmlns:a16="http://schemas.microsoft.com/office/drawing/2014/main" id="{84B6BBBC-E852-277E-EB50-B01A67AFA4B4}"/>
                    </a:ext>
                  </a:extLst>
                </p:cNvPr>
                <p:cNvSpPr/>
                <p:nvPr/>
              </p:nvSpPr>
              <p:spPr>
                <a:xfrm>
                  <a:off x="7969815" y="6056973"/>
                  <a:ext cx="729085" cy="1472131"/>
                </a:xfrm>
                <a:custGeom>
                  <a:avLst/>
                  <a:gdLst>
                    <a:gd name="connsiteX0" fmla="*/ 209764 w 729085"/>
                    <a:gd name="connsiteY0" fmla="*/ 1464063 h 1472131"/>
                    <a:gd name="connsiteX1" fmla="*/ 152276 w 729085"/>
                    <a:gd name="connsiteY1" fmla="*/ 1387209 h 1472131"/>
                    <a:gd name="connsiteX2" fmla="*/ 152276 w 729085"/>
                    <a:gd name="connsiteY2" fmla="*/ 1387209 h 1472131"/>
                    <a:gd name="connsiteX3" fmla="*/ 150560 w 729085"/>
                    <a:gd name="connsiteY3" fmla="*/ 1382771 h 1472131"/>
                    <a:gd name="connsiteX4" fmla="*/ 162462 w 729085"/>
                    <a:gd name="connsiteY4" fmla="*/ 1354833 h 1472131"/>
                    <a:gd name="connsiteX5" fmla="*/ 162462 w 729085"/>
                    <a:gd name="connsiteY5" fmla="*/ 1354833 h 1472131"/>
                    <a:gd name="connsiteX6" fmla="*/ 135028 w 729085"/>
                    <a:gd name="connsiteY6" fmla="*/ 1295831 h 1472131"/>
                    <a:gd name="connsiteX7" fmla="*/ 135028 w 729085"/>
                    <a:gd name="connsiteY7" fmla="*/ 1295831 h 1472131"/>
                    <a:gd name="connsiteX8" fmla="*/ 119597 w 729085"/>
                    <a:gd name="connsiteY8" fmla="*/ 1255588 h 1472131"/>
                    <a:gd name="connsiteX9" fmla="*/ 119597 w 729085"/>
                    <a:gd name="connsiteY9" fmla="*/ 1255588 h 1472131"/>
                    <a:gd name="connsiteX10" fmla="*/ 122219 w 729085"/>
                    <a:gd name="connsiteY10" fmla="*/ 1229264 h 1472131"/>
                    <a:gd name="connsiteX11" fmla="*/ 122219 w 729085"/>
                    <a:gd name="connsiteY11" fmla="*/ 1229264 h 1472131"/>
                    <a:gd name="connsiteX12" fmla="*/ 110217 w 729085"/>
                    <a:gd name="connsiteY12" fmla="*/ 1202738 h 1472131"/>
                    <a:gd name="connsiteX13" fmla="*/ 110217 w 729085"/>
                    <a:gd name="connsiteY13" fmla="*/ 1202738 h 1472131"/>
                    <a:gd name="connsiteX14" fmla="*/ 23882 w 729085"/>
                    <a:gd name="connsiteY14" fmla="*/ 1175406 h 1472131"/>
                    <a:gd name="connsiteX15" fmla="*/ 23882 w 729085"/>
                    <a:gd name="connsiteY15" fmla="*/ 1175406 h 1472131"/>
                    <a:gd name="connsiteX16" fmla="*/ 181 w 729085"/>
                    <a:gd name="connsiteY16" fmla="*/ 1139500 h 1472131"/>
                    <a:gd name="connsiteX17" fmla="*/ 181 w 729085"/>
                    <a:gd name="connsiteY17" fmla="*/ 1139500 h 1472131"/>
                    <a:gd name="connsiteX18" fmla="*/ 786 w 729085"/>
                    <a:gd name="connsiteY18" fmla="*/ 1136374 h 1472131"/>
                    <a:gd name="connsiteX19" fmla="*/ 786 w 729085"/>
                    <a:gd name="connsiteY19" fmla="*/ 1136374 h 1472131"/>
                    <a:gd name="connsiteX20" fmla="*/ 3710 w 729085"/>
                    <a:gd name="connsiteY20" fmla="*/ 1135768 h 1472131"/>
                    <a:gd name="connsiteX21" fmla="*/ 3710 w 729085"/>
                    <a:gd name="connsiteY21" fmla="*/ 1135768 h 1472131"/>
                    <a:gd name="connsiteX22" fmla="*/ 22269 w 729085"/>
                    <a:gd name="connsiteY22" fmla="*/ 1079389 h 1472131"/>
                    <a:gd name="connsiteX23" fmla="*/ 22269 w 729085"/>
                    <a:gd name="connsiteY23" fmla="*/ 1079389 h 1472131"/>
                    <a:gd name="connsiteX24" fmla="*/ 50307 w 729085"/>
                    <a:gd name="connsiteY24" fmla="*/ 981959 h 1472131"/>
                    <a:gd name="connsiteX25" fmla="*/ 50307 w 729085"/>
                    <a:gd name="connsiteY25" fmla="*/ 981959 h 1472131"/>
                    <a:gd name="connsiteX26" fmla="*/ 106384 w 729085"/>
                    <a:gd name="connsiteY26" fmla="*/ 863652 h 1472131"/>
                    <a:gd name="connsiteX27" fmla="*/ 106384 w 729085"/>
                    <a:gd name="connsiteY27" fmla="*/ 863652 h 1472131"/>
                    <a:gd name="connsiteX28" fmla="*/ 156511 w 729085"/>
                    <a:gd name="connsiteY28" fmla="*/ 719828 h 1472131"/>
                    <a:gd name="connsiteX29" fmla="*/ 156511 w 729085"/>
                    <a:gd name="connsiteY29" fmla="*/ 719828 h 1472131"/>
                    <a:gd name="connsiteX30" fmla="*/ 164782 w 729085"/>
                    <a:gd name="connsiteY30" fmla="*/ 696227 h 1472131"/>
                    <a:gd name="connsiteX31" fmla="*/ 164782 w 729085"/>
                    <a:gd name="connsiteY31" fmla="*/ 696227 h 1472131"/>
                    <a:gd name="connsiteX32" fmla="*/ 121513 w 729085"/>
                    <a:gd name="connsiteY32" fmla="*/ 674240 h 1472131"/>
                    <a:gd name="connsiteX33" fmla="*/ 121513 w 729085"/>
                    <a:gd name="connsiteY33" fmla="*/ 674240 h 1472131"/>
                    <a:gd name="connsiteX34" fmla="*/ 87121 w 729085"/>
                    <a:gd name="connsiteY34" fmla="*/ 591435 h 1472131"/>
                    <a:gd name="connsiteX35" fmla="*/ 87121 w 729085"/>
                    <a:gd name="connsiteY35" fmla="*/ 591435 h 1472131"/>
                    <a:gd name="connsiteX36" fmla="*/ 87524 w 729085"/>
                    <a:gd name="connsiteY36" fmla="*/ 583870 h 1472131"/>
                    <a:gd name="connsiteX37" fmla="*/ 87524 w 729085"/>
                    <a:gd name="connsiteY37" fmla="*/ 583870 h 1472131"/>
                    <a:gd name="connsiteX38" fmla="*/ 135735 w 729085"/>
                    <a:gd name="connsiteY38" fmla="*/ 497636 h 1472131"/>
                    <a:gd name="connsiteX39" fmla="*/ 135735 w 729085"/>
                    <a:gd name="connsiteY39" fmla="*/ 497636 h 1472131"/>
                    <a:gd name="connsiteX40" fmla="*/ 196552 w 729085"/>
                    <a:gd name="connsiteY40" fmla="*/ 391230 h 1472131"/>
                    <a:gd name="connsiteX41" fmla="*/ 196552 w 729085"/>
                    <a:gd name="connsiteY41" fmla="*/ 391230 h 1472131"/>
                    <a:gd name="connsiteX42" fmla="*/ 169220 w 729085"/>
                    <a:gd name="connsiteY42" fmla="*/ 309031 h 1472131"/>
                    <a:gd name="connsiteX43" fmla="*/ 169220 w 729085"/>
                    <a:gd name="connsiteY43" fmla="*/ 309031 h 1472131"/>
                    <a:gd name="connsiteX44" fmla="*/ 169018 w 729085"/>
                    <a:gd name="connsiteY44" fmla="*/ 305501 h 1472131"/>
                    <a:gd name="connsiteX45" fmla="*/ 184651 w 729085"/>
                    <a:gd name="connsiteY45" fmla="*/ 264048 h 1472131"/>
                    <a:gd name="connsiteX46" fmla="*/ 184651 w 729085"/>
                    <a:gd name="connsiteY46" fmla="*/ 264048 h 1472131"/>
                    <a:gd name="connsiteX47" fmla="*/ 172749 w 729085"/>
                    <a:gd name="connsiteY47" fmla="*/ 240850 h 1472131"/>
                    <a:gd name="connsiteX48" fmla="*/ 172749 w 729085"/>
                    <a:gd name="connsiteY48" fmla="*/ 240850 h 1472131"/>
                    <a:gd name="connsiteX49" fmla="*/ 157924 w 729085"/>
                    <a:gd name="connsiteY49" fmla="*/ 234194 h 1472131"/>
                    <a:gd name="connsiteX50" fmla="*/ 157924 w 729085"/>
                    <a:gd name="connsiteY50" fmla="*/ 234194 h 1472131"/>
                    <a:gd name="connsiteX51" fmla="*/ 128977 w 729085"/>
                    <a:gd name="connsiteY51" fmla="*/ 265762 h 1472131"/>
                    <a:gd name="connsiteX52" fmla="*/ 128977 w 729085"/>
                    <a:gd name="connsiteY52" fmla="*/ 265762 h 1472131"/>
                    <a:gd name="connsiteX53" fmla="*/ 114857 w 729085"/>
                    <a:gd name="connsiteY53" fmla="*/ 269797 h 1472131"/>
                    <a:gd name="connsiteX54" fmla="*/ 114857 w 729085"/>
                    <a:gd name="connsiteY54" fmla="*/ 269797 h 1472131"/>
                    <a:gd name="connsiteX55" fmla="*/ 84498 w 729085"/>
                    <a:gd name="connsiteY55" fmla="*/ 235303 h 1472131"/>
                    <a:gd name="connsiteX56" fmla="*/ 84498 w 729085"/>
                    <a:gd name="connsiteY56" fmla="*/ 235303 h 1472131"/>
                    <a:gd name="connsiteX57" fmla="*/ 57569 w 729085"/>
                    <a:gd name="connsiteY57" fmla="*/ 200406 h 1472131"/>
                    <a:gd name="connsiteX58" fmla="*/ 57569 w 729085"/>
                    <a:gd name="connsiteY58" fmla="*/ 200406 h 1472131"/>
                    <a:gd name="connsiteX59" fmla="*/ 53232 w 729085"/>
                    <a:gd name="connsiteY59" fmla="*/ 200709 h 1472131"/>
                    <a:gd name="connsiteX60" fmla="*/ 53232 w 729085"/>
                    <a:gd name="connsiteY60" fmla="*/ 200709 h 1472131"/>
                    <a:gd name="connsiteX61" fmla="*/ 47483 w 729085"/>
                    <a:gd name="connsiteY61" fmla="*/ 200910 h 1472131"/>
                    <a:gd name="connsiteX62" fmla="*/ 47483 w 729085"/>
                    <a:gd name="connsiteY62" fmla="*/ 200910 h 1472131"/>
                    <a:gd name="connsiteX63" fmla="*/ 8652 w 729085"/>
                    <a:gd name="connsiteY63" fmla="*/ 155221 h 1472131"/>
                    <a:gd name="connsiteX64" fmla="*/ 8652 w 729085"/>
                    <a:gd name="connsiteY64" fmla="*/ 155221 h 1472131"/>
                    <a:gd name="connsiteX65" fmla="*/ 9661 w 729085"/>
                    <a:gd name="connsiteY65" fmla="*/ 141505 h 1472131"/>
                    <a:gd name="connsiteX66" fmla="*/ 9661 w 729085"/>
                    <a:gd name="connsiteY66" fmla="*/ 141505 h 1472131"/>
                    <a:gd name="connsiteX67" fmla="*/ 56460 w 729085"/>
                    <a:gd name="connsiteY67" fmla="*/ 38931 h 1472131"/>
                    <a:gd name="connsiteX68" fmla="*/ 56460 w 729085"/>
                    <a:gd name="connsiteY68" fmla="*/ 38931 h 1472131"/>
                    <a:gd name="connsiteX69" fmla="*/ 78346 w 729085"/>
                    <a:gd name="connsiteY69" fmla="*/ 7665 h 1472131"/>
                    <a:gd name="connsiteX70" fmla="*/ 78346 w 729085"/>
                    <a:gd name="connsiteY70" fmla="*/ 7665 h 1472131"/>
                    <a:gd name="connsiteX71" fmla="*/ 99425 w 729085"/>
                    <a:gd name="connsiteY71" fmla="*/ 32678 h 1472131"/>
                    <a:gd name="connsiteX72" fmla="*/ 99425 w 729085"/>
                    <a:gd name="connsiteY72" fmla="*/ 32678 h 1472131"/>
                    <a:gd name="connsiteX73" fmla="*/ 99325 w 729085"/>
                    <a:gd name="connsiteY73" fmla="*/ 36309 h 1472131"/>
                    <a:gd name="connsiteX74" fmla="*/ 99325 w 729085"/>
                    <a:gd name="connsiteY74" fmla="*/ 36309 h 1472131"/>
                    <a:gd name="connsiteX75" fmla="*/ 97913 w 729085"/>
                    <a:gd name="connsiteY75" fmla="*/ 53052 h 1472131"/>
                    <a:gd name="connsiteX76" fmla="*/ 97913 w 729085"/>
                    <a:gd name="connsiteY76" fmla="*/ 53052 h 1472131"/>
                    <a:gd name="connsiteX77" fmla="*/ 117277 w 729085"/>
                    <a:gd name="connsiteY77" fmla="*/ 80687 h 1472131"/>
                    <a:gd name="connsiteX78" fmla="*/ 117277 w 729085"/>
                    <a:gd name="connsiteY78" fmla="*/ 80687 h 1472131"/>
                    <a:gd name="connsiteX79" fmla="*/ 200385 w 729085"/>
                    <a:gd name="connsiteY79" fmla="*/ 111247 h 1472131"/>
                    <a:gd name="connsiteX80" fmla="*/ 200385 w 729085"/>
                    <a:gd name="connsiteY80" fmla="*/ 111247 h 1472131"/>
                    <a:gd name="connsiteX81" fmla="*/ 285812 w 729085"/>
                    <a:gd name="connsiteY81" fmla="*/ 125166 h 1472131"/>
                    <a:gd name="connsiteX82" fmla="*/ 285812 w 729085"/>
                    <a:gd name="connsiteY82" fmla="*/ 125166 h 1472131"/>
                    <a:gd name="connsiteX83" fmla="*/ 348445 w 729085"/>
                    <a:gd name="connsiteY83" fmla="*/ 120425 h 1472131"/>
                    <a:gd name="connsiteX84" fmla="*/ 348445 w 729085"/>
                    <a:gd name="connsiteY84" fmla="*/ 120425 h 1472131"/>
                    <a:gd name="connsiteX85" fmla="*/ 375778 w 729085"/>
                    <a:gd name="connsiteY85" fmla="*/ 97329 h 1472131"/>
                    <a:gd name="connsiteX86" fmla="*/ 375778 w 729085"/>
                    <a:gd name="connsiteY86" fmla="*/ 97329 h 1472131"/>
                    <a:gd name="connsiteX87" fmla="*/ 373962 w 729085"/>
                    <a:gd name="connsiteY87" fmla="*/ 73324 h 1472131"/>
                    <a:gd name="connsiteX88" fmla="*/ 373962 w 729085"/>
                    <a:gd name="connsiteY88" fmla="*/ 73324 h 1472131"/>
                    <a:gd name="connsiteX89" fmla="*/ 397463 w 729085"/>
                    <a:gd name="connsiteY89" fmla="*/ 31670 h 1472131"/>
                    <a:gd name="connsiteX90" fmla="*/ 397463 w 729085"/>
                    <a:gd name="connsiteY90" fmla="*/ 31670 h 1472131"/>
                    <a:gd name="connsiteX91" fmla="*/ 396353 w 729085"/>
                    <a:gd name="connsiteY91" fmla="*/ 25719 h 1472131"/>
                    <a:gd name="connsiteX92" fmla="*/ 396353 w 729085"/>
                    <a:gd name="connsiteY92" fmla="*/ 25719 h 1472131"/>
                    <a:gd name="connsiteX93" fmla="*/ 398572 w 729085"/>
                    <a:gd name="connsiteY93" fmla="*/ 22088 h 1472131"/>
                    <a:gd name="connsiteX94" fmla="*/ 432258 w 729085"/>
                    <a:gd name="connsiteY94" fmla="*/ 19264 h 1472131"/>
                    <a:gd name="connsiteX95" fmla="*/ 432258 w 729085"/>
                    <a:gd name="connsiteY95" fmla="*/ 19264 h 1472131"/>
                    <a:gd name="connsiteX96" fmla="*/ 451926 w 729085"/>
                    <a:gd name="connsiteY96" fmla="*/ 20777 h 1472131"/>
                    <a:gd name="connsiteX97" fmla="*/ 451926 w 729085"/>
                    <a:gd name="connsiteY97" fmla="*/ 20777 h 1472131"/>
                    <a:gd name="connsiteX98" fmla="*/ 468770 w 729085"/>
                    <a:gd name="connsiteY98" fmla="*/ 22189 h 1472131"/>
                    <a:gd name="connsiteX99" fmla="*/ 468770 w 729085"/>
                    <a:gd name="connsiteY99" fmla="*/ 22189 h 1472131"/>
                    <a:gd name="connsiteX100" fmla="*/ 540681 w 729085"/>
                    <a:gd name="connsiteY100" fmla="*/ 2320 h 1472131"/>
                    <a:gd name="connsiteX101" fmla="*/ 540681 w 729085"/>
                    <a:gd name="connsiteY101" fmla="*/ 2320 h 1472131"/>
                    <a:gd name="connsiteX102" fmla="*/ 551272 w 729085"/>
                    <a:gd name="connsiteY102" fmla="*/ 0 h 1472131"/>
                    <a:gd name="connsiteX103" fmla="*/ 551272 w 729085"/>
                    <a:gd name="connsiteY103" fmla="*/ 0 h 1472131"/>
                    <a:gd name="connsiteX104" fmla="*/ 623789 w 729085"/>
                    <a:gd name="connsiteY104" fmla="*/ 36511 h 1472131"/>
                    <a:gd name="connsiteX105" fmla="*/ 623789 w 729085"/>
                    <a:gd name="connsiteY105" fmla="*/ 36511 h 1472131"/>
                    <a:gd name="connsiteX106" fmla="*/ 670587 w 729085"/>
                    <a:gd name="connsiteY106" fmla="*/ 45084 h 1472131"/>
                    <a:gd name="connsiteX107" fmla="*/ 670587 w 729085"/>
                    <a:gd name="connsiteY107" fmla="*/ 45084 h 1472131"/>
                    <a:gd name="connsiteX108" fmla="*/ 701450 w 729085"/>
                    <a:gd name="connsiteY108" fmla="*/ 44075 h 1472131"/>
                    <a:gd name="connsiteX109" fmla="*/ 701450 w 729085"/>
                    <a:gd name="connsiteY109" fmla="*/ 44075 h 1472131"/>
                    <a:gd name="connsiteX110" fmla="*/ 721218 w 729085"/>
                    <a:gd name="connsiteY110" fmla="*/ 49522 h 1472131"/>
                    <a:gd name="connsiteX111" fmla="*/ 721218 w 729085"/>
                    <a:gd name="connsiteY111" fmla="*/ 49522 h 1472131"/>
                    <a:gd name="connsiteX112" fmla="*/ 719302 w 729085"/>
                    <a:gd name="connsiteY112" fmla="*/ 51640 h 1472131"/>
                    <a:gd name="connsiteX113" fmla="*/ 717386 w 729085"/>
                    <a:gd name="connsiteY113" fmla="*/ 53556 h 1472131"/>
                    <a:gd name="connsiteX114" fmla="*/ 701450 w 729085"/>
                    <a:gd name="connsiteY114" fmla="*/ 49723 h 1472131"/>
                    <a:gd name="connsiteX115" fmla="*/ 701450 w 729085"/>
                    <a:gd name="connsiteY115" fmla="*/ 49723 h 1472131"/>
                    <a:gd name="connsiteX116" fmla="*/ 670587 w 729085"/>
                    <a:gd name="connsiteY116" fmla="*/ 50732 h 1472131"/>
                    <a:gd name="connsiteX117" fmla="*/ 670587 w 729085"/>
                    <a:gd name="connsiteY117" fmla="*/ 50732 h 1472131"/>
                    <a:gd name="connsiteX118" fmla="*/ 621671 w 729085"/>
                    <a:gd name="connsiteY118" fmla="*/ 41755 h 1472131"/>
                    <a:gd name="connsiteX119" fmla="*/ 621671 w 729085"/>
                    <a:gd name="connsiteY119" fmla="*/ 41755 h 1472131"/>
                    <a:gd name="connsiteX120" fmla="*/ 551272 w 729085"/>
                    <a:gd name="connsiteY120" fmla="*/ 5749 h 1472131"/>
                    <a:gd name="connsiteX121" fmla="*/ 551272 w 729085"/>
                    <a:gd name="connsiteY121" fmla="*/ 5749 h 1472131"/>
                    <a:gd name="connsiteX122" fmla="*/ 542800 w 729085"/>
                    <a:gd name="connsiteY122" fmla="*/ 7564 h 1472131"/>
                    <a:gd name="connsiteX123" fmla="*/ 542800 w 729085"/>
                    <a:gd name="connsiteY123" fmla="*/ 7564 h 1472131"/>
                    <a:gd name="connsiteX124" fmla="*/ 468770 w 729085"/>
                    <a:gd name="connsiteY124" fmla="*/ 27837 h 1472131"/>
                    <a:gd name="connsiteX125" fmla="*/ 468770 w 729085"/>
                    <a:gd name="connsiteY125" fmla="*/ 27837 h 1472131"/>
                    <a:gd name="connsiteX126" fmla="*/ 451019 w 729085"/>
                    <a:gd name="connsiteY126" fmla="*/ 26324 h 1472131"/>
                    <a:gd name="connsiteX127" fmla="*/ 451019 w 729085"/>
                    <a:gd name="connsiteY127" fmla="*/ 26324 h 1472131"/>
                    <a:gd name="connsiteX128" fmla="*/ 432158 w 729085"/>
                    <a:gd name="connsiteY128" fmla="*/ 24912 h 1472131"/>
                    <a:gd name="connsiteX129" fmla="*/ 432158 w 729085"/>
                    <a:gd name="connsiteY129" fmla="*/ 24912 h 1472131"/>
                    <a:gd name="connsiteX130" fmla="*/ 402506 w 729085"/>
                    <a:gd name="connsiteY130" fmla="*/ 27232 h 1472131"/>
                    <a:gd name="connsiteX131" fmla="*/ 402506 w 729085"/>
                    <a:gd name="connsiteY131" fmla="*/ 27232 h 1472131"/>
                    <a:gd name="connsiteX132" fmla="*/ 402909 w 729085"/>
                    <a:gd name="connsiteY132" fmla="*/ 31771 h 1472131"/>
                    <a:gd name="connsiteX133" fmla="*/ 402909 w 729085"/>
                    <a:gd name="connsiteY133" fmla="*/ 31771 h 1472131"/>
                    <a:gd name="connsiteX134" fmla="*/ 379409 w 729085"/>
                    <a:gd name="connsiteY134" fmla="*/ 73425 h 1472131"/>
                    <a:gd name="connsiteX135" fmla="*/ 379409 w 729085"/>
                    <a:gd name="connsiteY135" fmla="*/ 73425 h 1472131"/>
                    <a:gd name="connsiteX136" fmla="*/ 381224 w 729085"/>
                    <a:gd name="connsiteY136" fmla="*/ 97429 h 1472131"/>
                    <a:gd name="connsiteX137" fmla="*/ 381224 w 729085"/>
                    <a:gd name="connsiteY137" fmla="*/ 97429 h 1472131"/>
                    <a:gd name="connsiteX138" fmla="*/ 349050 w 729085"/>
                    <a:gd name="connsiteY138" fmla="*/ 126073 h 1472131"/>
                    <a:gd name="connsiteX139" fmla="*/ 349050 w 729085"/>
                    <a:gd name="connsiteY139" fmla="*/ 126073 h 1472131"/>
                    <a:gd name="connsiteX140" fmla="*/ 285610 w 729085"/>
                    <a:gd name="connsiteY140" fmla="*/ 130814 h 1472131"/>
                    <a:gd name="connsiteX141" fmla="*/ 285610 w 729085"/>
                    <a:gd name="connsiteY141" fmla="*/ 130814 h 1472131"/>
                    <a:gd name="connsiteX142" fmla="*/ 197964 w 729085"/>
                    <a:gd name="connsiteY142" fmla="*/ 116492 h 1472131"/>
                    <a:gd name="connsiteX143" fmla="*/ 197964 w 729085"/>
                    <a:gd name="connsiteY143" fmla="*/ 116492 h 1472131"/>
                    <a:gd name="connsiteX144" fmla="*/ 112940 w 729085"/>
                    <a:gd name="connsiteY144" fmla="*/ 84822 h 1472131"/>
                    <a:gd name="connsiteX145" fmla="*/ 112940 w 729085"/>
                    <a:gd name="connsiteY145" fmla="*/ 84822 h 1472131"/>
                    <a:gd name="connsiteX146" fmla="*/ 91962 w 729085"/>
                    <a:gd name="connsiteY146" fmla="*/ 53153 h 1472131"/>
                    <a:gd name="connsiteX147" fmla="*/ 91962 w 729085"/>
                    <a:gd name="connsiteY147" fmla="*/ 53153 h 1472131"/>
                    <a:gd name="connsiteX148" fmla="*/ 93475 w 729085"/>
                    <a:gd name="connsiteY148" fmla="*/ 35805 h 1472131"/>
                    <a:gd name="connsiteX149" fmla="*/ 93475 w 729085"/>
                    <a:gd name="connsiteY149" fmla="*/ 35805 h 1472131"/>
                    <a:gd name="connsiteX150" fmla="*/ 93576 w 729085"/>
                    <a:gd name="connsiteY150" fmla="*/ 32779 h 1472131"/>
                    <a:gd name="connsiteX151" fmla="*/ 93576 w 729085"/>
                    <a:gd name="connsiteY151" fmla="*/ 32779 h 1472131"/>
                    <a:gd name="connsiteX152" fmla="*/ 78043 w 729085"/>
                    <a:gd name="connsiteY152" fmla="*/ 13414 h 1472131"/>
                    <a:gd name="connsiteX153" fmla="*/ 78043 w 729085"/>
                    <a:gd name="connsiteY153" fmla="*/ 13414 h 1472131"/>
                    <a:gd name="connsiteX154" fmla="*/ 61805 w 729085"/>
                    <a:gd name="connsiteY154" fmla="*/ 39436 h 1472131"/>
                    <a:gd name="connsiteX155" fmla="*/ 61805 w 729085"/>
                    <a:gd name="connsiteY155" fmla="*/ 39436 h 1472131"/>
                    <a:gd name="connsiteX156" fmla="*/ 15007 w 729085"/>
                    <a:gd name="connsiteY156" fmla="*/ 142412 h 1472131"/>
                    <a:gd name="connsiteX157" fmla="*/ 15007 w 729085"/>
                    <a:gd name="connsiteY157" fmla="*/ 142412 h 1472131"/>
                    <a:gd name="connsiteX158" fmla="*/ 13897 w 729085"/>
                    <a:gd name="connsiteY158" fmla="*/ 155322 h 1472131"/>
                    <a:gd name="connsiteX159" fmla="*/ 13897 w 729085"/>
                    <a:gd name="connsiteY159" fmla="*/ 155322 h 1472131"/>
                    <a:gd name="connsiteX160" fmla="*/ 47281 w 729085"/>
                    <a:gd name="connsiteY160" fmla="*/ 195464 h 1472131"/>
                    <a:gd name="connsiteX161" fmla="*/ 47281 w 729085"/>
                    <a:gd name="connsiteY161" fmla="*/ 195464 h 1472131"/>
                    <a:gd name="connsiteX162" fmla="*/ 52324 w 729085"/>
                    <a:gd name="connsiteY162" fmla="*/ 195363 h 1472131"/>
                    <a:gd name="connsiteX163" fmla="*/ 52324 w 729085"/>
                    <a:gd name="connsiteY163" fmla="*/ 195363 h 1472131"/>
                    <a:gd name="connsiteX164" fmla="*/ 57367 w 729085"/>
                    <a:gd name="connsiteY164" fmla="*/ 194960 h 1472131"/>
                    <a:gd name="connsiteX165" fmla="*/ 57367 w 729085"/>
                    <a:gd name="connsiteY165" fmla="*/ 194960 h 1472131"/>
                    <a:gd name="connsiteX166" fmla="*/ 89844 w 729085"/>
                    <a:gd name="connsiteY166" fmla="*/ 235404 h 1472131"/>
                    <a:gd name="connsiteX167" fmla="*/ 89844 w 729085"/>
                    <a:gd name="connsiteY167" fmla="*/ 235404 h 1472131"/>
                    <a:gd name="connsiteX168" fmla="*/ 114655 w 729085"/>
                    <a:gd name="connsiteY168" fmla="*/ 264350 h 1472131"/>
                    <a:gd name="connsiteX169" fmla="*/ 114655 w 729085"/>
                    <a:gd name="connsiteY169" fmla="*/ 264350 h 1472131"/>
                    <a:gd name="connsiteX170" fmla="*/ 126052 w 729085"/>
                    <a:gd name="connsiteY170" fmla="*/ 261022 h 1472131"/>
                    <a:gd name="connsiteX171" fmla="*/ 126052 w 729085"/>
                    <a:gd name="connsiteY171" fmla="*/ 261022 h 1472131"/>
                    <a:gd name="connsiteX172" fmla="*/ 157722 w 729085"/>
                    <a:gd name="connsiteY172" fmla="*/ 228647 h 1472131"/>
                    <a:gd name="connsiteX173" fmla="*/ 157722 w 729085"/>
                    <a:gd name="connsiteY173" fmla="*/ 228647 h 1472131"/>
                    <a:gd name="connsiteX174" fmla="*/ 175674 w 729085"/>
                    <a:gd name="connsiteY174" fmla="*/ 236312 h 1472131"/>
                    <a:gd name="connsiteX175" fmla="*/ 175674 w 729085"/>
                    <a:gd name="connsiteY175" fmla="*/ 236312 h 1472131"/>
                    <a:gd name="connsiteX176" fmla="*/ 189896 w 729085"/>
                    <a:gd name="connsiteY176" fmla="*/ 264048 h 1472131"/>
                    <a:gd name="connsiteX177" fmla="*/ 189896 w 729085"/>
                    <a:gd name="connsiteY177" fmla="*/ 264048 h 1472131"/>
                    <a:gd name="connsiteX178" fmla="*/ 174464 w 729085"/>
                    <a:gd name="connsiteY178" fmla="*/ 306812 h 1472131"/>
                    <a:gd name="connsiteX179" fmla="*/ 174464 w 729085"/>
                    <a:gd name="connsiteY179" fmla="*/ 306812 h 1472131"/>
                    <a:gd name="connsiteX180" fmla="*/ 201797 w 729085"/>
                    <a:gd name="connsiteY180" fmla="*/ 391230 h 1472131"/>
                    <a:gd name="connsiteX181" fmla="*/ 201797 w 729085"/>
                    <a:gd name="connsiteY181" fmla="*/ 391230 h 1472131"/>
                    <a:gd name="connsiteX182" fmla="*/ 138054 w 729085"/>
                    <a:gd name="connsiteY182" fmla="*/ 502578 h 1472131"/>
                    <a:gd name="connsiteX183" fmla="*/ 138054 w 729085"/>
                    <a:gd name="connsiteY183" fmla="*/ 502578 h 1472131"/>
                    <a:gd name="connsiteX184" fmla="*/ 92769 w 729085"/>
                    <a:gd name="connsiteY184" fmla="*/ 584576 h 1472131"/>
                    <a:gd name="connsiteX185" fmla="*/ 92769 w 729085"/>
                    <a:gd name="connsiteY185" fmla="*/ 584576 h 1472131"/>
                    <a:gd name="connsiteX186" fmla="*/ 92365 w 729085"/>
                    <a:gd name="connsiteY186" fmla="*/ 591435 h 1472131"/>
                    <a:gd name="connsiteX187" fmla="*/ 92365 w 729085"/>
                    <a:gd name="connsiteY187" fmla="*/ 591435 h 1472131"/>
                    <a:gd name="connsiteX188" fmla="*/ 121110 w 729085"/>
                    <a:gd name="connsiteY188" fmla="*/ 668692 h 1472131"/>
                    <a:gd name="connsiteX189" fmla="*/ 121110 w 729085"/>
                    <a:gd name="connsiteY189" fmla="*/ 668692 h 1472131"/>
                    <a:gd name="connsiteX190" fmla="*/ 169926 w 729085"/>
                    <a:gd name="connsiteY190" fmla="*/ 696328 h 1472131"/>
                    <a:gd name="connsiteX191" fmla="*/ 169926 w 729085"/>
                    <a:gd name="connsiteY191" fmla="*/ 696328 h 1472131"/>
                    <a:gd name="connsiteX192" fmla="*/ 160848 w 729085"/>
                    <a:gd name="connsiteY192" fmla="*/ 722753 h 1472131"/>
                    <a:gd name="connsiteX193" fmla="*/ 160848 w 729085"/>
                    <a:gd name="connsiteY193" fmla="*/ 722753 h 1472131"/>
                    <a:gd name="connsiteX194" fmla="*/ 111327 w 729085"/>
                    <a:gd name="connsiteY194" fmla="*/ 865367 h 1472131"/>
                    <a:gd name="connsiteX195" fmla="*/ 111327 w 729085"/>
                    <a:gd name="connsiteY195" fmla="*/ 865367 h 1472131"/>
                    <a:gd name="connsiteX196" fmla="*/ 55250 w 729085"/>
                    <a:gd name="connsiteY196" fmla="*/ 983775 h 1472131"/>
                    <a:gd name="connsiteX197" fmla="*/ 55250 w 729085"/>
                    <a:gd name="connsiteY197" fmla="*/ 983775 h 1472131"/>
                    <a:gd name="connsiteX198" fmla="*/ 27413 w 729085"/>
                    <a:gd name="connsiteY198" fmla="*/ 1079489 h 1472131"/>
                    <a:gd name="connsiteX199" fmla="*/ 27413 w 729085"/>
                    <a:gd name="connsiteY199" fmla="*/ 1079489 h 1472131"/>
                    <a:gd name="connsiteX200" fmla="*/ 5829 w 729085"/>
                    <a:gd name="connsiteY200" fmla="*/ 1140206 h 1472131"/>
                    <a:gd name="connsiteX201" fmla="*/ 5829 w 729085"/>
                    <a:gd name="connsiteY201" fmla="*/ 1140206 h 1472131"/>
                    <a:gd name="connsiteX202" fmla="*/ 25698 w 729085"/>
                    <a:gd name="connsiteY202" fmla="*/ 1170363 h 1472131"/>
                    <a:gd name="connsiteX203" fmla="*/ 25698 w 729085"/>
                    <a:gd name="connsiteY203" fmla="*/ 1170363 h 1472131"/>
                    <a:gd name="connsiteX204" fmla="*/ 113647 w 729085"/>
                    <a:gd name="connsiteY204" fmla="*/ 1199007 h 1472131"/>
                    <a:gd name="connsiteX205" fmla="*/ 113647 w 729085"/>
                    <a:gd name="connsiteY205" fmla="*/ 1199007 h 1472131"/>
                    <a:gd name="connsiteX206" fmla="*/ 126960 w 729085"/>
                    <a:gd name="connsiteY206" fmla="*/ 1229365 h 1472131"/>
                    <a:gd name="connsiteX207" fmla="*/ 126960 w 729085"/>
                    <a:gd name="connsiteY207" fmla="*/ 1229365 h 1472131"/>
                    <a:gd name="connsiteX208" fmla="*/ 124438 w 729085"/>
                    <a:gd name="connsiteY208" fmla="*/ 1255689 h 1472131"/>
                    <a:gd name="connsiteX209" fmla="*/ 124438 w 729085"/>
                    <a:gd name="connsiteY209" fmla="*/ 1255689 h 1472131"/>
                    <a:gd name="connsiteX210" fmla="*/ 138760 w 729085"/>
                    <a:gd name="connsiteY210" fmla="*/ 1292704 h 1472131"/>
                    <a:gd name="connsiteX211" fmla="*/ 138760 w 729085"/>
                    <a:gd name="connsiteY211" fmla="*/ 1292704 h 1472131"/>
                    <a:gd name="connsiteX212" fmla="*/ 167404 w 729085"/>
                    <a:gd name="connsiteY212" fmla="*/ 1354934 h 1472131"/>
                    <a:gd name="connsiteX213" fmla="*/ 167404 w 729085"/>
                    <a:gd name="connsiteY213" fmla="*/ 1354934 h 1472131"/>
                    <a:gd name="connsiteX214" fmla="*/ 157117 w 729085"/>
                    <a:gd name="connsiteY214" fmla="*/ 1382771 h 1472131"/>
                    <a:gd name="connsiteX215" fmla="*/ 157117 w 729085"/>
                    <a:gd name="connsiteY215" fmla="*/ 1382771 h 1472131"/>
                    <a:gd name="connsiteX216" fmla="*/ 213396 w 729085"/>
                    <a:gd name="connsiteY216" fmla="*/ 1460634 h 1472131"/>
                    <a:gd name="connsiteX217" fmla="*/ 213396 w 729085"/>
                    <a:gd name="connsiteY217" fmla="*/ 1460634 h 1472131"/>
                    <a:gd name="connsiteX218" fmla="*/ 227818 w 729085"/>
                    <a:gd name="connsiteY218" fmla="*/ 1466483 h 1472131"/>
                    <a:gd name="connsiteX219" fmla="*/ 227818 w 729085"/>
                    <a:gd name="connsiteY219" fmla="*/ 1466483 h 1472131"/>
                    <a:gd name="connsiteX220" fmla="*/ 285610 w 729085"/>
                    <a:gd name="connsiteY220" fmla="*/ 1450346 h 1472131"/>
                    <a:gd name="connsiteX221" fmla="*/ 285610 w 729085"/>
                    <a:gd name="connsiteY221" fmla="*/ 1450346 h 1472131"/>
                    <a:gd name="connsiteX222" fmla="*/ 323835 w 729085"/>
                    <a:gd name="connsiteY222" fmla="*/ 1409498 h 1472131"/>
                    <a:gd name="connsiteX223" fmla="*/ 323835 w 729085"/>
                    <a:gd name="connsiteY223" fmla="*/ 1409498 h 1472131"/>
                    <a:gd name="connsiteX224" fmla="*/ 386872 w 729085"/>
                    <a:gd name="connsiteY224" fmla="*/ 1379543 h 1472131"/>
                    <a:gd name="connsiteX225" fmla="*/ 386872 w 729085"/>
                    <a:gd name="connsiteY225" fmla="*/ 1379543 h 1472131"/>
                    <a:gd name="connsiteX226" fmla="*/ 394537 w 729085"/>
                    <a:gd name="connsiteY226" fmla="*/ 1356245 h 1472131"/>
                    <a:gd name="connsiteX227" fmla="*/ 394537 w 729085"/>
                    <a:gd name="connsiteY227" fmla="*/ 1356245 h 1472131"/>
                    <a:gd name="connsiteX228" fmla="*/ 394436 w 729085"/>
                    <a:gd name="connsiteY228" fmla="*/ 1349185 h 1472131"/>
                    <a:gd name="connsiteX229" fmla="*/ 394436 w 729085"/>
                    <a:gd name="connsiteY229" fmla="*/ 1349185 h 1472131"/>
                    <a:gd name="connsiteX230" fmla="*/ 398774 w 729085"/>
                    <a:gd name="connsiteY230" fmla="*/ 1327299 h 1472131"/>
                    <a:gd name="connsiteX231" fmla="*/ 398774 w 729085"/>
                    <a:gd name="connsiteY231" fmla="*/ 1327299 h 1472131"/>
                    <a:gd name="connsiteX232" fmla="*/ 402203 w 729085"/>
                    <a:gd name="connsiteY232" fmla="*/ 1308741 h 1472131"/>
                    <a:gd name="connsiteX233" fmla="*/ 402203 w 729085"/>
                    <a:gd name="connsiteY233" fmla="*/ 1308741 h 1472131"/>
                    <a:gd name="connsiteX234" fmla="*/ 387679 w 729085"/>
                    <a:gd name="connsiteY234" fmla="*/ 1265775 h 1472131"/>
                    <a:gd name="connsiteX235" fmla="*/ 387679 w 729085"/>
                    <a:gd name="connsiteY235" fmla="*/ 1265775 h 1472131"/>
                    <a:gd name="connsiteX236" fmla="*/ 364583 w 729085"/>
                    <a:gd name="connsiteY236" fmla="*/ 1236123 h 1472131"/>
                    <a:gd name="connsiteX237" fmla="*/ 364583 w 729085"/>
                    <a:gd name="connsiteY237" fmla="*/ 1236123 h 1472131"/>
                    <a:gd name="connsiteX238" fmla="*/ 370735 w 729085"/>
                    <a:gd name="connsiteY238" fmla="*/ 1212320 h 1472131"/>
                    <a:gd name="connsiteX239" fmla="*/ 370735 w 729085"/>
                    <a:gd name="connsiteY239" fmla="*/ 1212320 h 1472131"/>
                    <a:gd name="connsiteX240" fmla="*/ 380619 w 729085"/>
                    <a:gd name="connsiteY240" fmla="*/ 1159874 h 1472131"/>
                    <a:gd name="connsiteX241" fmla="*/ 380619 w 729085"/>
                    <a:gd name="connsiteY241" fmla="*/ 1159874 h 1472131"/>
                    <a:gd name="connsiteX242" fmla="*/ 376786 w 729085"/>
                    <a:gd name="connsiteY242" fmla="*/ 1110957 h 1472131"/>
                    <a:gd name="connsiteX243" fmla="*/ 376786 w 729085"/>
                    <a:gd name="connsiteY243" fmla="*/ 1110957 h 1472131"/>
                    <a:gd name="connsiteX244" fmla="*/ 376383 w 729085"/>
                    <a:gd name="connsiteY244" fmla="*/ 1105006 h 1472131"/>
                    <a:gd name="connsiteX245" fmla="*/ 376383 w 729085"/>
                    <a:gd name="connsiteY245" fmla="*/ 1105006 h 1472131"/>
                    <a:gd name="connsiteX246" fmla="*/ 401699 w 729085"/>
                    <a:gd name="connsiteY246" fmla="*/ 1007476 h 1472131"/>
                    <a:gd name="connsiteX247" fmla="*/ 401699 w 729085"/>
                    <a:gd name="connsiteY247" fmla="*/ 1007476 h 1472131"/>
                    <a:gd name="connsiteX248" fmla="*/ 405228 w 729085"/>
                    <a:gd name="connsiteY248" fmla="*/ 967032 h 1472131"/>
                    <a:gd name="connsiteX249" fmla="*/ 405228 w 729085"/>
                    <a:gd name="connsiteY249" fmla="*/ 967032 h 1472131"/>
                    <a:gd name="connsiteX250" fmla="*/ 386772 w 729085"/>
                    <a:gd name="connsiteY250" fmla="*/ 903794 h 1472131"/>
                    <a:gd name="connsiteX251" fmla="*/ 386772 w 729085"/>
                    <a:gd name="connsiteY251" fmla="*/ 903794 h 1472131"/>
                    <a:gd name="connsiteX252" fmla="*/ 378904 w 729085"/>
                    <a:gd name="connsiteY252" fmla="*/ 876965 h 1472131"/>
                    <a:gd name="connsiteX253" fmla="*/ 378904 w 729085"/>
                    <a:gd name="connsiteY253" fmla="*/ 876965 h 1472131"/>
                    <a:gd name="connsiteX254" fmla="*/ 407952 w 729085"/>
                    <a:gd name="connsiteY254" fmla="*/ 770560 h 1472131"/>
                    <a:gd name="connsiteX255" fmla="*/ 407952 w 729085"/>
                    <a:gd name="connsiteY255" fmla="*/ 770560 h 1472131"/>
                    <a:gd name="connsiteX256" fmla="*/ 457675 w 729085"/>
                    <a:gd name="connsiteY256" fmla="*/ 618364 h 1472131"/>
                    <a:gd name="connsiteX257" fmla="*/ 457675 w 729085"/>
                    <a:gd name="connsiteY257" fmla="*/ 618364 h 1472131"/>
                    <a:gd name="connsiteX258" fmla="*/ 498119 w 729085"/>
                    <a:gd name="connsiteY258" fmla="*/ 409990 h 1472131"/>
                    <a:gd name="connsiteX259" fmla="*/ 498119 w 729085"/>
                    <a:gd name="connsiteY259" fmla="*/ 409990 h 1472131"/>
                    <a:gd name="connsiteX260" fmla="*/ 602004 w 729085"/>
                    <a:gd name="connsiteY260" fmla="*/ 255172 h 1472131"/>
                    <a:gd name="connsiteX261" fmla="*/ 602004 w 729085"/>
                    <a:gd name="connsiteY261" fmla="*/ 255172 h 1472131"/>
                    <a:gd name="connsiteX262" fmla="*/ 650718 w 729085"/>
                    <a:gd name="connsiteY262" fmla="*/ 194657 h 1472131"/>
                    <a:gd name="connsiteX263" fmla="*/ 650718 w 729085"/>
                    <a:gd name="connsiteY263" fmla="*/ 194657 h 1472131"/>
                    <a:gd name="connsiteX264" fmla="*/ 704677 w 729085"/>
                    <a:gd name="connsiteY264" fmla="*/ 112054 h 1472131"/>
                    <a:gd name="connsiteX265" fmla="*/ 704677 w 729085"/>
                    <a:gd name="connsiteY265" fmla="*/ 112054 h 1472131"/>
                    <a:gd name="connsiteX266" fmla="*/ 723438 w 729085"/>
                    <a:gd name="connsiteY266" fmla="*/ 72820 h 1472131"/>
                    <a:gd name="connsiteX267" fmla="*/ 723438 w 729085"/>
                    <a:gd name="connsiteY267" fmla="*/ 72820 h 1472131"/>
                    <a:gd name="connsiteX268" fmla="*/ 717083 w 729085"/>
                    <a:gd name="connsiteY268" fmla="*/ 53859 h 1472131"/>
                    <a:gd name="connsiteX269" fmla="*/ 717083 w 729085"/>
                    <a:gd name="connsiteY269" fmla="*/ 53859 h 1472131"/>
                    <a:gd name="connsiteX270" fmla="*/ 719000 w 729085"/>
                    <a:gd name="connsiteY270" fmla="*/ 51942 h 1472131"/>
                    <a:gd name="connsiteX271" fmla="*/ 720916 w 729085"/>
                    <a:gd name="connsiteY271" fmla="*/ 49824 h 1472131"/>
                    <a:gd name="connsiteX272" fmla="*/ 729086 w 729085"/>
                    <a:gd name="connsiteY272" fmla="*/ 72820 h 1472131"/>
                    <a:gd name="connsiteX273" fmla="*/ 729086 w 729085"/>
                    <a:gd name="connsiteY273" fmla="*/ 72820 h 1472131"/>
                    <a:gd name="connsiteX274" fmla="*/ 708409 w 729085"/>
                    <a:gd name="connsiteY274" fmla="*/ 116290 h 1472131"/>
                    <a:gd name="connsiteX275" fmla="*/ 708409 w 729085"/>
                    <a:gd name="connsiteY275" fmla="*/ 116290 h 1472131"/>
                    <a:gd name="connsiteX276" fmla="*/ 656265 w 729085"/>
                    <a:gd name="connsiteY276" fmla="*/ 195666 h 1472131"/>
                    <a:gd name="connsiteX277" fmla="*/ 656265 w 729085"/>
                    <a:gd name="connsiteY277" fmla="*/ 195666 h 1472131"/>
                    <a:gd name="connsiteX278" fmla="*/ 605534 w 729085"/>
                    <a:gd name="connsiteY278" fmla="*/ 259610 h 1472131"/>
                    <a:gd name="connsiteX279" fmla="*/ 605534 w 729085"/>
                    <a:gd name="connsiteY279" fmla="*/ 259610 h 1472131"/>
                    <a:gd name="connsiteX280" fmla="*/ 503767 w 729085"/>
                    <a:gd name="connsiteY280" fmla="*/ 409990 h 1472131"/>
                    <a:gd name="connsiteX281" fmla="*/ 503767 w 729085"/>
                    <a:gd name="connsiteY281" fmla="*/ 409990 h 1472131"/>
                    <a:gd name="connsiteX282" fmla="*/ 463323 w 729085"/>
                    <a:gd name="connsiteY282" fmla="*/ 618868 h 1472131"/>
                    <a:gd name="connsiteX283" fmla="*/ 463323 w 729085"/>
                    <a:gd name="connsiteY283" fmla="*/ 618868 h 1472131"/>
                    <a:gd name="connsiteX284" fmla="*/ 413499 w 729085"/>
                    <a:gd name="connsiteY284" fmla="*/ 771972 h 1472131"/>
                    <a:gd name="connsiteX285" fmla="*/ 413499 w 729085"/>
                    <a:gd name="connsiteY285" fmla="*/ 771972 h 1472131"/>
                    <a:gd name="connsiteX286" fmla="*/ 384452 w 729085"/>
                    <a:gd name="connsiteY286" fmla="*/ 877066 h 1472131"/>
                    <a:gd name="connsiteX287" fmla="*/ 384452 w 729085"/>
                    <a:gd name="connsiteY287" fmla="*/ 877066 h 1472131"/>
                    <a:gd name="connsiteX288" fmla="*/ 391109 w 729085"/>
                    <a:gd name="connsiteY288" fmla="*/ 900465 h 1472131"/>
                    <a:gd name="connsiteX289" fmla="*/ 391109 w 729085"/>
                    <a:gd name="connsiteY289" fmla="*/ 900465 h 1472131"/>
                    <a:gd name="connsiteX290" fmla="*/ 410876 w 729085"/>
                    <a:gd name="connsiteY290" fmla="*/ 967133 h 1472131"/>
                    <a:gd name="connsiteX291" fmla="*/ 410876 w 729085"/>
                    <a:gd name="connsiteY291" fmla="*/ 967133 h 1472131"/>
                    <a:gd name="connsiteX292" fmla="*/ 407246 w 729085"/>
                    <a:gd name="connsiteY292" fmla="*/ 1008485 h 1472131"/>
                    <a:gd name="connsiteX293" fmla="*/ 407246 w 729085"/>
                    <a:gd name="connsiteY293" fmla="*/ 1008485 h 1472131"/>
                    <a:gd name="connsiteX294" fmla="*/ 381930 w 729085"/>
                    <a:gd name="connsiteY294" fmla="*/ 1105107 h 1472131"/>
                    <a:gd name="connsiteX295" fmla="*/ 381930 w 729085"/>
                    <a:gd name="connsiteY295" fmla="*/ 1105107 h 1472131"/>
                    <a:gd name="connsiteX296" fmla="*/ 382334 w 729085"/>
                    <a:gd name="connsiteY296" fmla="*/ 1110453 h 1472131"/>
                    <a:gd name="connsiteX297" fmla="*/ 382334 w 729085"/>
                    <a:gd name="connsiteY297" fmla="*/ 1110453 h 1472131"/>
                    <a:gd name="connsiteX298" fmla="*/ 386167 w 729085"/>
                    <a:gd name="connsiteY298" fmla="*/ 1159974 h 1472131"/>
                    <a:gd name="connsiteX299" fmla="*/ 386167 w 729085"/>
                    <a:gd name="connsiteY299" fmla="*/ 1159974 h 1472131"/>
                    <a:gd name="connsiteX300" fmla="*/ 375980 w 729085"/>
                    <a:gd name="connsiteY300" fmla="*/ 1214741 h 1472131"/>
                    <a:gd name="connsiteX301" fmla="*/ 375980 w 729085"/>
                    <a:gd name="connsiteY301" fmla="*/ 1214741 h 1472131"/>
                    <a:gd name="connsiteX302" fmla="*/ 370231 w 729085"/>
                    <a:gd name="connsiteY302" fmla="*/ 1236324 h 1472131"/>
                    <a:gd name="connsiteX303" fmla="*/ 370231 w 729085"/>
                    <a:gd name="connsiteY303" fmla="*/ 1236324 h 1472131"/>
                    <a:gd name="connsiteX304" fmla="*/ 390201 w 729085"/>
                    <a:gd name="connsiteY304" fmla="*/ 1260934 h 1472131"/>
                    <a:gd name="connsiteX305" fmla="*/ 390201 w 729085"/>
                    <a:gd name="connsiteY305" fmla="*/ 1260934 h 1472131"/>
                    <a:gd name="connsiteX306" fmla="*/ 407851 w 729085"/>
                    <a:gd name="connsiteY306" fmla="*/ 1308942 h 1472131"/>
                    <a:gd name="connsiteX307" fmla="*/ 407851 w 729085"/>
                    <a:gd name="connsiteY307" fmla="*/ 1308942 h 1472131"/>
                    <a:gd name="connsiteX308" fmla="*/ 403917 w 729085"/>
                    <a:gd name="connsiteY308" fmla="*/ 1330022 h 1472131"/>
                    <a:gd name="connsiteX309" fmla="*/ 403917 w 729085"/>
                    <a:gd name="connsiteY309" fmla="*/ 1330022 h 1472131"/>
                    <a:gd name="connsiteX310" fmla="*/ 400084 w 729085"/>
                    <a:gd name="connsiteY310" fmla="*/ 1349387 h 1472131"/>
                    <a:gd name="connsiteX311" fmla="*/ 400084 w 729085"/>
                    <a:gd name="connsiteY311" fmla="*/ 1349387 h 1472131"/>
                    <a:gd name="connsiteX312" fmla="*/ 400185 w 729085"/>
                    <a:gd name="connsiteY312" fmla="*/ 1356447 h 1472131"/>
                    <a:gd name="connsiteX313" fmla="*/ 400185 w 729085"/>
                    <a:gd name="connsiteY313" fmla="*/ 1356447 h 1472131"/>
                    <a:gd name="connsiteX314" fmla="*/ 390806 w 729085"/>
                    <a:gd name="connsiteY314" fmla="*/ 1383578 h 1472131"/>
                    <a:gd name="connsiteX315" fmla="*/ 390806 w 729085"/>
                    <a:gd name="connsiteY315" fmla="*/ 1383578 h 1472131"/>
                    <a:gd name="connsiteX316" fmla="*/ 329483 w 729085"/>
                    <a:gd name="connsiteY316" fmla="*/ 1409700 h 1472131"/>
                    <a:gd name="connsiteX317" fmla="*/ 329483 w 729085"/>
                    <a:gd name="connsiteY317" fmla="*/ 1409700 h 1472131"/>
                    <a:gd name="connsiteX318" fmla="*/ 286417 w 729085"/>
                    <a:gd name="connsiteY318" fmla="*/ 1455994 h 1472131"/>
                    <a:gd name="connsiteX319" fmla="*/ 286417 w 729085"/>
                    <a:gd name="connsiteY319" fmla="*/ 1455994 h 1472131"/>
                    <a:gd name="connsiteX320" fmla="*/ 227818 w 729085"/>
                    <a:gd name="connsiteY320" fmla="*/ 1472132 h 1472131"/>
                    <a:gd name="connsiteX321" fmla="*/ 227818 w 729085"/>
                    <a:gd name="connsiteY321" fmla="*/ 1472132 h 1472131"/>
                    <a:gd name="connsiteX322" fmla="*/ 227314 w 729085"/>
                    <a:gd name="connsiteY322" fmla="*/ 1472132 h 1472131"/>
                    <a:gd name="connsiteX323" fmla="*/ 227314 w 729085"/>
                    <a:gd name="connsiteY323" fmla="*/ 1472132 h 1472131"/>
                    <a:gd name="connsiteX324" fmla="*/ 209764 w 729085"/>
                    <a:gd name="connsiteY324" fmla="*/ 1464063 h 1472131"/>
                    <a:gd name="connsiteX325" fmla="*/ 209764 w 729085"/>
                    <a:gd name="connsiteY325" fmla="*/ 1464063 h 1472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Lst>
                  <a:rect l="l" t="t" r="r" b="b"/>
                  <a:pathLst>
                    <a:path w="729085" h="1472131">
                      <a:moveTo>
                        <a:pt x="209764" y="1464063"/>
                      </a:moveTo>
                      <a:cubicBezTo>
                        <a:pt x="193022" y="1442681"/>
                        <a:pt x="203007" y="1396084"/>
                        <a:pt x="152276" y="1387209"/>
                      </a:cubicBezTo>
                      <a:lnTo>
                        <a:pt x="152276" y="1387209"/>
                      </a:lnTo>
                      <a:lnTo>
                        <a:pt x="150560" y="1382771"/>
                      </a:lnTo>
                      <a:cubicBezTo>
                        <a:pt x="158226" y="1373593"/>
                        <a:pt x="162462" y="1365121"/>
                        <a:pt x="162462" y="1354833"/>
                      </a:cubicBezTo>
                      <a:lnTo>
                        <a:pt x="162462" y="1354833"/>
                      </a:lnTo>
                      <a:cubicBezTo>
                        <a:pt x="162462" y="1340814"/>
                        <a:pt x="154595" y="1322558"/>
                        <a:pt x="135028" y="1295831"/>
                      </a:cubicBezTo>
                      <a:lnTo>
                        <a:pt x="135028" y="1295831"/>
                      </a:lnTo>
                      <a:cubicBezTo>
                        <a:pt x="122824" y="1279290"/>
                        <a:pt x="119496" y="1266380"/>
                        <a:pt x="119597" y="1255588"/>
                      </a:cubicBezTo>
                      <a:lnTo>
                        <a:pt x="119597" y="1255588"/>
                      </a:lnTo>
                      <a:cubicBezTo>
                        <a:pt x="119597" y="1245301"/>
                        <a:pt x="122219" y="1237131"/>
                        <a:pt x="122219" y="1229264"/>
                      </a:cubicBezTo>
                      <a:lnTo>
                        <a:pt x="122219" y="1229264"/>
                      </a:lnTo>
                      <a:cubicBezTo>
                        <a:pt x="122118" y="1221397"/>
                        <a:pt x="120001" y="1213530"/>
                        <a:pt x="110217" y="1202738"/>
                      </a:cubicBezTo>
                      <a:lnTo>
                        <a:pt x="110217" y="1202738"/>
                      </a:lnTo>
                      <a:cubicBezTo>
                        <a:pt x="80262" y="1169657"/>
                        <a:pt x="45063" y="1185189"/>
                        <a:pt x="23882" y="1175406"/>
                      </a:cubicBezTo>
                      <a:lnTo>
                        <a:pt x="23882" y="1175406"/>
                      </a:lnTo>
                      <a:cubicBezTo>
                        <a:pt x="14401" y="1170363"/>
                        <a:pt x="6938" y="1155335"/>
                        <a:pt x="181" y="1139500"/>
                      </a:cubicBezTo>
                      <a:lnTo>
                        <a:pt x="181" y="1139500"/>
                      </a:lnTo>
                      <a:cubicBezTo>
                        <a:pt x="-223" y="1138492"/>
                        <a:pt x="80" y="1137180"/>
                        <a:pt x="786" y="1136374"/>
                      </a:cubicBezTo>
                      <a:lnTo>
                        <a:pt x="786" y="1136374"/>
                      </a:lnTo>
                      <a:cubicBezTo>
                        <a:pt x="1492" y="1135668"/>
                        <a:pt x="2702" y="1135365"/>
                        <a:pt x="3710" y="1135768"/>
                      </a:cubicBezTo>
                      <a:lnTo>
                        <a:pt x="3710" y="1135768"/>
                      </a:lnTo>
                      <a:cubicBezTo>
                        <a:pt x="11880" y="1134861"/>
                        <a:pt x="22269" y="1106620"/>
                        <a:pt x="22269" y="1079389"/>
                      </a:cubicBezTo>
                      <a:lnTo>
                        <a:pt x="22269" y="1079389"/>
                      </a:lnTo>
                      <a:cubicBezTo>
                        <a:pt x="22269" y="1050341"/>
                        <a:pt x="38003" y="1022202"/>
                        <a:pt x="50307" y="981959"/>
                      </a:cubicBezTo>
                      <a:lnTo>
                        <a:pt x="50307" y="981959"/>
                      </a:lnTo>
                      <a:cubicBezTo>
                        <a:pt x="63015" y="941011"/>
                        <a:pt x="100535" y="884530"/>
                        <a:pt x="106384" y="863652"/>
                      </a:cubicBezTo>
                      <a:lnTo>
                        <a:pt x="106384" y="863652"/>
                      </a:lnTo>
                      <a:cubicBezTo>
                        <a:pt x="112537" y="842068"/>
                        <a:pt x="128069" y="767130"/>
                        <a:pt x="156511" y="719828"/>
                      </a:cubicBezTo>
                      <a:lnTo>
                        <a:pt x="156511" y="719828"/>
                      </a:lnTo>
                      <a:cubicBezTo>
                        <a:pt x="162361" y="709641"/>
                        <a:pt x="164782" y="701976"/>
                        <a:pt x="164782" y="696227"/>
                      </a:cubicBezTo>
                      <a:lnTo>
                        <a:pt x="164782" y="696227"/>
                      </a:lnTo>
                      <a:cubicBezTo>
                        <a:pt x="164681" y="676761"/>
                        <a:pt x="136239" y="674240"/>
                        <a:pt x="121513" y="674240"/>
                      </a:cubicBezTo>
                      <a:lnTo>
                        <a:pt x="121513" y="674240"/>
                      </a:lnTo>
                      <a:cubicBezTo>
                        <a:pt x="99829" y="672323"/>
                        <a:pt x="87928" y="620179"/>
                        <a:pt x="87121" y="591435"/>
                      </a:cubicBezTo>
                      <a:lnTo>
                        <a:pt x="87121" y="591435"/>
                      </a:lnTo>
                      <a:cubicBezTo>
                        <a:pt x="87121" y="588712"/>
                        <a:pt x="87222" y="586190"/>
                        <a:pt x="87524" y="583870"/>
                      </a:cubicBezTo>
                      <a:lnTo>
                        <a:pt x="87524" y="583870"/>
                      </a:lnTo>
                      <a:cubicBezTo>
                        <a:pt x="90449" y="560169"/>
                        <a:pt x="81574" y="525978"/>
                        <a:pt x="135735" y="497636"/>
                      </a:cubicBezTo>
                      <a:lnTo>
                        <a:pt x="135735" y="497636"/>
                      </a:lnTo>
                      <a:cubicBezTo>
                        <a:pt x="188080" y="469598"/>
                        <a:pt x="196250" y="447005"/>
                        <a:pt x="196552" y="391230"/>
                      </a:cubicBezTo>
                      <a:lnTo>
                        <a:pt x="196552" y="391230"/>
                      </a:lnTo>
                      <a:cubicBezTo>
                        <a:pt x="196552" y="336162"/>
                        <a:pt x="169321" y="309132"/>
                        <a:pt x="169220" y="309031"/>
                      </a:cubicBezTo>
                      <a:lnTo>
                        <a:pt x="169220" y="309031"/>
                      </a:lnTo>
                      <a:lnTo>
                        <a:pt x="169018" y="305501"/>
                      </a:lnTo>
                      <a:cubicBezTo>
                        <a:pt x="169018" y="305400"/>
                        <a:pt x="184752" y="283614"/>
                        <a:pt x="184651" y="264048"/>
                      </a:cubicBezTo>
                      <a:lnTo>
                        <a:pt x="184651" y="264048"/>
                      </a:lnTo>
                      <a:cubicBezTo>
                        <a:pt x="184550" y="255172"/>
                        <a:pt x="181726" y="247204"/>
                        <a:pt x="172749" y="240850"/>
                      </a:cubicBezTo>
                      <a:lnTo>
                        <a:pt x="172749" y="240850"/>
                      </a:lnTo>
                      <a:cubicBezTo>
                        <a:pt x="165689" y="235807"/>
                        <a:pt x="160848" y="234093"/>
                        <a:pt x="157924" y="234194"/>
                      </a:cubicBezTo>
                      <a:lnTo>
                        <a:pt x="157924" y="234194"/>
                      </a:lnTo>
                      <a:cubicBezTo>
                        <a:pt x="148342" y="232681"/>
                        <a:pt x="147031" y="254567"/>
                        <a:pt x="128977" y="265762"/>
                      </a:cubicBezTo>
                      <a:lnTo>
                        <a:pt x="128977" y="265762"/>
                      </a:lnTo>
                      <a:cubicBezTo>
                        <a:pt x="124237" y="268486"/>
                        <a:pt x="119295" y="269797"/>
                        <a:pt x="114857" y="269797"/>
                      </a:cubicBezTo>
                      <a:lnTo>
                        <a:pt x="114857" y="269797"/>
                      </a:lnTo>
                      <a:cubicBezTo>
                        <a:pt x="96803" y="269595"/>
                        <a:pt x="84498" y="251541"/>
                        <a:pt x="84498" y="235303"/>
                      </a:cubicBezTo>
                      <a:lnTo>
                        <a:pt x="84498" y="235303"/>
                      </a:lnTo>
                      <a:cubicBezTo>
                        <a:pt x="84296" y="218460"/>
                        <a:pt x="76732" y="200406"/>
                        <a:pt x="57569" y="200406"/>
                      </a:cubicBezTo>
                      <a:lnTo>
                        <a:pt x="57569" y="200406"/>
                      </a:lnTo>
                      <a:cubicBezTo>
                        <a:pt x="56258" y="200406"/>
                        <a:pt x="54846" y="200507"/>
                        <a:pt x="53232" y="200709"/>
                      </a:cubicBezTo>
                      <a:lnTo>
                        <a:pt x="53232" y="200709"/>
                      </a:lnTo>
                      <a:cubicBezTo>
                        <a:pt x="51215" y="200910"/>
                        <a:pt x="49400" y="200910"/>
                        <a:pt x="47483" y="200910"/>
                      </a:cubicBezTo>
                      <a:lnTo>
                        <a:pt x="47483" y="200910"/>
                      </a:lnTo>
                      <a:cubicBezTo>
                        <a:pt x="26404" y="200910"/>
                        <a:pt x="8652" y="184975"/>
                        <a:pt x="8652" y="155221"/>
                      </a:cubicBezTo>
                      <a:lnTo>
                        <a:pt x="8652" y="155221"/>
                      </a:lnTo>
                      <a:cubicBezTo>
                        <a:pt x="8652" y="150884"/>
                        <a:pt x="9056" y="146346"/>
                        <a:pt x="9661" y="141505"/>
                      </a:cubicBezTo>
                      <a:lnTo>
                        <a:pt x="9661" y="141505"/>
                      </a:lnTo>
                      <a:cubicBezTo>
                        <a:pt x="16520" y="99245"/>
                        <a:pt x="53837" y="80788"/>
                        <a:pt x="56460" y="38931"/>
                      </a:cubicBezTo>
                      <a:lnTo>
                        <a:pt x="56460" y="38931"/>
                      </a:lnTo>
                      <a:cubicBezTo>
                        <a:pt x="57670" y="17852"/>
                        <a:pt x="67554" y="7665"/>
                        <a:pt x="78346" y="7665"/>
                      </a:cubicBezTo>
                      <a:lnTo>
                        <a:pt x="78346" y="7665"/>
                      </a:lnTo>
                      <a:cubicBezTo>
                        <a:pt x="89440" y="7766"/>
                        <a:pt x="99425" y="18256"/>
                        <a:pt x="99425" y="32678"/>
                      </a:cubicBezTo>
                      <a:lnTo>
                        <a:pt x="99425" y="32678"/>
                      </a:lnTo>
                      <a:cubicBezTo>
                        <a:pt x="99425" y="33788"/>
                        <a:pt x="99425" y="35099"/>
                        <a:pt x="99325" y="36309"/>
                      </a:cubicBezTo>
                      <a:lnTo>
                        <a:pt x="99325" y="36309"/>
                      </a:lnTo>
                      <a:cubicBezTo>
                        <a:pt x="98316" y="43974"/>
                        <a:pt x="97913" y="49219"/>
                        <a:pt x="97913" y="53052"/>
                      </a:cubicBezTo>
                      <a:lnTo>
                        <a:pt x="97913" y="53052"/>
                      </a:lnTo>
                      <a:cubicBezTo>
                        <a:pt x="97913" y="62835"/>
                        <a:pt x="101039" y="64449"/>
                        <a:pt x="117277" y="80687"/>
                      </a:cubicBezTo>
                      <a:lnTo>
                        <a:pt x="117277" y="80687"/>
                      </a:lnTo>
                      <a:cubicBezTo>
                        <a:pt x="137752" y="101464"/>
                        <a:pt x="155906" y="92286"/>
                        <a:pt x="200385" y="111247"/>
                      </a:cubicBezTo>
                      <a:lnTo>
                        <a:pt x="200385" y="111247"/>
                      </a:lnTo>
                      <a:cubicBezTo>
                        <a:pt x="224490" y="121535"/>
                        <a:pt x="255756" y="125166"/>
                        <a:pt x="285812" y="125166"/>
                      </a:cubicBezTo>
                      <a:lnTo>
                        <a:pt x="285812" y="125166"/>
                      </a:lnTo>
                      <a:cubicBezTo>
                        <a:pt x="308808" y="125166"/>
                        <a:pt x="330997" y="123048"/>
                        <a:pt x="348445" y="120425"/>
                      </a:cubicBezTo>
                      <a:lnTo>
                        <a:pt x="348445" y="120425"/>
                      </a:lnTo>
                      <a:cubicBezTo>
                        <a:pt x="372853" y="116189"/>
                        <a:pt x="375375" y="108524"/>
                        <a:pt x="375778" y="97329"/>
                      </a:cubicBezTo>
                      <a:lnTo>
                        <a:pt x="375778" y="97329"/>
                      </a:lnTo>
                      <a:cubicBezTo>
                        <a:pt x="375778" y="90369"/>
                        <a:pt x="374063" y="81998"/>
                        <a:pt x="373962" y="73324"/>
                      </a:cubicBezTo>
                      <a:lnTo>
                        <a:pt x="373962" y="73324"/>
                      </a:lnTo>
                      <a:cubicBezTo>
                        <a:pt x="374870" y="53253"/>
                        <a:pt x="398370" y="45588"/>
                        <a:pt x="397463" y="31670"/>
                      </a:cubicBezTo>
                      <a:lnTo>
                        <a:pt x="397463" y="31670"/>
                      </a:lnTo>
                      <a:cubicBezTo>
                        <a:pt x="397463" y="29854"/>
                        <a:pt x="397261" y="27938"/>
                        <a:pt x="396353" y="25719"/>
                      </a:cubicBezTo>
                      <a:lnTo>
                        <a:pt x="396353" y="25719"/>
                      </a:lnTo>
                      <a:lnTo>
                        <a:pt x="398572" y="22088"/>
                      </a:lnTo>
                      <a:cubicBezTo>
                        <a:pt x="409263" y="20373"/>
                        <a:pt x="420862" y="19264"/>
                        <a:pt x="432258" y="19264"/>
                      </a:cubicBezTo>
                      <a:lnTo>
                        <a:pt x="432258" y="19264"/>
                      </a:lnTo>
                      <a:cubicBezTo>
                        <a:pt x="438915" y="19264"/>
                        <a:pt x="445673" y="19768"/>
                        <a:pt x="451926" y="20777"/>
                      </a:cubicBezTo>
                      <a:lnTo>
                        <a:pt x="451926" y="20777"/>
                      </a:lnTo>
                      <a:cubicBezTo>
                        <a:pt x="457675" y="21685"/>
                        <a:pt x="463323" y="22189"/>
                        <a:pt x="468770" y="22189"/>
                      </a:cubicBezTo>
                      <a:lnTo>
                        <a:pt x="468770" y="22189"/>
                      </a:lnTo>
                      <a:cubicBezTo>
                        <a:pt x="497716" y="22189"/>
                        <a:pt x="522124" y="10187"/>
                        <a:pt x="540681" y="2320"/>
                      </a:cubicBezTo>
                      <a:lnTo>
                        <a:pt x="540681" y="2320"/>
                      </a:lnTo>
                      <a:cubicBezTo>
                        <a:pt x="544212" y="706"/>
                        <a:pt x="547742" y="0"/>
                        <a:pt x="551272" y="0"/>
                      </a:cubicBezTo>
                      <a:lnTo>
                        <a:pt x="551272" y="0"/>
                      </a:lnTo>
                      <a:cubicBezTo>
                        <a:pt x="571141" y="504"/>
                        <a:pt x="587178" y="20979"/>
                        <a:pt x="623789" y="36511"/>
                      </a:cubicBezTo>
                      <a:lnTo>
                        <a:pt x="623789" y="36511"/>
                      </a:lnTo>
                      <a:cubicBezTo>
                        <a:pt x="640229" y="43470"/>
                        <a:pt x="656265" y="45084"/>
                        <a:pt x="670587" y="45084"/>
                      </a:cubicBezTo>
                      <a:lnTo>
                        <a:pt x="670587" y="45084"/>
                      </a:lnTo>
                      <a:cubicBezTo>
                        <a:pt x="682186" y="45084"/>
                        <a:pt x="692574" y="44075"/>
                        <a:pt x="701450" y="44075"/>
                      </a:cubicBezTo>
                      <a:lnTo>
                        <a:pt x="701450" y="44075"/>
                      </a:lnTo>
                      <a:cubicBezTo>
                        <a:pt x="709519" y="44176"/>
                        <a:pt x="716478" y="44983"/>
                        <a:pt x="721218" y="49522"/>
                      </a:cubicBezTo>
                      <a:lnTo>
                        <a:pt x="721218" y="49522"/>
                      </a:lnTo>
                      <a:lnTo>
                        <a:pt x="719302" y="51640"/>
                      </a:lnTo>
                      <a:lnTo>
                        <a:pt x="717386" y="53556"/>
                      </a:lnTo>
                      <a:cubicBezTo>
                        <a:pt x="714662" y="50833"/>
                        <a:pt x="709317" y="49522"/>
                        <a:pt x="701450" y="49723"/>
                      </a:cubicBezTo>
                      <a:lnTo>
                        <a:pt x="701450" y="49723"/>
                      </a:lnTo>
                      <a:cubicBezTo>
                        <a:pt x="693079" y="49723"/>
                        <a:pt x="682488" y="50732"/>
                        <a:pt x="670587" y="50732"/>
                      </a:cubicBezTo>
                      <a:lnTo>
                        <a:pt x="670587" y="50732"/>
                      </a:lnTo>
                      <a:cubicBezTo>
                        <a:pt x="655862" y="50732"/>
                        <a:pt x="639018" y="49017"/>
                        <a:pt x="621671" y="41755"/>
                      </a:cubicBezTo>
                      <a:lnTo>
                        <a:pt x="621671" y="41755"/>
                      </a:lnTo>
                      <a:cubicBezTo>
                        <a:pt x="584252" y="25416"/>
                        <a:pt x="566602" y="5245"/>
                        <a:pt x="551272" y="5749"/>
                      </a:cubicBezTo>
                      <a:lnTo>
                        <a:pt x="551272" y="5749"/>
                      </a:lnTo>
                      <a:cubicBezTo>
                        <a:pt x="548549" y="5749"/>
                        <a:pt x="545825" y="6253"/>
                        <a:pt x="542800" y="7564"/>
                      </a:cubicBezTo>
                      <a:lnTo>
                        <a:pt x="542800" y="7564"/>
                      </a:lnTo>
                      <a:cubicBezTo>
                        <a:pt x="524544" y="15331"/>
                        <a:pt x="499229" y="27837"/>
                        <a:pt x="468770" y="27837"/>
                      </a:cubicBezTo>
                      <a:lnTo>
                        <a:pt x="468770" y="27837"/>
                      </a:lnTo>
                      <a:cubicBezTo>
                        <a:pt x="463021" y="27837"/>
                        <a:pt x="457070" y="27232"/>
                        <a:pt x="451019" y="26324"/>
                      </a:cubicBezTo>
                      <a:lnTo>
                        <a:pt x="451019" y="26324"/>
                      </a:lnTo>
                      <a:cubicBezTo>
                        <a:pt x="445068" y="25316"/>
                        <a:pt x="438713" y="24912"/>
                        <a:pt x="432158" y="24912"/>
                      </a:cubicBezTo>
                      <a:lnTo>
                        <a:pt x="432158" y="24912"/>
                      </a:lnTo>
                      <a:cubicBezTo>
                        <a:pt x="422273" y="24912"/>
                        <a:pt x="412087" y="25820"/>
                        <a:pt x="402506" y="27232"/>
                      </a:cubicBezTo>
                      <a:lnTo>
                        <a:pt x="402506" y="27232"/>
                      </a:lnTo>
                      <a:cubicBezTo>
                        <a:pt x="402808" y="28745"/>
                        <a:pt x="402909" y="30258"/>
                        <a:pt x="402909" y="31771"/>
                      </a:cubicBezTo>
                      <a:lnTo>
                        <a:pt x="402909" y="31771"/>
                      </a:lnTo>
                      <a:cubicBezTo>
                        <a:pt x="402001" y="51035"/>
                        <a:pt x="378703" y="58498"/>
                        <a:pt x="379409" y="73425"/>
                      </a:cubicBezTo>
                      <a:lnTo>
                        <a:pt x="379409" y="73425"/>
                      </a:lnTo>
                      <a:cubicBezTo>
                        <a:pt x="379409" y="81292"/>
                        <a:pt x="381224" y="89562"/>
                        <a:pt x="381224" y="97429"/>
                      </a:cubicBezTo>
                      <a:lnTo>
                        <a:pt x="381224" y="97429"/>
                      </a:lnTo>
                      <a:cubicBezTo>
                        <a:pt x="381527" y="110440"/>
                        <a:pt x="374669" y="122442"/>
                        <a:pt x="349050" y="126073"/>
                      </a:cubicBezTo>
                      <a:lnTo>
                        <a:pt x="349050" y="126073"/>
                      </a:lnTo>
                      <a:cubicBezTo>
                        <a:pt x="331400" y="128696"/>
                        <a:pt x="308909" y="130814"/>
                        <a:pt x="285610" y="130814"/>
                      </a:cubicBezTo>
                      <a:lnTo>
                        <a:pt x="285610" y="130814"/>
                      </a:lnTo>
                      <a:cubicBezTo>
                        <a:pt x="255151" y="130814"/>
                        <a:pt x="223179" y="127183"/>
                        <a:pt x="197964" y="116492"/>
                      </a:cubicBezTo>
                      <a:lnTo>
                        <a:pt x="197964" y="116492"/>
                      </a:lnTo>
                      <a:cubicBezTo>
                        <a:pt x="155301" y="98035"/>
                        <a:pt x="136239" y="107616"/>
                        <a:pt x="112940" y="84822"/>
                      </a:cubicBezTo>
                      <a:lnTo>
                        <a:pt x="112940" y="84822"/>
                      </a:lnTo>
                      <a:cubicBezTo>
                        <a:pt x="97509" y="69391"/>
                        <a:pt x="91962" y="65558"/>
                        <a:pt x="91962" y="53153"/>
                      </a:cubicBezTo>
                      <a:lnTo>
                        <a:pt x="91962" y="53153"/>
                      </a:lnTo>
                      <a:cubicBezTo>
                        <a:pt x="91962" y="48816"/>
                        <a:pt x="92567" y="43369"/>
                        <a:pt x="93475" y="35805"/>
                      </a:cubicBezTo>
                      <a:lnTo>
                        <a:pt x="93475" y="35805"/>
                      </a:lnTo>
                      <a:cubicBezTo>
                        <a:pt x="93576" y="34796"/>
                        <a:pt x="93576" y="33788"/>
                        <a:pt x="93576" y="32779"/>
                      </a:cubicBezTo>
                      <a:lnTo>
                        <a:pt x="93576" y="32779"/>
                      </a:lnTo>
                      <a:cubicBezTo>
                        <a:pt x="93576" y="20878"/>
                        <a:pt x="85406" y="13414"/>
                        <a:pt x="78043" y="13414"/>
                      </a:cubicBezTo>
                      <a:lnTo>
                        <a:pt x="78043" y="13414"/>
                      </a:lnTo>
                      <a:cubicBezTo>
                        <a:pt x="71286" y="13414"/>
                        <a:pt x="63116" y="19567"/>
                        <a:pt x="61805" y="39436"/>
                      </a:cubicBezTo>
                      <a:lnTo>
                        <a:pt x="61805" y="39436"/>
                      </a:lnTo>
                      <a:cubicBezTo>
                        <a:pt x="58174" y="84721"/>
                        <a:pt x="20554" y="103683"/>
                        <a:pt x="15007" y="142412"/>
                      </a:cubicBezTo>
                      <a:lnTo>
                        <a:pt x="15007" y="142412"/>
                      </a:lnTo>
                      <a:cubicBezTo>
                        <a:pt x="14200" y="146951"/>
                        <a:pt x="13897" y="151288"/>
                        <a:pt x="13897" y="155322"/>
                      </a:cubicBezTo>
                      <a:lnTo>
                        <a:pt x="13897" y="155322"/>
                      </a:lnTo>
                      <a:cubicBezTo>
                        <a:pt x="14099" y="182857"/>
                        <a:pt x="29127" y="195363"/>
                        <a:pt x="47281" y="195464"/>
                      </a:cubicBezTo>
                      <a:lnTo>
                        <a:pt x="47281" y="195464"/>
                      </a:lnTo>
                      <a:cubicBezTo>
                        <a:pt x="48996" y="195464"/>
                        <a:pt x="50812" y="195464"/>
                        <a:pt x="52324" y="195363"/>
                      </a:cubicBezTo>
                      <a:lnTo>
                        <a:pt x="52324" y="195363"/>
                      </a:lnTo>
                      <a:cubicBezTo>
                        <a:pt x="54039" y="195161"/>
                        <a:pt x="55653" y="194960"/>
                        <a:pt x="57367" y="194960"/>
                      </a:cubicBezTo>
                      <a:lnTo>
                        <a:pt x="57367" y="194960"/>
                      </a:lnTo>
                      <a:cubicBezTo>
                        <a:pt x="80968" y="195061"/>
                        <a:pt x="89743" y="217350"/>
                        <a:pt x="89844" y="235404"/>
                      </a:cubicBezTo>
                      <a:lnTo>
                        <a:pt x="89844" y="235404"/>
                      </a:lnTo>
                      <a:cubicBezTo>
                        <a:pt x="89844" y="249020"/>
                        <a:pt x="100938" y="264250"/>
                        <a:pt x="114655" y="264350"/>
                      </a:cubicBezTo>
                      <a:lnTo>
                        <a:pt x="114655" y="264350"/>
                      </a:lnTo>
                      <a:cubicBezTo>
                        <a:pt x="118185" y="264350"/>
                        <a:pt x="121917" y="263342"/>
                        <a:pt x="126052" y="261022"/>
                      </a:cubicBezTo>
                      <a:lnTo>
                        <a:pt x="126052" y="261022"/>
                      </a:lnTo>
                      <a:cubicBezTo>
                        <a:pt x="141685" y="253054"/>
                        <a:pt x="140777" y="229958"/>
                        <a:pt x="157722" y="228647"/>
                      </a:cubicBezTo>
                      <a:lnTo>
                        <a:pt x="157722" y="228647"/>
                      </a:lnTo>
                      <a:cubicBezTo>
                        <a:pt x="162664" y="228647"/>
                        <a:pt x="168211" y="231067"/>
                        <a:pt x="175674" y="236312"/>
                      </a:cubicBezTo>
                      <a:lnTo>
                        <a:pt x="175674" y="236312"/>
                      </a:lnTo>
                      <a:cubicBezTo>
                        <a:pt x="186164" y="243574"/>
                        <a:pt x="189896" y="253962"/>
                        <a:pt x="189896" y="264048"/>
                      </a:cubicBezTo>
                      <a:lnTo>
                        <a:pt x="189896" y="264048"/>
                      </a:lnTo>
                      <a:cubicBezTo>
                        <a:pt x="189795" y="282505"/>
                        <a:pt x="178398" y="300861"/>
                        <a:pt x="174464" y="306812"/>
                      </a:cubicBezTo>
                      <a:lnTo>
                        <a:pt x="174464" y="306812"/>
                      </a:lnTo>
                      <a:cubicBezTo>
                        <a:pt x="180516" y="313670"/>
                        <a:pt x="201797" y="342011"/>
                        <a:pt x="201797" y="391230"/>
                      </a:cubicBezTo>
                      <a:lnTo>
                        <a:pt x="201797" y="391230"/>
                      </a:lnTo>
                      <a:cubicBezTo>
                        <a:pt x="202200" y="447308"/>
                        <a:pt x="191711" y="474641"/>
                        <a:pt x="138054" y="502578"/>
                      </a:cubicBezTo>
                      <a:lnTo>
                        <a:pt x="138054" y="502578"/>
                      </a:lnTo>
                      <a:cubicBezTo>
                        <a:pt x="86415" y="530415"/>
                        <a:pt x="96198" y="558555"/>
                        <a:pt x="92769" y="584576"/>
                      </a:cubicBezTo>
                      <a:lnTo>
                        <a:pt x="92769" y="584576"/>
                      </a:lnTo>
                      <a:cubicBezTo>
                        <a:pt x="92466" y="586593"/>
                        <a:pt x="92365" y="588913"/>
                        <a:pt x="92365" y="591435"/>
                      </a:cubicBezTo>
                      <a:lnTo>
                        <a:pt x="92365" y="591435"/>
                      </a:lnTo>
                      <a:cubicBezTo>
                        <a:pt x="92365" y="618566"/>
                        <a:pt x="108402" y="668491"/>
                        <a:pt x="121110" y="668692"/>
                      </a:cubicBezTo>
                      <a:lnTo>
                        <a:pt x="121110" y="668692"/>
                      </a:lnTo>
                      <a:cubicBezTo>
                        <a:pt x="135432" y="668793"/>
                        <a:pt x="169220" y="669802"/>
                        <a:pt x="169926" y="696328"/>
                      </a:cubicBezTo>
                      <a:lnTo>
                        <a:pt x="169926" y="696328"/>
                      </a:lnTo>
                      <a:cubicBezTo>
                        <a:pt x="169926" y="703488"/>
                        <a:pt x="167202" y="712162"/>
                        <a:pt x="160848" y="722753"/>
                      </a:cubicBezTo>
                      <a:lnTo>
                        <a:pt x="160848" y="722753"/>
                      </a:lnTo>
                      <a:cubicBezTo>
                        <a:pt x="133112" y="768845"/>
                        <a:pt x="117580" y="843278"/>
                        <a:pt x="111327" y="865367"/>
                      </a:cubicBezTo>
                      <a:lnTo>
                        <a:pt x="111327" y="865367"/>
                      </a:lnTo>
                      <a:cubicBezTo>
                        <a:pt x="104569" y="888060"/>
                        <a:pt x="67352" y="943734"/>
                        <a:pt x="55250" y="983775"/>
                      </a:cubicBezTo>
                      <a:lnTo>
                        <a:pt x="55250" y="983775"/>
                      </a:lnTo>
                      <a:cubicBezTo>
                        <a:pt x="42541" y="1024521"/>
                        <a:pt x="27312" y="1052459"/>
                        <a:pt x="27413" y="1079489"/>
                      </a:cubicBezTo>
                      <a:lnTo>
                        <a:pt x="27413" y="1079489"/>
                      </a:lnTo>
                      <a:cubicBezTo>
                        <a:pt x="26807" y="1105511"/>
                        <a:pt x="20554" y="1134558"/>
                        <a:pt x="5829" y="1140206"/>
                      </a:cubicBezTo>
                      <a:lnTo>
                        <a:pt x="5829" y="1140206"/>
                      </a:lnTo>
                      <a:cubicBezTo>
                        <a:pt x="11880" y="1154629"/>
                        <a:pt x="19646" y="1167740"/>
                        <a:pt x="25698" y="1170363"/>
                      </a:cubicBezTo>
                      <a:lnTo>
                        <a:pt x="25698" y="1170363"/>
                      </a:lnTo>
                      <a:cubicBezTo>
                        <a:pt x="41936" y="1179138"/>
                        <a:pt x="81473" y="1163605"/>
                        <a:pt x="113647" y="1199007"/>
                      </a:cubicBezTo>
                      <a:lnTo>
                        <a:pt x="113647" y="1199007"/>
                      </a:lnTo>
                      <a:cubicBezTo>
                        <a:pt x="124136" y="1210505"/>
                        <a:pt x="127061" y="1220389"/>
                        <a:pt x="126960" y="1229365"/>
                      </a:cubicBezTo>
                      <a:lnTo>
                        <a:pt x="126960" y="1229365"/>
                      </a:lnTo>
                      <a:cubicBezTo>
                        <a:pt x="126960" y="1238442"/>
                        <a:pt x="124337" y="1246511"/>
                        <a:pt x="124438" y="1255689"/>
                      </a:cubicBezTo>
                      <a:lnTo>
                        <a:pt x="124438" y="1255689"/>
                      </a:lnTo>
                      <a:cubicBezTo>
                        <a:pt x="124438" y="1265371"/>
                        <a:pt x="127061" y="1276668"/>
                        <a:pt x="138760" y="1292704"/>
                      </a:cubicBezTo>
                      <a:lnTo>
                        <a:pt x="138760" y="1292704"/>
                      </a:lnTo>
                      <a:cubicBezTo>
                        <a:pt x="158630" y="1319734"/>
                        <a:pt x="167303" y="1338797"/>
                        <a:pt x="167404" y="1354934"/>
                      </a:cubicBezTo>
                      <a:lnTo>
                        <a:pt x="167404" y="1354934"/>
                      </a:lnTo>
                      <a:cubicBezTo>
                        <a:pt x="167404" y="1365423"/>
                        <a:pt x="163471" y="1374299"/>
                        <a:pt x="157117" y="1382771"/>
                      </a:cubicBezTo>
                      <a:lnTo>
                        <a:pt x="157117" y="1382771"/>
                      </a:lnTo>
                      <a:cubicBezTo>
                        <a:pt x="207344" y="1394773"/>
                        <a:pt x="199477" y="1445102"/>
                        <a:pt x="213396" y="1460634"/>
                      </a:cubicBezTo>
                      <a:lnTo>
                        <a:pt x="213396" y="1460634"/>
                      </a:lnTo>
                      <a:cubicBezTo>
                        <a:pt x="217027" y="1464870"/>
                        <a:pt x="221666" y="1466483"/>
                        <a:pt x="227818" y="1466483"/>
                      </a:cubicBezTo>
                      <a:lnTo>
                        <a:pt x="227818" y="1466483"/>
                      </a:lnTo>
                      <a:cubicBezTo>
                        <a:pt x="244561" y="1466685"/>
                        <a:pt x="268868" y="1452868"/>
                        <a:pt x="285610" y="1450346"/>
                      </a:cubicBezTo>
                      <a:lnTo>
                        <a:pt x="285610" y="1450346"/>
                      </a:lnTo>
                      <a:cubicBezTo>
                        <a:pt x="306488" y="1447320"/>
                        <a:pt x="323735" y="1432898"/>
                        <a:pt x="323835" y="1409498"/>
                      </a:cubicBezTo>
                      <a:lnTo>
                        <a:pt x="323835" y="1409498"/>
                      </a:lnTo>
                      <a:cubicBezTo>
                        <a:pt x="325752" y="1380149"/>
                        <a:pt x="374467" y="1394168"/>
                        <a:pt x="386872" y="1379543"/>
                      </a:cubicBezTo>
                      <a:lnTo>
                        <a:pt x="386872" y="1379543"/>
                      </a:lnTo>
                      <a:cubicBezTo>
                        <a:pt x="393831" y="1372484"/>
                        <a:pt x="394537" y="1365222"/>
                        <a:pt x="394537" y="1356245"/>
                      </a:cubicBezTo>
                      <a:lnTo>
                        <a:pt x="394537" y="1356245"/>
                      </a:lnTo>
                      <a:cubicBezTo>
                        <a:pt x="394537" y="1353926"/>
                        <a:pt x="394436" y="1351707"/>
                        <a:pt x="394436" y="1349185"/>
                      </a:cubicBezTo>
                      <a:lnTo>
                        <a:pt x="394436" y="1349185"/>
                      </a:lnTo>
                      <a:cubicBezTo>
                        <a:pt x="394436" y="1342327"/>
                        <a:pt x="394941" y="1334662"/>
                        <a:pt x="398774" y="1327299"/>
                      </a:cubicBezTo>
                      <a:lnTo>
                        <a:pt x="398774" y="1327299"/>
                      </a:lnTo>
                      <a:cubicBezTo>
                        <a:pt x="401194" y="1322659"/>
                        <a:pt x="402203" y="1315902"/>
                        <a:pt x="402203" y="1308741"/>
                      </a:cubicBezTo>
                      <a:lnTo>
                        <a:pt x="402203" y="1308741"/>
                      </a:lnTo>
                      <a:cubicBezTo>
                        <a:pt x="402506" y="1290385"/>
                        <a:pt x="394336" y="1268498"/>
                        <a:pt x="387679" y="1265775"/>
                      </a:cubicBezTo>
                      <a:lnTo>
                        <a:pt x="387679" y="1265775"/>
                      </a:lnTo>
                      <a:cubicBezTo>
                        <a:pt x="378803" y="1261337"/>
                        <a:pt x="364583" y="1254277"/>
                        <a:pt x="364583" y="1236123"/>
                      </a:cubicBezTo>
                      <a:lnTo>
                        <a:pt x="364583" y="1236123"/>
                      </a:lnTo>
                      <a:cubicBezTo>
                        <a:pt x="364583" y="1229466"/>
                        <a:pt x="366297" y="1221700"/>
                        <a:pt x="370735" y="1212320"/>
                      </a:cubicBezTo>
                      <a:lnTo>
                        <a:pt x="370735" y="1212320"/>
                      </a:lnTo>
                      <a:cubicBezTo>
                        <a:pt x="378299" y="1195678"/>
                        <a:pt x="380619" y="1177423"/>
                        <a:pt x="380619" y="1159874"/>
                      </a:cubicBezTo>
                      <a:lnTo>
                        <a:pt x="380619" y="1159874"/>
                      </a:lnTo>
                      <a:cubicBezTo>
                        <a:pt x="380619" y="1142123"/>
                        <a:pt x="378299" y="1125077"/>
                        <a:pt x="376786" y="1110957"/>
                      </a:cubicBezTo>
                      <a:lnTo>
                        <a:pt x="376786" y="1110957"/>
                      </a:lnTo>
                      <a:cubicBezTo>
                        <a:pt x="376585" y="1109142"/>
                        <a:pt x="376383" y="1107024"/>
                        <a:pt x="376383" y="1105006"/>
                      </a:cubicBezTo>
                      <a:lnTo>
                        <a:pt x="376383" y="1105006"/>
                      </a:lnTo>
                      <a:cubicBezTo>
                        <a:pt x="376585" y="1076766"/>
                        <a:pt x="396050" y="1044592"/>
                        <a:pt x="401699" y="1007476"/>
                      </a:cubicBezTo>
                      <a:lnTo>
                        <a:pt x="401699" y="1007476"/>
                      </a:lnTo>
                      <a:cubicBezTo>
                        <a:pt x="403917" y="993457"/>
                        <a:pt x="405228" y="979841"/>
                        <a:pt x="405228" y="967032"/>
                      </a:cubicBezTo>
                      <a:lnTo>
                        <a:pt x="405228" y="967032"/>
                      </a:lnTo>
                      <a:cubicBezTo>
                        <a:pt x="405228" y="942826"/>
                        <a:pt x="400286" y="921343"/>
                        <a:pt x="386772" y="903794"/>
                      </a:cubicBezTo>
                      <a:lnTo>
                        <a:pt x="386772" y="903794"/>
                      </a:lnTo>
                      <a:cubicBezTo>
                        <a:pt x="381124" y="896532"/>
                        <a:pt x="378904" y="887253"/>
                        <a:pt x="378904" y="876965"/>
                      </a:cubicBezTo>
                      <a:lnTo>
                        <a:pt x="378904" y="876965"/>
                      </a:lnTo>
                      <a:cubicBezTo>
                        <a:pt x="379005" y="843783"/>
                        <a:pt x="400892" y="798699"/>
                        <a:pt x="407952" y="770560"/>
                      </a:cubicBezTo>
                      <a:lnTo>
                        <a:pt x="407952" y="770560"/>
                      </a:lnTo>
                      <a:cubicBezTo>
                        <a:pt x="417735" y="732233"/>
                        <a:pt x="451624" y="689368"/>
                        <a:pt x="457675" y="618364"/>
                      </a:cubicBezTo>
                      <a:lnTo>
                        <a:pt x="457675" y="618364"/>
                      </a:lnTo>
                      <a:cubicBezTo>
                        <a:pt x="464029" y="546250"/>
                        <a:pt x="498220" y="455679"/>
                        <a:pt x="498119" y="409990"/>
                      </a:cubicBezTo>
                      <a:lnTo>
                        <a:pt x="498119" y="409990"/>
                      </a:lnTo>
                      <a:cubicBezTo>
                        <a:pt x="498523" y="361074"/>
                        <a:pt x="570435" y="280891"/>
                        <a:pt x="602004" y="255172"/>
                      </a:cubicBezTo>
                      <a:lnTo>
                        <a:pt x="602004" y="255172"/>
                      </a:lnTo>
                      <a:cubicBezTo>
                        <a:pt x="633471" y="229958"/>
                        <a:pt x="644667" y="224814"/>
                        <a:pt x="650718" y="194657"/>
                      </a:cubicBezTo>
                      <a:lnTo>
                        <a:pt x="650718" y="194657"/>
                      </a:lnTo>
                      <a:cubicBezTo>
                        <a:pt x="657274" y="162483"/>
                        <a:pt x="682488" y="131116"/>
                        <a:pt x="704677" y="112054"/>
                      </a:cubicBezTo>
                      <a:lnTo>
                        <a:pt x="704677" y="112054"/>
                      </a:lnTo>
                      <a:cubicBezTo>
                        <a:pt x="717487" y="101060"/>
                        <a:pt x="723438" y="85730"/>
                        <a:pt x="723438" y="72820"/>
                      </a:cubicBezTo>
                      <a:lnTo>
                        <a:pt x="723438" y="72820"/>
                      </a:lnTo>
                      <a:cubicBezTo>
                        <a:pt x="723438" y="64751"/>
                        <a:pt x="721017" y="57893"/>
                        <a:pt x="717083" y="53859"/>
                      </a:cubicBezTo>
                      <a:lnTo>
                        <a:pt x="717083" y="53859"/>
                      </a:lnTo>
                      <a:lnTo>
                        <a:pt x="719000" y="51942"/>
                      </a:lnTo>
                      <a:lnTo>
                        <a:pt x="720916" y="49824"/>
                      </a:lnTo>
                      <a:cubicBezTo>
                        <a:pt x="726362" y="55271"/>
                        <a:pt x="729086" y="63642"/>
                        <a:pt x="729086" y="72820"/>
                      </a:cubicBezTo>
                      <a:lnTo>
                        <a:pt x="729086" y="72820"/>
                      </a:lnTo>
                      <a:cubicBezTo>
                        <a:pt x="729086" y="87243"/>
                        <a:pt x="722429" y="104187"/>
                        <a:pt x="708409" y="116290"/>
                      </a:cubicBezTo>
                      <a:lnTo>
                        <a:pt x="708409" y="116290"/>
                      </a:lnTo>
                      <a:cubicBezTo>
                        <a:pt x="686826" y="134646"/>
                        <a:pt x="662216" y="165610"/>
                        <a:pt x="656265" y="195666"/>
                      </a:cubicBezTo>
                      <a:lnTo>
                        <a:pt x="656265" y="195666"/>
                      </a:lnTo>
                      <a:cubicBezTo>
                        <a:pt x="650012" y="227739"/>
                        <a:pt x="636397" y="235101"/>
                        <a:pt x="605534" y="259610"/>
                      </a:cubicBezTo>
                      <a:lnTo>
                        <a:pt x="605534" y="259610"/>
                      </a:lnTo>
                      <a:cubicBezTo>
                        <a:pt x="574772" y="283816"/>
                        <a:pt x="503263" y="365612"/>
                        <a:pt x="503767" y="409990"/>
                      </a:cubicBezTo>
                      <a:lnTo>
                        <a:pt x="503767" y="409990"/>
                      </a:lnTo>
                      <a:cubicBezTo>
                        <a:pt x="503666" y="457797"/>
                        <a:pt x="469475" y="547763"/>
                        <a:pt x="463323" y="618868"/>
                      </a:cubicBezTo>
                      <a:lnTo>
                        <a:pt x="463323" y="618868"/>
                      </a:lnTo>
                      <a:cubicBezTo>
                        <a:pt x="456969" y="691285"/>
                        <a:pt x="422475" y="735562"/>
                        <a:pt x="413499" y="771972"/>
                      </a:cubicBezTo>
                      <a:lnTo>
                        <a:pt x="413499" y="771972"/>
                      </a:lnTo>
                      <a:cubicBezTo>
                        <a:pt x="406035" y="800918"/>
                        <a:pt x="384452" y="846002"/>
                        <a:pt x="384452" y="877066"/>
                      </a:cubicBezTo>
                      <a:lnTo>
                        <a:pt x="384452" y="877066"/>
                      </a:lnTo>
                      <a:cubicBezTo>
                        <a:pt x="384452" y="886547"/>
                        <a:pt x="386469" y="894515"/>
                        <a:pt x="391109" y="900465"/>
                      </a:cubicBezTo>
                      <a:lnTo>
                        <a:pt x="391109" y="900465"/>
                      </a:lnTo>
                      <a:cubicBezTo>
                        <a:pt x="405833" y="919326"/>
                        <a:pt x="410876" y="942221"/>
                        <a:pt x="410876" y="967133"/>
                      </a:cubicBezTo>
                      <a:lnTo>
                        <a:pt x="410876" y="967133"/>
                      </a:lnTo>
                      <a:cubicBezTo>
                        <a:pt x="410876" y="980345"/>
                        <a:pt x="409364" y="994264"/>
                        <a:pt x="407246" y="1008485"/>
                      </a:cubicBezTo>
                      <a:lnTo>
                        <a:pt x="407246" y="1008485"/>
                      </a:lnTo>
                      <a:cubicBezTo>
                        <a:pt x="401194" y="1046811"/>
                        <a:pt x="381829" y="1079489"/>
                        <a:pt x="381930" y="1105107"/>
                      </a:cubicBezTo>
                      <a:lnTo>
                        <a:pt x="381930" y="1105107"/>
                      </a:lnTo>
                      <a:cubicBezTo>
                        <a:pt x="381930" y="1106923"/>
                        <a:pt x="382233" y="1108637"/>
                        <a:pt x="382334" y="1110453"/>
                      </a:cubicBezTo>
                      <a:lnTo>
                        <a:pt x="382334" y="1110453"/>
                      </a:lnTo>
                      <a:cubicBezTo>
                        <a:pt x="383846" y="1124371"/>
                        <a:pt x="386167" y="1141719"/>
                        <a:pt x="386167" y="1159974"/>
                      </a:cubicBezTo>
                      <a:lnTo>
                        <a:pt x="386167" y="1159974"/>
                      </a:lnTo>
                      <a:cubicBezTo>
                        <a:pt x="386167" y="1178028"/>
                        <a:pt x="383846" y="1197090"/>
                        <a:pt x="375980" y="1214741"/>
                      </a:cubicBezTo>
                      <a:lnTo>
                        <a:pt x="375980" y="1214741"/>
                      </a:lnTo>
                      <a:cubicBezTo>
                        <a:pt x="371743" y="1223717"/>
                        <a:pt x="370231" y="1230676"/>
                        <a:pt x="370231" y="1236324"/>
                      </a:cubicBezTo>
                      <a:lnTo>
                        <a:pt x="370231" y="1236324"/>
                      </a:lnTo>
                      <a:cubicBezTo>
                        <a:pt x="370231" y="1250949"/>
                        <a:pt x="381023" y="1256294"/>
                        <a:pt x="390201" y="1260934"/>
                      </a:cubicBezTo>
                      <a:lnTo>
                        <a:pt x="390201" y="1260934"/>
                      </a:lnTo>
                      <a:cubicBezTo>
                        <a:pt x="401093" y="1266985"/>
                        <a:pt x="407649" y="1289073"/>
                        <a:pt x="407851" y="1308942"/>
                      </a:cubicBezTo>
                      <a:lnTo>
                        <a:pt x="407851" y="1308942"/>
                      </a:lnTo>
                      <a:cubicBezTo>
                        <a:pt x="407851" y="1316709"/>
                        <a:pt x="406741" y="1324071"/>
                        <a:pt x="403917" y="1330022"/>
                      </a:cubicBezTo>
                      <a:lnTo>
                        <a:pt x="403917" y="1330022"/>
                      </a:lnTo>
                      <a:cubicBezTo>
                        <a:pt x="400589" y="1336275"/>
                        <a:pt x="400084" y="1342730"/>
                        <a:pt x="400084" y="1349387"/>
                      </a:cubicBezTo>
                      <a:lnTo>
                        <a:pt x="400084" y="1349387"/>
                      </a:lnTo>
                      <a:cubicBezTo>
                        <a:pt x="400084" y="1351707"/>
                        <a:pt x="400185" y="1354026"/>
                        <a:pt x="400185" y="1356447"/>
                      </a:cubicBezTo>
                      <a:lnTo>
                        <a:pt x="400185" y="1356447"/>
                      </a:lnTo>
                      <a:cubicBezTo>
                        <a:pt x="400286" y="1365524"/>
                        <a:pt x="399379" y="1375106"/>
                        <a:pt x="390806" y="1383578"/>
                      </a:cubicBezTo>
                      <a:lnTo>
                        <a:pt x="390806" y="1383578"/>
                      </a:lnTo>
                      <a:cubicBezTo>
                        <a:pt x="372248" y="1400018"/>
                        <a:pt x="327366" y="1389024"/>
                        <a:pt x="329483" y="1409700"/>
                      </a:cubicBezTo>
                      <a:lnTo>
                        <a:pt x="329483" y="1409700"/>
                      </a:lnTo>
                      <a:cubicBezTo>
                        <a:pt x="329483" y="1436226"/>
                        <a:pt x="309211" y="1452868"/>
                        <a:pt x="286417" y="1455994"/>
                      </a:cubicBezTo>
                      <a:lnTo>
                        <a:pt x="286417" y="1455994"/>
                      </a:lnTo>
                      <a:cubicBezTo>
                        <a:pt x="271389" y="1457911"/>
                        <a:pt x="246981" y="1472031"/>
                        <a:pt x="227818" y="1472132"/>
                      </a:cubicBezTo>
                      <a:lnTo>
                        <a:pt x="227818" y="1472132"/>
                      </a:lnTo>
                      <a:cubicBezTo>
                        <a:pt x="227617" y="1472132"/>
                        <a:pt x="227415" y="1472132"/>
                        <a:pt x="227314" y="1472132"/>
                      </a:cubicBezTo>
                      <a:lnTo>
                        <a:pt x="227314" y="1472132"/>
                      </a:lnTo>
                      <a:cubicBezTo>
                        <a:pt x="220859" y="1471930"/>
                        <a:pt x="214303" y="1469711"/>
                        <a:pt x="209764" y="1464063"/>
                      </a:cubicBezTo>
                      <a:lnTo>
                        <a:pt x="209764" y="1464063"/>
                      </a:lnTo>
                      <a:close/>
                    </a:path>
                  </a:pathLst>
                </a:custGeom>
                <a:solidFill>
                  <a:srgbClr val="ABDEF6"/>
                </a:solidFill>
                <a:ln w="10085" cap="flat">
                  <a:solidFill>
                    <a:srgbClr val="FFFFFF"/>
                  </a:solidFill>
                  <a:prstDash val="solid"/>
                  <a:miter/>
                </a:ln>
              </p:spPr>
              <p:txBody>
                <a:bodyPr rtlCol="0" anchor="ctr"/>
                <a:lstStyle/>
                <a:p>
                  <a:endParaRPr lang="fr-FR" sz="900"/>
                </a:p>
              </p:txBody>
            </p:sp>
          </p:grpSp>
          <p:grpSp>
            <p:nvGrpSpPr>
              <p:cNvPr id="76" name="Graphique 17">
                <a:extLst>
                  <a:ext uri="{FF2B5EF4-FFF2-40B4-BE49-F238E27FC236}">
                    <a16:creationId xmlns:a16="http://schemas.microsoft.com/office/drawing/2014/main" id="{7A52969F-5B49-5464-88DE-3795B294AE9C}"/>
                  </a:ext>
                </a:extLst>
              </p:cNvPr>
              <p:cNvGrpSpPr/>
              <p:nvPr/>
            </p:nvGrpSpPr>
            <p:grpSpPr>
              <a:xfrm>
                <a:off x="2830242" y="5498620"/>
                <a:ext cx="1661948" cy="1438646"/>
                <a:chOff x="2830242" y="5498620"/>
                <a:chExt cx="1661948" cy="1438646"/>
              </a:xfrm>
              <a:solidFill>
                <a:srgbClr val="ABDEF6"/>
              </a:solidFill>
            </p:grpSpPr>
            <p:sp>
              <p:nvSpPr>
                <p:cNvPr id="77" name="Forme libre : forme 76">
                  <a:extLst>
                    <a:ext uri="{FF2B5EF4-FFF2-40B4-BE49-F238E27FC236}">
                      <a16:creationId xmlns:a16="http://schemas.microsoft.com/office/drawing/2014/main" id="{0D013A8F-B2E4-093F-D511-068A6F20766C}"/>
                    </a:ext>
                  </a:extLst>
                </p:cNvPr>
                <p:cNvSpPr/>
                <p:nvPr/>
              </p:nvSpPr>
              <p:spPr>
                <a:xfrm>
                  <a:off x="2832935" y="5501045"/>
                  <a:ext cx="1656721" cy="1432590"/>
                </a:xfrm>
                <a:custGeom>
                  <a:avLst/>
                  <a:gdLst>
                    <a:gd name="connsiteX0" fmla="*/ 1607616 w 1656721"/>
                    <a:gd name="connsiteY0" fmla="*/ 1066777 h 1432590"/>
                    <a:gd name="connsiteX1" fmla="*/ 1567272 w 1656721"/>
                    <a:gd name="connsiteY1" fmla="*/ 984476 h 1432590"/>
                    <a:gd name="connsiteX2" fmla="*/ 1534695 w 1656721"/>
                    <a:gd name="connsiteY2" fmla="*/ 955933 h 1432590"/>
                    <a:gd name="connsiteX3" fmla="*/ 1543469 w 1656721"/>
                    <a:gd name="connsiteY3" fmla="*/ 904697 h 1432590"/>
                    <a:gd name="connsiteX4" fmla="*/ 1486989 w 1656721"/>
                    <a:gd name="connsiteY4" fmla="*/ 872927 h 1432590"/>
                    <a:gd name="connsiteX5" fmla="*/ 1463993 w 1656721"/>
                    <a:gd name="connsiteY5" fmla="*/ 828751 h 1432590"/>
                    <a:gd name="connsiteX6" fmla="*/ 1418102 w 1656721"/>
                    <a:gd name="connsiteY6" fmla="*/ 809285 h 1432590"/>
                    <a:gd name="connsiteX7" fmla="*/ 1377557 w 1656721"/>
                    <a:gd name="connsiteY7" fmla="*/ 798695 h 1432590"/>
                    <a:gd name="connsiteX8" fmla="*/ 1336911 w 1656721"/>
                    <a:gd name="connsiteY8" fmla="*/ 788105 h 1432590"/>
                    <a:gd name="connsiteX9" fmla="*/ 1338626 w 1656721"/>
                    <a:gd name="connsiteY9" fmla="*/ 729808 h 1432590"/>
                    <a:gd name="connsiteX10" fmla="*/ 1322791 w 1656721"/>
                    <a:gd name="connsiteY10" fmla="*/ 673327 h 1432590"/>
                    <a:gd name="connsiteX11" fmla="*/ 1343971 w 1656721"/>
                    <a:gd name="connsiteY11" fmla="*/ 639742 h 1432590"/>
                    <a:gd name="connsiteX12" fmla="*/ 1338626 w 1656721"/>
                    <a:gd name="connsiteY12" fmla="*/ 570855 h 1432590"/>
                    <a:gd name="connsiteX13" fmla="*/ 1283859 w 1656721"/>
                    <a:gd name="connsiteY13" fmla="*/ 399698 h 1432590"/>
                    <a:gd name="connsiteX14" fmla="*/ 1296265 w 1656721"/>
                    <a:gd name="connsiteY14" fmla="*/ 359052 h 1432590"/>
                    <a:gd name="connsiteX15" fmla="*/ 1292634 w 1656721"/>
                    <a:gd name="connsiteY15" fmla="*/ 303681 h 1432590"/>
                    <a:gd name="connsiteX16" fmla="*/ 1241196 w 1656721"/>
                    <a:gd name="connsiteY16" fmla="*/ 308421 h 1432590"/>
                    <a:gd name="connsiteX17" fmla="*/ 1028687 w 1656721"/>
                    <a:gd name="connsiteY17" fmla="*/ 426224 h 1432590"/>
                    <a:gd name="connsiteX18" fmla="*/ 772607 w 1656721"/>
                    <a:gd name="connsiteY18" fmla="*/ 354514 h 1432590"/>
                    <a:gd name="connsiteX19" fmla="*/ 611234 w 1656721"/>
                    <a:gd name="connsiteY19" fmla="*/ 334039 h 1432590"/>
                    <a:gd name="connsiteX20" fmla="*/ 513905 w 1656721"/>
                    <a:gd name="connsiteY20" fmla="*/ 313565 h 1432590"/>
                    <a:gd name="connsiteX21" fmla="*/ 478000 w 1656721"/>
                    <a:gd name="connsiteY21" fmla="*/ 357035 h 1432590"/>
                    <a:gd name="connsiteX22" fmla="*/ 465190 w 1656721"/>
                    <a:gd name="connsiteY22" fmla="*/ 418559 h 1432590"/>
                    <a:gd name="connsiteX23" fmla="*/ 431907 w 1656721"/>
                    <a:gd name="connsiteY23" fmla="*/ 362179 h 1432590"/>
                    <a:gd name="connsiteX24" fmla="*/ 426763 w 1656721"/>
                    <a:gd name="connsiteY24" fmla="*/ 267372 h 1432590"/>
                    <a:gd name="connsiteX25" fmla="*/ 380671 w 1656721"/>
                    <a:gd name="connsiteY25" fmla="*/ 167522 h 1432590"/>
                    <a:gd name="connsiteX26" fmla="*/ 421620 w 1656721"/>
                    <a:gd name="connsiteY26" fmla="*/ 113764 h 1432590"/>
                    <a:gd name="connsiteX27" fmla="*/ 398523 w 1656721"/>
                    <a:gd name="connsiteY27" fmla="*/ 26622 h 1432590"/>
                    <a:gd name="connsiteX28" fmla="*/ 273055 w 1656721"/>
                    <a:gd name="connsiteY28" fmla="*/ 49719 h 1432590"/>
                    <a:gd name="connsiteX29" fmla="*/ 142443 w 1656721"/>
                    <a:gd name="connsiteY29" fmla="*/ 49719 h 1432590"/>
                    <a:gd name="connsiteX30" fmla="*/ 4166 w 1656721"/>
                    <a:gd name="connsiteY30" fmla="*/ 6148 h 1432590"/>
                    <a:gd name="connsiteX31" fmla="*/ 14454 w 1656721"/>
                    <a:gd name="connsiteY31" fmla="*/ 44575 h 1432590"/>
                    <a:gd name="connsiteX32" fmla="*/ 75977 w 1656721"/>
                    <a:gd name="connsiteY32" fmla="*/ 93189 h 1432590"/>
                    <a:gd name="connsiteX33" fmla="*/ 42694 w 1656721"/>
                    <a:gd name="connsiteY33" fmla="*/ 172565 h 1432590"/>
                    <a:gd name="connsiteX34" fmla="*/ 81121 w 1656721"/>
                    <a:gd name="connsiteY34" fmla="*/ 251940 h 1432590"/>
                    <a:gd name="connsiteX35" fmla="*/ 101595 w 1656721"/>
                    <a:gd name="connsiteY35" fmla="*/ 318507 h 1432590"/>
                    <a:gd name="connsiteX36" fmla="*/ 160497 w 1656721"/>
                    <a:gd name="connsiteY36" fmla="*/ 395361 h 1432590"/>
                    <a:gd name="connsiteX37" fmla="*/ 196402 w 1656721"/>
                    <a:gd name="connsiteY37" fmla="*/ 564400 h 1432590"/>
                    <a:gd name="connsiteX38" fmla="*/ 183593 w 1656721"/>
                    <a:gd name="connsiteY38" fmla="*/ 746248 h 1432590"/>
                    <a:gd name="connsiteX39" fmla="*/ 252782 w 1656721"/>
                    <a:gd name="connsiteY39" fmla="*/ 917809 h 1432590"/>
                    <a:gd name="connsiteX40" fmla="*/ 298875 w 1656721"/>
                    <a:gd name="connsiteY40" fmla="*/ 971566 h 1432590"/>
                    <a:gd name="connsiteX41" fmla="*/ 219499 w 1656721"/>
                    <a:gd name="connsiteY41" fmla="*/ 966423 h 1432590"/>
                    <a:gd name="connsiteX42" fmla="*/ 178550 w 1656721"/>
                    <a:gd name="connsiteY42" fmla="*/ 979231 h 1432590"/>
                    <a:gd name="connsiteX43" fmla="*/ 204168 w 1656721"/>
                    <a:gd name="connsiteY43" fmla="*/ 1071517 h 1432590"/>
                    <a:gd name="connsiteX44" fmla="*/ 293731 w 1656721"/>
                    <a:gd name="connsiteY44" fmla="*/ 1117609 h 1432590"/>
                    <a:gd name="connsiteX45" fmla="*/ 380873 w 1656721"/>
                    <a:gd name="connsiteY45" fmla="*/ 1071517 h 1432590"/>
                    <a:gd name="connsiteX46" fmla="*/ 483345 w 1656721"/>
                    <a:gd name="connsiteY46" fmla="*/ 1102279 h 1432590"/>
                    <a:gd name="connsiteX47" fmla="*/ 565343 w 1656721"/>
                    <a:gd name="connsiteY47" fmla="*/ 1104801 h 1432590"/>
                    <a:gd name="connsiteX48" fmla="*/ 665294 w 1656721"/>
                    <a:gd name="connsiteY48" fmla="*/ 1156037 h 1432590"/>
                    <a:gd name="connsiteX49" fmla="*/ 760000 w 1656721"/>
                    <a:gd name="connsiteY49" fmla="*/ 1143228 h 1432590"/>
                    <a:gd name="connsiteX50" fmla="*/ 849663 w 1656721"/>
                    <a:gd name="connsiteY50" fmla="*/ 1107423 h 1432590"/>
                    <a:gd name="connsiteX51" fmla="*/ 934183 w 1656721"/>
                    <a:gd name="connsiteY51" fmla="*/ 1112567 h 1432590"/>
                    <a:gd name="connsiteX52" fmla="*/ 987940 w 1656721"/>
                    <a:gd name="connsiteY52" fmla="*/ 1086949 h 1432590"/>
                    <a:gd name="connsiteX53" fmla="*/ 1018702 w 1656721"/>
                    <a:gd name="connsiteY53" fmla="*/ 1156037 h 1432590"/>
                    <a:gd name="connsiteX54" fmla="*/ 1064795 w 1656721"/>
                    <a:gd name="connsiteY54" fmla="*/ 1184277 h 1432590"/>
                    <a:gd name="connsiteX55" fmla="*/ 1113510 w 1656721"/>
                    <a:gd name="connsiteY55" fmla="*/ 1225226 h 1432590"/>
                    <a:gd name="connsiteX56" fmla="*/ 1180076 w 1656721"/>
                    <a:gd name="connsiteY56" fmla="*/ 1189421 h 1432590"/>
                    <a:gd name="connsiteX57" fmla="*/ 1269739 w 1656721"/>
                    <a:gd name="connsiteY57" fmla="*/ 1156138 h 1432590"/>
                    <a:gd name="connsiteX58" fmla="*/ 1310789 w 1656721"/>
                    <a:gd name="connsiteY58" fmla="*/ 1268797 h 1432590"/>
                    <a:gd name="connsiteX59" fmla="*/ 1349216 w 1656721"/>
                    <a:gd name="connsiteY59" fmla="*/ 1299457 h 1432590"/>
                    <a:gd name="connsiteX60" fmla="*/ 1377355 w 1656721"/>
                    <a:gd name="connsiteY60" fmla="*/ 1340507 h 1432590"/>
                    <a:gd name="connsiteX61" fmla="*/ 1431113 w 1656721"/>
                    <a:gd name="connsiteY61" fmla="*/ 1368646 h 1432590"/>
                    <a:gd name="connsiteX62" fmla="*/ 1490014 w 1656721"/>
                    <a:gd name="connsiteY62" fmla="*/ 1363503 h 1432590"/>
                    <a:gd name="connsiteX63" fmla="*/ 1554060 w 1656721"/>
                    <a:gd name="connsiteY63" fmla="*/ 1432591 h 1432590"/>
                    <a:gd name="connsiteX64" fmla="*/ 1574635 w 1656721"/>
                    <a:gd name="connsiteY64" fmla="*/ 1373689 h 1432590"/>
                    <a:gd name="connsiteX65" fmla="*/ 1554060 w 1656721"/>
                    <a:gd name="connsiteY65" fmla="*/ 1324975 h 1432590"/>
                    <a:gd name="connsiteX66" fmla="*/ 1559203 w 1656721"/>
                    <a:gd name="connsiteY66" fmla="*/ 1273739 h 1432590"/>
                    <a:gd name="connsiteX67" fmla="*/ 1643723 w 1656721"/>
                    <a:gd name="connsiteY67" fmla="*/ 1227646 h 1432590"/>
                    <a:gd name="connsiteX68" fmla="*/ 1607616 w 1656721"/>
                    <a:gd name="connsiteY68" fmla="*/ 1066777 h 1432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1656721" h="1432590">
                      <a:moveTo>
                        <a:pt x="1607616" y="1066777"/>
                      </a:moveTo>
                      <a:cubicBezTo>
                        <a:pt x="1586738" y="1052152"/>
                        <a:pt x="1557993" y="1028652"/>
                        <a:pt x="1567272" y="984476"/>
                      </a:cubicBezTo>
                      <a:cubicBezTo>
                        <a:pt x="1553555" y="984880"/>
                        <a:pt x="1543570" y="975903"/>
                        <a:pt x="1534695" y="955933"/>
                      </a:cubicBezTo>
                      <a:cubicBezTo>
                        <a:pt x="1520575" y="924163"/>
                        <a:pt x="1543469" y="924163"/>
                        <a:pt x="1543469" y="904697"/>
                      </a:cubicBezTo>
                      <a:cubicBezTo>
                        <a:pt x="1543469" y="885231"/>
                        <a:pt x="1506353" y="876457"/>
                        <a:pt x="1486989" y="872927"/>
                      </a:cubicBezTo>
                      <a:cubicBezTo>
                        <a:pt x="1467624" y="869397"/>
                        <a:pt x="1471154" y="848216"/>
                        <a:pt x="1463993" y="828751"/>
                      </a:cubicBezTo>
                      <a:cubicBezTo>
                        <a:pt x="1456933" y="809285"/>
                        <a:pt x="1446343" y="796980"/>
                        <a:pt x="1418102" y="809285"/>
                      </a:cubicBezTo>
                      <a:cubicBezTo>
                        <a:pt x="1389862" y="821590"/>
                        <a:pt x="1386332" y="807570"/>
                        <a:pt x="1377557" y="798695"/>
                      </a:cubicBezTo>
                      <a:cubicBezTo>
                        <a:pt x="1368783" y="789819"/>
                        <a:pt x="1349317" y="795165"/>
                        <a:pt x="1336911" y="788105"/>
                      </a:cubicBezTo>
                      <a:cubicBezTo>
                        <a:pt x="1324505" y="781044"/>
                        <a:pt x="1336911" y="756334"/>
                        <a:pt x="1338626" y="729808"/>
                      </a:cubicBezTo>
                      <a:cubicBezTo>
                        <a:pt x="1340340" y="703282"/>
                        <a:pt x="1340441" y="689162"/>
                        <a:pt x="1322791" y="673327"/>
                      </a:cubicBezTo>
                      <a:cubicBezTo>
                        <a:pt x="1305040" y="657493"/>
                        <a:pt x="1329851" y="643272"/>
                        <a:pt x="1343971" y="639742"/>
                      </a:cubicBezTo>
                      <a:cubicBezTo>
                        <a:pt x="1358092" y="636212"/>
                        <a:pt x="1351031" y="627336"/>
                        <a:pt x="1338626" y="570855"/>
                      </a:cubicBezTo>
                      <a:cubicBezTo>
                        <a:pt x="1326220" y="514374"/>
                        <a:pt x="1287390" y="419063"/>
                        <a:pt x="1283859" y="399698"/>
                      </a:cubicBezTo>
                      <a:cubicBezTo>
                        <a:pt x="1280329" y="380333"/>
                        <a:pt x="1303325" y="373172"/>
                        <a:pt x="1296265" y="359052"/>
                      </a:cubicBezTo>
                      <a:cubicBezTo>
                        <a:pt x="1289709" y="345941"/>
                        <a:pt x="1292231" y="309026"/>
                        <a:pt x="1292634" y="303681"/>
                      </a:cubicBezTo>
                      <a:cubicBezTo>
                        <a:pt x="1280733" y="299949"/>
                        <a:pt x="1264091" y="299445"/>
                        <a:pt x="1241196" y="308421"/>
                      </a:cubicBezTo>
                      <a:cubicBezTo>
                        <a:pt x="1182295" y="331417"/>
                        <a:pt x="1115728" y="431368"/>
                        <a:pt x="1028687" y="426224"/>
                      </a:cubicBezTo>
                      <a:cubicBezTo>
                        <a:pt x="941646" y="421080"/>
                        <a:pt x="900597" y="359657"/>
                        <a:pt x="772607" y="354514"/>
                      </a:cubicBezTo>
                      <a:cubicBezTo>
                        <a:pt x="644517" y="349370"/>
                        <a:pt x="659948" y="357035"/>
                        <a:pt x="611234" y="334039"/>
                      </a:cubicBezTo>
                      <a:cubicBezTo>
                        <a:pt x="562620" y="310943"/>
                        <a:pt x="549811" y="298134"/>
                        <a:pt x="513905" y="313565"/>
                      </a:cubicBezTo>
                      <a:cubicBezTo>
                        <a:pt x="478000" y="328896"/>
                        <a:pt x="478000" y="357035"/>
                        <a:pt x="478000" y="357035"/>
                      </a:cubicBezTo>
                      <a:cubicBezTo>
                        <a:pt x="478000" y="357035"/>
                        <a:pt x="483143" y="415936"/>
                        <a:pt x="465190" y="418559"/>
                      </a:cubicBezTo>
                      <a:cubicBezTo>
                        <a:pt x="447238" y="421181"/>
                        <a:pt x="429386" y="405750"/>
                        <a:pt x="431907" y="362179"/>
                      </a:cubicBezTo>
                      <a:cubicBezTo>
                        <a:pt x="434429" y="318608"/>
                        <a:pt x="434429" y="280282"/>
                        <a:pt x="426763" y="267372"/>
                      </a:cubicBezTo>
                      <a:cubicBezTo>
                        <a:pt x="419098" y="254563"/>
                        <a:pt x="370484" y="193140"/>
                        <a:pt x="380671" y="167522"/>
                      </a:cubicBezTo>
                      <a:cubicBezTo>
                        <a:pt x="390858" y="141904"/>
                        <a:pt x="396002" y="126573"/>
                        <a:pt x="421620" y="113764"/>
                      </a:cubicBezTo>
                      <a:cubicBezTo>
                        <a:pt x="447238" y="100955"/>
                        <a:pt x="429285" y="36910"/>
                        <a:pt x="398523" y="26622"/>
                      </a:cubicBezTo>
                      <a:cubicBezTo>
                        <a:pt x="367761" y="16436"/>
                        <a:pt x="288385" y="24101"/>
                        <a:pt x="273055" y="49719"/>
                      </a:cubicBezTo>
                      <a:cubicBezTo>
                        <a:pt x="257624" y="75337"/>
                        <a:pt x="201344" y="88146"/>
                        <a:pt x="142443" y="49719"/>
                      </a:cubicBezTo>
                      <a:cubicBezTo>
                        <a:pt x="83542" y="11292"/>
                        <a:pt x="11831" y="-11704"/>
                        <a:pt x="4166" y="6148"/>
                      </a:cubicBezTo>
                      <a:cubicBezTo>
                        <a:pt x="-3499" y="24101"/>
                        <a:pt x="-877" y="36910"/>
                        <a:pt x="14454" y="44575"/>
                      </a:cubicBezTo>
                      <a:cubicBezTo>
                        <a:pt x="29784" y="52240"/>
                        <a:pt x="70833" y="59906"/>
                        <a:pt x="75977" y="93189"/>
                      </a:cubicBezTo>
                      <a:cubicBezTo>
                        <a:pt x="81121" y="126472"/>
                        <a:pt x="40778" y="136155"/>
                        <a:pt x="42694" y="172565"/>
                      </a:cubicBezTo>
                      <a:cubicBezTo>
                        <a:pt x="43803" y="193140"/>
                        <a:pt x="78499" y="226322"/>
                        <a:pt x="81121" y="251940"/>
                      </a:cubicBezTo>
                      <a:cubicBezTo>
                        <a:pt x="83643" y="277559"/>
                        <a:pt x="78600" y="295511"/>
                        <a:pt x="101595" y="318507"/>
                      </a:cubicBezTo>
                      <a:cubicBezTo>
                        <a:pt x="124692" y="341604"/>
                        <a:pt x="150209" y="369743"/>
                        <a:pt x="160497" y="395361"/>
                      </a:cubicBezTo>
                      <a:cubicBezTo>
                        <a:pt x="170784" y="420979"/>
                        <a:pt x="196402" y="510643"/>
                        <a:pt x="196402" y="564400"/>
                      </a:cubicBezTo>
                      <a:cubicBezTo>
                        <a:pt x="196402" y="618158"/>
                        <a:pt x="180971" y="689868"/>
                        <a:pt x="183593" y="746248"/>
                      </a:cubicBezTo>
                      <a:cubicBezTo>
                        <a:pt x="186115" y="802628"/>
                        <a:pt x="206690" y="889669"/>
                        <a:pt x="252782" y="917809"/>
                      </a:cubicBezTo>
                      <a:cubicBezTo>
                        <a:pt x="298875" y="946049"/>
                        <a:pt x="319349" y="958858"/>
                        <a:pt x="298875" y="971566"/>
                      </a:cubicBezTo>
                      <a:cubicBezTo>
                        <a:pt x="278400" y="984375"/>
                        <a:pt x="219499" y="966423"/>
                        <a:pt x="219499" y="966423"/>
                      </a:cubicBezTo>
                      <a:cubicBezTo>
                        <a:pt x="219499" y="966423"/>
                        <a:pt x="186216" y="963800"/>
                        <a:pt x="178550" y="979231"/>
                      </a:cubicBezTo>
                      <a:cubicBezTo>
                        <a:pt x="170885" y="994663"/>
                        <a:pt x="181072" y="1040755"/>
                        <a:pt x="204168" y="1071517"/>
                      </a:cubicBezTo>
                      <a:cubicBezTo>
                        <a:pt x="227164" y="1102279"/>
                        <a:pt x="257926" y="1127897"/>
                        <a:pt x="293731" y="1117609"/>
                      </a:cubicBezTo>
                      <a:cubicBezTo>
                        <a:pt x="329637" y="1107322"/>
                        <a:pt x="339924" y="1068895"/>
                        <a:pt x="380873" y="1071517"/>
                      </a:cubicBezTo>
                      <a:cubicBezTo>
                        <a:pt x="421821" y="1074039"/>
                        <a:pt x="437253" y="1102279"/>
                        <a:pt x="483345" y="1102279"/>
                      </a:cubicBezTo>
                      <a:cubicBezTo>
                        <a:pt x="529437" y="1102279"/>
                        <a:pt x="547390" y="1092092"/>
                        <a:pt x="565343" y="1104801"/>
                      </a:cubicBezTo>
                      <a:cubicBezTo>
                        <a:pt x="583296" y="1117609"/>
                        <a:pt x="634532" y="1156037"/>
                        <a:pt x="665294" y="1156037"/>
                      </a:cubicBezTo>
                      <a:cubicBezTo>
                        <a:pt x="696056" y="1156037"/>
                        <a:pt x="734382" y="1161180"/>
                        <a:pt x="760000" y="1143228"/>
                      </a:cubicBezTo>
                      <a:cubicBezTo>
                        <a:pt x="785618" y="1125275"/>
                        <a:pt x="816380" y="1097135"/>
                        <a:pt x="849663" y="1107423"/>
                      </a:cubicBezTo>
                      <a:cubicBezTo>
                        <a:pt x="882947" y="1117609"/>
                        <a:pt x="893133" y="1125376"/>
                        <a:pt x="934183" y="1112567"/>
                      </a:cubicBezTo>
                      <a:cubicBezTo>
                        <a:pt x="975132" y="1099758"/>
                        <a:pt x="954657" y="1079283"/>
                        <a:pt x="987940" y="1086949"/>
                      </a:cubicBezTo>
                      <a:cubicBezTo>
                        <a:pt x="1021224" y="1094614"/>
                        <a:pt x="1018702" y="1156037"/>
                        <a:pt x="1018702" y="1156037"/>
                      </a:cubicBezTo>
                      <a:cubicBezTo>
                        <a:pt x="1018702" y="1156037"/>
                        <a:pt x="1064795" y="1161180"/>
                        <a:pt x="1064795" y="1184277"/>
                      </a:cubicBezTo>
                      <a:cubicBezTo>
                        <a:pt x="1064795" y="1207273"/>
                        <a:pt x="1090413" y="1227747"/>
                        <a:pt x="1113510" y="1225226"/>
                      </a:cubicBezTo>
                      <a:cubicBezTo>
                        <a:pt x="1136606" y="1222704"/>
                        <a:pt x="1167368" y="1212417"/>
                        <a:pt x="1180076" y="1189421"/>
                      </a:cubicBezTo>
                      <a:cubicBezTo>
                        <a:pt x="1192885" y="1166425"/>
                        <a:pt x="1233834" y="1143328"/>
                        <a:pt x="1269739" y="1156138"/>
                      </a:cubicBezTo>
                      <a:cubicBezTo>
                        <a:pt x="1305645" y="1168946"/>
                        <a:pt x="1308166" y="1240657"/>
                        <a:pt x="1310789" y="1268797"/>
                      </a:cubicBezTo>
                      <a:cubicBezTo>
                        <a:pt x="1313310" y="1296936"/>
                        <a:pt x="1310789" y="1296936"/>
                        <a:pt x="1349216" y="1299457"/>
                      </a:cubicBezTo>
                      <a:cubicBezTo>
                        <a:pt x="1387643" y="1302080"/>
                        <a:pt x="1377355" y="1340507"/>
                        <a:pt x="1377355" y="1340507"/>
                      </a:cubicBezTo>
                      <a:cubicBezTo>
                        <a:pt x="1377355" y="1340507"/>
                        <a:pt x="1402973" y="1373790"/>
                        <a:pt x="1431113" y="1368646"/>
                      </a:cubicBezTo>
                      <a:cubicBezTo>
                        <a:pt x="1459253" y="1363503"/>
                        <a:pt x="1479828" y="1345651"/>
                        <a:pt x="1490014" y="1363503"/>
                      </a:cubicBezTo>
                      <a:cubicBezTo>
                        <a:pt x="1500201" y="1381455"/>
                        <a:pt x="1533484" y="1432591"/>
                        <a:pt x="1554060" y="1432591"/>
                      </a:cubicBezTo>
                      <a:cubicBezTo>
                        <a:pt x="1574635" y="1432591"/>
                        <a:pt x="1582300" y="1414739"/>
                        <a:pt x="1574635" y="1373689"/>
                      </a:cubicBezTo>
                      <a:cubicBezTo>
                        <a:pt x="1566970" y="1332640"/>
                        <a:pt x="1579678" y="1335262"/>
                        <a:pt x="1554060" y="1324975"/>
                      </a:cubicBezTo>
                      <a:cubicBezTo>
                        <a:pt x="1528441" y="1314788"/>
                        <a:pt x="1536107" y="1273739"/>
                        <a:pt x="1559203" y="1273739"/>
                      </a:cubicBezTo>
                      <a:cubicBezTo>
                        <a:pt x="1582199" y="1273739"/>
                        <a:pt x="1607817" y="1291691"/>
                        <a:pt x="1643723" y="1227646"/>
                      </a:cubicBezTo>
                      <a:cubicBezTo>
                        <a:pt x="1679326" y="1164105"/>
                        <a:pt x="1633234" y="1084730"/>
                        <a:pt x="1607616" y="1066777"/>
                      </a:cubicBezTo>
                      <a:close/>
                    </a:path>
                  </a:pathLst>
                </a:custGeom>
                <a:solidFill>
                  <a:schemeClr val="bg1">
                    <a:lumMod val="75000"/>
                  </a:schemeClr>
                </a:solidFill>
                <a:ln w="10085" cap="flat">
                  <a:solidFill>
                    <a:srgbClr val="FFFFFF"/>
                  </a:solidFill>
                  <a:prstDash val="solid"/>
                  <a:miter/>
                </a:ln>
              </p:spPr>
              <p:txBody>
                <a:bodyPr rtlCol="0" anchor="ctr"/>
                <a:lstStyle/>
                <a:p>
                  <a:endParaRPr lang="fr-FR" sz="900"/>
                </a:p>
              </p:txBody>
            </p:sp>
            <p:sp>
              <p:nvSpPr>
                <p:cNvPr id="78" name="Forme libre : forme 77">
                  <a:extLst>
                    <a:ext uri="{FF2B5EF4-FFF2-40B4-BE49-F238E27FC236}">
                      <a16:creationId xmlns:a16="http://schemas.microsoft.com/office/drawing/2014/main" id="{B0BB5A78-2172-5F4E-AB30-DFCDA756192E}"/>
                    </a:ext>
                  </a:extLst>
                </p:cNvPr>
                <p:cNvSpPr/>
                <p:nvPr/>
              </p:nvSpPr>
              <p:spPr>
                <a:xfrm>
                  <a:off x="2830242" y="5498620"/>
                  <a:ext cx="1661948" cy="1438646"/>
                </a:xfrm>
                <a:custGeom>
                  <a:avLst/>
                  <a:gdLst>
                    <a:gd name="connsiteX0" fmla="*/ 1490086 w 1661948"/>
                    <a:gd name="connsiteY0" fmla="*/ 1367642 h 1438646"/>
                    <a:gd name="connsiteX1" fmla="*/ 1479597 w 1661948"/>
                    <a:gd name="connsiteY1" fmla="*/ 1361288 h 1438646"/>
                    <a:gd name="connsiteX2" fmla="*/ 1479597 w 1661948"/>
                    <a:gd name="connsiteY2" fmla="*/ 1361288 h 1438646"/>
                    <a:gd name="connsiteX3" fmla="*/ 1433908 w 1661948"/>
                    <a:gd name="connsiteY3" fmla="*/ 1374299 h 1438646"/>
                    <a:gd name="connsiteX4" fmla="*/ 1433908 w 1661948"/>
                    <a:gd name="connsiteY4" fmla="*/ 1374299 h 1438646"/>
                    <a:gd name="connsiteX5" fmla="*/ 1427554 w 1661948"/>
                    <a:gd name="connsiteY5" fmla="*/ 1374803 h 1438646"/>
                    <a:gd name="connsiteX6" fmla="*/ 1427554 w 1661948"/>
                    <a:gd name="connsiteY6" fmla="*/ 1374803 h 1438646"/>
                    <a:gd name="connsiteX7" fmla="*/ 1377124 w 1661948"/>
                    <a:gd name="connsiteY7" fmla="*/ 1342730 h 1438646"/>
                    <a:gd name="connsiteX8" fmla="*/ 1377124 w 1661948"/>
                    <a:gd name="connsiteY8" fmla="*/ 1342730 h 1438646"/>
                    <a:gd name="connsiteX9" fmla="*/ 1378234 w 1661948"/>
                    <a:gd name="connsiteY9" fmla="*/ 1332442 h 1438646"/>
                    <a:gd name="connsiteX10" fmla="*/ 1378234 w 1661948"/>
                    <a:gd name="connsiteY10" fmla="*/ 1332442 h 1438646"/>
                    <a:gd name="connsiteX11" fmla="*/ 1351405 w 1661948"/>
                    <a:gd name="connsiteY11" fmla="*/ 1305211 h 1438646"/>
                    <a:gd name="connsiteX12" fmla="*/ 1351405 w 1661948"/>
                    <a:gd name="connsiteY12" fmla="*/ 1305211 h 1438646"/>
                    <a:gd name="connsiteX13" fmla="*/ 1310356 w 1661948"/>
                    <a:gd name="connsiteY13" fmla="*/ 1271927 h 1438646"/>
                    <a:gd name="connsiteX14" fmla="*/ 1310356 w 1661948"/>
                    <a:gd name="connsiteY14" fmla="*/ 1271927 h 1438646"/>
                    <a:gd name="connsiteX15" fmla="*/ 1271223 w 1661948"/>
                    <a:gd name="connsiteY15" fmla="*/ 1161487 h 1438646"/>
                    <a:gd name="connsiteX16" fmla="*/ 1271223 w 1661948"/>
                    <a:gd name="connsiteY16" fmla="*/ 1161487 h 1438646"/>
                    <a:gd name="connsiteX17" fmla="*/ 1250446 w 1661948"/>
                    <a:gd name="connsiteY17" fmla="*/ 1157957 h 1438646"/>
                    <a:gd name="connsiteX18" fmla="*/ 1250446 w 1661948"/>
                    <a:gd name="connsiteY18" fmla="*/ 1157957 h 1438646"/>
                    <a:gd name="connsiteX19" fmla="*/ 1184989 w 1661948"/>
                    <a:gd name="connsiteY19" fmla="*/ 1193560 h 1438646"/>
                    <a:gd name="connsiteX20" fmla="*/ 1184989 w 1661948"/>
                    <a:gd name="connsiteY20" fmla="*/ 1193560 h 1438646"/>
                    <a:gd name="connsiteX21" fmla="*/ 1116203 w 1661948"/>
                    <a:gd name="connsiteY21" fmla="*/ 1230878 h 1438646"/>
                    <a:gd name="connsiteX22" fmla="*/ 1116203 w 1661948"/>
                    <a:gd name="connsiteY22" fmla="*/ 1230878 h 1438646"/>
                    <a:gd name="connsiteX23" fmla="*/ 1111967 w 1661948"/>
                    <a:gd name="connsiteY23" fmla="*/ 1230979 h 1438646"/>
                    <a:gd name="connsiteX24" fmla="*/ 1111967 w 1661948"/>
                    <a:gd name="connsiteY24" fmla="*/ 1230979 h 1438646"/>
                    <a:gd name="connsiteX25" fmla="*/ 1064463 w 1661948"/>
                    <a:gd name="connsiteY25" fmla="*/ 1187105 h 1438646"/>
                    <a:gd name="connsiteX26" fmla="*/ 1064463 w 1661948"/>
                    <a:gd name="connsiteY26" fmla="*/ 1187105 h 1438646"/>
                    <a:gd name="connsiteX27" fmla="*/ 1018471 w 1661948"/>
                    <a:gd name="connsiteY27" fmla="*/ 1158865 h 1438646"/>
                    <a:gd name="connsiteX28" fmla="*/ 1018471 w 1661948"/>
                    <a:gd name="connsiteY28" fmla="*/ 1158865 h 1438646"/>
                    <a:gd name="connsiteX29" fmla="*/ 1018471 w 1661948"/>
                    <a:gd name="connsiteY29" fmla="*/ 1155940 h 1438646"/>
                    <a:gd name="connsiteX30" fmla="*/ 1018471 w 1661948"/>
                    <a:gd name="connsiteY30" fmla="*/ 1155940 h 1438646"/>
                    <a:gd name="connsiteX31" fmla="*/ 989928 w 1661948"/>
                    <a:gd name="connsiteY31" fmla="*/ 1092500 h 1438646"/>
                    <a:gd name="connsiteX32" fmla="*/ 989928 w 1661948"/>
                    <a:gd name="connsiteY32" fmla="*/ 1092500 h 1438646"/>
                    <a:gd name="connsiteX33" fmla="*/ 978733 w 1661948"/>
                    <a:gd name="connsiteY33" fmla="*/ 1090886 h 1438646"/>
                    <a:gd name="connsiteX34" fmla="*/ 978733 w 1661948"/>
                    <a:gd name="connsiteY34" fmla="*/ 1090886 h 1438646"/>
                    <a:gd name="connsiteX35" fmla="*/ 937583 w 1661948"/>
                    <a:gd name="connsiteY35" fmla="*/ 1118118 h 1438646"/>
                    <a:gd name="connsiteX36" fmla="*/ 937583 w 1661948"/>
                    <a:gd name="connsiteY36" fmla="*/ 1118118 h 1438646"/>
                    <a:gd name="connsiteX37" fmla="*/ 900870 w 1661948"/>
                    <a:gd name="connsiteY37" fmla="*/ 1124876 h 1438646"/>
                    <a:gd name="connsiteX38" fmla="*/ 900870 w 1661948"/>
                    <a:gd name="connsiteY38" fmla="*/ 1124876 h 1438646"/>
                    <a:gd name="connsiteX39" fmla="*/ 851349 w 1661948"/>
                    <a:gd name="connsiteY39" fmla="*/ 1113075 h 1438646"/>
                    <a:gd name="connsiteX40" fmla="*/ 851349 w 1661948"/>
                    <a:gd name="connsiteY40" fmla="*/ 1113075 h 1438646"/>
                    <a:gd name="connsiteX41" fmla="*/ 837632 w 1661948"/>
                    <a:gd name="connsiteY41" fmla="*/ 1110856 h 1438646"/>
                    <a:gd name="connsiteX42" fmla="*/ 837632 w 1661948"/>
                    <a:gd name="connsiteY42" fmla="*/ 1110856 h 1438646"/>
                    <a:gd name="connsiteX43" fmla="*/ 764207 w 1661948"/>
                    <a:gd name="connsiteY43" fmla="*/ 1148477 h 1438646"/>
                    <a:gd name="connsiteX44" fmla="*/ 764207 w 1661948"/>
                    <a:gd name="connsiteY44" fmla="*/ 1148477 h 1438646"/>
                    <a:gd name="connsiteX45" fmla="*/ 703389 w 1661948"/>
                    <a:gd name="connsiteY45" fmla="*/ 1162395 h 1438646"/>
                    <a:gd name="connsiteX46" fmla="*/ 703389 w 1661948"/>
                    <a:gd name="connsiteY46" fmla="*/ 1162395 h 1438646"/>
                    <a:gd name="connsiteX47" fmla="*/ 667887 w 1661948"/>
                    <a:gd name="connsiteY47" fmla="*/ 1161790 h 1438646"/>
                    <a:gd name="connsiteX48" fmla="*/ 667887 w 1661948"/>
                    <a:gd name="connsiteY48" fmla="*/ 1161790 h 1438646"/>
                    <a:gd name="connsiteX49" fmla="*/ 566322 w 1661948"/>
                    <a:gd name="connsiteY49" fmla="*/ 1109948 h 1438646"/>
                    <a:gd name="connsiteX50" fmla="*/ 566322 w 1661948"/>
                    <a:gd name="connsiteY50" fmla="*/ 1109948 h 1438646"/>
                    <a:gd name="connsiteX51" fmla="*/ 545646 w 1661948"/>
                    <a:gd name="connsiteY51" fmla="*/ 1103998 h 1438646"/>
                    <a:gd name="connsiteX52" fmla="*/ 545646 w 1661948"/>
                    <a:gd name="connsiteY52" fmla="*/ 1103998 h 1438646"/>
                    <a:gd name="connsiteX53" fmla="*/ 485938 w 1661948"/>
                    <a:gd name="connsiteY53" fmla="*/ 1107831 h 1438646"/>
                    <a:gd name="connsiteX54" fmla="*/ 485938 w 1661948"/>
                    <a:gd name="connsiteY54" fmla="*/ 1107831 h 1438646"/>
                    <a:gd name="connsiteX55" fmla="*/ 383163 w 1661948"/>
                    <a:gd name="connsiteY55" fmla="*/ 1077069 h 1438646"/>
                    <a:gd name="connsiteX56" fmla="*/ 383163 w 1661948"/>
                    <a:gd name="connsiteY56" fmla="*/ 1077069 h 1438646"/>
                    <a:gd name="connsiteX57" fmla="*/ 379633 w 1661948"/>
                    <a:gd name="connsiteY57" fmla="*/ 1076968 h 1438646"/>
                    <a:gd name="connsiteX58" fmla="*/ 379633 w 1661948"/>
                    <a:gd name="connsiteY58" fmla="*/ 1076968 h 1438646"/>
                    <a:gd name="connsiteX59" fmla="*/ 297131 w 1661948"/>
                    <a:gd name="connsiteY59" fmla="*/ 1123060 h 1438646"/>
                    <a:gd name="connsiteX60" fmla="*/ 297131 w 1661948"/>
                    <a:gd name="connsiteY60" fmla="*/ 1123060 h 1438646"/>
                    <a:gd name="connsiteX61" fmla="*/ 280287 w 1661948"/>
                    <a:gd name="connsiteY61" fmla="*/ 1125481 h 1438646"/>
                    <a:gd name="connsiteX62" fmla="*/ 280287 w 1661948"/>
                    <a:gd name="connsiteY62" fmla="*/ 1125481 h 1438646"/>
                    <a:gd name="connsiteX63" fmla="*/ 204543 w 1661948"/>
                    <a:gd name="connsiteY63" fmla="*/ 1076060 h 1438646"/>
                    <a:gd name="connsiteX64" fmla="*/ 204543 w 1661948"/>
                    <a:gd name="connsiteY64" fmla="*/ 1076060 h 1438646"/>
                    <a:gd name="connsiteX65" fmla="*/ 175798 w 1661948"/>
                    <a:gd name="connsiteY65" fmla="*/ 996281 h 1438646"/>
                    <a:gd name="connsiteX66" fmla="*/ 175798 w 1661948"/>
                    <a:gd name="connsiteY66" fmla="*/ 996281 h 1438646"/>
                    <a:gd name="connsiteX67" fmla="*/ 178622 w 1661948"/>
                    <a:gd name="connsiteY67" fmla="*/ 980950 h 1438646"/>
                    <a:gd name="connsiteX68" fmla="*/ 178622 w 1661948"/>
                    <a:gd name="connsiteY68" fmla="*/ 980950 h 1438646"/>
                    <a:gd name="connsiteX69" fmla="*/ 216646 w 1661948"/>
                    <a:gd name="connsiteY69" fmla="*/ 966427 h 1438646"/>
                    <a:gd name="connsiteX70" fmla="*/ 216646 w 1661948"/>
                    <a:gd name="connsiteY70" fmla="*/ 966427 h 1438646"/>
                    <a:gd name="connsiteX71" fmla="*/ 222899 w 1661948"/>
                    <a:gd name="connsiteY71" fmla="*/ 966729 h 1438646"/>
                    <a:gd name="connsiteX72" fmla="*/ 222899 w 1661948"/>
                    <a:gd name="connsiteY72" fmla="*/ 966729 h 1438646"/>
                    <a:gd name="connsiteX73" fmla="*/ 279077 w 1661948"/>
                    <a:gd name="connsiteY73" fmla="*/ 976311 h 1438646"/>
                    <a:gd name="connsiteX74" fmla="*/ 279077 w 1661948"/>
                    <a:gd name="connsiteY74" fmla="*/ 976311 h 1438646"/>
                    <a:gd name="connsiteX75" fmla="*/ 299955 w 1661948"/>
                    <a:gd name="connsiteY75" fmla="*/ 972176 h 1438646"/>
                    <a:gd name="connsiteX76" fmla="*/ 299955 w 1661948"/>
                    <a:gd name="connsiteY76" fmla="*/ 972176 h 1438646"/>
                    <a:gd name="connsiteX77" fmla="*/ 306511 w 1661948"/>
                    <a:gd name="connsiteY77" fmla="*/ 964107 h 1438646"/>
                    <a:gd name="connsiteX78" fmla="*/ 306511 w 1661948"/>
                    <a:gd name="connsiteY78" fmla="*/ 964107 h 1438646"/>
                    <a:gd name="connsiteX79" fmla="*/ 253862 w 1661948"/>
                    <a:gd name="connsiteY79" fmla="*/ 923058 h 1438646"/>
                    <a:gd name="connsiteX80" fmla="*/ 253862 w 1661948"/>
                    <a:gd name="connsiteY80" fmla="*/ 923058 h 1438646"/>
                    <a:gd name="connsiteX81" fmla="*/ 183362 w 1661948"/>
                    <a:gd name="connsiteY81" fmla="*/ 749177 h 1438646"/>
                    <a:gd name="connsiteX82" fmla="*/ 183362 w 1661948"/>
                    <a:gd name="connsiteY82" fmla="*/ 749177 h 1438646"/>
                    <a:gd name="connsiteX83" fmla="*/ 183161 w 1661948"/>
                    <a:gd name="connsiteY83" fmla="*/ 735864 h 1438646"/>
                    <a:gd name="connsiteX84" fmla="*/ 183161 w 1661948"/>
                    <a:gd name="connsiteY84" fmla="*/ 735864 h 1438646"/>
                    <a:gd name="connsiteX85" fmla="*/ 196272 w 1661948"/>
                    <a:gd name="connsiteY85" fmla="*/ 567329 h 1438646"/>
                    <a:gd name="connsiteX86" fmla="*/ 196272 w 1661948"/>
                    <a:gd name="connsiteY86" fmla="*/ 567329 h 1438646"/>
                    <a:gd name="connsiteX87" fmla="*/ 160467 w 1661948"/>
                    <a:gd name="connsiteY87" fmla="*/ 399299 h 1438646"/>
                    <a:gd name="connsiteX88" fmla="*/ 160467 w 1661948"/>
                    <a:gd name="connsiteY88" fmla="*/ 399299 h 1438646"/>
                    <a:gd name="connsiteX89" fmla="*/ 102272 w 1661948"/>
                    <a:gd name="connsiteY89" fmla="*/ 323453 h 1438646"/>
                    <a:gd name="connsiteX90" fmla="*/ 102272 w 1661948"/>
                    <a:gd name="connsiteY90" fmla="*/ 323453 h 1438646"/>
                    <a:gd name="connsiteX91" fmla="*/ 80991 w 1661948"/>
                    <a:gd name="connsiteY91" fmla="*/ 255172 h 1438646"/>
                    <a:gd name="connsiteX92" fmla="*/ 80991 w 1661948"/>
                    <a:gd name="connsiteY92" fmla="*/ 255172 h 1438646"/>
                    <a:gd name="connsiteX93" fmla="*/ 42564 w 1661948"/>
                    <a:gd name="connsiteY93" fmla="*/ 175998 h 1438646"/>
                    <a:gd name="connsiteX94" fmla="*/ 42564 w 1661948"/>
                    <a:gd name="connsiteY94" fmla="*/ 175998 h 1438646"/>
                    <a:gd name="connsiteX95" fmla="*/ 42362 w 1661948"/>
                    <a:gd name="connsiteY95" fmla="*/ 172972 h 1438646"/>
                    <a:gd name="connsiteX96" fmla="*/ 42362 w 1661948"/>
                    <a:gd name="connsiteY96" fmla="*/ 172972 h 1438646"/>
                    <a:gd name="connsiteX97" fmla="*/ 76351 w 1661948"/>
                    <a:gd name="connsiteY97" fmla="*/ 101766 h 1438646"/>
                    <a:gd name="connsiteX98" fmla="*/ 76351 w 1661948"/>
                    <a:gd name="connsiteY98" fmla="*/ 101766 h 1438646"/>
                    <a:gd name="connsiteX99" fmla="*/ 75847 w 1661948"/>
                    <a:gd name="connsiteY99" fmla="*/ 96522 h 1438646"/>
                    <a:gd name="connsiteX100" fmla="*/ 75847 w 1661948"/>
                    <a:gd name="connsiteY100" fmla="*/ 96522 h 1438646"/>
                    <a:gd name="connsiteX101" fmla="*/ 15937 w 1661948"/>
                    <a:gd name="connsiteY101" fmla="*/ 49925 h 1438646"/>
                    <a:gd name="connsiteX102" fmla="*/ 15937 w 1661948"/>
                    <a:gd name="connsiteY102" fmla="*/ 49925 h 1438646"/>
                    <a:gd name="connsiteX103" fmla="*/ 1 w 1661948"/>
                    <a:gd name="connsiteY103" fmla="*/ 26223 h 1438646"/>
                    <a:gd name="connsiteX104" fmla="*/ 1 w 1661948"/>
                    <a:gd name="connsiteY104" fmla="*/ 26223 h 1438646"/>
                    <a:gd name="connsiteX105" fmla="*/ 4338 w 1661948"/>
                    <a:gd name="connsiteY105" fmla="*/ 7867 h 1438646"/>
                    <a:gd name="connsiteX106" fmla="*/ 4338 w 1661948"/>
                    <a:gd name="connsiteY106" fmla="*/ 7867 h 1438646"/>
                    <a:gd name="connsiteX107" fmla="*/ 22089 w 1661948"/>
                    <a:gd name="connsiteY107" fmla="*/ 0 h 1438646"/>
                    <a:gd name="connsiteX108" fmla="*/ 22089 w 1661948"/>
                    <a:gd name="connsiteY108" fmla="*/ 0 h 1438646"/>
                    <a:gd name="connsiteX109" fmla="*/ 146751 w 1661948"/>
                    <a:gd name="connsiteY109" fmla="*/ 50127 h 1438646"/>
                    <a:gd name="connsiteX110" fmla="*/ 146751 w 1661948"/>
                    <a:gd name="connsiteY110" fmla="*/ 50127 h 1438646"/>
                    <a:gd name="connsiteX111" fmla="*/ 219873 w 1661948"/>
                    <a:gd name="connsiteY111" fmla="*/ 73929 h 1438646"/>
                    <a:gd name="connsiteX112" fmla="*/ 219873 w 1661948"/>
                    <a:gd name="connsiteY112" fmla="*/ 73929 h 1438646"/>
                    <a:gd name="connsiteX113" fmla="*/ 273429 w 1661948"/>
                    <a:gd name="connsiteY113" fmla="*/ 51034 h 1438646"/>
                    <a:gd name="connsiteX114" fmla="*/ 273429 w 1661948"/>
                    <a:gd name="connsiteY114" fmla="*/ 51034 h 1438646"/>
                    <a:gd name="connsiteX115" fmla="*/ 365714 w 1661948"/>
                    <a:gd name="connsiteY115" fmla="*/ 22189 h 1438646"/>
                    <a:gd name="connsiteX116" fmla="*/ 365714 w 1661948"/>
                    <a:gd name="connsiteY116" fmla="*/ 22189 h 1438646"/>
                    <a:gd name="connsiteX117" fmla="*/ 402326 w 1661948"/>
                    <a:gd name="connsiteY117" fmla="*/ 26728 h 1438646"/>
                    <a:gd name="connsiteX118" fmla="*/ 402326 w 1661948"/>
                    <a:gd name="connsiteY118" fmla="*/ 26728 h 1438646"/>
                    <a:gd name="connsiteX119" fmla="*/ 439442 w 1661948"/>
                    <a:gd name="connsiteY119" fmla="*/ 90369 h 1438646"/>
                    <a:gd name="connsiteX120" fmla="*/ 439442 w 1661948"/>
                    <a:gd name="connsiteY120" fmla="*/ 90369 h 1438646"/>
                    <a:gd name="connsiteX121" fmla="*/ 425624 w 1661948"/>
                    <a:gd name="connsiteY121" fmla="*/ 119013 h 1438646"/>
                    <a:gd name="connsiteX122" fmla="*/ 425624 w 1661948"/>
                    <a:gd name="connsiteY122" fmla="*/ 119013 h 1438646"/>
                    <a:gd name="connsiteX123" fmla="*/ 385987 w 1661948"/>
                    <a:gd name="connsiteY123" fmla="*/ 171459 h 1438646"/>
                    <a:gd name="connsiteX124" fmla="*/ 385987 w 1661948"/>
                    <a:gd name="connsiteY124" fmla="*/ 171459 h 1438646"/>
                    <a:gd name="connsiteX125" fmla="*/ 384878 w 1661948"/>
                    <a:gd name="connsiteY125" fmla="*/ 178419 h 1438646"/>
                    <a:gd name="connsiteX126" fmla="*/ 384878 w 1661948"/>
                    <a:gd name="connsiteY126" fmla="*/ 178419 h 1438646"/>
                    <a:gd name="connsiteX127" fmla="*/ 431878 w 1661948"/>
                    <a:gd name="connsiteY127" fmla="*/ 268788 h 1438646"/>
                    <a:gd name="connsiteX128" fmla="*/ 431878 w 1661948"/>
                    <a:gd name="connsiteY128" fmla="*/ 268788 h 1438646"/>
                    <a:gd name="connsiteX129" fmla="*/ 438938 w 1661948"/>
                    <a:gd name="connsiteY129" fmla="*/ 320226 h 1438646"/>
                    <a:gd name="connsiteX130" fmla="*/ 438938 w 1661948"/>
                    <a:gd name="connsiteY130" fmla="*/ 320226 h 1438646"/>
                    <a:gd name="connsiteX131" fmla="*/ 437425 w 1661948"/>
                    <a:gd name="connsiteY131" fmla="*/ 365209 h 1438646"/>
                    <a:gd name="connsiteX132" fmla="*/ 437425 w 1661948"/>
                    <a:gd name="connsiteY132" fmla="*/ 365209 h 1438646"/>
                    <a:gd name="connsiteX133" fmla="*/ 437122 w 1661948"/>
                    <a:gd name="connsiteY133" fmla="*/ 372975 h 1438646"/>
                    <a:gd name="connsiteX134" fmla="*/ 437122 w 1661948"/>
                    <a:gd name="connsiteY134" fmla="*/ 372975 h 1438646"/>
                    <a:gd name="connsiteX135" fmla="*/ 464153 w 1661948"/>
                    <a:gd name="connsiteY135" fmla="*/ 418765 h 1438646"/>
                    <a:gd name="connsiteX136" fmla="*/ 464153 w 1661948"/>
                    <a:gd name="connsiteY136" fmla="*/ 418765 h 1438646"/>
                    <a:gd name="connsiteX137" fmla="*/ 467582 w 1661948"/>
                    <a:gd name="connsiteY137" fmla="*/ 418563 h 1438646"/>
                    <a:gd name="connsiteX138" fmla="*/ 467582 w 1661948"/>
                    <a:gd name="connsiteY138" fmla="*/ 418563 h 1438646"/>
                    <a:gd name="connsiteX139" fmla="*/ 478575 w 1661948"/>
                    <a:gd name="connsiteY139" fmla="*/ 377514 h 1438646"/>
                    <a:gd name="connsiteX140" fmla="*/ 478575 w 1661948"/>
                    <a:gd name="connsiteY140" fmla="*/ 377514 h 1438646"/>
                    <a:gd name="connsiteX141" fmla="*/ 477970 w 1661948"/>
                    <a:gd name="connsiteY141" fmla="*/ 359863 h 1438646"/>
                    <a:gd name="connsiteX142" fmla="*/ 477970 w 1661948"/>
                    <a:gd name="connsiteY142" fmla="*/ 359863 h 1438646"/>
                    <a:gd name="connsiteX143" fmla="*/ 515389 w 1661948"/>
                    <a:gd name="connsiteY143" fmla="*/ 313771 h 1438646"/>
                    <a:gd name="connsiteX144" fmla="*/ 515389 w 1661948"/>
                    <a:gd name="connsiteY144" fmla="*/ 313771 h 1438646"/>
                    <a:gd name="connsiteX145" fmla="*/ 544335 w 1661948"/>
                    <a:gd name="connsiteY145" fmla="*/ 306812 h 1438646"/>
                    <a:gd name="connsiteX146" fmla="*/ 544335 w 1661948"/>
                    <a:gd name="connsiteY146" fmla="*/ 306812 h 1438646"/>
                    <a:gd name="connsiteX147" fmla="*/ 615138 w 1661948"/>
                    <a:gd name="connsiteY147" fmla="*/ 334245 h 1438646"/>
                    <a:gd name="connsiteX148" fmla="*/ 615138 w 1661948"/>
                    <a:gd name="connsiteY148" fmla="*/ 334245 h 1438646"/>
                    <a:gd name="connsiteX149" fmla="*/ 775402 w 1661948"/>
                    <a:gd name="connsiteY149" fmla="*/ 354518 h 1438646"/>
                    <a:gd name="connsiteX150" fmla="*/ 775402 w 1661948"/>
                    <a:gd name="connsiteY150" fmla="*/ 354518 h 1438646"/>
                    <a:gd name="connsiteX151" fmla="*/ 1031482 w 1661948"/>
                    <a:gd name="connsiteY151" fmla="*/ 426228 h 1438646"/>
                    <a:gd name="connsiteX152" fmla="*/ 1031482 w 1661948"/>
                    <a:gd name="connsiteY152" fmla="*/ 426228 h 1438646"/>
                    <a:gd name="connsiteX153" fmla="*/ 1037735 w 1661948"/>
                    <a:gd name="connsiteY153" fmla="*/ 426430 h 1438646"/>
                    <a:gd name="connsiteX154" fmla="*/ 1037735 w 1661948"/>
                    <a:gd name="connsiteY154" fmla="*/ 426430 h 1438646"/>
                    <a:gd name="connsiteX155" fmla="*/ 1242882 w 1661948"/>
                    <a:gd name="connsiteY155" fmla="*/ 308627 h 1438646"/>
                    <a:gd name="connsiteX156" fmla="*/ 1242882 w 1661948"/>
                    <a:gd name="connsiteY156" fmla="*/ 308627 h 1438646"/>
                    <a:gd name="connsiteX157" fmla="*/ 1278081 w 1661948"/>
                    <a:gd name="connsiteY157" fmla="*/ 301063 h 1438646"/>
                    <a:gd name="connsiteX158" fmla="*/ 1278081 w 1661948"/>
                    <a:gd name="connsiteY158" fmla="*/ 301063 h 1438646"/>
                    <a:gd name="connsiteX159" fmla="*/ 1298051 w 1661948"/>
                    <a:gd name="connsiteY159" fmla="*/ 306711 h 1438646"/>
                    <a:gd name="connsiteX160" fmla="*/ 1298051 w 1661948"/>
                    <a:gd name="connsiteY160" fmla="*/ 306711 h 1438646"/>
                    <a:gd name="connsiteX161" fmla="*/ 1297244 w 1661948"/>
                    <a:gd name="connsiteY161" fmla="*/ 328396 h 1438646"/>
                    <a:gd name="connsiteX162" fmla="*/ 1297244 w 1661948"/>
                    <a:gd name="connsiteY162" fmla="*/ 328396 h 1438646"/>
                    <a:gd name="connsiteX163" fmla="*/ 1301480 w 1661948"/>
                    <a:gd name="connsiteY163" fmla="*/ 360569 h 1438646"/>
                    <a:gd name="connsiteX164" fmla="*/ 1301480 w 1661948"/>
                    <a:gd name="connsiteY164" fmla="*/ 360569 h 1438646"/>
                    <a:gd name="connsiteX165" fmla="*/ 1302993 w 1661948"/>
                    <a:gd name="connsiteY165" fmla="*/ 367226 h 1438646"/>
                    <a:gd name="connsiteX166" fmla="*/ 1302993 w 1661948"/>
                    <a:gd name="connsiteY166" fmla="*/ 367226 h 1438646"/>
                    <a:gd name="connsiteX167" fmla="*/ 1288974 w 1661948"/>
                    <a:gd name="connsiteY167" fmla="*/ 398391 h 1438646"/>
                    <a:gd name="connsiteX168" fmla="*/ 1288974 w 1661948"/>
                    <a:gd name="connsiteY168" fmla="*/ 398391 h 1438646"/>
                    <a:gd name="connsiteX169" fmla="*/ 1289276 w 1661948"/>
                    <a:gd name="connsiteY169" fmla="*/ 401921 h 1438646"/>
                    <a:gd name="connsiteX170" fmla="*/ 1289276 w 1661948"/>
                    <a:gd name="connsiteY170" fmla="*/ 401921 h 1438646"/>
                    <a:gd name="connsiteX171" fmla="*/ 1344043 w 1661948"/>
                    <a:gd name="connsiteY171" fmla="*/ 573078 h 1438646"/>
                    <a:gd name="connsiteX172" fmla="*/ 1344043 w 1661948"/>
                    <a:gd name="connsiteY172" fmla="*/ 573078 h 1438646"/>
                    <a:gd name="connsiteX173" fmla="*/ 1357154 w 1661948"/>
                    <a:gd name="connsiteY173" fmla="*/ 633493 h 1438646"/>
                    <a:gd name="connsiteX174" fmla="*/ 1357154 w 1661948"/>
                    <a:gd name="connsiteY174" fmla="*/ 633493 h 1438646"/>
                    <a:gd name="connsiteX175" fmla="*/ 1347270 w 1661948"/>
                    <a:gd name="connsiteY175" fmla="*/ 645394 h 1438646"/>
                    <a:gd name="connsiteX176" fmla="*/ 1347270 w 1661948"/>
                    <a:gd name="connsiteY176" fmla="*/ 645394 h 1438646"/>
                    <a:gd name="connsiteX177" fmla="*/ 1321955 w 1661948"/>
                    <a:gd name="connsiteY177" fmla="*/ 664860 h 1438646"/>
                    <a:gd name="connsiteX178" fmla="*/ 1321955 w 1661948"/>
                    <a:gd name="connsiteY178" fmla="*/ 664860 h 1438646"/>
                    <a:gd name="connsiteX179" fmla="*/ 1327300 w 1661948"/>
                    <a:gd name="connsiteY179" fmla="*/ 674038 h 1438646"/>
                    <a:gd name="connsiteX180" fmla="*/ 1327300 w 1661948"/>
                    <a:gd name="connsiteY180" fmla="*/ 674038 h 1438646"/>
                    <a:gd name="connsiteX181" fmla="*/ 1344749 w 1661948"/>
                    <a:gd name="connsiteY181" fmla="*/ 715390 h 1438646"/>
                    <a:gd name="connsiteX182" fmla="*/ 1344749 w 1661948"/>
                    <a:gd name="connsiteY182" fmla="*/ 715390 h 1438646"/>
                    <a:gd name="connsiteX183" fmla="*/ 1344043 w 1661948"/>
                    <a:gd name="connsiteY183" fmla="*/ 732838 h 1438646"/>
                    <a:gd name="connsiteX184" fmla="*/ 1344043 w 1661948"/>
                    <a:gd name="connsiteY184" fmla="*/ 732838 h 1438646"/>
                    <a:gd name="connsiteX185" fmla="*/ 1336882 w 1661948"/>
                    <a:gd name="connsiteY185" fmla="*/ 778931 h 1438646"/>
                    <a:gd name="connsiteX186" fmla="*/ 1336882 w 1661948"/>
                    <a:gd name="connsiteY186" fmla="*/ 778931 h 1438646"/>
                    <a:gd name="connsiteX187" fmla="*/ 1340916 w 1661948"/>
                    <a:gd name="connsiteY187" fmla="*/ 788512 h 1438646"/>
                    <a:gd name="connsiteX188" fmla="*/ 1340916 w 1661948"/>
                    <a:gd name="connsiteY188" fmla="*/ 788512 h 1438646"/>
                    <a:gd name="connsiteX189" fmla="*/ 1382167 w 1661948"/>
                    <a:gd name="connsiteY189" fmla="*/ 799506 h 1438646"/>
                    <a:gd name="connsiteX190" fmla="*/ 1382167 w 1661948"/>
                    <a:gd name="connsiteY190" fmla="*/ 799506 h 1438646"/>
                    <a:gd name="connsiteX191" fmla="*/ 1402137 w 1661948"/>
                    <a:gd name="connsiteY191" fmla="*/ 814231 h 1438646"/>
                    <a:gd name="connsiteX192" fmla="*/ 1402137 w 1661948"/>
                    <a:gd name="connsiteY192" fmla="*/ 814231 h 1438646"/>
                    <a:gd name="connsiteX193" fmla="*/ 1419687 w 1661948"/>
                    <a:gd name="connsiteY193" fmla="*/ 809693 h 1438646"/>
                    <a:gd name="connsiteX194" fmla="*/ 1419687 w 1661948"/>
                    <a:gd name="connsiteY194" fmla="*/ 809693 h 1438646"/>
                    <a:gd name="connsiteX195" fmla="*/ 1440564 w 1661948"/>
                    <a:gd name="connsiteY195" fmla="*/ 804448 h 1438646"/>
                    <a:gd name="connsiteX196" fmla="*/ 1440564 w 1661948"/>
                    <a:gd name="connsiteY196" fmla="*/ 804448 h 1438646"/>
                    <a:gd name="connsiteX197" fmla="*/ 1469410 w 1661948"/>
                    <a:gd name="connsiteY197" fmla="*/ 830671 h 1438646"/>
                    <a:gd name="connsiteX198" fmla="*/ 1469410 w 1661948"/>
                    <a:gd name="connsiteY198" fmla="*/ 830671 h 1438646"/>
                    <a:gd name="connsiteX199" fmla="*/ 1490187 w 1661948"/>
                    <a:gd name="connsiteY199" fmla="*/ 873032 h 1438646"/>
                    <a:gd name="connsiteX200" fmla="*/ 1490187 w 1661948"/>
                    <a:gd name="connsiteY200" fmla="*/ 873032 h 1438646"/>
                    <a:gd name="connsiteX201" fmla="*/ 1548987 w 1661948"/>
                    <a:gd name="connsiteY201" fmla="*/ 907525 h 1438646"/>
                    <a:gd name="connsiteX202" fmla="*/ 1548987 w 1661948"/>
                    <a:gd name="connsiteY202" fmla="*/ 907525 h 1438646"/>
                    <a:gd name="connsiteX203" fmla="*/ 1535573 w 1661948"/>
                    <a:gd name="connsiteY203" fmla="*/ 940809 h 1438646"/>
                    <a:gd name="connsiteX204" fmla="*/ 1535573 w 1661948"/>
                    <a:gd name="connsiteY204" fmla="*/ 940809 h 1438646"/>
                    <a:gd name="connsiteX205" fmla="*/ 1540011 w 1661948"/>
                    <a:gd name="connsiteY205" fmla="*/ 957551 h 1438646"/>
                    <a:gd name="connsiteX206" fmla="*/ 1540011 w 1661948"/>
                    <a:gd name="connsiteY206" fmla="*/ 957551 h 1438646"/>
                    <a:gd name="connsiteX207" fmla="*/ 1569159 w 1661948"/>
                    <a:gd name="connsiteY207" fmla="*/ 984279 h 1438646"/>
                    <a:gd name="connsiteX208" fmla="*/ 1569159 w 1661948"/>
                    <a:gd name="connsiteY208" fmla="*/ 984279 h 1438646"/>
                    <a:gd name="connsiteX209" fmla="*/ 1572689 w 1661948"/>
                    <a:gd name="connsiteY209" fmla="*/ 987809 h 1438646"/>
                    <a:gd name="connsiteX210" fmla="*/ 1572689 w 1661948"/>
                    <a:gd name="connsiteY210" fmla="*/ 987809 h 1438646"/>
                    <a:gd name="connsiteX211" fmla="*/ 1570874 w 1661948"/>
                    <a:gd name="connsiteY211" fmla="*/ 1003644 h 1438646"/>
                    <a:gd name="connsiteX212" fmla="*/ 1570874 w 1661948"/>
                    <a:gd name="connsiteY212" fmla="*/ 1003644 h 1438646"/>
                    <a:gd name="connsiteX213" fmla="*/ 1611923 w 1661948"/>
                    <a:gd name="connsiteY213" fmla="*/ 1067084 h 1438646"/>
                    <a:gd name="connsiteX214" fmla="*/ 1611923 w 1661948"/>
                    <a:gd name="connsiteY214" fmla="*/ 1067084 h 1438646"/>
                    <a:gd name="connsiteX215" fmla="*/ 1610309 w 1661948"/>
                    <a:gd name="connsiteY215" fmla="*/ 1069403 h 1438646"/>
                    <a:gd name="connsiteX216" fmla="*/ 1608696 w 1661948"/>
                    <a:gd name="connsiteY216" fmla="*/ 1071723 h 1438646"/>
                    <a:gd name="connsiteX217" fmla="*/ 1565427 w 1661948"/>
                    <a:gd name="connsiteY217" fmla="*/ 1003644 h 1438646"/>
                    <a:gd name="connsiteX218" fmla="*/ 1565427 w 1661948"/>
                    <a:gd name="connsiteY218" fmla="*/ 1003644 h 1438646"/>
                    <a:gd name="connsiteX219" fmla="*/ 1569966 w 1661948"/>
                    <a:gd name="connsiteY219" fmla="*/ 990028 h 1438646"/>
                    <a:gd name="connsiteX220" fmla="*/ 1569966 w 1661948"/>
                    <a:gd name="connsiteY220" fmla="*/ 990028 h 1438646"/>
                    <a:gd name="connsiteX221" fmla="*/ 1569159 w 1661948"/>
                    <a:gd name="connsiteY221" fmla="*/ 989927 h 1438646"/>
                    <a:gd name="connsiteX222" fmla="*/ 1534867 w 1661948"/>
                    <a:gd name="connsiteY222" fmla="*/ 959871 h 1438646"/>
                    <a:gd name="connsiteX223" fmla="*/ 1534867 w 1661948"/>
                    <a:gd name="connsiteY223" fmla="*/ 959871 h 1438646"/>
                    <a:gd name="connsiteX224" fmla="*/ 1529925 w 1661948"/>
                    <a:gd name="connsiteY224" fmla="*/ 940910 h 1438646"/>
                    <a:gd name="connsiteX225" fmla="*/ 1529925 w 1661948"/>
                    <a:gd name="connsiteY225" fmla="*/ 940910 h 1438646"/>
                    <a:gd name="connsiteX226" fmla="*/ 1543339 w 1661948"/>
                    <a:gd name="connsiteY226" fmla="*/ 907626 h 1438646"/>
                    <a:gd name="connsiteX227" fmla="*/ 1543339 w 1661948"/>
                    <a:gd name="connsiteY227" fmla="*/ 907626 h 1438646"/>
                    <a:gd name="connsiteX228" fmla="*/ 1489077 w 1661948"/>
                    <a:gd name="connsiteY228" fmla="*/ 878579 h 1438646"/>
                    <a:gd name="connsiteX229" fmla="*/ 1489077 w 1661948"/>
                    <a:gd name="connsiteY229" fmla="*/ 878579 h 1438646"/>
                    <a:gd name="connsiteX230" fmla="*/ 1463963 w 1661948"/>
                    <a:gd name="connsiteY230" fmla="*/ 832587 h 1438646"/>
                    <a:gd name="connsiteX231" fmla="*/ 1463963 w 1661948"/>
                    <a:gd name="connsiteY231" fmla="*/ 832587 h 1438646"/>
                    <a:gd name="connsiteX232" fmla="*/ 1440363 w 1661948"/>
                    <a:gd name="connsiteY232" fmla="*/ 810197 h 1438646"/>
                    <a:gd name="connsiteX233" fmla="*/ 1440363 w 1661948"/>
                    <a:gd name="connsiteY233" fmla="*/ 810197 h 1438646"/>
                    <a:gd name="connsiteX234" fmla="*/ 1421805 w 1661948"/>
                    <a:gd name="connsiteY234" fmla="*/ 814836 h 1438646"/>
                    <a:gd name="connsiteX235" fmla="*/ 1421805 w 1661948"/>
                    <a:gd name="connsiteY235" fmla="*/ 814836 h 1438646"/>
                    <a:gd name="connsiteX236" fmla="*/ 1401935 w 1661948"/>
                    <a:gd name="connsiteY236" fmla="*/ 819980 h 1438646"/>
                    <a:gd name="connsiteX237" fmla="*/ 1401935 w 1661948"/>
                    <a:gd name="connsiteY237" fmla="*/ 819980 h 1438646"/>
                    <a:gd name="connsiteX238" fmla="*/ 1378133 w 1661948"/>
                    <a:gd name="connsiteY238" fmla="*/ 803742 h 1438646"/>
                    <a:gd name="connsiteX239" fmla="*/ 1378133 w 1661948"/>
                    <a:gd name="connsiteY239" fmla="*/ 803742 h 1438646"/>
                    <a:gd name="connsiteX240" fmla="*/ 1337991 w 1661948"/>
                    <a:gd name="connsiteY240" fmla="*/ 793555 h 1438646"/>
                    <a:gd name="connsiteX241" fmla="*/ 1337991 w 1661948"/>
                    <a:gd name="connsiteY241" fmla="*/ 793555 h 1438646"/>
                    <a:gd name="connsiteX242" fmla="*/ 1331133 w 1661948"/>
                    <a:gd name="connsiteY242" fmla="*/ 779233 h 1438646"/>
                    <a:gd name="connsiteX243" fmla="*/ 1331133 w 1661948"/>
                    <a:gd name="connsiteY243" fmla="*/ 779233 h 1438646"/>
                    <a:gd name="connsiteX244" fmla="*/ 1338294 w 1661948"/>
                    <a:gd name="connsiteY244" fmla="*/ 732737 h 1438646"/>
                    <a:gd name="connsiteX245" fmla="*/ 1338294 w 1661948"/>
                    <a:gd name="connsiteY245" fmla="*/ 732737 h 1438646"/>
                    <a:gd name="connsiteX246" fmla="*/ 1339000 w 1661948"/>
                    <a:gd name="connsiteY246" fmla="*/ 715692 h 1438646"/>
                    <a:gd name="connsiteX247" fmla="*/ 1339000 w 1661948"/>
                    <a:gd name="connsiteY247" fmla="*/ 715692 h 1438646"/>
                    <a:gd name="connsiteX248" fmla="*/ 1323367 w 1661948"/>
                    <a:gd name="connsiteY248" fmla="*/ 678576 h 1438646"/>
                    <a:gd name="connsiteX249" fmla="*/ 1323367 w 1661948"/>
                    <a:gd name="connsiteY249" fmla="*/ 678576 h 1438646"/>
                    <a:gd name="connsiteX250" fmla="*/ 1316206 w 1661948"/>
                    <a:gd name="connsiteY250" fmla="*/ 665162 h 1438646"/>
                    <a:gd name="connsiteX251" fmla="*/ 1316206 w 1661948"/>
                    <a:gd name="connsiteY251" fmla="*/ 665162 h 1438646"/>
                    <a:gd name="connsiteX252" fmla="*/ 1345757 w 1661948"/>
                    <a:gd name="connsiteY252" fmla="*/ 640250 h 1438646"/>
                    <a:gd name="connsiteX253" fmla="*/ 1345757 w 1661948"/>
                    <a:gd name="connsiteY253" fmla="*/ 640250 h 1438646"/>
                    <a:gd name="connsiteX254" fmla="*/ 1351506 w 1661948"/>
                    <a:gd name="connsiteY254" fmla="*/ 633896 h 1438646"/>
                    <a:gd name="connsiteX255" fmla="*/ 1351506 w 1661948"/>
                    <a:gd name="connsiteY255" fmla="*/ 633896 h 1438646"/>
                    <a:gd name="connsiteX256" fmla="*/ 1338495 w 1661948"/>
                    <a:gd name="connsiteY256" fmla="*/ 574793 h 1438646"/>
                    <a:gd name="connsiteX257" fmla="*/ 1338495 w 1661948"/>
                    <a:gd name="connsiteY257" fmla="*/ 574793 h 1438646"/>
                    <a:gd name="connsiteX258" fmla="*/ 1283729 w 1661948"/>
                    <a:gd name="connsiteY258" fmla="*/ 403434 h 1438646"/>
                    <a:gd name="connsiteX259" fmla="*/ 1283729 w 1661948"/>
                    <a:gd name="connsiteY259" fmla="*/ 403434 h 1438646"/>
                    <a:gd name="connsiteX260" fmla="*/ 1283225 w 1661948"/>
                    <a:gd name="connsiteY260" fmla="*/ 398896 h 1438646"/>
                    <a:gd name="connsiteX261" fmla="*/ 1283225 w 1661948"/>
                    <a:gd name="connsiteY261" fmla="*/ 398896 h 1438646"/>
                    <a:gd name="connsiteX262" fmla="*/ 1297244 w 1661948"/>
                    <a:gd name="connsiteY262" fmla="*/ 367730 h 1438646"/>
                    <a:gd name="connsiteX263" fmla="*/ 1297244 w 1661948"/>
                    <a:gd name="connsiteY263" fmla="*/ 367730 h 1438646"/>
                    <a:gd name="connsiteX264" fmla="*/ 1296337 w 1661948"/>
                    <a:gd name="connsiteY264" fmla="*/ 363696 h 1438646"/>
                    <a:gd name="connsiteX265" fmla="*/ 1296337 w 1661948"/>
                    <a:gd name="connsiteY265" fmla="*/ 363696 h 1438646"/>
                    <a:gd name="connsiteX266" fmla="*/ 1291596 w 1661948"/>
                    <a:gd name="connsiteY266" fmla="*/ 328900 h 1438646"/>
                    <a:gd name="connsiteX267" fmla="*/ 1291596 w 1661948"/>
                    <a:gd name="connsiteY267" fmla="*/ 328900 h 1438646"/>
                    <a:gd name="connsiteX268" fmla="*/ 1294319 w 1661948"/>
                    <a:gd name="connsiteY268" fmla="*/ 309636 h 1438646"/>
                    <a:gd name="connsiteX269" fmla="*/ 1294319 w 1661948"/>
                    <a:gd name="connsiteY269" fmla="*/ 309636 h 1438646"/>
                    <a:gd name="connsiteX270" fmla="*/ 1277980 w 1661948"/>
                    <a:gd name="connsiteY270" fmla="*/ 307114 h 1438646"/>
                    <a:gd name="connsiteX271" fmla="*/ 1277980 w 1661948"/>
                    <a:gd name="connsiteY271" fmla="*/ 307114 h 1438646"/>
                    <a:gd name="connsiteX272" fmla="*/ 1244798 w 1661948"/>
                    <a:gd name="connsiteY272" fmla="*/ 314275 h 1438646"/>
                    <a:gd name="connsiteX273" fmla="*/ 1244798 w 1661948"/>
                    <a:gd name="connsiteY273" fmla="*/ 314275 h 1438646"/>
                    <a:gd name="connsiteX274" fmla="*/ 1037634 w 1661948"/>
                    <a:gd name="connsiteY274" fmla="*/ 432481 h 1438646"/>
                    <a:gd name="connsiteX275" fmla="*/ 1037634 w 1661948"/>
                    <a:gd name="connsiteY275" fmla="*/ 432481 h 1438646"/>
                    <a:gd name="connsiteX276" fmla="*/ 1030978 w 1661948"/>
                    <a:gd name="connsiteY276" fmla="*/ 432280 h 1438646"/>
                    <a:gd name="connsiteX277" fmla="*/ 1030978 w 1661948"/>
                    <a:gd name="connsiteY277" fmla="*/ 432280 h 1438646"/>
                    <a:gd name="connsiteX278" fmla="*/ 774999 w 1661948"/>
                    <a:gd name="connsiteY278" fmla="*/ 360670 h 1438646"/>
                    <a:gd name="connsiteX279" fmla="*/ 774999 w 1661948"/>
                    <a:gd name="connsiteY279" fmla="*/ 360670 h 1438646"/>
                    <a:gd name="connsiteX280" fmla="*/ 612515 w 1661948"/>
                    <a:gd name="connsiteY280" fmla="*/ 339792 h 1438646"/>
                    <a:gd name="connsiteX281" fmla="*/ 612515 w 1661948"/>
                    <a:gd name="connsiteY281" fmla="*/ 339792 h 1438646"/>
                    <a:gd name="connsiteX282" fmla="*/ 544133 w 1661948"/>
                    <a:gd name="connsiteY282" fmla="*/ 312863 h 1438646"/>
                    <a:gd name="connsiteX283" fmla="*/ 544133 w 1661948"/>
                    <a:gd name="connsiteY283" fmla="*/ 312863 h 1438646"/>
                    <a:gd name="connsiteX284" fmla="*/ 517507 w 1661948"/>
                    <a:gd name="connsiteY284" fmla="*/ 319318 h 1438646"/>
                    <a:gd name="connsiteX285" fmla="*/ 517507 w 1661948"/>
                    <a:gd name="connsiteY285" fmla="*/ 319318 h 1438646"/>
                    <a:gd name="connsiteX286" fmla="*/ 483316 w 1661948"/>
                    <a:gd name="connsiteY286" fmla="*/ 359964 h 1438646"/>
                    <a:gd name="connsiteX287" fmla="*/ 483316 w 1661948"/>
                    <a:gd name="connsiteY287" fmla="*/ 359964 h 1438646"/>
                    <a:gd name="connsiteX288" fmla="*/ 483921 w 1661948"/>
                    <a:gd name="connsiteY288" fmla="*/ 377917 h 1438646"/>
                    <a:gd name="connsiteX289" fmla="*/ 483921 w 1661948"/>
                    <a:gd name="connsiteY289" fmla="*/ 377917 h 1438646"/>
                    <a:gd name="connsiteX290" fmla="*/ 468086 w 1661948"/>
                    <a:gd name="connsiteY290" fmla="*/ 424413 h 1438646"/>
                    <a:gd name="connsiteX291" fmla="*/ 468086 w 1661948"/>
                    <a:gd name="connsiteY291" fmla="*/ 424413 h 1438646"/>
                    <a:gd name="connsiteX292" fmla="*/ 463850 w 1661948"/>
                    <a:gd name="connsiteY292" fmla="*/ 424715 h 1438646"/>
                    <a:gd name="connsiteX293" fmla="*/ 463850 w 1661948"/>
                    <a:gd name="connsiteY293" fmla="*/ 424715 h 1438646"/>
                    <a:gd name="connsiteX294" fmla="*/ 431273 w 1661948"/>
                    <a:gd name="connsiteY294" fmla="*/ 373278 h 1438646"/>
                    <a:gd name="connsiteX295" fmla="*/ 431273 w 1661948"/>
                    <a:gd name="connsiteY295" fmla="*/ 373278 h 1438646"/>
                    <a:gd name="connsiteX296" fmla="*/ 431575 w 1661948"/>
                    <a:gd name="connsiteY296" fmla="*/ 365108 h 1438646"/>
                    <a:gd name="connsiteX297" fmla="*/ 431575 w 1661948"/>
                    <a:gd name="connsiteY297" fmla="*/ 365108 h 1438646"/>
                    <a:gd name="connsiteX298" fmla="*/ 433088 w 1661948"/>
                    <a:gd name="connsiteY298" fmla="*/ 320529 h 1438646"/>
                    <a:gd name="connsiteX299" fmla="*/ 433088 w 1661948"/>
                    <a:gd name="connsiteY299" fmla="*/ 320529 h 1438646"/>
                    <a:gd name="connsiteX300" fmla="*/ 426936 w 1661948"/>
                    <a:gd name="connsiteY300" fmla="*/ 271915 h 1438646"/>
                    <a:gd name="connsiteX301" fmla="*/ 426936 w 1661948"/>
                    <a:gd name="connsiteY301" fmla="*/ 271915 h 1438646"/>
                    <a:gd name="connsiteX302" fmla="*/ 379028 w 1661948"/>
                    <a:gd name="connsiteY302" fmla="*/ 178721 h 1438646"/>
                    <a:gd name="connsiteX303" fmla="*/ 379028 w 1661948"/>
                    <a:gd name="connsiteY303" fmla="*/ 178721 h 1438646"/>
                    <a:gd name="connsiteX304" fmla="*/ 380642 w 1661948"/>
                    <a:gd name="connsiteY304" fmla="*/ 169644 h 1438646"/>
                    <a:gd name="connsiteX305" fmla="*/ 380642 w 1661948"/>
                    <a:gd name="connsiteY305" fmla="*/ 169644 h 1438646"/>
                    <a:gd name="connsiteX306" fmla="*/ 422901 w 1661948"/>
                    <a:gd name="connsiteY306" fmla="*/ 114374 h 1438646"/>
                    <a:gd name="connsiteX307" fmla="*/ 422901 w 1661948"/>
                    <a:gd name="connsiteY307" fmla="*/ 114374 h 1438646"/>
                    <a:gd name="connsiteX308" fmla="*/ 433592 w 1661948"/>
                    <a:gd name="connsiteY308" fmla="*/ 90773 h 1438646"/>
                    <a:gd name="connsiteX309" fmla="*/ 433592 w 1661948"/>
                    <a:gd name="connsiteY309" fmla="*/ 90773 h 1438646"/>
                    <a:gd name="connsiteX310" fmla="*/ 400208 w 1661948"/>
                    <a:gd name="connsiteY310" fmla="*/ 32476 h 1438646"/>
                    <a:gd name="connsiteX311" fmla="*/ 400208 w 1661948"/>
                    <a:gd name="connsiteY311" fmla="*/ 32476 h 1438646"/>
                    <a:gd name="connsiteX312" fmla="*/ 365412 w 1661948"/>
                    <a:gd name="connsiteY312" fmla="*/ 28140 h 1438646"/>
                    <a:gd name="connsiteX313" fmla="*/ 365412 w 1661948"/>
                    <a:gd name="connsiteY313" fmla="*/ 28140 h 1438646"/>
                    <a:gd name="connsiteX314" fmla="*/ 277867 w 1661948"/>
                    <a:gd name="connsiteY314" fmla="*/ 54262 h 1438646"/>
                    <a:gd name="connsiteX315" fmla="*/ 277867 w 1661948"/>
                    <a:gd name="connsiteY315" fmla="*/ 54262 h 1438646"/>
                    <a:gd name="connsiteX316" fmla="*/ 219571 w 1661948"/>
                    <a:gd name="connsiteY316" fmla="*/ 79880 h 1438646"/>
                    <a:gd name="connsiteX317" fmla="*/ 219571 w 1661948"/>
                    <a:gd name="connsiteY317" fmla="*/ 79880 h 1438646"/>
                    <a:gd name="connsiteX318" fmla="*/ 143523 w 1661948"/>
                    <a:gd name="connsiteY318" fmla="*/ 55170 h 1438646"/>
                    <a:gd name="connsiteX319" fmla="*/ 143523 w 1661948"/>
                    <a:gd name="connsiteY319" fmla="*/ 55170 h 1438646"/>
                    <a:gd name="connsiteX320" fmla="*/ 21888 w 1661948"/>
                    <a:gd name="connsiteY320" fmla="*/ 5951 h 1438646"/>
                    <a:gd name="connsiteX321" fmla="*/ 21888 w 1661948"/>
                    <a:gd name="connsiteY321" fmla="*/ 5951 h 1438646"/>
                    <a:gd name="connsiteX322" fmla="*/ 9280 w 1661948"/>
                    <a:gd name="connsiteY322" fmla="*/ 10388 h 1438646"/>
                    <a:gd name="connsiteX323" fmla="*/ 9280 w 1661948"/>
                    <a:gd name="connsiteY323" fmla="*/ 10388 h 1438646"/>
                    <a:gd name="connsiteX324" fmla="*/ 5347 w 1661948"/>
                    <a:gd name="connsiteY324" fmla="*/ 26526 h 1438646"/>
                    <a:gd name="connsiteX325" fmla="*/ 5347 w 1661948"/>
                    <a:gd name="connsiteY325" fmla="*/ 26526 h 1438646"/>
                    <a:gd name="connsiteX326" fmla="*/ 18358 w 1661948"/>
                    <a:gd name="connsiteY326" fmla="*/ 45185 h 1438646"/>
                    <a:gd name="connsiteX327" fmla="*/ 18358 w 1661948"/>
                    <a:gd name="connsiteY327" fmla="*/ 45185 h 1438646"/>
                    <a:gd name="connsiteX328" fmla="*/ 81394 w 1661948"/>
                    <a:gd name="connsiteY328" fmla="*/ 95816 h 1438646"/>
                    <a:gd name="connsiteX329" fmla="*/ 81394 w 1661948"/>
                    <a:gd name="connsiteY329" fmla="*/ 95816 h 1438646"/>
                    <a:gd name="connsiteX330" fmla="*/ 81898 w 1661948"/>
                    <a:gd name="connsiteY330" fmla="*/ 101968 h 1438646"/>
                    <a:gd name="connsiteX331" fmla="*/ 81898 w 1661948"/>
                    <a:gd name="connsiteY331" fmla="*/ 101968 h 1438646"/>
                    <a:gd name="connsiteX332" fmla="*/ 47909 w 1661948"/>
                    <a:gd name="connsiteY332" fmla="*/ 173174 h 1438646"/>
                    <a:gd name="connsiteX333" fmla="*/ 47909 w 1661948"/>
                    <a:gd name="connsiteY333" fmla="*/ 173174 h 1438646"/>
                    <a:gd name="connsiteX334" fmla="*/ 48111 w 1661948"/>
                    <a:gd name="connsiteY334" fmla="*/ 175595 h 1438646"/>
                    <a:gd name="connsiteX335" fmla="*/ 48111 w 1661948"/>
                    <a:gd name="connsiteY335" fmla="*/ 175595 h 1438646"/>
                    <a:gd name="connsiteX336" fmla="*/ 86538 w 1661948"/>
                    <a:gd name="connsiteY336" fmla="*/ 254870 h 1438646"/>
                    <a:gd name="connsiteX337" fmla="*/ 86538 w 1661948"/>
                    <a:gd name="connsiteY337" fmla="*/ 254870 h 1438646"/>
                    <a:gd name="connsiteX338" fmla="*/ 106205 w 1661948"/>
                    <a:gd name="connsiteY338" fmla="*/ 319722 h 1438646"/>
                    <a:gd name="connsiteX339" fmla="*/ 106205 w 1661948"/>
                    <a:gd name="connsiteY339" fmla="*/ 319722 h 1438646"/>
                    <a:gd name="connsiteX340" fmla="*/ 165712 w 1661948"/>
                    <a:gd name="connsiteY340" fmla="*/ 397484 h 1438646"/>
                    <a:gd name="connsiteX341" fmla="*/ 165712 w 1661948"/>
                    <a:gd name="connsiteY341" fmla="*/ 397484 h 1438646"/>
                    <a:gd name="connsiteX342" fmla="*/ 201819 w 1661948"/>
                    <a:gd name="connsiteY342" fmla="*/ 567632 h 1438646"/>
                    <a:gd name="connsiteX343" fmla="*/ 201819 w 1661948"/>
                    <a:gd name="connsiteY343" fmla="*/ 567632 h 1438646"/>
                    <a:gd name="connsiteX344" fmla="*/ 188607 w 1661948"/>
                    <a:gd name="connsiteY344" fmla="*/ 736167 h 1438646"/>
                    <a:gd name="connsiteX345" fmla="*/ 188607 w 1661948"/>
                    <a:gd name="connsiteY345" fmla="*/ 736167 h 1438646"/>
                    <a:gd name="connsiteX346" fmla="*/ 188909 w 1661948"/>
                    <a:gd name="connsiteY346" fmla="*/ 749278 h 1438646"/>
                    <a:gd name="connsiteX347" fmla="*/ 188909 w 1661948"/>
                    <a:gd name="connsiteY347" fmla="*/ 749278 h 1438646"/>
                    <a:gd name="connsiteX348" fmla="*/ 256787 w 1661948"/>
                    <a:gd name="connsiteY348" fmla="*/ 918620 h 1438646"/>
                    <a:gd name="connsiteX349" fmla="*/ 256787 w 1661948"/>
                    <a:gd name="connsiteY349" fmla="*/ 918620 h 1438646"/>
                    <a:gd name="connsiteX350" fmla="*/ 312058 w 1661948"/>
                    <a:gd name="connsiteY350" fmla="*/ 964410 h 1438646"/>
                    <a:gd name="connsiteX351" fmla="*/ 312058 w 1661948"/>
                    <a:gd name="connsiteY351" fmla="*/ 964410 h 1438646"/>
                    <a:gd name="connsiteX352" fmla="*/ 302880 w 1661948"/>
                    <a:gd name="connsiteY352" fmla="*/ 977118 h 1438646"/>
                    <a:gd name="connsiteX353" fmla="*/ 302880 w 1661948"/>
                    <a:gd name="connsiteY353" fmla="*/ 977118 h 1438646"/>
                    <a:gd name="connsiteX354" fmla="*/ 279077 w 1661948"/>
                    <a:gd name="connsiteY354" fmla="*/ 982161 h 1438646"/>
                    <a:gd name="connsiteX355" fmla="*/ 279077 w 1661948"/>
                    <a:gd name="connsiteY355" fmla="*/ 982161 h 1438646"/>
                    <a:gd name="connsiteX356" fmla="*/ 221789 w 1661948"/>
                    <a:gd name="connsiteY356" fmla="*/ 972478 h 1438646"/>
                    <a:gd name="connsiteX357" fmla="*/ 221789 w 1661948"/>
                    <a:gd name="connsiteY357" fmla="*/ 972478 h 1438646"/>
                    <a:gd name="connsiteX358" fmla="*/ 216646 w 1661948"/>
                    <a:gd name="connsiteY358" fmla="*/ 972277 h 1438646"/>
                    <a:gd name="connsiteX359" fmla="*/ 216646 w 1661948"/>
                    <a:gd name="connsiteY359" fmla="*/ 972277 h 1438646"/>
                    <a:gd name="connsiteX360" fmla="*/ 183564 w 1661948"/>
                    <a:gd name="connsiteY360" fmla="*/ 983774 h 1438646"/>
                    <a:gd name="connsiteX361" fmla="*/ 183564 w 1661948"/>
                    <a:gd name="connsiteY361" fmla="*/ 983774 h 1438646"/>
                    <a:gd name="connsiteX362" fmla="*/ 181244 w 1661948"/>
                    <a:gd name="connsiteY362" fmla="*/ 996584 h 1438646"/>
                    <a:gd name="connsiteX363" fmla="*/ 181244 w 1661948"/>
                    <a:gd name="connsiteY363" fmla="*/ 996584 h 1438646"/>
                    <a:gd name="connsiteX364" fmla="*/ 208779 w 1661948"/>
                    <a:gd name="connsiteY364" fmla="*/ 1072933 h 1438646"/>
                    <a:gd name="connsiteX365" fmla="*/ 208779 w 1661948"/>
                    <a:gd name="connsiteY365" fmla="*/ 1072933 h 1438646"/>
                    <a:gd name="connsiteX366" fmla="*/ 280086 w 1661948"/>
                    <a:gd name="connsiteY366" fmla="*/ 1120236 h 1438646"/>
                    <a:gd name="connsiteX367" fmla="*/ 280086 w 1661948"/>
                    <a:gd name="connsiteY367" fmla="*/ 1120236 h 1438646"/>
                    <a:gd name="connsiteX368" fmla="*/ 295416 w 1661948"/>
                    <a:gd name="connsiteY368" fmla="*/ 1118118 h 1438646"/>
                    <a:gd name="connsiteX369" fmla="*/ 295416 w 1661948"/>
                    <a:gd name="connsiteY369" fmla="*/ 1118118 h 1438646"/>
                    <a:gd name="connsiteX370" fmla="*/ 379431 w 1661948"/>
                    <a:gd name="connsiteY370" fmla="*/ 1071723 h 1438646"/>
                    <a:gd name="connsiteX371" fmla="*/ 379431 w 1661948"/>
                    <a:gd name="connsiteY371" fmla="*/ 1071723 h 1438646"/>
                    <a:gd name="connsiteX372" fmla="*/ 383466 w 1661948"/>
                    <a:gd name="connsiteY372" fmla="*/ 1071925 h 1438646"/>
                    <a:gd name="connsiteX373" fmla="*/ 383466 w 1661948"/>
                    <a:gd name="connsiteY373" fmla="*/ 1071925 h 1438646"/>
                    <a:gd name="connsiteX374" fmla="*/ 485736 w 1661948"/>
                    <a:gd name="connsiteY374" fmla="*/ 1102586 h 1438646"/>
                    <a:gd name="connsiteX375" fmla="*/ 485736 w 1661948"/>
                    <a:gd name="connsiteY375" fmla="*/ 1102586 h 1438646"/>
                    <a:gd name="connsiteX376" fmla="*/ 545445 w 1661948"/>
                    <a:gd name="connsiteY376" fmla="*/ 1098652 h 1438646"/>
                    <a:gd name="connsiteX377" fmla="*/ 545445 w 1661948"/>
                    <a:gd name="connsiteY377" fmla="*/ 1098652 h 1438646"/>
                    <a:gd name="connsiteX378" fmla="*/ 569348 w 1661948"/>
                    <a:gd name="connsiteY378" fmla="*/ 1105612 h 1438646"/>
                    <a:gd name="connsiteX379" fmla="*/ 569348 w 1661948"/>
                    <a:gd name="connsiteY379" fmla="*/ 1105612 h 1438646"/>
                    <a:gd name="connsiteX380" fmla="*/ 667685 w 1661948"/>
                    <a:gd name="connsiteY380" fmla="*/ 1156444 h 1438646"/>
                    <a:gd name="connsiteX381" fmla="*/ 667685 w 1661948"/>
                    <a:gd name="connsiteY381" fmla="*/ 1156444 h 1438646"/>
                    <a:gd name="connsiteX382" fmla="*/ 703187 w 1661948"/>
                    <a:gd name="connsiteY382" fmla="*/ 1157150 h 1438646"/>
                    <a:gd name="connsiteX383" fmla="*/ 703187 w 1661948"/>
                    <a:gd name="connsiteY383" fmla="*/ 1157150 h 1438646"/>
                    <a:gd name="connsiteX384" fmla="*/ 760878 w 1661948"/>
                    <a:gd name="connsiteY384" fmla="*/ 1144140 h 1438646"/>
                    <a:gd name="connsiteX385" fmla="*/ 760878 w 1661948"/>
                    <a:gd name="connsiteY385" fmla="*/ 1144140 h 1438646"/>
                    <a:gd name="connsiteX386" fmla="*/ 837531 w 1661948"/>
                    <a:gd name="connsiteY386" fmla="*/ 1105511 h 1438646"/>
                    <a:gd name="connsiteX387" fmla="*/ 837531 w 1661948"/>
                    <a:gd name="connsiteY387" fmla="*/ 1105511 h 1438646"/>
                    <a:gd name="connsiteX388" fmla="*/ 852962 w 1661948"/>
                    <a:gd name="connsiteY388" fmla="*/ 1107931 h 1438646"/>
                    <a:gd name="connsiteX389" fmla="*/ 852962 w 1661948"/>
                    <a:gd name="connsiteY389" fmla="*/ 1107931 h 1438646"/>
                    <a:gd name="connsiteX390" fmla="*/ 900769 w 1661948"/>
                    <a:gd name="connsiteY390" fmla="*/ 1119530 h 1438646"/>
                    <a:gd name="connsiteX391" fmla="*/ 900769 w 1661948"/>
                    <a:gd name="connsiteY391" fmla="*/ 1119530 h 1438646"/>
                    <a:gd name="connsiteX392" fmla="*/ 935767 w 1661948"/>
                    <a:gd name="connsiteY392" fmla="*/ 1113075 h 1438646"/>
                    <a:gd name="connsiteX393" fmla="*/ 935767 w 1661948"/>
                    <a:gd name="connsiteY393" fmla="*/ 1113075 h 1438646"/>
                    <a:gd name="connsiteX394" fmla="*/ 978632 w 1661948"/>
                    <a:gd name="connsiteY394" fmla="*/ 1085642 h 1438646"/>
                    <a:gd name="connsiteX395" fmla="*/ 978632 w 1661948"/>
                    <a:gd name="connsiteY395" fmla="*/ 1085642 h 1438646"/>
                    <a:gd name="connsiteX396" fmla="*/ 991038 w 1661948"/>
                    <a:gd name="connsiteY396" fmla="*/ 1087457 h 1438646"/>
                    <a:gd name="connsiteX397" fmla="*/ 991038 w 1661948"/>
                    <a:gd name="connsiteY397" fmla="*/ 1087457 h 1438646"/>
                    <a:gd name="connsiteX398" fmla="*/ 1023917 w 1661948"/>
                    <a:gd name="connsiteY398" fmla="*/ 1156243 h 1438646"/>
                    <a:gd name="connsiteX399" fmla="*/ 1023917 w 1661948"/>
                    <a:gd name="connsiteY399" fmla="*/ 1156243 h 1438646"/>
                    <a:gd name="connsiteX400" fmla="*/ 1023917 w 1661948"/>
                    <a:gd name="connsiteY400" fmla="*/ 1156848 h 1438646"/>
                    <a:gd name="connsiteX401" fmla="*/ 1023917 w 1661948"/>
                    <a:gd name="connsiteY401" fmla="*/ 1156848 h 1438646"/>
                    <a:gd name="connsiteX402" fmla="*/ 1069909 w 1661948"/>
                    <a:gd name="connsiteY402" fmla="*/ 1187408 h 1438646"/>
                    <a:gd name="connsiteX403" fmla="*/ 1069909 w 1661948"/>
                    <a:gd name="connsiteY403" fmla="*/ 1187408 h 1438646"/>
                    <a:gd name="connsiteX404" fmla="*/ 1111866 w 1661948"/>
                    <a:gd name="connsiteY404" fmla="*/ 1225734 h 1438646"/>
                    <a:gd name="connsiteX405" fmla="*/ 1111866 w 1661948"/>
                    <a:gd name="connsiteY405" fmla="*/ 1225734 h 1438646"/>
                    <a:gd name="connsiteX406" fmla="*/ 1115497 w 1661948"/>
                    <a:gd name="connsiteY406" fmla="*/ 1225633 h 1438646"/>
                    <a:gd name="connsiteX407" fmla="*/ 1115497 w 1661948"/>
                    <a:gd name="connsiteY407" fmla="*/ 1225633 h 1438646"/>
                    <a:gd name="connsiteX408" fmla="*/ 1179946 w 1661948"/>
                    <a:gd name="connsiteY408" fmla="*/ 1191240 h 1438646"/>
                    <a:gd name="connsiteX409" fmla="*/ 1179946 w 1661948"/>
                    <a:gd name="connsiteY409" fmla="*/ 1191240 h 1438646"/>
                    <a:gd name="connsiteX410" fmla="*/ 1250345 w 1661948"/>
                    <a:gd name="connsiteY410" fmla="*/ 1152713 h 1438646"/>
                    <a:gd name="connsiteX411" fmla="*/ 1250345 w 1661948"/>
                    <a:gd name="connsiteY411" fmla="*/ 1152713 h 1438646"/>
                    <a:gd name="connsiteX412" fmla="*/ 1273038 w 1661948"/>
                    <a:gd name="connsiteY412" fmla="*/ 1156646 h 1438646"/>
                    <a:gd name="connsiteX413" fmla="*/ 1273038 w 1661948"/>
                    <a:gd name="connsiteY413" fmla="*/ 1156646 h 1438646"/>
                    <a:gd name="connsiteX414" fmla="*/ 1315903 w 1661948"/>
                    <a:gd name="connsiteY414" fmla="*/ 1271726 h 1438646"/>
                    <a:gd name="connsiteX415" fmla="*/ 1315903 w 1661948"/>
                    <a:gd name="connsiteY415" fmla="*/ 1271726 h 1438646"/>
                    <a:gd name="connsiteX416" fmla="*/ 1351708 w 1661948"/>
                    <a:gd name="connsiteY416" fmla="*/ 1299966 h 1438646"/>
                    <a:gd name="connsiteX417" fmla="*/ 1351708 w 1661948"/>
                    <a:gd name="connsiteY417" fmla="*/ 1299966 h 1438646"/>
                    <a:gd name="connsiteX418" fmla="*/ 1383680 w 1661948"/>
                    <a:gd name="connsiteY418" fmla="*/ 1332745 h 1438646"/>
                    <a:gd name="connsiteX419" fmla="*/ 1383680 w 1661948"/>
                    <a:gd name="connsiteY419" fmla="*/ 1332745 h 1438646"/>
                    <a:gd name="connsiteX420" fmla="*/ 1382369 w 1661948"/>
                    <a:gd name="connsiteY420" fmla="*/ 1342528 h 1438646"/>
                    <a:gd name="connsiteX421" fmla="*/ 1382369 w 1661948"/>
                    <a:gd name="connsiteY421" fmla="*/ 1342528 h 1438646"/>
                    <a:gd name="connsiteX422" fmla="*/ 1427453 w 1661948"/>
                    <a:gd name="connsiteY422" fmla="*/ 1369558 h 1438646"/>
                    <a:gd name="connsiteX423" fmla="*/ 1427453 w 1661948"/>
                    <a:gd name="connsiteY423" fmla="*/ 1369558 h 1438646"/>
                    <a:gd name="connsiteX424" fmla="*/ 1432899 w 1661948"/>
                    <a:gd name="connsiteY424" fmla="*/ 1369054 h 1438646"/>
                    <a:gd name="connsiteX425" fmla="*/ 1432899 w 1661948"/>
                    <a:gd name="connsiteY425" fmla="*/ 1369054 h 1438646"/>
                    <a:gd name="connsiteX426" fmla="*/ 1479496 w 1661948"/>
                    <a:gd name="connsiteY426" fmla="*/ 1356043 h 1438646"/>
                    <a:gd name="connsiteX427" fmla="*/ 1479496 w 1661948"/>
                    <a:gd name="connsiteY427" fmla="*/ 1356043 h 1438646"/>
                    <a:gd name="connsiteX428" fmla="*/ 1494725 w 1661948"/>
                    <a:gd name="connsiteY428" fmla="*/ 1365221 h 1438646"/>
                    <a:gd name="connsiteX429" fmla="*/ 1494725 w 1661948"/>
                    <a:gd name="connsiteY429" fmla="*/ 1365221 h 1438646"/>
                    <a:gd name="connsiteX430" fmla="*/ 1556350 w 1661948"/>
                    <a:gd name="connsiteY430" fmla="*/ 1432998 h 1438646"/>
                    <a:gd name="connsiteX431" fmla="*/ 1556350 w 1661948"/>
                    <a:gd name="connsiteY431" fmla="*/ 1432998 h 1438646"/>
                    <a:gd name="connsiteX432" fmla="*/ 1576925 w 1661948"/>
                    <a:gd name="connsiteY432" fmla="*/ 1403850 h 1438646"/>
                    <a:gd name="connsiteX433" fmla="*/ 1576925 w 1661948"/>
                    <a:gd name="connsiteY433" fmla="*/ 1403850 h 1438646"/>
                    <a:gd name="connsiteX434" fmla="*/ 1574101 w 1661948"/>
                    <a:gd name="connsiteY434" fmla="*/ 1377425 h 1438646"/>
                    <a:gd name="connsiteX435" fmla="*/ 1574101 w 1661948"/>
                    <a:gd name="connsiteY435" fmla="*/ 1377425 h 1438646"/>
                    <a:gd name="connsiteX436" fmla="*/ 1555341 w 1661948"/>
                    <a:gd name="connsiteY436" fmla="*/ 1330829 h 1438646"/>
                    <a:gd name="connsiteX437" fmla="*/ 1555341 w 1661948"/>
                    <a:gd name="connsiteY437" fmla="*/ 1330829 h 1438646"/>
                    <a:gd name="connsiteX438" fmla="*/ 1537590 w 1661948"/>
                    <a:gd name="connsiteY438" fmla="*/ 1303294 h 1438646"/>
                    <a:gd name="connsiteX439" fmla="*/ 1537590 w 1661948"/>
                    <a:gd name="connsiteY439" fmla="*/ 1303294 h 1438646"/>
                    <a:gd name="connsiteX440" fmla="*/ 1561494 w 1661948"/>
                    <a:gd name="connsiteY440" fmla="*/ 1274247 h 1438646"/>
                    <a:gd name="connsiteX441" fmla="*/ 1561494 w 1661948"/>
                    <a:gd name="connsiteY441" fmla="*/ 1274247 h 1438646"/>
                    <a:gd name="connsiteX442" fmla="*/ 1587616 w 1661948"/>
                    <a:gd name="connsiteY442" fmla="*/ 1276567 h 1438646"/>
                    <a:gd name="connsiteX443" fmla="*/ 1587616 w 1661948"/>
                    <a:gd name="connsiteY443" fmla="*/ 1276567 h 1438646"/>
                    <a:gd name="connsiteX444" fmla="*/ 1643592 w 1661948"/>
                    <a:gd name="connsiteY444" fmla="*/ 1229668 h 1438646"/>
                    <a:gd name="connsiteX445" fmla="*/ 1643592 w 1661948"/>
                    <a:gd name="connsiteY445" fmla="*/ 1229668 h 1438646"/>
                    <a:gd name="connsiteX446" fmla="*/ 1656301 w 1661948"/>
                    <a:gd name="connsiteY446" fmla="*/ 1178936 h 1438646"/>
                    <a:gd name="connsiteX447" fmla="*/ 1656301 w 1661948"/>
                    <a:gd name="connsiteY447" fmla="*/ 1178936 h 1438646"/>
                    <a:gd name="connsiteX448" fmla="*/ 1608595 w 1661948"/>
                    <a:gd name="connsiteY448" fmla="*/ 1071824 h 1438646"/>
                    <a:gd name="connsiteX449" fmla="*/ 1608595 w 1661948"/>
                    <a:gd name="connsiteY449" fmla="*/ 1071824 h 1438646"/>
                    <a:gd name="connsiteX450" fmla="*/ 1610208 w 1661948"/>
                    <a:gd name="connsiteY450" fmla="*/ 1069504 h 1438646"/>
                    <a:gd name="connsiteX451" fmla="*/ 1611822 w 1661948"/>
                    <a:gd name="connsiteY451" fmla="*/ 1067185 h 1438646"/>
                    <a:gd name="connsiteX452" fmla="*/ 1661949 w 1661948"/>
                    <a:gd name="connsiteY452" fmla="*/ 1178835 h 1438646"/>
                    <a:gd name="connsiteX453" fmla="*/ 1661949 w 1661948"/>
                    <a:gd name="connsiteY453" fmla="*/ 1178835 h 1438646"/>
                    <a:gd name="connsiteX454" fmla="*/ 1648535 w 1661948"/>
                    <a:gd name="connsiteY454" fmla="*/ 1232290 h 1438646"/>
                    <a:gd name="connsiteX455" fmla="*/ 1648535 w 1661948"/>
                    <a:gd name="connsiteY455" fmla="*/ 1232290 h 1438646"/>
                    <a:gd name="connsiteX456" fmla="*/ 1587717 w 1661948"/>
                    <a:gd name="connsiteY456" fmla="*/ 1282013 h 1438646"/>
                    <a:gd name="connsiteX457" fmla="*/ 1587717 w 1661948"/>
                    <a:gd name="connsiteY457" fmla="*/ 1282013 h 1438646"/>
                    <a:gd name="connsiteX458" fmla="*/ 1561594 w 1661948"/>
                    <a:gd name="connsiteY458" fmla="*/ 1279794 h 1438646"/>
                    <a:gd name="connsiteX459" fmla="*/ 1561594 w 1661948"/>
                    <a:gd name="connsiteY459" fmla="*/ 1279794 h 1438646"/>
                    <a:gd name="connsiteX460" fmla="*/ 1543137 w 1661948"/>
                    <a:gd name="connsiteY460" fmla="*/ 1303294 h 1438646"/>
                    <a:gd name="connsiteX461" fmla="*/ 1543137 w 1661948"/>
                    <a:gd name="connsiteY461" fmla="*/ 1303294 h 1438646"/>
                    <a:gd name="connsiteX462" fmla="*/ 1557460 w 1661948"/>
                    <a:gd name="connsiteY462" fmla="*/ 1325584 h 1438646"/>
                    <a:gd name="connsiteX463" fmla="*/ 1557460 w 1661948"/>
                    <a:gd name="connsiteY463" fmla="*/ 1325584 h 1438646"/>
                    <a:gd name="connsiteX464" fmla="*/ 1579648 w 1661948"/>
                    <a:gd name="connsiteY464" fmla="*/ 1376417 h 1438646"/>
                    <a:gd name="connsiteX465" fmla="*/ 1579648 w 1661948"/>
                    <a:gd name="connsiteY465" fmla="*/ 1376417 h 1438646"/>
                    <a:gd name="connsiteX466" fmla="*/ 1582573 w 1661948"/>
                    <a:gd name="connsiteY466" fmla="*/ 1403850 h 1438646"/>
                    <a:gd name="connsiteX467" fmla="*/ 1582573 w 1661948"/>
                    <a:gd name="connsiteY467" fmla="*/ 1403850 h 1438646"/>
                    <a:gd name="connsiteX468" fmla="*/ 1556350 w 1661948"/>
                    <a:gd name="connsiteY468" fmla="*/ 1438646 h 1438646"/>
                    <a:gd name="connsiteX469" fmla="*/ 1556350 w 1661948"/>
                    <a:gd name="connsiteY469" fmla="*/ 1438646 h 1438646"/>
                    <a:gd name="connsiteX470" fmla="*/ 1490086 w 1661948"/>
                    <a:gd name="connsiteY470" fmla="*/ 1367642 h 1438646"/>
                    <a:gd name="connsiteX471" fmla="*/ 1490086 w 1661948"/>
                    <a:gd name="connsiteY471" fmla="*/ 1367642 h 1438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Lst>
                  <a:rect l="l" t="t" r="r" b="b"/>
                  <a:pathLst>
                    <a:path w="1661948" h="1438646">
                      <a:moveTo>
                        <a:pt x="1490086" y="1367642"/>
                      </a:moveTo>
                      <a:cubicBezTo>
                        <a:pt x="1487060" y="1362599"/>
                        <a:pt x="1484135" y="1361389"/>
                        <a:pt x="1479597" y="1361288"/>
                      </a:cubicBezTo>
                      <a:lnTo>
                        <a:pt x="1479597" y="1361288"/>
                      </a:lnTo>
                      <a:cubicBezTo>
                        <a:pt x="1469813" y="1361086"/>
                        <a:pt x="1453777" y="1370466"/>
                        <a:pt x="1433908" y="1374299"/>
                      </a:cubicBezTo>
                      <a:lnTo>
                        <a:pt x="1433908" y="1374299"/>
                      </a:lnTo>
                      <a:cubicBezTo>
                        <a:pt x="1431689" y="1374501"/>
                        <a:pt x="1429571" y="1374803"/>
                        <a:pt x="1427554" y="1374803"/>
                      </a:cubicBezTo>
                      <a:lnTo>
                        <a:pt x="1427554" y="1374803"/>
                      </a:lnTo>
                      <a:cubicBezTo>
                        <a:pt x="1399717" y="1374601"/>
                        <a:pt x="1377830" y="1345151"/>
                        <a:pt x="1377124" y="1342730"/>
                      </a:cubicBezTo>
                      <a:lnTo>
                        <a:pt x="1377124" y="1342730"/>
                      </a:lnTo>
                      <a:cubicBezTo>
                        <a:pt x="1377124" y="1342730"/>
                        <a:pt x="1378234" y="1338292"/>
                        <a:pt x="1378234" y="1332442"/>
                      </a:cubicBezTo>
                      <a:lnTo>
                        <a:pt x="1378234" y="1332442"/>
                      </a:lnTo>
                      <a:cubicBezTo>
                        <a:pt x="1377931" y="1321348"/>
                        <a:pt x="1374905" y="1306925"/>
                        <a:pt x="1351405" y="1305211"/>
                      </a:cubicBezTo>
                      <a:lnTo>
                        <a:pt x="1351405" y="1305211"/>
                      </a:lnTo>
                      <a:cubicBezTo>
                        <a:pt x="1313583" y="1304000"/>
                        <a:pt x="1311768" y="1299764"/>
                        <a:pt x="1310356" y="1271927"/>
                      </a:cubicBezTo>
                      <a:lnTo>
                        <a:pt x="1310356" y="1271927"/>
                      </a:lnTo>
                      <a:cubicBezTo>
                        <a:pt x="1308238" y="1243586"/>
                        <a:pt x="1304203" y="1172481"/>
                        <a:pt x="1271223" y="1161487"/>
                      </a:cubicBezTo>
                      <a:lnTo>
                        <a:pt x="1271223" y="1161487"/>
                      </a:lnTo>
                      <a:cubicBezTo>
                        <a:pt x="1264364" y="1158966"/>
                        <a:pt x="1257405" y="1157957"/>
                        <a:pt x="1250446" y="1157957"/>
                      </a:cubicBezTo>
                      <a:lnTo>
                        <a:pt x="1250446" y="1157957"/>
                      </a:lnTo>
                      <a:cubicBezTo>
                        <a:pt x="1222306" y="1157856"/>
                        <a:pt x="1194469" y="1176112"/>
                        <a:pt x="1184989" y="1193560"/>
                      </a:cubicBezTo>
                      <a:lnTo>
                        <a:pt x="1184989" y="1193560"/>
                      </a:lnTo>
                      <a:cubicBezTo>
                        <a:pt x="1171373" y="1218069"/>
                        <a:pt x="1139804" y="1228155"/>
                        <a:pt x="1116203" y="1230878"/>
                      </a:cubicBezTo>
                      <a:lnTo>
                        <a:pt x="1116203" y="1230878"/>
                      </a:lnTo>
                      <a:cubicBezTo>
                        <a:pt x="1114892" y="1230979"/>
                        <a:pt x="1113480" y="1230979"/>
                        <a:pt x="1111967" y="1230979"/>
                      </a:cubicBezTo>
                      <a:lnTo>
                        <a:pt x="1111967" y="1230979"/>
                      </a:lnTo>
                      <a:cubicBezTo>
                        <a:pt x="1088467" y="1230878"/>
                        <a:pt x="1064664" y="1210807"/>
                        <a:pt x="1064463" y="1187105"/>
                      </a:cubicBezTo>
                      <a:lnTo>
                        <a:pt x="1064463" y="1187105"/>
                      </a:lnTo>
                      <a:cubicBezTo>
                        <a:pt x="1065976" y="1168043"/>
                        <a:pt x="1020892" y="1161689"/>
                        <a:pt x="1018471" y="1158865"/>
                      </a:cubicBezTo>
                      <a:lnTo>
                        <a:pt x="1018471" y="1158865"/>
                      </a:lnTo>
                      <a:cubicBezTo>
                        <a:pt x="1018471" y="1158865"/>
                        <a:pt x="1018471" y="1157755"/>
                        <a:pt x="1018471" y="1155940"/>
                      </a:cubicBezTo>
                      <a:lnTo>
                        <a:pt x="1018471" y="1155940"/>
                      </a:lnTo>
                      <a:cubicBezTo>
                        <a:pt x="1018673" y="1143534"/>
                        <a:pt x="1015748" y="1097644"/>
                        <a:pt x="989928" y="1092500"/>
                      </a:cubicBezTo>
                      <a:lnTo>
                        <a:pt x="989928" y="1092500"/>
                      </a:lnTo>
                      <a:cubicBezTo>
                        <a:pt x="984986" y="1091391"/>
                        <a:pt x="981355" y="1090886"/>
                        <a:pt x="978733" y="1090886"/>
                      </a:cubicBezTo>
                      <a:lnTo>
                        <a:pt x="978733" y="1090886"/>
                      </a:lnTo>
                      <a:cubicBezTo>
                        <a:pt x="965521" y="1089373"/>
                        <a:pt x="973488" y="1106419"/>
                        <a:pt x="937583" y="1118118"/>
                      </a:cubicBezTo>
                      <a:lnTo>
                        <a:pt x="937583" y="1118118"/>
                      </a:lnTo>
                      <a:cubicBezTo>
                        <a:pt x="921950" y="1122858"/>
                        <a:pt x="910754" y="1124876"/>
                        <a:pt x="900870" y="1124876"/>
                      </a:cubicBezTo>
                      <a:lnTo>
                        <a:pt x="900870" y="1124876"/>
                      </a:lnTo>
                      <a:cubicBezTo>
                        <a:pt x="884128" y="1124876"/>
                        <a:pt x="872024" y="1119328"/>
                        <a:pt x="851349" y="1113075"/>
                      </a:cubicBezTo>
                      <a:lnTo>
                        <a:pt x="851349" y="1113075"/>
                      </a:lnTo>
                      <a:cubicBezTo>
                        <a:pt x="846709" y="1111562"/>
                        <a:pt x="842271" y="1110856"/>
                        <a:pt x="837632" y="1110856"/>
                      </a:cubicBezTo>
                      <a:lnTo>
                        <a:pt x="837632" y="1110856"/>
                      </a:lnTo>
                      <a:cubicBezTo>
                        <a:pt x="811509" y="1110755"/>
                        <a:pt x="786194" y="1132843"/>
                        <a:pt x="764207" y="1148477"/>
                      </a:cubicBezTo>
                      <a:lnTo>
                        <a:pt x="764207" y="1148477"/>
                      </a:lnTo>
                      <a:cubicBezTo>
                        <a:pt x="746859" y="1160479"/>
                        <a:pt x="724771" y="1162395"/>
                        <a:pt x="703389" y="1162395"/>
                      </a:cubicBezTo>
                      <a:lnTo>
                        <a:pt x="703389" y="1162395"/>
                      </a:lnTo>
                      <a:cubicBezTo>
                        <a:pt x="691084" y="1162395"/>
                        <a:pt x="678880" y="1161790"/>
                        <a:pt x="667887" y="1161790"/>
                      </a:cubicBezTo>
                      <a:lnTo>
                        <a:pt x="667887" y="1161790"/>
                      </a:lnTo>
                      <a:cubicBezTo>
                        <a:pt x="635310" y="1161487"/>
                        <a:pt x="584376" y="1122758"/>
                        <a:pt x="566322" y="1109948"/>
                      </a:cubicBezTo>
                      <a:lnTo>
                        <a:pt x="566322" y="1109948"/>
                      </a:lnTo>
                      <a:cubicBezTo>
                        <a:pt x="559968" y="1105410"/>
                        <a:pt x="553917" y="1103998"/>
                        <a:pt x="545646" y="1103998"/>
                      </a:cubicBezTo>
                      <a:lnTo>
                        <a:pt x="545646" y="1103998"/>
                      </a:lnTo>
                      <a:cubicBezTo>
                        <a:pt x="532535" y="1103998"/>
                        <a:pt x="514582" y="1107831"/>
                        <a:pt x="485938" y="1107831"/>
                      </a:cubicBezTo>
                      <a:lnTo>
                        <a:pt x="485938" y="1107831"/>
                      </a:lnTo>
                      <a:cubicBezTo>
                        <a:pt x="438434" y="1107629"/>
                        <a:pt x="422700" y="1079187"/>
                        <a:pt x="383163" y="1077069"/>
                      </a:cubicBezTo>
                      <a:lnTo>
                        <a:pt x="383163" y="1077069"/>
                      </a:lnTo>
                      <a:cubicBezTo>
                        <a:pt x="381953" y="1076968"/>
                        <a:pt x="380843" y="1076968"/>
                        <a:pt x="379633" y="1076968"/>
                      </a:cubicBezTo>
                      <a:lnTo>
                        <a:pt x="379633" y="1076968"/>
                      </a:lnTo>
                      <a:cubicBezTo>
                        <a:pt x="344030" y="1076464"/>
                        <a:pt x="333642" y="1112167"/>
                        <a:pt x="297131" y="1123060"/>
                      </a:cubicBezTo>
                      <a:lnTo>
                        <a:pt x="297131" y="1123060"/>
                      </a:lnTo>
                      <a:cubicBezTo>
                        <a:pt x="291382" y="1124674"/>
                        <a:pt x="285734" y="1125481"/>
                        <a:pt x="280287" y="1125481"/>
                      </a:cubicBezTo>
                      <a:lnTo>
                        <a:pt x="280287" y="1125481"/>
                      </a:lnTo>
                      <a:cubicBezTo>
                        <a:pt x="249727" y="1125380"/>
                        <a:pt x="224210" y="1102283"/>
                        <a:pt x="204543" y="1076060"/>
                      </a:cubicBezTo>
                      <a:lnTo>
                        <a:pt x="204543" y="1076060"/>
                      </a:lnTo>
                      <a:cubicBezTo>
                        <a:pt x="186186" y="1051450"/>
                        <a:pt x="175899" y="1017965"/>
                        <a:pt x="175798" y="996281"/>
                      </a:cubicBezTo>
                      <a:lnTo>
                        <a:pt x="175798" y="996281"/>
                      </a:lnTo>
                      <a:cubicBezTo>
                        <a:pt x="175798" y="990129"/>
                        <a:pt x="176706" y="984884"/>
                        <a:pt x="178622" y="980950"/>
                      </a:cubicBezTo>
                      <a:lnTo>
                        <a:pt x="178622" y="980950"/>
                      </a:lnTo>
                      <a:cubicBezTo>
                        <a:pt x="185884" y="967234"/>
                        <a:pt x="206661" y="966629"/>
                        <a:pt x="216646" y="966427"/>
                      </a:cubicBezTo>
                      <a:lnTo>
                        <a:pt x="216646" y="966427"/>
                      </a:lnTo>
                      <a:cubicBezTo>
                        <a:pt x="219974" y="966427"/>
                        <a:pt x="222193" y="966629"/>
                        <a:pt x="222899" y="966729"/>
                      </a:cubicBezTo>
                      <a:lnTo>
                        <a:pt x="222899" y="966729"/>
                      </a:lnTo>
                      <a:cubicBezTo>
                        <a:pt x="222899" y="966729"/>
                        <a:pt x="254568" y="976311"/>
                        <a:pt x="279077" y="976311"/>
                      </a:cubicBezTo>
                      <a:lnTo>
                        <a:pt x="279077" y="976311"/>
                      </a:lnTo>
                      <a:cubicBezTo>
                        <a:pt x="287751" y="976311"/>
                        <a:pt x="295416" y="975101"/>
                        <a:pt x="299955" y="972176"/>
                      </a:cubicBezTo>
                      <a:lnTo>
                        <a:pt x="299955" y="972176"/>
                      </a:lnTo>
                      <a:cubicBezTo>
                        <a:pt x="305099" y="968847"/>
                        <a:pt x="306712" y="966225"/>
                        <a:pt x="306511" y="964107"/>
                      </a:cubicBezTo>
                      <a:lnTo>
                        <a:pt x="306511" y="964107"/>
                      </a:lnTo>
                      <a:cubicBezTo>
                        <a:pt x="307519" y="957249"/>
                        <a:pt x="287953" y="943431"/>
                        <a:pt x="253862" y="923058"/>
                      </a:cubicBezTo>
                      <a:lnTo>
                        <a:pt x="253862" y="923058"/>
                      </a:lnTo>
                      <a:cubicBezTo>
                        <a:pt x="206156" y="893506"/>
                        <a:pt x="186085" y="806062"/>
                        <a:pt x="183362" y="749177"/>
                      </a:cubicBezTo>
                      <a:lnTo>
                        <a:pt x="183362" y="749177"/>
                      </a:lnTo>
                      <a:cubicBezTo>
                        <a:pt x="183161" y="744740"/>
                        <a:pt x="183161" y="740302"/>
                        <a:pt x="183161" y="735864"/>
                      </a:cubicBezTo>
                      <a:lnTo>
                        <a:pt x="183161" y="735864"/>
                      </a:lnTo>
                      <a:cubicBezTo>
                        <a:pt x="183161" y="681401"/>
                        <a:pt x="196272" y="616448"/>
                        <a:pt x="196272" y="567329"/>
                      </a:cubicBezTo>
                      <a:lnTo>
                        <a:pt x="196272" y="567329"/>
                      </a:lnTo>
                      <a:cubicBezTo>
                        <a:pt x="196272" y="514379"/>
                        <a:pt x="170654" y="424514"/>
                        <a:pt x="160467" y="399299"/>
                      </a:cubicBezTo>
                      <a:lnTo>
                        <a:pt x="160467" y="399299"/>
                      </a:lnTo>
                      <a:cubicBezTo>
                        <a:pt x="150684" y="374488"/>
                        <a:pt x="125268" y="346348"/>
                        <a:pt x="102272" y="323453"/>
                      </a:cubicBezTo>
                      <a:lnTo>
                        <a:pt x="102272" y="323453"/>
                      </a:lnTo>
                      <a:cubicBezTo>
                        <a:pt x="78369" y="299651"/>
                        <a:pt x="83411" y="279882"/>
                        <a:pt x="80991" y="255172"/>
                      </a:cubicBezTo>
                      <a:lnTo>
                        <a:pt x="80991" y="255172"/>
                      </a:lnTo>
                      <a:cubicBezTo>
                        <a:pt x="78974" y="231168"/>
                        <a:pt x="44278" y="198288"/>
                        <a:pt x="42564" y="175998"/>
                      </a:cubicBezTo>
                      <a:lnTo>
                        <a:pt x="42564" y="175998"/>
                      </a:lnTo>
                      <a:cubicBezTo>
                        <a:pt x="42362" y="174788"/>
                        <a:pt x="42362" y="173779"/>
                        <a:pt x="42362" y="172972"/>
                      </a:cubicBezTo>
                      <a:lnTo>
                        <a:pt x="42362" y="172972"/>
                      </a:lnTo>
                      <a:cubicBezTo>
                        <a:pt x="43068" y="138479"/>
                        <a:pt x="77158" y="127284"/>
                        <a:pt x="76351" y="101766"/>
                      </a:cubicBezTo>
                      <a:lnTo>
                        <a:pt x="76351" y="101766"/>
                      </a:lnTo>
                      <a:cubicBezTo>
                        <a:pt x="76351" y="100052"/>
                        <a:pt x="76250" y="98337"/>
                        <a:pt x="75847" y="96522"/>
                      </a:cubicBezTo>
                      <a:lnTo>
                        <a:pt x="75847" y="96522"/>
                      </a:lnTo>
                      <a:cubicBezTo>
                        <a:pt x="71510" y="65659"/>
                        <a:pt x="32276" y="57792"/>
                        <a:pt x="15937" y="49925"/>
                      </a:cubicBezTo>
                      <a:lnTo>
                        <a:pt x="15937" y="49925"/>
                      </a:lnTo>
                      <a:cubicBezTo>
                        <a:pt x="5347" y="44680"/>
                        <a:pt x="-99" y="36410"/>
                        <a:pt x="1" y="26223"/>
                      </a:cubicBezTo>
                      <a:lnTo>
                        <a:pt x="1" y="26223"/>
                      </a:lnTo>
                      <a:cubicBezTo>
                        <a:pt x="1" y="20676"/>
                        <a:pt x="1514" y="14524"/>
                        <a:pt x="4338" y="7867"/>
                      </a:cubicBezTo>
                      <a:lnTo>
                        <a:pt x="4338" y="7867"/>
                      </a:lnTo>
                      <a:cubicBezTo>
                        <a:pt x="6961" y="1815"/>
                        <a:pt x="13819" y="0"/>
                        <a:pt x="22089" y="0"/>
                      </a:cubicBezTo>
                      <a:lnTo>
                        <a:pt x="22089" y="0"/>
                      </a:lnTo>
                      <a:cubicBezTo>
                        <a:pt x="49019" y="101"/>
                        <a:pt x="101263" y="20676"/>
                        <a:pt x="146751" y="50127"/>
                      </a:cubicBezTo>
                      <a:lnTo>
                        <a:pt x="146751" y="50127"/>
                      </a:lnTo>
                      <a:cubicBezTo>
                        <a:pt x="172974" y="67172"/>
                        <a:pt x="198491" y="73929"/>
                        <a:pt x="219873" y="73929"/>
                      </a:cubicBezTo>
                      <a:lnTo>
                        <a:pt x="219873" y="73929"/>
                      </a:lnTo>
                      <a:cubicBezTo>
                        <a:pt x="245995" y="73929"/>
                        <a:pt x="265764" y="63944"/>
                        <a:pt x="273429" y="51034"/>
                      </a:cubicBezTo>
                      <a:lnTo>
                        <a:pt x="273429" y="51034"/>
                      </a:lnTo>
                      <a:cubicBezTo>
                        <a:pt x="286238" y="30762"/>
                        <a:pt x="330011" y="22491"/>
                        <a:pt x="365714" y="22189"/>
                      </a:cubicBezTo>
                      <a:lnTo>
                        <a:pt x="365714" y="22189"/>
                      </a:lnTo>
                      <a:cubicBezTo>
                        <a:pt x="380036" y="22189"/>
                        <a:pt x="393047" y="23702"/>
                        <a:pt x="402326" y="26728"/>
                      </a:cubicBezTo>
                      <a:lnTo>
                        <a:pt x="402326" y="26728"/>
                      </a:lnTo>
                      <a:cubicBezTo>
                        <a:pt x="424616" y="34494"/>
                        <a:pt x="439341" y="65760"/>
                        <a:pt x="439442" y="90369"/>
                      </a:cubicBezTo>
                      <a:lnTo>
                        <a:pt x="439442" y="90369"/>
                      </a:lnTo>
                      <a:cubicBezTo>
                        <a:pt x="439442" y="102674"/>
                        <a:pt x="435610" y="113869"/>
                        <a:pt x="425624" y="119013"/>
                      </a:cubicBezTo>
                      <a:lnTo>
                        <a:pt x="425624" y="119013"/>
                      </a:lnTo>
                      <a:cubicBezTo>
                        <a:pt x="400914" y="131520"/>
                        <a:pt x="396476" y="145438"/>
                        <a:pt x="385987" y="171459"/>
                      </a:cubicBezTo>
                      <a:lnTo>
                        <a:pt x="385987" y="171459"/>
                      </a:lnTo>
                      <a:cubicBezTo>
                        <a:pt x="385180" y="173275"/>
                        <a:pt x="384878" y="175696"/>
                        <a:pt x="384878" y="178419"/>
                      </a:cubicBezTo>
                      <a:lnTo>
                        <a:pt x="384878" y="178419"/>
                      </a:lnTo>
                      <a:cubicBezTo>
                        <a:pt x="384575" y="205045"/>
                        <a:pt x="424616" y="256988"/>
                        <a:pt x="431878" y="268788"/>
                      </a:cubicBezTo>
                      <a:lnTo>
                        <a:pt x="431878" y="268788"/>
                      </a:lnTo>
                      <a:cubicBezTo>
                        <a:pt x="437324" y="278067"/>
                        <a:pt x="438837" y="296423"/>
                        <a:pt x="438938" y="320226"/>
                      </a:cubicBezTo>
                      <a:lnTo>
                        <a:pt x="438938" y="320226"/>
                      </a:lnTo>
                      <a:cubicBezTo>
                        <a:pt x="438938" y="333842"/>
                        <a:pt x="438333" y="349172"/>
                        <a:pt x="437425" y="365209"/>
                      </a:cubicBezTo>
                      <a:lnTo>
                        <a:pt x="437425" y="365209"/>
                      </a:lnTo>
                      <a:cubicBezTo>
                        <a:pt x="437223" y="367831"/>
                        <a:pt x="437122" y="370454"/>
                        <a:pt x="437122" y="372975"/>
                      </a:cubicBezTo>
                      <a:lnTo>
                        <a:pt x="437122" y="372975"/>
                      </a:lnTo>
                      <a:cubicBezTo>
                        <a:pt x="437324" y="406964"/>
                        <a:pt x="450839" y="418765"/>
                        <a:pt x="464153" y="418765"/>
                      </a:cubicBezTo>
                      <a:lnTo>
                        <a:pt x="464153" y="418765"/>
                      </a:lnTo>
                      <a:cubicBezTo>
                        <a:pt x="465262" y="418765"/>
                        <a:pt x="466472" y="418664"/>
                        <a:pt x="467582" y="418563"/>
                      </a:cubicBezTo>
                      <a:lnTo>
                        <a:pt x="467582" y="418563"/>
                      </a:lnTo>
                      <a:cubicBezTo>
                        <a:pt x="475146" y="418563"/>
                        <a:pt x="479180" y="395063"/>
                        <a:pt x="478575" y="377514"/>
                      </a:cubicBezTo>
                      <a:lnTo>
                        <a:pt x="478575" y="377514"/>
                      </a:lnTo>
                      <a:cubicBezTo>
                        <a:pt x="478575" y="367730"/>
                        <a:pt x="477970" y="360065"/>
                        <a:pt x="477970" y="359863"/>
                      </a:cubicBezTo>
                      <a:lnTo>
                        <a:pt x="477970" y="359863"/>
                      </a:lnTo>
                      <a:cubicBezTo>
                        <a:pt x="477869" y="359258"/>
                        <a:pt x="478273" y="329606"/>
                        <a:pt x="515389" y="313771"/>
                      </a:cubicBezTo>
                      <a:lnTo>
                        <a:pt x="515389" y="313771"/>
                      </a:lnTo>
                      <a:cubicBezTo>
                        <a:pt x="526483" y="309031"/>
                        <a:pt x="535560" y="306812"/>
                        <a:pt x="544335" y="306812"/>
                      </a:cubicBezTo>
                      <a:lnTo>
                        <a:pt x="544335" y="306812"/>
                      </a:lnTo>
                      <a:cubicBezTo>
                        <a:pt x="564608" y="306913"/>
                        <a:pt x="581249" y="318310"/>
                        <a:pt x="615138" y="334245"/>
                      </a:cubicBezTo>
                      <a:lnTo>
                        <a:pt x="615138" y="334245"/>
                      </a:lnTo>
                      <a:cubicBezTo>
                        <a:pt x="663550" y="357140"/>
                        <a:pt x="646706" y="349273"/>
                        <a:pt x="775402" y="354518"/>
                      </a:cubicBezTo>
                      <a:lnTo>
                        <a:pt x="775402" y="354518"/>
                      </a:lnTo>
                      <a:cubicBezTo>
                        <a:pt x="904501" y="359863"/>
                        <a:pt x="945954" y="421488"/>
                        <a:pt x="1031482" y="426228"/>
                      </a:cubicBezTo>
                      <a:lnTo>
                        <a:pt x="1031482" y="426228"/>
                      </a:lnTo>
                      <a:cubicBezTo>
                        <a:pt x="1033499" y="426329"/>
                        <a:pt x="1035718" y="426430"/>
                        <a:pt x="1037735" y="426430"/>
                      </a:cubicBezTo>
                      <a:lnTo>
                        <a:pt x="1037735" y="426430"/>
                      </a:lnTo>
                      <a:cubicBezTo>
                        <a:pt x="1119632" y="426833"/>
                        <a:pt x="1184081" y="332026"/>
                        <a:pt x="1242882" y="308627"/>
                      </a:cubicBezTo>
                      <a:lnTo>
                        <a:pt x="1242882" y="308627"/>
                      </a:lnTo>
                      <a:cubicBezTo>
                        <a:pt x="1256598" y="303181"/>
                        <a:pt x="1268197" y="301063"/>
                        <a:pt x="1278081" y="301063"/>
                      </a:cubicBezTo>
                      <a:lnTo>
                        <a:pt x="1278081" y="301063"/>
                      </a:lnTo>
                      <a:cubicBezTo>
                        <a:pt x="1284939" y="301063"/>
                        <a:pt x="1290991" y="302071"/>
                        <a:pt x="1298051" y="306711"/>
                      </a:cubicBezTo>
                      <a:lnTo>
                        <a:pt x="1298051" y="306711"/>
                      </a:lnTo>
                      <a:cubicBezTo>
                        <a:pt x="1297849" y="309031"/>
                        <a:pt x="1297244" y="318108"/>
                        <a:pt x="1297244" y="328396"/>
                      </a:cubicBezTo>
                      <a:lnTo>
                        <a:pt x="1297244" y="328396"/>
                      </a:lnTo>
                      <a:cubicBezTo>
                        <a:pt x="1297143" y="340499"/>
                        <a:pt x="1298253" y="354619"/>
                        <a:pt x="1301480" y="360569"/>
                      </a:cubicBezTo>
                      <a:lnTo>
                        <a:pt x="1301480" y="360569"/>
                      </a:lnTo>
                      <a:cubicBezTo>
                        <a:pt x="1302388" y="362788"/>
                        <a:pt x="1302993" y="365007"/>
                        <a:pt x="1302993" y="367226"/>
                      </a:cubicBezTo>
                      <a:lnTo>
                        <a:pt x="1302993" y="367226"/>
                      </a:lnTo>
                      <a:cubicBezTo>
                        <a:pt x="1302186" y="379733"/>
                        <a:pt x="1288571" y="386288"/>
                        <a:pt x="1288974" y="398391"/>
                      </a:cubicBezTo>
                      <a:lnTo>
                        <a:pt x="1288974" y="398391"/>
                      </a:lnTo>
                      <a:cubicBezTo>
                        <a:pt x="1288974" y="399501"/>
                        <a:pt x="1289075" y="400711"/>
                        <a:pt x="1289276" y="401921"/>
                      </a:cubicBezTo>
                      <a:lnTo>
                        <a:pt x="1289276" y="401921"/>
                      </a:lnTo>
                      <a:cubicBezTo>
                        <a:pt x="1292605" y="420479"/>
                        <a:pt x="1331536" y="516295"/>
                        <a:pt x="1344043" y="573078"/>
                      </a:cubicBezTo>
                      <a:lnTo>
                        <a:pt x="1344043" y="573078"/>
                      </a:lnTo>
                      <a:cubicBezTo>
                        <a:pt x="1351506" y="607471"/>
                        <a:pt x="1357053" y="623810"/>
                        <a:pt x="1357154" y="633493"/>
                      </a:cubicBezTo>
                      <a:lnTo>
                        <a:pt x="1357154" y="633493"/>
                      </a:lnTo>
                      <a:cubicBezTo>
                        <a:pt x="1357558" y="639847"/>
                        <a:pt x="1353120" y="644184"/>
                        <a:pt x="1347270" y="645394"/>
                      </a:cubicBezTo>
                      <a:lnTo>
                        <a:pt x="1347270" y="645394"/>
                      </a:lnTo>
                      <a:cubicBezTo>
                        <a:pt x="1336983" y="647613"/>
                        <a:pt x="1321450" y="656892"/>
                        <a:pt x="1321955" y="664860"/>
                      </a:cubicBezTo>
                      <a:lnTo>
                        <a:pt x="1321955" y="664860"/>
                      </a:lnTo>
                      <a:cubicBezTo>
                        <a:pt x="1321955" y="667482"/>
                        <a:pt x="1323266" y="670407"/>
                        <a:pt x="1327300" y="674038"/>
                      </a:cubicBezTo>
                      <a:lnTo>
                        <a:pt x="1327300" y="674038"/>
                      </a:lnTo>
                      <a:cubicBezTo>
                        <a:pt x="1341219" y="686443"/>
                        <a:pt x="1344849" y="698849"/>
                        <a:pt x="1344749" y="715390"/>
                      </a:cubicBezTo>
                      <a:lnTo>
                        <a:pt x="1344749" y="715390"/>
                      </a:lnTo>
                      <a:cubicBezTo>
                        <a:pt x="1344749" y="720634"/>
                        <a:pt x="1344547" y="726383"/>
                        <a:pt x="1344043" y="732838"/>
                      </a:cubicBezTo>
                      <a:lnTo>
                        <a:pt x="1344043" y="732838"/>
                      </a:lnTo>
                      <a:cubicBezTo>
                        <a:pt x="1342732" y="751094"/>
                        <a:pt x="1336781" y="768341"/>
                        <a:pt x="1336882" y="778931"/>
                      </a:cubicBezTo>
                      <a:lnTo>
                        <a:pt x="1336882" y="778931"/>
                      </a:lnTo>
                      <a:cubicBezTo>
                        <a:pt x="1336882" y="784074"/>
                        <a:pt x="1337991" y="786798"/>
                        <a:pt x="1340916" y="788512"/>
                      </a:cubicBezTo>
                      <a:lnTo>
                        <a:pt x="1340916" y="788512"/>
                      </a:lnTo>
                      <a:cubicBezTo>
                        <a:pt x="1351607" y="795169"/>
                        <a:pt x="1371174" y="789319"/>
                        <a:pt x="1382167" y="799506"/>
                      </a:cubicBezTo>
                      <a:lnTo>
                        <a:pt x="1382167" y="799506"/>
                      </a:lnTo>
                      <a:cubicBezTo>
                        <a:pt x="1389127" y="806667"/>
                        <a:pt x="1391850" y="814231"/>
                        <a:pt x="1402137" y="814231"/>
                      </a:cubicBezTo>
                      <a:lnTo>
                        <a:pt x="1402137" y="814231"/>
                      </a:lnTo>
                      <a:cubicBezTo>
                        <a:pt x="1406373" y="814231"/>
                        <a:pt x="1412021" y="813021"/>
                        <a:pt x="1419687" y="809693"/>
                      </a:cubicBezTo>
                      <a:lnTo>
                        <a:pt x="1419687" y="809693"/>
                      </a:lnTo>
                      <a:cubicBezTo>
                        <a:pt x="1427755" y="806062"/>
                        <a:pt x="1434614" y="804448"/>
                        <a:pt x="1440564" y="804448"/>
                      </a:cubicBezTo>
                      <a:lnTo>
                        <a:pt x="1440564" y="804448"/>
                      </a:lnTo>
                      <a:cubicBezTo>
                        <a:pt x="1456399" y="804347"/>
                        <a:pt x="1464367" y="816450"/>
                        <a:pt x="1469410" y="830671"/>
                      </a:cubicBezTo>
                      <a:lnTo>
                        <a:pt x="1469410" y="830671"/>
                      </a:lnTo>
                      <a:cubicBezTo>
                        <a:pt x="1476571" y="851549"/>
                        <a:pt x="1473747" y="870712"/>
                        <a:pt x="1490187" y="873032"/>
                      </a:cubicBezTo>
                      <a:lnTo>
                        <a:pt x="1490187" y="873032"/>
                      </a:lnTo>
                      <a:cubicBezTo>
                        <a:pt x="1509552" y="877066"/>
                        <a:pt x="1547878" y="884328"/>
                        <a:pt x="1548987" y="907525"/>
                      </a:cubicBezTo>
                      <a:lnTo>
                        <a:pt x="1548987" y="907525"/>
                      </a:lnTo>
                      <a:cubicBezTo>
                        <a:pt x="1548382" y="924369"/>
                        <a:pt x="1534968" y="927899"/>
                        <a:pt x="1535573" y="940809"/>
                      </a:cubicBezTo>
                      <a:lnTo>
                        <a:pt x="1535573" y="940809"/>
                      </a:lnTo>
                      <a:cubicBezTo>
                        <a:pt x="1535573" y="944944"/>
                        <a:pt x="1536682" y="950289"/>
                        <a:pt x="1540011" y="957551"/>
                      </a:cubicBezTo>
                      <a:lnTo>
                        <a:pt x="1540011" y="957551"/>
                      </a:lnTo>
                      <a:cubicBezTo>
                        <a:pt x="1548584" y="976714"/>
                        <a:pt x="1557359" y="984279"/>
                        <a:pt x="1569159" y="984279"/>
                      </a:cubicBezTo>
                      <a:lnTo>
                        <a:pt x="1569159" y="984279"/>
                      </a:lnTo>
                      <a:cubicBezTo>
                        <a:pt x="1569159" y="984279"/>
                        <a:pt x="1569966" y="984380"/>
                        <a:pt x="1572689" y="987809"/>
                      </a:cubicBezTo>
                      <a:lnTo>
                        <a:pt x="1572689" y="987809"/>
                      </a:lnTo>
                      <a:cubicBezTo>
                        <a:pt x="1571378" y="993356"/>
                        <a:pt x="1570874" y="998601"/>
                        <a:pt x="1570874" y="1003644"/>
                      </a:cubicBezTo>
                      <a:lnTo>
                        <a:pt x="1570874" y="1003644"/>
                      </a:lnTo>
                      <a:cubicBezTo>
                        <a:pt x="1570874" y="1035918"/>
                        <a:pt x="1593869" y="1054476"/>
                        <a:pt x="1611923" y="1067084"/>
                      </a:cubicBezTo>
                      <a:lnTo>
                        <a:pt x="1611923" y="1067084"/>
                      </a:lnTo>
                      <a:lnTo>
                        <a:pt x="1610309" y="1069403"/>
                      </a:lnTo>
                      <a:lnTo>
                        <a:pt x="1608696" y="1071723"/>
                      </a:lnTo>
                      <a:cubicBezTo>
                        <a:pt x="1590440" y="1059015"/>
                        <a:pt x="1565427" y="1038944"/>
                        <a:pt x="1565427" y="1003644"/>
                      </a:cubicBezTo>
                      <a:lnTo>
                        <a:pt x="1565427" y="1003644"/>
                      </a:lnTo>
                      <a:cubicBezTo>
                        <a:pt x="1565427" y="998298"/>
                        <a:pt x="1565932" y="992650"/>
                        <a:pt x="1569966" y="990028"/>
                      </a:cubicBezTo>
                      <a:lnTo>
                        <a:pt x="1569966" y="990028"/>
                      </a:lnTo>
                      <a:lnTo>
                        <a:pt x="1569159" y="989927"/>
                      </a:lnTo>
                      <a:cubicBezTo>
                        <a:pt x="1554333" y="989927"/>
                        <a:pt x="1543541" y="979639"/>
                        <a:pt x="1534867" y="959871"/>
                      </a:cubicBezTo>
                      <a:lnTo>
                        <a:pt x="1534867" y="959871"/>
                      </a:lnTo>
                      <a:cubicBezTo>
                        <a:pt x="1531438" y="952105"/>
                        <a:pt x="1529925" y="946053"/>
                        <a:pt x="1529925" y="940910"/>
                      </a:cubicBezTo>
                      <a:lnTo>
                        <a:pt x="1529925" y="940910"/>
                      </a:lnTo>
                      <a:cubicBezTo>
                        <a:pt x="1530530" y="923764"/>
                        <a:pt x="1543944" y="920234"/>
                        <a:pt x="1543339" y="907626"/>
                      </a:cubicBezTo>
                      <a:lnTo>
                        <a:pt x="1543339" y="907626"/>
                      </a:lnTo>
                      <a:cubicBezTo>
                        <a:pt x="1544549" y="891892"/>
                        <a:pt x="1508543" y="881605"/>
                        <a:pt x="1489077" y="878579"/>
                      </a:cubicBezTo>
                      <a:lnTo>
                        <a:pt x="1489077" y="878579"/>
                      </a:lnTo>
                      <a:cubicBezTo>
                        <a:pt x="1466888" y="874040"/>
                        <a:pt x="1470923" y="850641"/>
                        <a:pt x="1463963" y="832587"/>
                      </a:cubicBezTo>
                      <a:lnTo>
                        <a:pt x="1463963" y="832587"/>
                      </a:lnTo>
                      <a:cubicBezTo>
                        <a:pt x="1458820" y="818871"/>
                        <a:pt x="1452768" y="810197"/>
                        <a:pt x="1440363" y="810197"/>
                      </a:cubicBezTo>
                      <a:lnTo>
                        <a:pt x="1440363" y="810197"/>
                      </a:lnTo>
                      <a:cubicBezTo>
                        <a:pt x="1435421" y="810197"/>
                        <a:pt x="1429268" y="811508"/>
                        <a:pt x="1421805" y="814836"/>
                      </a:cubicBezTo>
                      <a:lnTo>
                        <a:pt x="1421805" y="814836"/>
                      </a:lnTo>
                      <a:cubicBezTo>
                        <a:pt x="1413635" y="818366"/>
                        <a:pt x="1407180" y="819980"/>
                        <a:pt x="1401935" y="819980"/>
                      </a:cubicBezTo>
                      <a:lnTo>
                        <a:pt x="1401935" y="819980"/>
                      </a:lnTo>
                      <a:cubicBezTo>
                        <a:pt x="1388118" y="819879"/>
                        <a:pt x="1383680" y="809188"/>
                        <a:pt x="1378133" y="803742"/>
                      </a:cubicBezTo>
                      <a:lnTo>
                        <a:pt x="1378133" y="803742"/>
                      </a:lnTo>
                      <a:cubicBezTo>
                        <a:pt x="1371476" y="796278"/>
                        <a:pt x="1352010" y="801019"/>
                        <a:pt x="1337991" y="793555"/>
                      </a:cubicBezTo>
                      <a:lnTo>
                        <a:pt x="1337991" y="793555"/>
                      </a:lnTo>
                      <a:cubicBezTo>
                        <a:pt x="1332746" y="790630"/>
                        <a:pt x="1331032" y="784982"/>
                        <a:pt x="1331133" y="779233"/>
                      </a:cubicBezTo>
                      <a:lnTo>
                        <a:pt x="1331133" y="779233"/>
                      </a:lnTo>
                      <a:cubicBezTo>
                        <a:pt x="1331234" y="766929"/>
                        <a:pt x="1337184" y="750085"/>
                        <a:pt x="1338294" y="732737"/>
                      </a:cubicBezTo>
                      <a:lnTo>
                        <a:pt x="1338294" y="732737"/>
                      </a:lnTo>
                      <a:cubicBezTo>
                        <a:pt x="1338798" y="726383"/>
                        <a:pt x="1339000" y="720735"/>
                        <a:pt x="1339000" y="715692"/>
                      </a:cubicBezTo>
                      <a:lnTo>
                        <a:pt x="1339000" y="715692"/>
                      </a:lnTo>
                      <a:cubicBezTo>
                        <a:pt x="1338899" y="699858"/>
                        <a:pt x="1336176" y="690175"/>
                        <a:pt x="1323367" y="678576"/>
                      </a:cubicBezTo>
                      <a:lnTo>
                        <a:pt x="1323367" y="678576"/>
                      </a:lnTo>
                      <a:cubicBezTo>
                        <a:pt x="1318626" y="674340"/>
                        <a:pt x="1316206" y="669701"/>
                        <a:pt x="1316206" y="665162"/>
                      </a:cubicBezTo>
                      <a:lnTo>
                        <a:pt x="1316206" y="665162"/>
                      </a:lnTo>
                      <a:cubicBezTo>
                        <a:pt x="1316912" y="651244"/>
                        <a:pt x="1334562" y="643175"/>
                        <a:pt x="1345757" y="640250"/>
                      </a:cubicBezTo>
                      <a:lnTo>
                        <a:pt x="1345757" y="640250"/>
                      </a:lnTo>
                      <a:cubicBezTo>
                        <a:pt x="1350800" y="638536"/>
                        <a:pt x="1351002" y="638536"/>
                        <a:pt x="1351506" y="633896"/>
                      </a:cubicBezTo>
                      <a:lnTo>
                        <a:pt x="1351506" y="633896"/>
                      </a:lnTo>
                      <a:cubicBezTo>
                        <a:pt x="1351506" y="626332"/>
                        <a:pt x="1345959" y="609085"/>
                        <a:pt x="1338495" y="574793"/>
                      </a:cubicBezTo>
                      <a:lnTo>
                        <a:pt x="1338495" y="574793"/>
                      </a:lnTo>
                      <a:cubicBezTo>
                        <a:pt x="1326191" y="518514"/>
                        <a:pt x="1287461" y="423606"/>
                        <a:pt x="1283729" y="403434"/>
                      </a:cubicBezTo>
                      <a:lnTo>
                        <a:pt x="1283729" y="403434"/>
                      </a:lnTo>
                      <a:cubicBezTo>
                        <a:pt x="1283326" y="401921"/>
                        <a:pt x="1283225" y="400409"/>
                        <a:pt x="1283225" y="398896"/>
                      </a:cubicBezTo>
                      <a:lnTo>
                        <a:pt x="1283225" y="398896"/>
                      </a:lnTo>
                      <a:cubicBezTo>
                        <a:pt x="1283729" y="382960"/>
                        <a:pt x="1298051" y="374992"/>
                        <a:pt x="1297244" y="367730"/>
                      </a:cubicBezTo>
                      <a:lnTo>
                        <a:pt x="1297244" y="367730"/>
                      </a:lnTo>
                      <a:cubicBezTo>
                        <a:pt x="1297244" y="366520"/>
                        <a:pt x="1297043" y="365108"/>
                        <a:pt x="1296337" y="363696"/>
                      </a:cubicBezTo>
                      <a:lnTo>
                        <a:pt x="1296337" y="363696"/>
                      </a:lnTo>
                      <a:cubicBezTo>
                        <a:pt x="1292302" y="355526"/>
                        <a:pt x="1291596" y="341305"/>
                        <a:pt x="1291596" y="328900"/>
                      </a:cubicBezTo>
                      <a:lnTo>
                        <a:pt x="1291596" y="328900"/>
                      </a:lnTo>
                      <a:cubicBezTo>
                        <a:pt x="1291596" y="318410"/>
                        <a:pt x="1292201" y="309333"/>
                        <a:pt x="1294319" y="309636"/>
                      </a:cubicBezTo>
                      <a:lnTo>
                        <a:pt x="1294319" y="309636"/>
                      </a:lnTo>
                      <a:cubicBezTo>
                        <a:pt x="1289781" y="308123"/>
                        <a:pt x="1284334" y="307114"/>
                        <a:pt x="1277980" y="307114"/>
                      </a:cubicBezTo>
                      <a:lnTo>
                        <a:pt x="1277980" y="307114"/>
                      </a:lnTo>
                      <a:cubicBezTo>
                        <a:pt x="1268903" y="307114"/>
                        <a:pt x="1257909" y="309031"/>
                        <a:pt x="1244798" y="314275"/>
                      </a:cubicBezTo>
                      <a:lnTo>
                        <a:pt x="1244798" y="314275"/>
                      </a:lnTo>
                      <a:cubicBezTo>
                        <a:pt x="1188620" y="335758"/>
                        <a:pt x="1123566" y="432179"/>
                        <a:pt x="1037634" y="432481"/>
                      </a:cubicBezTo>
                      <a:lnTo>
                        <a:pt x="1037634" y="432481"/>
                      </a:lnTo>
                      <a:cubicBezTo>
                        <a:pt x="1035415" y="432481"/>
                        <a:pt x="1033197" y="432381"/>
                        <a:pt x="1030978" y="432280"/>
                      </a:cubicBezTo>
                      <a:lnTo>
                        <a:pt x="1030978" y="432280"/>
                      </a:lnTo>
                      <a:cubicBezTo>
                        <a:pt x="942323" y="426833"/>
                        <a:pt x="901979" y="365511"/>
                        <a:pt x="774999" y="360670"/>
                      </a:cubicBezTo>
                      <a:lnTo>
                        <a:pt x="774999" y="360670"/>
                      </a:lnTo>
                      <a:cubicBezTo>
                        <a:pt x="647513" y="355627"/>
                        <a:pt x="661432" y="363091"/>
                        <a:pt x="612515" y="339792"/>
                      </a:cubicBezTo>
                      <a:lnTo>
                        <a:pt x="612515" y="339792"/>
                      </a:lnTo>
                      <a:cubicBezTo>
                        <a:pt x="578324" y="323655"/>
                        <a:pt x="561985" y="312762"/>
                        <a:pt x="544133" y="312863"/>
                      </a:cubicBezTo>
                      <a:lnTo>
                        <a:pt x="544133" y="312863"/>
                      </a:lnTo>
                      <a:cubicBezTo>
                        <a:pt x="536266" y="312863"/>
                        <a:pt x="527996" y="314780"/>
                        <a:pt x="517507" y="319318"/>
                      </a:cubicBezTo>
                      <a:lnTo>
                        <a:pt x="517507" y="319318"/>
                      </a:lnTo>
                      <a:cubicBezTo>
                        <a:pt x="482912" y="334144"/>
                        <a:pt x="483316" y="360166"/>
                        <a:pt x="483316" y="359964"/>
                      </a:cubicBezTo>
                      <a:lnTo>
                        <a:pt x="483316" y="359964"/>
                      </a:lnTo>
                      <a:cubicBezTo>
                        <a:pt x="483316" y="360065"/>
                        <a:pt x="483921" y="367831"/>
                        <a:pt x="483921" y="377917"/>
                      </a:cubicBezTo>
                      <a:lnTo>
                        <a:pt x="483921" y="377917"/>
                      </a:lnTo>
                      <a:cubicBezTo>
                        <a:pt x="483416" y="395567"/>
                        <a:pt x="483215" y="420782"/>
                        <a:pt x="468086" y="424413"/>
                      </a:cubicBezTo>
                      <a:lnTo>
                        <a:pt x="468086" y="424413"/>
                      </a:lnTo>
                      <a:cubicBezTo>
                        <a:pt x="466775" y="424615"/>
                        <a:pt x="465262" y="424715"/>
                        <a:pt x="463850" y="424715"/>
                      </a:cubicBezTo>
                      <a:lnTo>
                        <a:pt x="463850" y="424715"/>
                      </a:lnTo>
                      <a:cubicBezTo>
                        <a:pt x="446401" y="424615"/>
                        <a:pt x="431374" y="408376"/>
                        <a:pt x="431273" y="373278"/>
                      </a:cubicBezTo>
                      <a:lnTo>
                        <a:pt x="431273" y="373278"/>
                      </a:lnTo>
                      <a:cubicBezTo>
                        <a:pt x="431273" y="370655"/>
                        <a:pt x="431374" y="367932"/>
                        <a:pt x="431575" y="365108"/>
                      </a:cubicBezTo>
                      <a:lnTo>
                        <a:pt x="431575" y="365108"/>
                      </a:lnTo>
                      <a:cubicBezTo>
                        <a:pt x="432483" y="349273"/>
                        <a:pt x="433088" y="334044"/>
                        <a:pt x="433088" y="320529"/>
                      </a:cubicBezTo>
                      <a:lnTo>
                        <a:pt x="433088" y="320529"/>
                      </a:lnTo>
                      <a:cubicBezTo>
                        <a:pt x="433189" y="297129"/>
                        <a:pt x="431172" y="278773"/>
                        <a:pt x="426936" y="271915"/>
                      </a:cubicBezTo>
                      <a:lnTo>
                        <a:pt x="426936" y="271915"/>
                      </a:lnTo>
                      <a:cubicBezTo>
                        <a:pt x="420178" y="260518"/>
                        <a:pt x="379230" y="209382"/>
                        <a:pt x="379028" y="178721"/>
                      </a:cubicBezTo>
                      <a:lnTo>
                        <a:pt x="379028" y="178721"/>
                      </a:lnTo>
                      <a:cubicBezTo>
                        <a:pt x="379028" y="175494"/>
                        <a:pt x="379431" y="172367"/>
                        <a:pt x="380642" y="169644"/>
                      </a:cubicBezTo>
                      <a:lnTo>
                        <a:pt x="380642" y="169644"/>
                      </a:lnTo>
                      <a:cubicBezTo>
                        <a:pt x="390627" y="144228"/>
                        <a:pt x="396476" y="127485"/>
                        <a:pt x="422901" y="114374"/>
                      </a:cubicBezTo>
                      <a:lnTo>
                        <a:pt x="422901" y="114374"/>
                      </a:lnTo>
                      <a:cubicBezTo>
                        <a:pt x="430062" y="110844"/>
                        <a:pt x="433592" y="102069"/>
                        <a:pt x="433592" y="90773"/>
                      </a:cubicBezTo>
                      <a:lnTo>
                        <a:pt x="433592" y="90773"/>
                      </a:lnTo>
                      <a:cubicBezTo>
                        <a:pt x="433794" y="68382"/>
                        <a:pt x="418766" y="38225"/>
                        <a:pt x="400208" y="32476"/>
                      </a:cubicBezTo>
                      <a:lnTo>
                        <a:pt x="400208" y="32476"/>
                      </a:lnTo>
                      <a:cubicBezTo>
                        <a:pt x="392039" y="29652"/>
                        <a:pt x="379330" y="28140"/>
                        <a:pt x="365412" y="28140"/>
                      </a:cubicBezTo>
                      <a:lnTo>
                        <a:pt x="365412" y="28140"/>
                      </a:lnTo>
                      <a:cubicBezTo>
                        <a:pt x="330616" y="27938"/>
                        <a:pt x="287146" y="37822"/>
                        <a:pt x="277867" y="54262"/>
                      </a:cubicBezTo>
                      <a:lnTo>
                        <a:pt x="277867" y="54262"/>
                      </a:lnTo>
                      <a:cubicBezTo>
                        <a:pt x="268689" y="69592"/>
                        <a:pt x="247004" y="79779"/>
                        <a:pt x="219571" y="79880"/>
                      </a:cubicBezTo>
                      <a:lnTo>
                        <a:pt x="219571" y="79880"/>
                      </a:lnTo>
                      <a:cubicBezTo>
                        <a:pt x="196978" y="79880"/>
                        <a:pt x="170351" y="72719"/>
                        <a:pt x="143523" y="55170"/>
                      </a:cubicBezTo>
                      <a:lnTo>
                        <a:pt x="143523" y="55170"/>
                      </a:lnTo>
                      <a:cubicBezTo>
                        <a:pt x="98843" y="26022"/>
                        <a:pt x="46195" y="5850"/>
                        <a:pt x="21888" y="5951"/>
                      </a:cubicBezTo>
                      <a:lnTo>
                        <a:pt x="21888" y="5951"/>
                      </a:lnTo>
                      <a:cubicBezTo>
                        <a:pt x="14122" y="5850"/>
                        <a:pt x="10188" y="7867"/>
                        <a:pt x="9280" y="10388"/>
                      </a:cubicBezTo>
                      <a:lnTo>
                        <a:pt x="9280" y="10388"/>
                      </a:lnTo>
                      <a:cubicBezTo>
                        <a:pt x="6658" y="16642"/>
                        <a:pt x="5347" y="21987"/>
                        <a:pt x="5347" y="26526"/>
                      </a:cubicBezTo>
                      <a:lnTo>
                        <a:pt x="5347" y="26526"/>
                      </a:lnTo>
                      <a:cubicBezTo>
                        <a:pt x="5448" y="34695"/>
                        <a:pt x="8978" y="40444"/>
                        <a:pt x="18358" y="45185"/>
                      </a:cubicBezTo>
                      <a:lnTo>
                        <a:pt x="18358" y="45185"/>
                      </a:lnTo>
                      <a:cubicBezTo>
                        <a:pt x="32680" y="52547"/>
                        <a:pt x="75544" y="60213"/>
                        <a:pt x="81394" y="95816"/>
                      </a:cubicBezTo>
                      <a:lnTo>
                        <a:pt x="81394" y="95816"/>
                      </a:lnTo>
                      <a:cubicBezTo>
                        <a:pt x="81697" y="98035"/>
                        <a:pt x="81898" y="100052"/>
                        <a:pt x="81898" y="101968"/>
                      </a:cubicBezTo>
                      <a:lnTo>
                        <a:pt x="81898" y="101968"/>
                      </a:lnTo>
                      <a:cubicBezTo>
                        <a:pt x="81092" y="132629"/>
                        <a:pt x="47405" y="143118"/>
                        <a:pt x="47909" y="173174"/>
                      </a:cubicBezTo>
                      <a:lnTo>
                        <a:pt x="47909" y="173174"/>
                      </a:lnTo>
                      <a:cubicBezTo>
                        <a:pt x="47909" y="173981"/>
                        <a:pt x="47909" y="174485"/>
                        <a:pt x="48111" y="175595"/>
                      </a:cubicBezTo>
                      <a:lnTo>
                        <a:pt x="48111" y="175595"/>
                      </a:lnTo>
                      <a:cubicBezTo>
                        <a:pt x="48514" y="194052"/>
                        <a:pt x="83411" y="227638"/>
                        <a:pt x="86538" y="254870"/>
                      </a:cubicBezTo>
                      <a:lnTo>
                        <a:pt x="86538" y="254870"/>
                      </a:lnTo>
                      <a:cubicBezTo>
                        <a:pt x="89160" y="281294"/>
                        <a:pt x="84017" y="297432"/>
                        <a:pt x="106205" y="319722"/>
                      </a:cubicBezTo>
                      <a:lnTo>
                        <a:pt x="106205" y="319722"/>
                      </a:lnTo>
                      <a:cubicBezTo>
                        <a:pt x="129302" y="342818"/>
                        <a:pt x="155122" y="371059"/>
                        <a:pt x="165712" y="397484"/>
                      </a:cubicBezTo>
                      <a:lnTo>
                        <a:pt x="165712" y="397484"/>
                      </a:lnTo>
                      <a:cubicBezTo>
                        <a:pt x="176100" y="423606"/>
                        <a:pt x="201719" y="512866"/>
                        <a:pt x="201819" y="567632"/>
                      </a:cubicBezTo>
                      <a:lnTo>
                        <a:pt x="201819" y="567632"/>
                      </a:lnTo>
                      <a:cubicBezTo>
                        <a:pt x="201819" y="617658"/>
                        <a:pt x="188607" y="682611"/>
                        <a:pt x="188607" y="736167"/>
                      </a:cubicBezTo>
                      <a:lnTo>
                        <a:pt x="188607" y="736167"/>
                      </a:lnTo>
                      <a:cubicBezTo>
                        <a:pt x="188607" y="740604"/>
                        <a:pt x="188708" y="744941"/>
                        <a:pt x="188909" y="749278"/>
                      </a:cubicBezTo>
                      <a:lnTo>
                        <a:pt x="188909" y="749278"/>
                      </a:lnTo>
                      <a:cubicBezTo>
                        <a:pt x="191330" y="805053"/>
                        <a:pt x="212309" y="891791"/>
                        <a:pt x="256787" y="918620"/>
                      </a:cubicBezTo>
                      <a:lnTo>
                        <a:pt x="256787" y="918620"/>
                      </a:lnTo>
                      <a:cubicBezTo>
                        <a:pt x="290575" y="939800"/>
                        <a:pt x="311150" y="950794"/>
                        <a:pt x="312058" y="964410"/>
                      </a:cubicBezTo>
                      <a:lnTo>
                        <a:pt x="312058" y="964410"/>
                      </a:lnTo>
                      <a:cubicBezTo>
                        <a:pt x="312058" y="969553"/>
                        <a:pt x="308528" y="973487"/>
                        <a:pt x="302880" y="977118"/>
                      </a:cubicBezTo>
                      <a:lnTo>
                        <a:pt x="302880" y="977118"/>
                      </a:lnTo>
                      <a:cubicBezTo>
                        <a:pt x="296727" y="980950"/>
                        <a:pt x="288154" y="982161"/>
                        <a:pt x="279077" y="982161"/>
                      </a:cubicBezTo>
                      <a:lnTo>
                        <a:pt x="279077" y="982161"/>
                      </a:lnTo>
                      <a:cubicBezTo>
                        <a:pt x="253358" y="982161"/>
                        <a:pt x="221386" y="972377"/>
                        <a:pt x="221789" y="972478"/>
                      </a:cubicBezTo>
                      <a:lnTo>
                        <a:pt x="221789" y="972478"/>
                      </a:lnTo>
                      <a:cubicBezTo>
                        <a:pt x="221789" y="972478"/>
                        <a:pt x="219873" y="972277"/>
                        <a:pt x="216646" y="972277"/>
                      </a:cubicBezTo>
                      <a:lnTo>
                        <a:pt x="216646" y="972277"/>
                      </a:lnTo>
                      <a:cubicBezTo>
                        <a:pt x="206963" y="972075"/>
                        <a:pt x="187699" y="974294"/>
                        <a:pt x="183564" y="983774"/>
                      </a:cubicBezTo>
                      <a:lnTo>
                        <a:pt x="183564" y="983774"/>
                      </a:lnTo>
                      <a:cubicBezTo>
                        <a:pt x="182051" y="986498"/>
                        <a:pt x="181244" y="991036"/>
                        <a:pt x="181244" y="996584"/>
                      </a:cubicBezTo>
                      <a:lnTo>
                        <a:pt x="181244" y="996584"/>
                      </a:lnTo>
                      <a:cubicBezTo>
                        <a:pt x="181244" y="1016553"/>
                        <a:pt x="191229" y="1049534"/>
                        <a:pt x="208779" y="1072933"/>
                      </a:cubicBezTo>
                      <a:lnTo>
                        <a:pt x="208779" y="1072933"/>
                      </a:lnTo>
                      <a:cubicBezTo>
                        <a:pt x="228143" y="1098753"/>
                        <a:pt x="252652" y="1120337"/>
                        <a:pt x="280086" y="1120236"/>
                      </a:cubicBezTo>
                      <a:lnTo>
                        <a:pt x="280086" y="1120236"/>
                      </a:lnTo>
                      <a:cubicBezTo>
                        <a:pt x="285129" y="1120236"/>
                        <a:pt x="290071" y="1119530"/>
                        <a:pt x="295416" y="1118118"/>
                      </a:cubicBezTo>
                      <a:lnTo>
                        <a:pt x="295416" y="1118118"/>
                      </a:lnTo>
                      <a:cubicBezTo>
                        <a:pt x="328498" y="1109243"/>
                        <a:pt x="339390" y="1072227"/>
                        <a:pt x="379431" y="1071723"/>
                      </a:cubicBezTo>
                      <a:lnTo>
                        <a:pt x="379431" y="1071723"/>
                      </a:lnTo>
                      <a:cubicBezTo>
                        <a:pt x="380541" y="1071723"/>
                        <a:pt x="382054" y="1071723"/>
                        <a:pt x="383466" y="1071925"/>
                      </a:cubicBezTo>
                      <a:lnTo>
                        <a:pt x="383466" y="1071925"/>
                      </a:lnTo>
                      <a:cubicBezTo>
                        <a:pt x="426028" y="1074850"/>
                        <a:pt x="441157" y="1102888"/>
                        <a:pt x="485736" y="1102586"/>
                      </a:cubicBezTo>
                      <a:lnTo>
                        <a:pt x="485736" y="1102586"/>
                      </a:lnTo>
                      <a:cubicBezTo>
                        <a:pt x="513876" y="1102586"/>
                        <a:pt x="531324" y="1098652"/>
                        <a:pt x="545445" y="1098652"/>
                      </a:cubicBezTo>
                      <a:lnTo>
                        <a:pt x="545445" y="1098652"/>
                      </a:lnTo>
                      <a:cubicBezTo>
                        <a:pt x="554219" y="1098652"/>
                        <a:pt x="561884" y="1100266"/>
                        <a:pt x="569348" y="1105612"/>
                      </a:cubicBezTo>
                      <a:lnTo>
                        <a:pt x="569348" y="1105612"/>
                      </a:lnTo>
                      <a:cubicBezTo>
                        <a:pt x="587099" y="1118522"/>
                        <a:pt x="638840" y="1156646"/>
                        <a:pt x="667685" y="1156444"/>
                      </a:cubicBezTo>
                      <a:lnTo>
                        <a:pt x="667685" y="1156444"/>
                      </a:lnTo>
                      <a:cubicBezTo>
                        <a:pt x="678981" y="1156444"/>
                        <a:pt x="691084" y="1157150"/>
                        <a:pt x="703187" y="1157150"/>
                      </a:cubicBezTo>
                      <a:lnTo>
                        <a:pt x="703187" y="1157150"/>
                      </a:lnTo>
                      <a:cubicBezTo>
                        <a:pt x="724368" y="1157150"/>
                        <a:pt x="745245" y="1154931"/>
                        <a:pt x="760878" y="1144140"/>
                      </a:cubicBezTo>
                      <a:lnTo>
                        <a:pt x="760878" y="1144140"/>
                      </a:lnTo>
                      <a:cubicBezTo>
                        <a:pt x="782563" y="1129011"/>
                        <a:pt x="808282" y="1105712"/>
                        <a:pt x="837531" y="1105511"/>
                      </a:cubicBezTo>
                      <a:lnTo>
                        <a:pt x="837531" y="1105511"/>
                      </a:lnTo>
                      <a:cubicBezTo>
                        <a:pt x="842574" y="1105511"/>
                        <a:pt x="847718" y="1106217"/>
                        <a:pt x="852962" y="1107931"/>
                      </a:cubicBezTo>
                      <a:lnTo>
                        <a:pt x="852962" y="1107931"/>
                      </a:lnTo>
                      <a:cubicBezTo>
                        <a:pt x="874042" y="1114386"/>
                        <a:pt x="885539" y="1119631"/>
                        <a:pt x="900769" y="1119530"/>
                      </a:cubicBezTo>
                      <a:lnTo>
                        <a:pt x="900769" y="1119530"/>
                      </a:lnTo>
                      <a:cubicBezTo>
                        <a:pt x="909846" y="1119530"/>
                        <a:pt x="920638" y="1117715"/>
                        <a:pt x="935767" y="1113075"/>
                      </a:cubicBezTo>
                      <a:lnTo>
                        <a:pt x="935767" y="1113075"/>
                      </a:lnTo>
                      <a:cubicBezTo>
                        <a:pt x="969353" y="1103090"/>
                        <a:pt x="958359" y="1087154"/>
                        <a:pt x="978632" y="1085642"/>
                      </a:cubicBezTo>
                      <a:lnTo>
                        <a:pt x="978632" y="1085642"/>
                      </a:lnTo>
                      <a:cubicBezTo>
                        <a:pt x="981860" y="1085642"/>
                        <a:pt x="985793" y="1086247"/>
                        <a:pt x="991038" y="1087457"/>
                      </a:cubicBezTo>
                      <a:lnTo>
                        <a:pt x="991038" y="1087457"/>
                      </a:lnTo>
                      <a:cubicBezTo>
                        <a:pt x="1022808" y="1095526"/>
                        <a:pt x="1023615" y="1143736"/>
                        <a:pt x="1023917" y="1156243"/>
                      </a:cubicBezTo>
                      <a:lnTo>
                        <a:pt x="1023917" y="1156243"/>
                      </a:lnTo>
                      <a:cubicBezTo>
                        <a:pt x="1023917" y="1156444"/>
                        <a:pt x="1023917" y="1156646"/>
                        <a:pt x="1023917" y="1156848"/>
                      </a:cubicBezTo>
                      <a:lnTo>
                        <a:pt x="1023917" y="1156848"/>
                      </a:lnTo>
                      <a:cubicBezTo>
                        <a:pt x="1033701" y="1158260"/>
                        <a:pt x="1068800" y="1164110"/>
                        <a:pt x="1069909" y="1187408"/>
                      </a:cubicBezTo>
                      <a:lnTo>
                        <a:pt x="1069909" y="1187408"/>
                      </a:lnTo>
                      <a:cubicBezTo>
                        <a:pt x="1070010" y="1207075"/>
                        <a:pt x="1091493" y="1225734"/>
                        <a:pt x="1111866" y="1225734"/>
                      </a:cubicBezTo>
                      <a:lnTo>
                        <a:pt x="1111866" y="1225734"/>
                      </a:lnTo>
                      <a:cubicBezTo>
                        <a:pt x="1112976" y="1225734"/>
                        <a:pt x="1114287" y="1225734"/>
                        <a:pt x="1115497" y="1225633"/>
                      </a:cubicBezTo>
                      <a:lnTo>
                        <a:pt x="1115497" y="1225633"/>
                      </a:lnTo>
                      <a:cubicBezTo>
                        <a:pt x="1138190" y="1223213"/>
                        <a:pt x="1168145" y="1212925"/>
                        <a:pt x="1179946" y="1191240"/>
                      </a:cubicBezTo>
                      <a:lnTo>
                        <a:pt x="1179946" y="1191240"/>
                      </a:lnTo>
                      <a:cubicBezTo>
                        <a:pt x="1190839" y="1171674"/>
                        <a:pt x="1219886" y="1152813"/>
                        <a:pt x="1250345" y="1152713"/>
                      </a:cubicBezTo>
                      <a:lnTo>
                        <a:pt x="1250345" y="1152713"/>
                      </a:lnTo>
                      <a:cubicBezTo>
                        <a:pt x="1257909" y="1152713"/>
                        <a:pt x="1265474" y="1153822"/>
                        <a:pt x="1273038" y="1156646"/>
                      </a:cubicBezTo>
                      <a:lnTo>
                        <a:pt x="1273038" y="1156646"/>
                      </a:lnTo>
                      <a:cubicBezTo>
                        <a:pt x="1311667" y="1171371"/>
                        <a:pt x="1312978" y="1243788"/>
                        <a:pt x="1315903" y="1271726"/>
                      </a:cubicBezTo>
                      <a:lnTo>
                        <a:pt x="1315903" y="1271726"/>
                      </a:lnTo>
                      <a:cubicBezTo>
                        <a:pt x="1319736" y="1300369"/>
                        <a:pt x="1312575" y="1296133"/>
                        <a:pt x="1351708" y="1299966"/>
                      </a:cubicBezTo>
                      <a:lnTo>
                        <a:pt x="1351708" y="1299966"/>
                      </a:lnTo>
                      <a:cubicBezTo>
                        <a:pt x="1378335" y="1301479"/>
                        <a:pt x="1384084" y="1320743"/>
                        <a:pt x="1383680" y="1332745"/>
                      </a:cubicBezTo>
                      <a:lnTo>
                        <a:pt x="1383680" y="1332745"/>
                      </a:lnTo>
                      <a:cubicBezTo>
                        <a:pt x="1383680" y="1337889"/>
                        <a:pt x="1382873" y="1342024"/>
                        <a:pt x="1382369" y="1342528"/>
                      </a:cubicBezTo>
                      <a:lnTo>
                        <a:pt x="1382369" y="1342528"/>
                      </a:lnTo>
                      <a:cubicBezTo>
                        <a:pt x="1385596" y="1346361"/>
                        <a:pt x="1405667" y="1369861"/>
                        <a:pt x="1427453" y="1369558"/>
                      </a:cubicBezTo>
                      <a:lnTo>
                        <a:pt x="1427453" y="1369558"/>
                      </a:lnTo>
                      <a:cubicBezTo>
                        <a:pt x="1429167" y="1369558"/>
                        <a:pt x="1430983" y="1369458"/>
                        <a:pt x="1432899" y="1369054"/>
                      </a:cubicBezTo>
                      <a:lnTo>
                        <a:pt x="1432899" y="1369054"/>
                      </a:lnTo>
                      <a:cubicBezTo>
                        <a:pt x="1451558" y="1365726"/>
                        <a:pt x="1466888" y="1356346"/>
                        <a:pt x="1479496" y="1356043"/>
                      </a:cubicBezTo>
                      <a:lnTo>
                        <a:pt x="1479496" y="1356043"/>
                      </a:lnTo>
                      <a:cubicBezTo>
                        <a:pt x="1485446" y="1355942"/>
                        <a:pt x="1491195" y="1358767"/>
                        <a:pt x="1494725" y="1365221"/>
                      </a:cubicBezTo>
                      <a:lnTo>
                        <a:pt x="1494725" y="1365221"/>
                      </a:lnTo>
                      <a:cubicBezTo>
                        <a:pt x="1504307" y="1382973"/>
                        <a:pt x="1539305" y="1434007"/>
                        <a:pt x="1556350" y="1432998"/>
                      </a:cubicBezTo>
                      <a:lnTo>
                        <a:pt x="1556350" y="1432998"/>
                      </a:lnTo>
                      <a:cubicBezTo>
                        <a:pt x="1569966" y="1432696"/>
                        <a:pt x="1576522" y="1425333"/>
                        <a:pt x="1576925" y="1403850"/>
                      </a:cubicBezTo>
                      <a:lnTo>
                        <a:pt x="1576925" y="1403850"/>
                      </a:lnTo>
                      <a:cubicBezTo>
                        <a:pt x="1576925" y="1396488"/>
                        <a:pt x="1575916" y="1387713"/>
                        <a:pt x="1574101" y="1377425"/>
                      </a:cubicBezTo>
                      <a:lnTo>
                        <a:pt x="1574101" y="1377425"/>
                      </a:lnTo>
                      <a:cubicBezTo>
                        <a:pt x="1565629" y="1334359"/>
                        <a:pt x="1579951" y="1341116"/>
                        <a:pt x="1555341" y="1330829"/>
                      </a:cubicBezTo>
                      <a:lnTo>
                        <a:pt x="1555341" y="1330829"/>
                      </a:lnTo>
                      <a:cubicBezTo>
                        <a:pt x="1542936" y="1325887"/>
                        <a:pt x="1537489" y="1314288"/>
                        <a:pt x="1537590" y="1303294"/>
                      </a:cubicBezTo>
                      <a:lnTo>
                        <a:pt x="1537590" y="1303294"/>
                      </a:lnTo>
                      <a:cubicBezTo>
                        <a:pt x="1537590" y="1289073"/>
                        <a:pt x="1546264" y="1274348"/>
                        <a:pt x="1561494" y="1274247"/>
                      </a:cubicBezTo>
                      <a:lnTo>
                        <a:pt x="1561494" y="1274247"/>
                      </a:lnTo>
                      <a:cubicBezTo>
                        <a:pt x="1570268" y="1274247"/>
                        <a:pt x="1578841" y="1276567"/>
                        <a:pt x="1587616" y="1276567"/>
                      </a:cubicBezTo>
                      <a:lnTo>
                        <a:pt x="1587616" y="1276567"/>
                      </a:lnTo>
                      <a:cubicBezTo>
                        <a:pt x="1603249" y="1276466"/>
                        <a:pt x="1620698" y="1270213"/>
                        <a:pt x="1643592" y="1229668"/>
                      </a:cubicBezTo>
                      <a:lnTo>
                        <a:pt x="1643592" y="1229668"/>
                      </a:lnTo>
                      <a:cubicBezTo>
                        <a:pt x="1652670" y="1213329"/>
                        <a:pt x="1656301" y="1196082"/>
                        <a:pt x="1656301" y="1178936"/>
                      </a:cubicBezTo>
                      <a:lnTo>
                        <a:pt x="1656301" y="1178936"/>
                      </a:lnTo>
                      <a:cubicBezTo>
                        <a:pt x="1656502" y="1130725"/>
                        <a:pt x="1626447" y="1084129"/>
                        <a:pt x="1608595" y="1071824"/>
                      </a:cubicBezTo>
                      <a:lnTo>
                        <a:pt x="1608595" y="1071824"/>
                      </a:lnTo>
                      <a:lnTo>
                        <a:pt x="1610208" y="1069504"/>
                      </a:lnTo>
                      <a:lnTo>
                        <a:pt x="1611822" y="1067185"/>
                      </a:lnTo>
                      <a:cubicBezTo>
                        <a:pt x="1631691" y="1081305"/>
                        <a:pt x="1661848" y="1128204"/>
                        <a:pt x="1661949" y="1178835"/>
                      </a:cubicBezTo>
                      <a:lnTo>
                        <a:pt x="1661949" y="1178835"/>
                      </a:lnTo>
                      <a:cubicBezTo>
                        <a:pt x="1661949" y="1196687"/>
                        <a:pt x="1658116" y="1214942"/>
                        <a:pt x="1648535" y="1232290"/>
                      </a:cubicBezTo>
                      <a:lnTo>
                        <a:pt x="1648535" y="1232290"/>
                      </a:lnTo>
                      <a:cubicBezTo>
                        <a:pt x="1625438" y="1273642"/>
                        <a:pt x="1605367" y="1282215"/>
                        <a:pt x="1587717" y="1282013"/>
                      </a:cubicBezTo>
                      <a:lnTo>
                        <a:pt x="1587717" y="1282013"/>
                      </a:lnTo>
                      <a:cubicBezTo>
                        <a:pt x="1578034" y="1282013"/>
                        <a:pt x="1569361" y="1279693"/>
                        <a:pt x="1561594" y="1279794"/>
                      </a:cubicBezTo>
                      <a:lnTo>
                        <a:pt x="1561594" y="1279794"/>
                      </a:lnTo>
                      <a:cubicBezTo>
                        <a:pt x="1550702" y="1279794"/>
                        <a:pt x="1543238" y="1290990"/>
                        <a:pt x="1543137" y="1303294"/>
                      </a:cubicBezTo>
                      <a:lnTo>
                        <a:pt x="1543137" y="1303294"/>
                      </a:lnTo>
                      <a:cubicBezTo>
                        <a:pt x="1543238" y="1312573"/>
                        <a:pt x="1547474" y="1321651"/>
                        <a:pt x="1557460" y="1325584"/>
                      </a:cubicBezTo>
                      <a:lnTo>
                        <a:pt x="1557460" y="1325584"/>
                      </a:lnTo>
                      <a:cubicBezTo>
                        <a:pt x="1583985" y="1335771"/>
                        <a:pt x="1572790" y="1337485"/>
                        <a:pt x="1579648" y="1376417"/>
                      </a:cubicBezTo>
                      <a:lnTo>
                        <a:pt x="1579648" y="1376417"/>
                      </a:lnTo>
                      <a:cubicBezTo>
                        <a:pt x="1581565" y="1386906"/>
                        <a:pt x="1582573" y="1395983"/>
                        <a:pt x="1582573" y="1403850"/>
                      </a:cubicBezTo>
                      <a:lnTo>
                        <a:pt x="1582573" y="1403850"/>
                      </a:lnTo>
                      <a:cubicBezTo>
                        <a:pt x="1582472" y="1426241"/>
                        <a:pt x="1573294" y="1438445"/>
                        <a:pt x="1556350" y="1438646"/>
                      </a:cubicBezTo>
                      <a:lnTo>
                        <a:pt x="1556350" y="1438646"/>
                      </a:lnTo>
                      <a:cubicBezTo>
                        <a:pt x="1532648" y="1437235"/>
                        <a:pt x="1500979" y="1385797"/>
                        <a:pt x="1490086" y="1367642"/>
                      </a:cubicBezTo>
                      <a:lnTo>
                        <a:pt x="1490086" y="1367642"/>
                      </a:lnTo>
                      <a:close/>
                    </a:path>
                  </a:pathLst>
                </a:custGeom>
                <a:solidFill>
                  <a:srgbClr val="ABDEF6"/>
                </a:solidFill>
                <a:ln w="10085" cap="flat">
                  <a:solidFill>
                    <a:srgbClr val="FFFFFF"/>
                  </a:solidFill>
                  <a:prstDash val="solid"/>
                  <a:miter/>
                </a:ln>
              </p:spPr>
              <p:txBody>
                <a:bodyPr rtlCol="0" anchor="ctr"/>
                <a:lstStyle/>
                <a:p>
                  <a:endParaRPr lang="fr-FR" sz="900"/>
                </a:p>
              </p:txBody>
            </p:sp>
          </p:grpSp>
          <p:grpSp>
            <p:nvGrpSpPr>
              <p:cNvPr id="79" name="Graphique 17">
                <a:extLst>
                  <a:ext uri="{FF2B5EF4-FFF2-40B4-BE49-F238E27FC236}">
                    <a16:creationId xmlns:a16="http://schemas.microsoft.com/office/drawing/2014/main" id="{0C0650BB-FA12-34D2-3ADC-4412A98B984F}"/>
                  </a:ext>
                </a:extLst>
              </p:cNvPr>
              <p:cNvGrpSpPr/>
              <p:nvPr/>
            </p:nvGrpSpPr>
            <p:grpSpPr>
              <a:xfrm>
                <a:off x="1124725" y="6212497"/>
                <a:ext cx="2181066" cy="1276264"/>
                <a:chOff x="1124725" y="6212497"/>
                <a:chExt cx="2181066" cy="1276264"/>
              </a:xfrm>
              <a:solidFill>
                <a:srgbClr val="ABDEF6"/>
              </a:solidFill>
            </p:grpSpPr>
            <p:sp>
              <p:nvSpPr>
                <p:cNvPr id="80" name="Forme libre : forme 79">
                  <a:extLst>
                    <a:ext uri="{FF2B5EF4-FFF2-40B4-BE49-F238E27FC236}">
                      <a16:creationId xmlns:a16="http://schemas.microsoft.com/office/drawing/2014/main" id="{99C063E8-6AC7-3564-B430-24E230C03D8E}"/>
                    </a:ext>
                  </a:extLst>
                </p:cNvPr>
                <p:cNvSpPr/>
                <p:nvPr/>
              </p:nvSpPr>
              <p:spPr>
                <a:xfrm>
                  <a:off x="1127259" y="6215629"/>
                  <a:ext cx="2175682" cy="1271097"/>
                </a:xfrm>
                <a:custGeom>
                  <a:avLst/>
                  <a:gdLst>
                    <a:gd name="connsiteX0" fmla="*/ 2153620 w 2175682"/>
                    <a:gd name="connsiteY0" fmla="*/ 567727 h 1271097"/>
                    <a:gd name="connsiteX1" fmla="*/ 2168043 w 2175682"/>
                    <a:gd name="connsiteY1" fmla="*/ 507817 h 1271097"/>
                    <a:gd name="connsiteX2" fmla="*/ 2159167 w 2175682"/>
                    <a:gd name="connsiteY2" fmla="*/ 409177 h 1271097"/>
                    <a:gd name="connsiteX3" fmla="*/ 2173893 w 2175682"/>
                    <a:gd name="connsiteY3" fmla="*/ 385879 h 1271097"/>
                    <a:gd name="connsiteX4" fmla="*/ 2086347 w 2175682"/>
                    <a:gd name="connsiteY4" fmla="*/ 357336 h 1271097"/>
                    <a:gd name="connsiteX5" fmla="*/ 1999206 w 2175682"/>
                    <a:gd name="connsiteY5" fmla="*/ 403429 h 1271097"/>
                    <a:gd name="connsiteX6" fmla="*/ 1909643 w 2175682"/>
                    <a:gd name="connsiteY6" fmla="*/ 357336 h 1271097"/>
                    <a:gd name="connsiteX7" fmla="*/ 1884025 w 2175682"/>
                    <a:gd name="connsiteY7" fmla="*/ 265051 h 1271097"/>
                    <a:gd name="connsiteX8" fmla="*/ 1886849 w 2175682"/>
                    <a:gd name="connsiteY8" fmla="*/ 262630 h 1271097"/>
                    <a:gd name="connsiteX9" fmla="*/ 1853465 w 2175682"/>
                    <a:gd name="connsiteY9" fmla="*/ 260109 h 1271097"/>
                    <a:gd name="connsiteX10" fmla="*/ 1722853 w 2175682"/>
                    <a:gd name="connsiteY10" fmla="*/ 242862 h 1271097"/>
                    <a:gd name="connsiteX11" fmla="*/ 1722853 w 2175682"/>
                    <a:gd name="connsiteY11" fmla="*/ 184565 h 1271097"/>
                    <a:gd name="connsiteX12" fmla="*/ 1646201 w 2175682"/>
                    <a:gd name="connsiteY12" fmla="*/ 198585 h 1271097"/>
                    <a:gd name="connsiteX13" fmla="*/ 1597587 w 2175682"/>
                    <a:gd name="connsiteY13" fmla="*/ 224505 h 1271097"/>
                    <a:gd name="connsiteX14" fmla="*/ 1546855 w 2175682"/>
                    <a:gd name="connsiteY14" fmla="*/ 254763 h 1271097"/>
                    <a:gd name="connsiteX15" fmla="*/ 1502376 w 2175682"/>
                    <a:gd name="connsiteY15" fmla="*/ 261622 h 1271097"/>
                    <a:gd name="connsiteX16" fmla="*/ 1456889 w 2175682"/>
                    <a:gd name="connsiteY16" fmla="*/ 223900 h 1271097"/>
                    <a:gd name="connsiteX17" fmla="*/ 1456889 w 2175682"/>
                    <a:gd name="connsiteY17" fmla="*/ 179523 h 1271097"/>
                    <a:gd name="connsiteX18" fmla="*/ 1428044 w 2175682"/>
                    <a:gd name="connsiteY18" fmla="*/ 200602 h 1271097"/>
                    <a:gd name="connsiteX19" fmla="*/ 1393651 w 2175682"/>
                    <a:gd name="connsiteY19" fmla="*/ 217244 h 1271097"/>
                    <a:gd name="connsiteX20" fmla="*/ 1344835 w 2175682"/>
                    <a:gd name="connsiteY20" fmla="*/ 234995 h 1271097"/>
                    <a:gd name="connsiteX21" fmla="*/ 1221687 w 2175682"/>
                    <a:gd name="connsiteY21" fmla="*/ 330407 h 1271097"/>
                    <a:gd name="connsiteX22" fmla="*/ 1209483 w 2175682"/>
                    <a:gd name="connsiteY22" fmla="*/ 288248 h 1271097"/>
                    <a:gd name="connsiteX23" fmla="*/ 1170653 w 2175682"/>
                    <a:gd name="connsiteY23" fmla="*/ 244980 h 1271097"/>
                    <a:gd name="connsiteX24" fmla="*/ 1150682 w 2175682"/>
                    <a:gd name="connsiteY24" fmla="*/ 177304 h 1271097"/>
                    <a:gd name="connsiteX25" fmla="*/ 1116189 w 2175682"/>
                    <a:gd name="connsiteY25" fmla="*/ 157334 h 1271097"/>
                    <a:gd name="connsiteX26" fmla="*/ 1105094 w 2175682"/>
                    <a:gd name="connsiteY26" fmla="*/ 121832 h 1271097"/>
                    <a:gd name="connsiteX27" fmla="*/ 1086234 w 2175682"/>
                    <a:gd name="connsiteY27" fmla="*/ 83001 h 1271097"/>
                    <a:gd name="connsiteX28" fmla="*/ 1059607 w 2175682"/>
                    <a:gd name="connsiteY28" fmla="*/ 53046 h 1271097"/>
                    <a:gd name="connsiteX29" fmla="*/ 913161 w 2175682"/>
                    <a:gd name="connsiteY29" fmla="*/ 6449 h 1271097"/>
                    <a:gd name="connsiteX30" fmla="*/ 818858 w 2175682"/>
                    <a:gd name="connsiteY30" fmla="*/ 36404 h 1271097"/>
                    <a:gd name="connsiteX31" fmla="*/ 737868 w 2175682"/>
                    <a:gd name="connsiteY31" fmla="*/ 41951 h 1271097"/>
                    <a:gd name="connsiteX32" fmla="*/ 737868 w 2175682"/>
                    <a:gd name="connsiteY32" fmla="*/ 77454 h 1271097"/>
                    <a:gd name="connsiteX33" fmla="*/ 742306 w 2175682"/>
                    <a:gd name="connsiteY33" fmla="*/ 99643 h 1271097"/>
                    <a:gd name="connsiteX34" fmla="*/ 693491 w 2175682"/>
                    <a:gd name="connsiteY34" fmla="*/ 127379 h 1271097"/>
                    <a:gd name="connsiteX35" fmla="*/ 599188 w 2175682"/>
                    <a:gd name="connsiteY35" fmla="*/ 97424 h 1271097"/>
                    <a:gd name="connsiteX36" fmla="*/ 578108 w 2175682"/>
                    <a:gd name="connsiteY36" fmla="*/ 137364 h 1271097"/>
                    <a:gd name="connsiteX37" fmla="*/ 583656 w 2175682"/>
                    <a:gd name="connsiteY37" fmla="*/ 178413 h 1271097"/>
                    <a:gd name="connsiteX38" fmla="*/ 542606 w 2175682"/>
                    <a:gd name="connsiteY38" fmla="*/ 158443 h 1271097"/>
                    <a:gd name="connsiteX39" fmla="*/ 468273 w 2175682"/>
                    <a:gd name="connsiteY39" fmla="*/ 88649 h 1271097"/>
                    <a:gd name="connsiteX40" fmla="*/ 313052 w 2175682"/>
                    <a:gd name="connsiteY40" fmla="*/ 137465 h 1271097"/>
                    <a:gd name="connsiteX41" fmla="*/ 285316 w 2175682"/>
                    <a:gd name="connsiteY41" fmla="*/ 107509 h 1271097"/>
                    <a:gd name="connsiteX42" fmla="*/ 252033 w 2175682"/>
                    <a:gd name="connsiteY42" fmla="*/ 110838 h 1271097"/>
                    <a:gd name="connsiteX43" fmla="*/ 228734 w 2175682"/>
                    <a:gd name="connsiteY43" fmla="*/ 146340 h 1271097"/>
                    <a:gd name="connsiteX44" fmla="*/ 50114 w 2175682"/>
                    <a:gd name="connsiteY44" fmla="*/ 189608 h 1271097"/>
                    <a:gd name="connsiteX45" fmla="*/ 25706 w 2175682"/>
                    <a:gd name="connsiteY45" fmla="*/ 290568 h 1271097"/>
                    <a:gd name="connsiteX46" fmla="*/ 189 w 2175682"/>
                    <a:gd name="connsiteY46" fmla="*/ 326070 h 1271097"/>
                    <a:gd name="connsiteX47" fmla="*/ 22378 w 2175682"/>
                    <a:gd name="connsiteY47" fmla="*/ 400403 h 1271097"/>
                    <a:gd name="connsiteX48" fmla="*/ 58989 w 2175682"/>
                    <a:gd name="connsiteY48" fmla="*/ 373776 h 1271097"/>
                    <a:gd name="connsiteX49" fmla="*/ 86725 w 2175682"/>
                    <a:gd name="connsiteY49" fmla="*/ 367119 h 1271097"/>
                    <a:gd name="connsiteX50" fmla="*/ 128884 w 2175682"/>
                    <a:gd name="connsiteY50" fmla="*/ 362682 h 1271097"/>
                    <a:gd name="connsiteX51" fmla="*/ 239829 w 2175682"/>
                    <a:gd name="connsiteY51" fmla="*/ 337164 h 1271097"/>
                    <a:gd name="connsiteX52" fmla="*/ 304177 w 2175682"/>
                    <a:gd name="connsiteY52" fmla="*/ 333836 h 1271097"/>
                    <a:gd name="connsiteX53" fmla="*/ 260908 w 2175682"/>
                    <a:gd name="connsiteY53" fmla="*/ 369338 h 1271097"/>
                    <a:gd name="connsiteX54" fmla="*/ 203217 w 2175682"/>
                    <a:gd name="connsiteY54" fmla="*/ 390418 h 1271097"/>
                    <a:gd name="connsiteX55" fmla="*/ 230852 w 2175682"/>
                    <a:gd name="connsiteY55" fmla="*/ 404841 h 1271097"/>
                    <a:gd name="connsiteX56" fmla="*/ 285215 w 2175682"/>
                    <a:gd name="connsiteY56" fmla="*/ 394856 h 1271097"/>
                    <a:gd name="connsiteX57" fmla="*/ 327374 w 2175682"/>
                    <a:gd name="connsiteY57" fmla="*/ 428139 h 1271097"/>
                    <a:gd name="connsiteX58" fmla="*/ 354001 w 2175682"/>
                    <a:gd name="connsiteY58" fmla="*/ 456985 h 1271097"/>
                    <a:gd name="connsiteX59" fmla="*/ 275230 w 2175682"/>
                    <a:gd name="connsiteY59" fmla="*/ 460313 h 1271097"/>
                    <a:gd name="connsiteX60" fmla="*/ 235290 w 2175682"/>
                    <a:gd name="connsiteY60" fmla="*/ 443671 h 1271097"/>
                    <a:gd name="connsiteX61" fmla="*/ 160957 w 2175682"/>
                    <a:gd name="connsiteY61" fmla="*/ 440343 h 1271097"/>
                    <a:gd name="connsiteX62" fmla="*/ 154301 w 2175682"/>
                    <a:gd name="connsiteY62" fmla="*/ 395965 h 1271097"/>
                    <a:gd name="connsiteX63" fmla="*/ 129893 w 2175682"/>
                    <a:gd name="connsiteY63" fmla="*/ 417044 h 1271097"/>
                    <a:gd name="connsiteX64" fmla="*/ 124346 w 2175682"/>
                    <a:gd name="connsiteY64" fmla="*/ 441452 h 1271097"/>
                    <a:gd name="connsiteX65" fmla="*/ 112142 w 2175682"/>
                    <a:gd name="connsiteY65" fmla="*/ 456985 h 1271097"/>
                    <a:gd name="connsiteX66" fmla="*/ 134331 w 2175682"/>
                    <a:gd name="connsiteY66" fmla="*/ 462532 h 1271097"/>
                    <a:gd name="connsiteX67" fmla="*/ 132112 w 2175682"/>
                    <a:gd name="connsiteY67" fmla="*/ 484721 h 1271097"/>
                    <a:gd name="connsiteX68" fmla="*/ 122127 w 2175682"/>
                    <a:gd name="connsiteY68" fmla="*/ 514676 h 1271097"/>
                    <a:gd name="connsiteX69" fmla="*/ 136550 w 2175682"/>
                    <a:gd name="connsiteY69" fmla="*/ 535755 h 1271097"/>
                    <a:gd name="connsiteX70" fmla="*/ 162067 w 2175682"/>
                    <a:gd name="connsiteY70" fmla="*/ 520223 h 1271097"/>
                    <a:gd name="connsiteX71" fmla="*/ 174271 w 2175682"/>
                    <a:gd name="connsiteY71" fmla="*/ 481392 h 1271097"/>
                    <a:gd name="connsiteX72" fmla="*/ 211992 w 2175682"/>
                    <a:gd name="connsiteY72" fmla="*/ 486940 h 1271097"/>
                    <a:gd name="connsiteX73" fmla="*/ 244166 w 2175682"/>
                    <a:gd name="connsiteY73" fmla="*/ 512457 h 1271097"/>
                    <a:gd name="connsiteX74" fmla="*/ 284106 w 2175682"/>
                    <a:gd name="connsiteY74" fmla="*/ 570148 h 1271097"/>
                    <a:gd name="connsiteX75" fmla="*/ 270792 w 2175682"/>
                    <a:gd name="connsiteY75" fmla="*/ 621182 h 1271097"/>
                    <a:gd name="connsiteX76" fmla="*/ 245275 w 2175682"/>
                    <a:gd name="connsiteY76" fmla="*/ 607869 h 1271097"/>
                    <a:gd name="connsiteX77" fmla="*/ 213101 w 2175682"/>
                    <a:gd name="connsiteY77" fmla="*/ 605650 h 1271097"/>
                    <a:gd name="connsiteX78" fmla="*/ 158738 w 2175682"/>
                    <a:gd name="connsiteY78" fmla="*/ 616744 h 1271097"/>
                    <a:gd name="connsiteX79" fmla="*/ 23386 w 2175682"/>
                    <a:gd name="connsiteY79" fmla="*/ 636714 h 1271097"/>
                    <a:gd name="connsiteX80" fmla="*/ 43356 w 2175682"/>
                    <a:gd name="connsiteY80" fmla="*/ 664451 h 1271097"/>
                    <a:gd name="connsiteX81" fmla="*/ 147644 w 2175682"/>
                    <a:gd name="connsiteY81" fmla="*/ 681092 h 1271097"/>
                    <a:gd name="connsiteX82" fmla="*/ 159848 w 2175682"/>
                    <a:gd name="connsiteY82" fmla="*/ 757644 h 1271097"/>
                    <a:gd name="connsiteX83" fmla="*/ 203116 w 2175682"/>
                    <a:gd name="connsiteY83" fmla="*/ 770957 h 1271097"/>
                    <a:gd name="connsiteX84" fmla="*/ 239728 w 2175682"/>
                    <a:gd name="connsiteY84" fmla="*/ 796474 h 1271097"/>
                    <a:gd name="connsiteX85" fmla="*/ 233071 w 2175682"/>
                    <a:gd name="connsiteY85" fmla="*/ 833086 h 1271097"/>
                    <a:gd name="connsiteX86" fmla="*/ 214211 w 2175682"/>
                    <a:gd name="connsiteY86" fmla="*/ 867479 h 1271097"/>
                    <a:gd name="connsiteX87" fmla="*/ 237509 w 2175682"/>
                    <a:gd name="connsiteY87" fmla="*/ 867580 h 1271097"/>
                    <a:gd name="connsiteX88" fmla="*/ 259698 w 2175682"/>
                    <a:gd name="connsiteY88" fmla="*/ 886440 h 1271097"/>
                    <a:gd name="connsiteX89" fmla="*/ 284106 w 2175682"/>
                    <a:gd name="connsiteY89" fmla="*/ 873127 h 1271097"/>
                    <a:gd name="connsiteX90" fmla="*/ 315170 w 2175682"/>
                    <a:gd name="connsiteY90" fmla="*/ 864251 h 1271097"/>
                    <a:gd name="connsiteX91" fmla="*/ 316280 w 2175682"/>
                    <a:gd name="connsiteY91" fmla="*/ 807670 h 1271097"/>
                    <a:gd name="connsiteX92" fmla="*/ 336250 w 2175682"/>
                    <a:gd name="connsiteY92" fmla="*/ 781043 h 1271097"/>
                    <a:gd name="connsiteX93" fmla="*/ 361767 w 2175682"/>
                    <a:gd name="connsiteY93" fmla="*/ 777715 h 1271097"/>
                    <a:gd name="connsiteX94" fmla="*/ 370642 w 2175682"/>
                    <a:gd name="connsiteY94" fmla="*/ 817655 h 1271097"/>
                    <a:gd name="connsiteX95" fmla="*/ 415020 w 2175682"/>
                    <a:gd name="connsiteY95" fmla="*/ 840953 h 1271097"/>
                    <a:gd name="connsiteX96" fmla="*/ 436100 w 2175682"/>
                    <a:gd name="connsiteY96" fmla="*/ 826530 h 1271097"/>
                    <a:gd name="connsiteX97" fmla="*/ 458288 w 2175682"/>
                    <a:gd name="connsiteY97" fmla="*/ 798794 h 1271097"/>
                    <a:gd name="connsiteX98" fmla="*/ 498228 w 2175682"/>
                    <a:gd name="connsiteY98" fmla="*/ 848719 h 1271097"/>
                    <a:gd name="connsiteX99" fmla="*/ 490462 w 2175682"/>
                    <a:gd name="connsiteY99" fmla="*/ 884221 h 1271097"/>
                    <a:gd name="connsiteX100" fmla="*/ 543716 w 2175682"/>
                    <a:gd name="connsiteY100" fmla="*/ 917505 h 1271097"/>
                    <a:gd name="connsiteX101" fmla="*/ 584765 w 2175682"/>
                    <a:gd name="connsiteY101" fmla="*/ 890878 h 1271097"/>
                    <a:gd name="connsiteX102" fmla="*/ 622587 w 2175682"/>
                    <a:gd name="connsiteY102" fmla="*/ 924161 h 1271097"/>
                    <a:gd name="connsiteX103" fmla="*/ 696920 w 2175682"/>
                    <a:gd name="connsiteY103" fmla="*/ 939693 h 1271097"/>
                    <a:gd name="connsiteX104" fmla="*/ 763486 w 2175682"/>
                    <a:gd name="connsiteY104" fmla="*/ 995166 h 1271097"/>
                    <a:gd name="connsiteX105" fmla="*/ 814521 w 2175682"/>
                    <a:gd name="connsiteY105" fmla="*/ 947460 h 1271097"/>
                    <a:gd name="connsiteX106" fmla="*/ 830053 w 2175682"/>
                    <a:gd name="connsiteY106" fmla="*/ 971867 h 1271097"/>
                    <a:gd name="connsiteX107" fmla="*/ 824506 w 2175682"/>
                    <a:gd name="connsiteY107" fmla="*/ 1007370 h 1271097"/>
                    <a:gd name="connsiteX108" fmla="*/ 869993 w 2175682"/>
                    <a:gd name="connsiteY108" fmla="*/ 1033996 h 1271097"/>
                    <a:gd name="connsiteX109" fmla="*/ 899948 w 2175682"/>
                    <a:gd name="connsiteY109" fmla="*/ 989619 h 1271097"/>
                    <a:gd name="connsiteX110" fmla="*/ 938779 w 2175682"/>
                    <a:gd name="connsiteY110" fmla="*/ 980743 h 1271097"/>
                    <a:gd name="connsiteX111" fmla="*/ 918809 w 2175682"/>
                    <a:gd name="connsiteY111" fmla="*/ 1041763 h 1271097"/>
                    <a:gd name="connsiteX112" fmla="*/ 886635 w 2175682"/>
                    <a:gd name="connsiteY112" fmla="*/ 1071718 h 1271097"/>
                    <a:gd name="connsiteX113" fmla="*/ 913261 w 2175682"/>
                    <a:gd name="connsiteY113" fmla="*/ 1120533 h 1271097"/>
                    <a:gd name="connsiteX114" fmla="*/ 919918 w 2175682"/>
                    <a:gd name="connsiteY114" fmla="*/ 1212617 h 1271097"/>
                    <a:gd name="connsiteX115" fmla="*/ 955420 w 2175682"/>
                    <a:gd name="connsiteY115" fmla="*/ 1210398 h 1271097"/>
                    <a:gd name="connsiteX116" fmla="*/ 935450 w 2175682"/>
                    <a:gd name="connsiteY116" fmla="*/ 1169349 h 1271097"/>
                    <a:gd name="connsiteX117" fmla="*/ 964296 w 2175682"/>
                    <a:gd name="connsiteY117" fmla="*/ 1111658 h 1271097"/>
                    <a:gd name="connsiteX118" fmla="*/ 1023096 w 2175682"/>
                    <a:gd name="connsiteY118" fmla="*/ 1096125 h 1271097"/>
                    <a:gd name="connsiteX119" fmla="*/ 1048614 w 2175682"/>
                    <a:gd name="connsiteY119" fmla="*/ 1078374 h 1271097"/>
                    <a:gd name="connsiteX120" fmla="*/ 1064146 w 2175682"/>
                    <a:gd name="connsiteY120" fmla="*/ 1103891 h 1271097"/>
                    <a:gd name="connsiteX121" fmla="*/ 1111852 w 2175682"/>
                    <a:gd name="connsiteY121" fmla="*/ 1092797 h 1271097"/>
                    <a:gd name="connsiteX122" fmla="*/ 1187294 w 2175682"/>
                    <a:gd name="connsiteY122" fmla="*/ 1089469 h 1271097"/>
                    <a:gd name="connsiteX123" fmla="*/ 1155120 w 2175682"/>
                    <a:gd name="connsiteY123" fmla="*/ 1164911 h 1271097"/>
                    <a:gd name="connsiteX124" fmla="*/ 1099648 w 2175682"/>
                    <a:gd name="connsiteY124" fmla="*/ 1161582 h 1271097"/>
                    <a:gd name="connsiteX125" fmla="*/ 1051942 w 2175682"/>
                    <a:gd name="connsiteY125" fmla="*/ 1153816 h 1271097"/>
                    <a:gd name="connsiteX126" fmla="*/ 1073021 w 2175682"/>
                    <a:gd name="connsiteY126" fmla="*/ 1189318 h 1271097"/>
                    <a:gd name="connsiteX127" fmla="*/ 1094101 w 2175682"/>
                    <a:gd name="connsiteY127" fmla="*/ 1211507 h 1271097"/>
                    <a:gd name="connsiteX128" fmla="*/ 1205045 w 2175682"/>
                    <a:gd name="connsiteY128" fmla="*/ 1193756 h 1271097"/>
                    <a:gd name="connsiteX129" fmla="*/ 1271612 w 2175682"/>
                    <a:gd name="connsiteY129" fmla="*/ 1182662 h 1271097"/>
                    <a:gd name="connsiteX130" fmla="*/ 1332631 w 2175682"/>
                    <a:gd name="connsiteY130" fmla="*/ 1193756 h 1271097"/>
                    <a:gd name="connsiteX131" fmla="*/ 1359157 w 2175682"/>
                    <a:gd name="connsiteY131" fmla="*/ 1212617 h 1271097"/>
                    <a:gd name="connsiteX132" fmla="*/ 1329202 w 2175682"/>
                    <a:gd name="connsiteY132" fmla="*/ 1227040 h 1271097"/>
                    <a:gd name="connsiteX133" fmla="*/ 1289262 w 2175682"/>
                    <a:gd name="connsiteY133" fmla="*/ 1235915 h 1271097"/>
                    <a:gd name="connsiteX134" fmla="*/ 1359056 w 2175682"/>
                    <a:gd name="connsiteY134" fmla="*/ 1266980 h 1271097"/>
                    <a:gd name="connsiteX135" fmla="*/ 1431170 w 2175682"/>
                    <a:gd name="connsiteY135" fmla="*/ 1221492 h 1271097"/>
                    <a:gd name="connsiteX136" fmla="*/ 1482205 w 2175682"/>
                    <a:gd name="connsiteY136" fmla="*/ 1253666 h 1271097"/>
                    <a:gd name="connsiteX137" fmla="*/ 1525473 w 2175682"/>
                    <a:gd name="connsiteY137" fmla="*/ 1184881 h 1271097"/>
                    <a:gd name="connsiteX138" fmla="*/ 1566522 w 2175682"/>
                    <a:gd name="connsiteY138" fmla="*/ 1081703 h 1271097"/>
                    <a:gd name="connsiteX139" fmla="*/ 1647613 w 2175682"/>
                    <a:gd name="connsiteY139" fmla="*/ 1079484 h 1271097"/>
                    <a:gd name="connsiteX140" fmla="*/ 1699756 w 2175682"/>
                    <a:gd name="connsiteY140" fmla="*/ 1071718 h 1271097"/>
                    <a:gd name="connsiteX141" fmla="*/ 1797388 w 2175682"/>
                    <a:gd name="connsiteY141" fmla="*/ 1080593 h 1271097"/>
                    <a:gd name="connsiteX142" fmla="*/ 1901675 w 2175682"/>
                    <a:gd name="connsiteY142" fmla="*/ 988509 h 1271097"/>
                    <a:gd name="connsiteX143" fmla="*/ 2000416 w 2175682"/>
                    <a:gd name="connsiteY143" fmla="*/ 1008479 h 1271097"/>
                    <a:gd name="connsiteX144" fmla="*/ 2066983 w 2175682"/>
                    <a:gd name="connsiteY144" fmla="*/ 949679 h 1271097"/>
                    <a:gd name="connsiteX145" fmla="*/ 2086952 w 2175682"/>
                    <a:gd name="connsiteY145" fmla="*/ 883112 h 1271097"/>
                    <a:gd name="connsiteX146" fmla="*/ 2101375 w 2175682"/>
                    <a:gd name="connsiteY146" fmla="*/ 847610 h 1271097"/>
                    <a:gd name="connsiteX147" fmla="*/ 2157957 w 2175682"/>
                    <a:gd name="connsiteY147" fmla="*/ 828749 h 1271097"/>
                    <a:gd name="connsiteX148" fmla="*/ 2149081 w 2175682"/>
                    <a:gd name="connsiteY148" fmla="*/ 741103 h 1271097"/>
                    <a:gd name="connsiteX149" fmla="*/ 2142425 w 2175682"/>
                    <a:gd name="connsiteY149" fmla="*/ 682303 h 1271097"/>
                    <a:gd name="connsiteX150" fmla="*/ 2152410 w 2175682"/>
                    <a:gd name="connsiteY150" fmla="*/ 614627 h 1271097"/>
                    <a:gd name="connsiteX151" fmla="*/ 2153620 w 2175682"/>
                    <a:gd name="connsiteY151" fmla="*/ 567727 h 1271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Lst>
                  <a:rect l="l" t="t" r="r" b="b"/>
                  <a:pathLst>
                    <a:path w="2175682" h="1271097">
                      <a:moveTo>
                        <a:pt x="2153620" y="567727"/>
                      </a:moveTo>
                      <a:cubicBezTo>
                        <a:pt x="2175809" y="554414"/>
                        <a:pt x="2182466" y="520021"/>
                        <a:pt x="2168043" y="507817"/>
                      </a:cubicBezTo>
                      <a:cubicBezTo>
                        <a:pt x="2153620" y="495613"/>
                        <a:pt x="2141416" y="425819"/>
                        <a:pt x="2159167" y="409177"/>
                      </a:cubicBezTo>
                      <a:cubicBezTo>
                        <a:pt x="2164815" y="403832"/>
                        <a:pt x="2169757" y="395158"/>
                        <a:pt x="2173893" y="385879"/>
                      </a:cubicBezTo>
                      <a:cubicBezTo>
                        <a:pt x="2139601" y="380433"/>
                        <a:pt x="2122253" y="359555"/>
                        <a:pt x="2086347" y="357336"/>
                      </a:cubicBezTo>
                      <a:cubicBezTo>
                        <a:pt x="2045399" y="354714"/>
                        <a:pt x="2035111" y="393141"/>
                        <a:pt x="1999206" y="403429"/>
                      </a:cubicBezTo>
                      <a:cubicBezTo>
                        <a:pt x="1963300" y="413716"/>
                        <a:pt x="1932639" y="388098"/>
                        <a:pt x="1909643" y="357336"/>
                      </a:cubicBezTo>
                      <a:cubicBezTo>
                        <a:pt x="1886547" y="326574"/>
                        <a:pt x="1876360" y="280482"/>
                        <a:pt x="1884025" y="265051"/>
                      </a:cubicBezTo>
                      <a:cubicBezTo>
                        <a:pt x="1884630" y="263941"/>
                        <a:pt x="1886042" y="263538"/>
                        <a:pt x="1886849" y="262630"/>
                      </a:cubicBezTo>
                      <a:cubicBezTo>
                        <a:pt x="1878780" y="260411"/>
                        <a:pt x="1868190" y="259201"/>
                        <a:pt x="1853465" y="260109"/>
                      </a:cubicBezTo>
                      <a:cubicBezTo>
                        <a:pt x="1801624" y="263336"/>
                        <a:pt x="1737881" y="269791"/>
                        <a:pt x="1722853" y="242862"/>
                      </a:cubicBezTo>
                      <a:cubicBezTo>
                        <a:pt x="1707724" y="215932"/>
                        <a:pt x="1730418" y="197576"/>
                        <a:pt x="1722853" y="184565"/>
                      </a:cubicBezTo>
                      <a:cubicBezTo>
                        <a:pt x="1715289" y="171656"/>
                        <a:pt x="1649428" y="169437"/>
                        <a:pt x="1646201" y="198585"/>
                      </a:cubicBezTo>
                      <a:cubicBezTo>
                        <a:pt x="1642973" y="227733"/>
                        <a:pt x="1627844" y="237415"/>
                        <a:pt x="1597587" y="224505"/>
                      </a:cubicBezTo>
                      <a:cubicBezTo>
                        <a:pt x="1567329" y="211596"/>
                        <a:pt x="1550082" y="238525"/>
                        <a:pt x="1546855" y="254763"/>
                      </a:cubicBezTo>
                      <a:cubicBezTo>
                        <a:pt x="1546855" y="254763"/>
                        <a:pt x="1534550" y="271606"/>
                        <a:pt x="1502376" y="261622"/>
                      </a:cubicBezTo>
                      <a:cubicBezTo>
                        <a:pt x="1470202" y="251636"/>
                        <a:pt x="1446904" y="241651"/>
                        <a:pt x="1456889" y="223900"/>
                      </a:cubicBezTo>
                      <a:cubicBezTo>
                        <a:pt x="1466874" y="206149"/>
                        <a:pt x="1467984" y="185070"/>
                        <a:pt x="1456889" y="179523"/>
                      </a:cubicBezTo>
                      <a:cubicBezTo>
                        <a:pt x="1445795" y="173975"/>
                        <a:pt x="1432582" y="186179"/>
                        <a:pt x="1428044" y="200602"/>
                      </a:cubicBezTo>
                      <a:cubicBezTo>
                        <a:pt x="1423606" y="215025"/>
                        <a:pt x="1411402" y="222791"/>
                        <a:pt x="1393651" y="217244"/>
                      </a:cubicBezTo>
                      <a:cubicBezTo>
                        <a:pt x="1375900" y="211696"/>
                        <a:pt x="1375900" y="200602"/>
                        <a:pt x="1344835" y="234995"/>
                      </a:cubicBezTo>
                      <a:cubicBezTo>
                        <a:pt x="1313771" y="269388"/>
                        <a:pt x="1235101" y="330407"/>
                        <a:pt x="1221687" y="330407"/>
                      </a:cubicBezTo>
                      <a:cubicBezTo>
                        <a:pt x="1208374" y="330407"/>
                        <a:pt x="1199498" y="307109"/>
                        <a:pt x="1209483" y="288248"/>
                      </a:cubicBezTo>
                      <a:cubicBezTo>
                        <a:pt x="1219468" y="269388"/>
                        <a:pt x="1181848" y="253855"/>
                        <a:pt x="1170653" y="244980"/>
                      </a:cubicBezTo>
                      <a:cubicBezTo>
                        <a:pt x="1159558" y="236104"/>
                        <a:pt x="1157339" y="212806"/>
                        <a:pt x="1150682" y="177304"/>
                      </a:cubicBezTo>
                      <a:cubicBezTo>
                        <a:pt x="1144026" y="141802"/>
                        <a:pt x="1125064" y="161771"/>
                        <a:pt x="1116189" y="157334"/>
                      </a:cubicBezTo>
                      <a:cubicBezTo>
                        <a:pt x="1107313" y="152896"/>
                        <a:pt x="1099547" y="154005"/>
                        <a:pt x="1105094" y="121832"/>
                      </a:cubicBezTo>
                      <a:cubicBezTo>
                        <a:pt x="1110642" y="89658"/>
                        <a:pt x="1109532" y="80782"/>
                        <a:pt x="1086234" y="83001"/>
                      </a:cubicBezTo>
                      <a:cubicBezTo>
                        <a:pt x="1062936" y="85220"/>
                        <a:pt x="1058498" y="77454"/>
                        <a:pt x="1059607" y="53046"/>
                      </a:cubicBezTo>
                      <a:cubicBezTo>
                        <a:pt x="1060717" y="28638"/>
                        <a:pt x="975289" y="-16849"/>
                        <a:pt x="913161" y="6449"/>
                      </a:cubicBezTo>
                      <a:cubicBezTo>
                        <a:pt x="851032" y="29748"/>
                        <a:pt x="831062" y="57383"/>
                        <a:pt x="818858" y="36404"/>
                      </a:cubicBezTo>
                      <a:cubicBezTo>
                        <a:pt x="806654" y="15325"/>
                        <a:pt x="756729" y="28638"/>
                        <a:pt x="737868" y="41951"/>
                      </a:cubicBezTo>
                      <a:cubicBezTo>
                        <a:pt x="719008" y="55265"/>
                        <a:pt x="731212" y="75235"/>
                        <a:pt x="737868" y="77454"/>
                      </a:cubicBezTo>
                      <a:cubicBezTo>
                        <a:pt x="744525" y="79673"/>
                        <a:pt x="751182" y="87439"/>
                        <a:pt x="742306" y="99643"/>
                      </a:cubicBezTo>
                      <a:cubicBezTo>
                        <a:pt x="733431" y="111846"/>
                        <a:pt x="716789" y="142911"/>
                        <a:pt x="693491" y="127379"/>
                      </a:cubicBezTo>
                      <a:cubicBezTo>
                        <a:pt x="670192" y="111846"/>
                        <a:pt x="626924" y="85220"/>
                        <a:pt x="599188" y="97424"/>
                      </a:cubicBezTo>
                      <a:cubicBezTo>
                        <a:pt x="571452" y="109628"/>
                        <a:pt x="575890" y="127379"/>
                        <a:pt x="578108" y="137364"/>
                      </a:cubicBezTo>
                      <a:cubicBezTo>
                        <a:pt x="580327" y="147349"/>
                        <a:pt x="595860" y="168428"/>
                        <a:pt x="583656" y="178413"/>
                      </a:cubicBezTo>
                      <a:cubicBezTo>
                        <a:pt x="571452" y="188398"/>
                        <a:pt x="542606" y="187289"/>
                        <a:pt x="542606" y="158443"/>
                      </a:cubicBezTo>
                      <a:cubicBezTo>
                        <a:pt x="542606" y="129598"/>
                        <a:pt x="508213" y="81992"/>
                        <a:pt x="468273" y="88649"/>
                      </a:cubicBezTo>
                      <a:cubicBezTo>
                        <a:pt x="428333" y="95306"/>
                        <a:pt x="340788" y="140793"/>
                        <a:pt x="313052" y="137465"/>
                      </a:cubicBezTo>
                      <a:cubicBezTo>
                        <a:pt x="285316" y="134136"/>
                        <a:pt x="293082" y="114166"/>
                        <a:pt x="285316" y="107509"/>
                      </a:cubicBezTo>
                      <a:cubicBezTo>
                        <a:pt x="277550" y="100853"/>
                        <a:pt x="257580" y="99743"/>
                        <a:pt x="252033" y="110838"/>
                      </a:cubicBezTo>
                      <a:cubicBezTo>
                        <a:pt x="246485" y="121932"/>
                        <a:pt x="252033" y="144121"/>
                        <a:pt x="228734" y="146340"/>
                      </a:cubicBezTo>
                      <a:cubicBezTo>
                        <a:pt x="205436" y="148559"/>
                        <a:pt x="78959" y="162982"/>
                        <a:pt x="50114" y="189608"/>
                      </a:cubicBezTo>
                      <a:cubicBezTo>
                        <a:pt x="21268" y="216235"/>
                        <a:pt x="25706" y="282802"/>
                        <a:pt x="25706" y="290568"/>
                      </a:cubicBezTo>
                      <a:cubicBezTo>
                        <a:pt x="25706" y="298334"/>
                        <a:pt x="1298" y="298334"/>
                        <a:pt x="189" y="326070"/>
                      </a:cubicBezTo>
                      <a:cubicBezTo>
                        <a:pt x="-921" y="353806"/>
                        <a:pt x="2408" y="401512"/>
                        <a:pt x="22378" y="400403"/>
                      </a:cubicBezTo>
                      <a:cubicBezTo>
                        <a:pt x="42348" y="399293"/>
                        <a:pt x="53341" y="385980"/>
                        <a:pt x="58989" y="373776"/>
                      </a:cubicBezTo>
                      <a:cubicBezTo>
                        <a:pt x="64537" y="361572"/>
                        <a:pt x="86725" y="363791"/>
                        <a:pt x="86725" y="367119"/>
                      </a:cubicBezTo>
                      <a:cubicBezTo>
                        <a:pt x="86725" y="370448"/>
                        <a:pt x="101148" y="373776"/>
                        <a:pt x="128884" y="362682"/>
                      </a:cubicBezTo>
                      <a:cubicBezTo>
                        <a:pt x="156620" y="351587"/>
                        <a:pt x="204327" y="354916"/>
                        <a:pt x="239829" y="337164"/>
                      </a:cubicBezTo>
                      <a:cubicBezTo>
                        <a:pt x="275331" y="319413"/>
                        <a:pt x="303067" y="322742"/>
                        <a:pt x="304177" y="333836"/>
                      </a:cubicBezTo>
                      <a:cubicBezTo>
                        <a:pt x="305286" y="344931"/>
                        <a:pt x="289754" y="366010"/>
                        <a:pt x="260908" y="369338"/>
                      </a:cubicBezTo>
                      <a:cubicBezTo>
                        <a:pt x="232063" y="372667"/>
                        <a:pt x="204427" y="377105"/>
                        <a:pt x="203217" y="390418"/>
                      </a:cubicBezTo>
                      <a:cubicBezTo>
                        <a:pt x="202108" y="403731"/>
                        <a:pt x="212093" y="410388"/>
                        <a:pt x="230852" y="404841"/>
                      </a:cubicBezTo>
                      <a:cubicBezTo>
                        <a:pt x="249713" y="399293"/>
                        <a:pt x="275230" y="383761"/>
                        <a:pt x="285215" y="394856"/>
                      </a:cubicBezTo>
                      <a:cubicBezTo>
                        <a:pt x="295200" y="405950"/>
                        <a:pt x="309623" y="425920"/>
                        <a:pt x="327374" y="428139"/>
                      </a:cubicBezTo>
                      <a:cubicBezTo>
                        <a:pt x="345125" y="430358"/>
                        <a:pt x="358438" y="446999"/>
                        <a:pt x="354001" y="456985"/>
                      </a:cubicBezTo>
                      <a:cubicBezTo>
                        <a:pt x="349563" y="466969"/>
                        <a:pt x="302966" y="461422"/>
                        <a:pt x="275230" y="460313"/>
                      </a:cubicBezTo>
                      <a:cubicBezTo>
                        <a:pt x="247494" y="459203"/>
                        <a:pt x="255260" y="443671"/>
                        <a:pt x="235290" y="443671"/>
                      </a:cubicBezTo>
                      <a:cubicBezTo>
                        <a:pt x="215320" y="443671"/>
                        <a:pt x="165395" y="451437"/>
                        <a:pt x="160957" y="440343"/>
                      </a:cubicBezTo>
                      <a:cubicBezTo>
                        <a:pt x="156520" y="429248"/>
                        <a:pt x="162067" y="397075"/>
                        <a:pt x="154301" y="395965"/>
                      </a:cubicBezTo>
                      <a:cubicBezTo>
                        <a:pt x="146535" y="394856"/>
                        <a:pt x="129893" y="399293"/>
                        <a:pt x="129893" y="417044"/>
                      </a:cubicBezTo>
                      <a:cubicBezTo>
                        <a:pt x="129893" y="434796"/>
                        <a:pt x="131002" y="441452"/>
                        <a:pt x="124346" y="441452"/>
                      </a:cubicBezTo>
                      <a:cubicBezTo>
                        <a:pt x="117689" y="441452"/>
                        <a:pt x="109923" y="450328"/>
                        <a:pt x="112142" y="456985"/>
                      </a:cubicBezTo>
                      <a:cubicBezTo>
                        <a:pt x="114361" y="463641"/>
                        <a:pt x="133221" y="455875"/>
                        <a:pt x="134331" y="462532"/>
                      </a:cubicBezTo>
                      <a:cubicBezTo>
                        <a:pt x="135440" y="469188"/>
                        <a:pt x="137659" y="480283"/>
                        <a:pt x="132112" y="484721"/>
                      </a:cubicBezTo>
                      <a:cubicBezTo>
                        <a:pt x="126565" y="489158"/>
                        <a:pt x="122127" y="499143"/>
                        <a:pt x="122127" y="514676"/>
                      </a:cubicBezTo>
                      <a:cubicBezTo>
                        <a:pt x="122127" y="530208"/>
                        <a:pt x="128783" y="535755"/>
                        <a:pt x="136550" y="535755"/>
                      </a:cubicBezTo>
                      <a:cubicBezTo>
                        <a:pt x="144316" y="535755"/>
                        <a:pt x="158738" y="530208"/>
                        <a:pt x="162067" y="520223"/>
                      </a:cubicBezTo>
                      <a:cubicBezTo>
                        <a:pt x="165395" y="510238"/>
                        <a:pt x="164286" y="484721"/>
                        <a:pt x="174271" y="481392"/>
                      </a:cubicBezTo>
                      <a:cubicBezTo>
                        <a:pt x="184256" y="478064"/>
                        <a:pt x="206445" y="475946"/>
                        <a:pt x="211992" y="486940"/>
                      </a:cubicBezTo>
                      <a:cubicBezTo>
                        <a:pt x="217539" y="498034"/>
                        <a:pt x="223086" y="510238"/>
                        <a:pt x="244166" y="512457"/>
                      </a:cubicBezTo>
                      <a:cubicBezTo>
                        <a:pt x="265245" y="514676"/>
                        <a:pt x="281887" y="522442"/>
                        <a:pt x="284106" y="570148"/>
                      </a:cubicBezTo>
                      <a:cubicBezTo>
                        <a:pt x="286325" y="617854"/>
                        <a:pt x="270792" y="621182"/>
                        <a:pt x="270792" y="621182"/>
                      </a:cubicBezTo>
                      <a:cubicBezTo>
                        <a:pt x="270792" y="621182"/>
                        <a:pt x="245275" y="621182"/>
                        <a:pt x="245275" y="607869"/>
                      </a:cubicBezTo>
                      <a:cubicBezTo>
                        <a:pt x="245275" y="594556"/>
                        <a:pt x="219758" y="595665"/>
                        <a:pt x="213101" y="605650"/>
                      </a:cubicBezTo>
                      <a:cubicBezTo>
                        <a:pt x="206445" y="615635"/>
                        <a:pt x="214211" y="613416"/>
                        <a:pt x="158738" y="616744"/>
                      </a:cubicBezTo>
                      <a:cubicBezTo>
                        <a:pt x="103266" y="620073"/>
                        <a:pt x="32262" y="620073"/>
                        <a:pt x="23386" y="636714"/>
                      </a:cubicBezTo>
                      <a:cubicBezTo>
                        <a:pt x="14511" y="653356"/>
                        <a:pt x="22277" y="662232"/>
                        <a:pt x="43356" y="664451"/>
                      </a:cubicBezTo>
                      <a:cubicBezTo>
                        <a:pt x="64436" y="666669"/>
                        <a:pt x="144316" y="662232"/>
                        <a:pt x="147644" y="681092"/>
                      </a:cubicBezTo>
                      <a:cubicBezTo>
                        <a:pt x="150972" y="699953"/>
                        <a:pt x="145425" y="746549"/>
                        <a:pt x="159848" y="757644"/>
                      </a:cubicBezTo>
                      <a:cubicBezTo>
                        <a:pt x="174271" y="768738"/>
                        <a:pt x="183146" y="768839"/>
                        <a:pt x="203116" y="770957"/>
                      </a:cubicBezTo>
                      <a:cubicBezTo>
                        <a:pt x="223086" y="773176"/>
                        <a:pt x="238618" y="784271"/>
                        <a:pt x="239728" y="796474"/>
                      </a:cubicBezTo>
                      <a:cubicBezTo>
                        <a:pt x="240837" y="808678"/>
                        <a:pt x="244166" y="823000"/>
                        <a:pt x="233071" y="833086"/>
                      </a:cubicBezTo>
                      <a:cubicBezTo>
                        <a:pt x="221977" y="843071"/>
                        <a:pt x="202007" y="851947"/>
                        <a:pt x="214211" y="867479"/>
                      </a:cubicBezTo>
                      <a:cubicBezTo>
                        <a:pt x="226415" y="883011"/>
                        <a:pt x="233071" y="861932"/>
                        <a:pt x="237509" y="867580"/>
                      </a:cubicBezTo>
                      <a:cubicBezTo>
                        <a:pt x="241947" y="873127"/>
                        <a:pt x="234181" y="889769"/>
                        <a:pt x="259698" y="886440"/>
                      </a:cubicBezTo>
                      <a:cubicBezTo>
                        <a:pt x="285215" y="883112"/>
                        <a:pt x="284106" y="873127"/>
                        <a:pt x="284106" y="873127"/>
                      </a:cubicBezTo>
                      <a:cubicBezTo>
                        <a:pt x="284106" y="873127"/>
                        <a:pt x="306295" y="887550"/>
                        <a:pt x="315170" y="864251"/>
                      </a:cubicBezTo>
                      <a:cubicBezTo>
                        <a:pt x="324046" y="840953"/>
                        <a:pt x="296310" y="823202"/>
                        <a:pt x="316280" y="807670"/>
                      </a:cubicBezTo>
                      <a:cubicBezTo>
                        <a:pt x="336250" y="792138"/>
                        <a:pt x="331812" y="797685"/>
                        <a:pt x="336250" y="781043"/>
                      </a:cubicBezTo>
                      <a:cubicBezTo>
                        <a:pt x="340687" y="764402"/>
                        <a:pt x="357329" y="769949"/>
                        <a:pt x="361767" y="777715"/>
                      </a:cubicBezTo>
                      <a:cubicBezTo>
                        <a:pt x="366205" y="785481"/>
                        <a:pt x="355110" y="804341"/>
                        <a:pt x="370642" y="817655"/>
                      </a:cubicBezTo>
                      <a:cubicBezTo>
                        <a:pt x="386175" y="830968"/>
                        <a:pt x="401707" y="836515"/>
                        <a:pt x="415020" y="840953"/>
                      </a:cubicBezTo>
                      <a:cubicBezTo>
                        <a:pt x="428333" y="845391"/>
                        <a:pt x="438318" y="847509"/>
                        <a:pt x="436100" y="826530"/>
                      </a:cubicBezTo>
                      <a:cubicBezTo>
                        <a:pt x="433881" y="805451"/>
                        <a:pt x="440537" y="786590"/>
                        <a:pt x="458288" y="798794"/>
                      </a:cubicBezTo>
                      <a:cubicBezTo>
                        <a:pt x="476040" y="810998"/>
                        <a:pt x="498228" y="832078"/>
                        <a:pt x="498228" y="848719"/>
                      </a:cubicBezTo>
                      <a:cubicBezTo>
                        <a:pt x="498228" y="865361"/>
                        <a:pt x="486025" y="875346"/>
                        <a:pt x="490462" y="884221"/>
                      </a:cubicBezTo>
                      <a:cubicBezTo>
                        <a:pt x="494900" y="893097"/>
                        <a:pt x="522636" y="924262"/>
                        <a:pt x="543716" y="917505"/>
                      </a:cubicBezTo>
                      <a:cubicBezTo>
                        <a:pt x="564795" y="910848"/>
                        <a:pt x="567014" y="885331"/>
                        <a:pt x="584765" y="890878"/>
                      </a:cubicBezTo>
                      <a:cubicBezTo>
                        <a:pt x="602516" y="896425"/>
                        <a:pt x="597070" y="924161"/>
                        <a:pt x="622587" y="924161"/>
                      </a:cubicBezTo>
                      <a:cubicBezTo>
                        <a:pt x="648104" y="924161"/>
                        <a:pt x="684716" y="910848"/>
                        <a:pt x="696920" y="939693"/>
                      </a:cubicBezTo>
                      <a:cubicBezTo>
                        <a:pt x="709124" y="968539"/>
                        <a:pt x="729094" y="1007370"/>
                        <a:pt x="763486" y="995166"/>
                      </a:cubicBezTo>
                      <a:cubicBezTo>
                        <a:pt x="797879" y="982962"/>
                        <a:pt x="781238" y="947460"/>
                        <a:pt x="814521" y="947460"/>
                      </a:cubicBezTo>
                      <a:cubicBezTo>
                        <a:pt x="847804" y="947460"/>
                        <a:pt x="847804" y="958554"/>
                        <a:pt x="830053" y="971867"/>
                      </a:cubicBezTo>
                      <a:cubicBezTo>
                        <a:pt x="812302" y="985181"/>
                        <a:pt x="810083" y="995166"/>
                        <a:pt x="824506" y="1007370"/>
                      </a:cubicBezTo>
                      <a:cubicBezTo>
                        <a:pt x="838929" y="1019574"/>
                        <a:pt x="844476" y="1043881"/>
                        <a:pt x="869993" y="1033996"/>
                      </a:cubicBezTo>
                      <a:cubicBezTo>
                        <a:pt x="895510" y="1024011"/>
                        <a:pt x="898839" y="1006260"/>
                        <a:pt x="899948" y="989619"/>
                      </a:cubicBezTo>
                      <a:cubicBezTo>
                        <a:pt x="901058" y="972977"/>
                        <a:pt x="922137" y="960773"/>
                        <a:pt x="938779" y="980743"/>
                      </a:cubicBezTo>
                      <a:cubicBezTo>
                        <a:pt x="955420" y="1000713"/>
                        <a:pt x="944326" y="1032887"/>
                        <a:pt x="918809" y="1041763"/>
                      </a:cubicBezTo>
                      <a:cubicBezTo>
                        <a:pt x="893291" y="1050638"/>
                        <a:pt x="876650" y="1053966"/>
                        <a:pt x="886635" y="1071718"/>
                      </a:cubicBezTo>
                      <a:cubicBezTo>
                        <a:pt x="896620" y="1089469"/>
                        <a:pt x="917699" y="1066170"/>
                        <a:pt x="913261" y="1120533"/>
                      </a:cubicBezTo>
                      <a:cubicBezTo>
                        <a:pt x="908824" y="1174896"/>
                        <a:pt x="886635" y="1191537"/>
                        <a:pt x="919918" y="1212617"/>
                      </a:cubicBezTo>
                      <a:cubicBezTo>
                        <a:pt x="953201" y="1233696"/>
                        <a:pt x="955420" y="1224821"/>
                        <a:pt x="955420" y="1210398"/>
                      </a:cubicBezTo>
                      <a:cubicBezTo>
                        <a:pt x="955420" y="1195975"/>
                        <a:pt x="934341" y="1190428"/>
                        <a:pt x="935450" y="1169349"/>
                      </a:cubicBezTo>
                      <a:cubicBezTo>
                        <a:pt x="936560" y="1148269"/>
                        <a:pt x="927684" y="1114986"/>
                        <a:pt x="964296" y="1111658"/>
                      </a:cubicBezTo>
                      <a:cubicBezTo>
                        <a:pt x="1000908" y="1108329"/>
                        <a:pt x="1013111" y="1110548"/>
                        <a:pt x="1023096" y="1096125"/>
                      </a:cubicBezTo>
                      <a:cubicBezTo>
                        <a:pt x="1033081" y="1081703"/>
                        <a:pt x="1028644" y="1068389"/>
                        <a:pt x="1048614" y="1078374"/>
                      </a:cubicBezTo>
                      <a:cubicBezTo>
                        <a:pt x="1068584" y="1088359"/>
                        <a:pt x="1047504" y="1096125"/>
                        <a:pt x="1064146" y="1103891"/>
                      </a:cubicBezTo>
                      <a:cubicBezTo>
                        <a:pt x="1080788" y="1111658"/>
                        <a:pt x="1088554" y="1102782"/>
                        <a:pt x="1111852" y="1092797"/>
                      </a:cubicBezTo>
                      <a:cubicBezTo>
                        <a:pt x="1135150" y="1082812"/>
                        <a:pt x="1155120" y="1069499"/>
                        <a:pt x="1187294" y="1089469"/>
                      </a:cubicBezTo>
                      <a:cubicBezTo>
                        <a:pt x="1219468" y="1109439"/>
                        <a:pt x="1193951" y="1154926"/>
                        <a:pt x="1155120" y="1164911"/>
                      </a:cubicBezTo>
                      <a:cubicBezTo>
                        <a:pt x="1116290" y="1174896"/>
                        <a:pt x="1099648" y="1176106"/>
                        <a:pt x="1099648" y="1161582"/>
                      </a:cubicBezTo>
                      <a:cubicBezTo>
                        <a:pt x="1099648" y="1147160"/>
                        <a:pt x="1057489" y="1139394"/>
                        <a:pt x="1051942" y="1153816"/>
                      </a:cubicBezTo>
                      <a:cubicBezTo>
                        <a:pt x="1046395" y="1168239"/>
                        <a:pt x="1066365" y="1186999"/>
                        <a:pt x="1073021" y="1189318"/>
                      </a:cubicBezTo>
                      <a:cubicBezTo>
                        <a:pt x="1079678" y="1191537"/>
                        <a:pt x="1070803" y="1209289"/>
                        <a:pt x="1094101" y="1211507"/>
                      </a:cubicBezTo>
                      <a:cubicBezTo>
                        <a:pt x="1117399" y="1213726"/>
                        <a:pt x="1170653" y="1222602"/>
                        <a:pt x="1205045" y="1193756"/>
                      </a:cubicBezTo>
                      <a:cubicBezTo>
                        <a:pt x="1239438" y="1164911"/>
                        <a:pt x="1237219" y="1176106"/>
                        <a:pt x="1271612" y="1182662"/>
                      </a:cubicBezTo>
                      <a:cubicBezTo>
                        <a:pt x="1306005" y="1189318"/>
                        <a:pt x="1312661" y="1189318"/>
                        <a:pt x="1332631" y="1193756"/>
                      </a:cubicBezTo>
                      <a:cubicBezTo>
                        <a:pt x="1352601" y="1198194"/>
                        <a:pt x="1359157" y="1200413"/>
                        <a:pt x="1359157" y="1212617"/>
                      </a:cubicBezTo>
                      <a:cubicBezTo>
                        <a:pt x="1359157" y="1224821"/>
                        <a:pt x="1339187" y="1241462"/>
                        <a:pt x="1329202" y="1227040"/>
                      </a:cubicBezTo>
                      <a:cubicBezTo>
                        <a:pt x="1319217" y="1212617"/>
                        <a:pt x="1287043" y="1217055"/>
                        <a:pt x="1289262" y="1235915"/>
                      </a:cubicBezTo>
                      <a:cubicBezTo>
                        <a:pt x="1291481" y="1254776"/>
                        <a:pt x="1320226" y="1281402"/>
                        <a:pt x="1359056" y="1266980"/>
                      </a:cubicBezTo>
                      <a:cubicBezTo>
                        <a:pt x="1397887" y="1252557"/>
                        <a:pt x="1405653" y="1217055"/>
                        <a:pt x="1431170" y="1221492"/>
                      </a:cubicBezTo>
                      <a:cubicBezTo>
                        <a:pt x="1456687" y="1225930"/>
                        <a:pt x="1458906" y="1263651"/>
                        <a:pt x="1482205" y="1253666"/>
                      </a:cubicBezTo>
                      <a:cubicBezTo>
                        <a:pt x="1505503" y="1243681"/>
                        <a:pt x="1514379" y="1233696"/>
                        <a:pt x="1525473" y="1184881"/>
                      </a:cubicBezTo>
                      <a:cubicBezTo>
                        <a:pt x="1536567" y="1136065"/>
                        <a:pt x="1553108" y="1085031"/>
                        <a:pt x="1566522" y="1081703"/>
                      </a:cubicBezTo>
                      <a:cubicBezTo>
                        <a:pt x="1579836" y="1078374"/>
                        <a:pt x="1625424" y="1087351"/>
                        <a:pt x="1647613" y="1079484"/>
                      </a:cubicBezTo>
                      <a:cubicBezTo>
                        <a:pt x="1669801" y="1071718"/>
                        <a:pt x="1689772" y="1062842"/>
                        <a:pt x="1699756" y="1071718"/>
                      </a:cubicBezTo>
                      <a:cubicBezTo>
                        <a:pt x="1709742" y="1080593"/>
                        <a:pt x="1767433" y="1109439"/>
                        <a:pt x="1797388" y="1080593"/>
                      </a:cubicBezTo>
                      <a:cubicBezTo>
                        <a:pt x="1827343" y="1051748"/>
                        <a:pt x="1811810" y="1000713"/>
                        <a:pt x="1901675" y="988509"/>
                      </a:cubicBezTo>
                      <a:cubicBezTo>
                        <a:pt x="1991440" y="976305"/>
                        <a:pt x="1975907" y="999603"/>
                        <a:pt x="2000416" y="1008479"/>
                      </a:cubicBezTo>
                      <a:cubicBezTo>
                        <a:pt x="2024824" y="1017355"/>
                        <a:pt x="2068092" y="1000713"/>
                        <a:pt x="2066983" y="949679"/>
                      </a:cubicBezTo>
                      <a:cubicBezTo>
                        <a:pt x="2065873" y="898644"/>
                        <a:pt x="2072429" y="895316"/>
                        <a:pt x="2086952" y="883112"/>
                      </a:cubicBezTo>
                      <a:cubicBezTo>
                        <a:pt x="2101375" y="870908"/>
                        <a:pt x="2080296" y="866470"/>
                        <a:pt x="2101375" y="847610"/>
                      </a:cubicBezTo>
                      <a:cubicBezTo>
                        <a:pt x="2122455" y="828749"/>
                        <a:pt x="2149081" y="847610"/>
                        <a:pt x="2157957" y="828749"/>
                      </a:cubicBezTo>
                      <a:cubicBezTo>
                        <a:pt x="2166833" y="809889"/>
                        <a:pt x="2189022" y="773277"/>
                        <a:pt x="2149081" y="741103"/>
                      </a:cubicBezTo>
                      <a:cubicBezTo>
                        <a:pt x="2109142" y="708929"/>
                        <a:pt x="2126792" y="694506"/>
                        <a:pt x="2142425" y="682303"/>
                      </a:cubicBezTo>
                      <a:cubicBezTo>
                        <a:pt x="2157957" y="670099"/>
                        <a:pt x="2167942" y="637925"/>
                        <a:pt x="2152410" y="614627"/>
                      </a:cubicBezTo>
                      <a:cubicBezTo>
                        <a:pt x="2136978" y="591025"/>
                        <a:pt x="2131431" y="581041"/>
                        <a:pt x="2153620" y="567727"/>
                      </a:cubicBezTo>
                      <a:close/>
                    </a:path>
                  </a:pathLst>
                </a:custGeom>
                <a:solidFill>
                  <a:schemeClr val="bg1">
                    <a:lumMod val="75000"/>
                  </a:schemeClr>
                </a:solidFill>
                <a:ln w="10085" cap="flat">
                  <a:solidFill>
                    <a:srgbClr val="FFFFFF"/>
                  </a:solidFill>
                  <a:prstDash val="solid"/>
                  <a:miter/>
                </a:ln>
              </p:spPr>
              <p:txBody>
                <a:bodyPr rtlCol="0" anchor="ctr"/>
                <a:lstStyle/>
                <a:p>
                  <a:endParaRPr lang="fr-FR" sz="900"/>
                </a:p>
              </p:txBody>
            </p:sp>
            <p:sp>
              <p:nvSpPr>
                <p:cNvPr id="81" name="Forme libre : forme 80">
                  <a:extLst>
                    <a:ext uri="{FF2B5EF4-FFF2-40B4-BE49-F238E27FC236}">
                      <a16:creationId xmlns:a16="http://schemas.microsoft.com/office/drawing/2014/main" id="{6B40CB41-7006-BA8D-81A1-E23AFC78263E}"/>
                    </a:ext>
                  </a:extLst>
                </p:cNvPr>
                <p:cNvSpPr/>
                <p:nvPr/>
              </p:nvSpPr>
              <p:spPr>
                <a:xfrm>
                  <a:off x="1124725" y="6212497"/>
                  <a:ext cx="2181066" cy="1276264"/>
                </a:xfrm>
                <a:custGeom>
                  <a:avLst/>
                  <a:gdLst>
                    <a:gd name="connsiteX0" fmla="*/ 1289376 w 2181066"/>
                    <a:gd name="connsiteY0" fmla="*/ 1239148 h 1276264"/>
                    <a:gd name="connsiteX1" fmla="*/ 1289174 w 2181066"/>
                    <a:gd name="connsiteY1" fmla="*/ 1236728 h 1276264"/>
                    <a:gd name="connsiteX2" fmla="*/ 1289174 w 2181066"/>
                    <a:gd name="connsiteY2" fmla="*/ 1236728 h 1276264"/>
                    <a:gd name="connsiteX3" fmla="*/ 1312876 w 2181066"/>
                    <a:gd name="connsiteY3" fmla="*/ 1218371 h 1276264"/>
                    <a:gd name="connsiteX4" fmla="*/ 1312876 w 2181066"/>
                    <a:gd name="connsiteY4" fmla="*/ 1218371 h 1276264"/>
                    <a:gd name="connsiteX5" fmla="*/ 1334258 w 2181066"/>
                    <a:gd name="connsiteY5" fmla="*/ 1228155 h 1276264"/>
                    <a:gd name="connsiteX6" fmla="*/ 1334258 w 2181066"/>
                    <a:gd name="connsiteY6" fmla="*/ 1228155 h 1276264"/>
                    <a:gd name="connsiteX7" fmla="*/ 1341923 w 2181066"/>
                    <a:gd name="connsiteY7" fmla="*/ 1232491 h 1276264"/>
                    <a:gd name="connsiteX8" fmla="*/ 1341923 w 2181066"/>
                    <a:gd name="connsiteY8" fmla="*/ 1232491 h 1276264"/>
                    <a:gd name="connsiteX9" fmla="*/ 1359170 w 2181066"/>
                    <a:gd name="connsiteY9" fmla="*/ 1215346 h 1276264"/>
                    <a:gd name="connsiteX10" fmla="*/ 1359170 w 2181066"/>
                    <a:gd name="connsiteY10" fmla="*/ 1215346 h 1276264"/>
                    <a:gd name="connsiteX11" fmla="*/ 1334762 w 2181066"/>
                    <a:gd name="connsiteY11" fmla="*/ 1199107 h 1276264"/>
                    <a:gd name="connsiteX12" fmla="*/ 1334762 w 2181066"/>
                    <a:gd name="connsiteY12" fmla="*/ 1199107 h 1276264"/>
                    <a:gd name="connsiteX13" fmla="*/ 1273844 w 2181066"/>
                    <a:gd name="connsiteY13" fmla="*/ 1188114 h 1276264"/>
                    <a:gd name="connsiteX14" fmla="*/ 1273844 w 2181066"/>
                    <a:gd name="connsiteY14" fmla="*/ 1188114 h 1276264"/>
                    <a:gd name="connsiteX15" fmla="*/ 1240964 w 2181066"/>
                    <a:gd name="connsiteY15" fmla="*/ 1180348 h 1276264"/>
                    <a:gd name="connsiteX16" fmla="*/ 1240964 w 2181066"/>
                    <a:gd name="connsiteY16" fmla="*/ 1180348 h 1276264"/>
                    <a:gd name="connsiteX17" fmla="*/ 1209496 w 2181066"/>
                    <a:gd name="connsiteY17" fmla="*/ 1198603 h 1276264"/>
                    <a:gd name="connsiteX18" fmla="*/ 1209496 w 2181066"/>
                    <a:gd name="connsiteY18" fmla="*/ 1198603 h 1276264"/>
                    <a:gd name="connsiteX19" fmla="*/ 1138189 w 2181066"/>
                    <a:gd name="connsiteY19" fmla="*/ 1219985 h 1276264"/>
                    <a:gd name="connsiteX20" fmla="*/ 1138189 w 2181066"/>
                    <a:gd name="connsiteY20" fmla="*/ 1219985 h 1276264"/>
                    <a:gd name="connsiteX21" fmla="*/ 1096434 w 2181066"/>
                    <a:gd name="connsiteY21" fmla="*/ 1217060 h 1276264"/>
                    <a:gd name="connsiteX22" fmla="*/ 1096434 w 2181066"/>
                    <a:gd name="connsiteY22" fmla="*/ 1217060 h 1276264"/>
                    <a:gd name="connsiteX23" fmla="*/ 1074749 w 2181066"/>
                    <a:gd name="connsiteY23" fmla="*/ 1194670 h 1276264"/>
                    <a:gd name="connsiteX24" fmla="*/ 1074749 w 2181066"/>
                    <a:gd name="connsiteY24" fmla="*/ 1194670 h 1276264"/>
                    <a:gd name="connsiteX25" fmla="*/ 1050845 w 2181066"/>
                    <a:gd name="connsiteY25" fmla="*/ 1161890 h 1276264"/>
                    <a:gd name="connsiteX26" fmla="*/ 1050845 w 2181066"/>
                    <a:gd name="connsiteY26" fmla="*/ 1161890 h 1276264"/>
                    <a:gd name="connsiteX27" fmla="*/ 1052056 w 2181066"/>
                    <a:gd name="connsiteY27" fmla="*/ 1155637 h 1276264"/>
                    <a:gd name="connsiteX28" fmla="*/ 1052056 w 2181066"/>
                    <a:gd name="connsiteY28" fmla="*/ 1155637 h 1276264"/>
                    <a:gd name="connsiteX29" fmla="*/ 1072127 w 2181066"/>
                    <a:gd name="connsiteY29" fmla="*/ 1146056 h 1276264"/>
                    <a:gd name="connsiteX30" fmla="*/ 1072127 w 2181066"/>
                    <a:gd name="connsiteY30" fmla="*/ 1146056 h 1276264"/>
                    <a:gd name="connsiteX31" fmla="*/ 1105107 w 2181066"/>
                    <a:gd name="connsiteY31" fmla="*/ 1164311 h 1276264"/>
                    <a:gd name="connsiteX32" fmla="*/ 1105107 w 2181066"/>
                    <a:gd name="connsiteY32" fmla="*/ 1164311 h 1276264"/>
                    <a:gd name="connsiteX33" fmla="*/ 1116605 w 2181066"/>
                    <a:gd name="connsiteY33" fmla="*/ 1172279 h 1276264"/>
                    <a:gd name="connsiteX34" fmla="*/ 1116605 w 2181066"/>
                    <a:gd name="connsiteY34" fmla="*/ 1172279 h 1276264"/>
                    <a:gd name="connsiteX35" fmla="*/ 1157049 w 2181066"/>
                    <a:gd name="connsiteY35" fmla="*/ 1164916 h 1276264"/>
                    <a:gd name="connsiteX36" fmla="*/ 1157049 w 2181066"/>
                    <a:gd name="connsiteY36" fmla="*/ 1164916 h 1276264"/>
                    <a:gd name="connsiteX37" fmla="*/ 1201629 w 2181066"/>
                    <a:gd name="connsiteY37" fmla="*/ 1117009 h 1276264"/>
                    <a:gd name="connsiteX38" fmla="*/ 1201629 w 2181066"/>
                    <a:gd name="connsiteY38" fmla="*/ 1117009 h 1276264"/>
                    <a:gd name="connsiteX39" fmla="*/ 1188416 w 2181066"/>
                    <a:gd name="connsiteY39" fmla="*/ 1094618 h 1276264"/>
                    <a:gd name="connsiteX40" fmla="*/ 1188416 w 2181066"/>
                    <a:gd name="connsiteY40" fmla="*/ 1094618 h 1276264"/>
                    <a:gd name="connsiteX41" fmla="*/ 1157756 w 2181066"/>
                    <a:gd name="connsiteY41" fmla="*/ 1084633 h 1276264"/>
                    <a:gd name="connsiteX42" fmla="*/ 1157756 w 2181066"/>
                    <a:gd name="connsiteY42" fmla="*/ 1084633 h 1276264"/>
                    <a:gd name="connsiteX43" fmla="*/ 1115597 w 2181066"/>
                    <a:gd name="connsiteY43" fmla="*/ 1098148 h 1276264"/>
                    <a:gd name="connsiteX44" fmla="*/ 1115597 w 2181066"/>
                    <a:gd name="connsiteY44" fmla="*/ 1098148 h 1276264"/>
                    <a:gd name="connsiteX45" fmla="*/ 1078682 w 2181066"/>
                    <a:gd name="connsiteY45" fmla="*/ 1112268 h 1276264"/>
                    <a:gd name="connsiteX46" fmla="*/ 1078682 w 2181066"/>
                    <a:gd name="connsiteY46" fmla="*/ 1112268 h 1276264"/>
                    <a:gd name="connsiteX47" fmla="*/ 1065672 w 2181066"/>
                    <a:gd name="connsiteY47" fmla="*/ 1109041 h 1276264"/>
                    <a:gd name="connsiteX48" fmla="*/ 1065672 w 2181066"/>
                    <a:gd name="connsiteY48" fmla="*/ 1109041 h 1276264"/>
                    <a:gd name="connsiteX49" fmla="*/ 1056998 w 2181066"/>
                    <a:gd name="connsiteY49" fmla="*/ 1098451 h 1276264"/>
                    <a:gd name="connsiteX50" fmla="*/ 1056998 w 2181066"/>
                    <a:gd name="connsiteY50" fmla="*/ 1098451 h 1276264"/>
                    <a:gd name="connsiteX51" fmla="*/ 1057805 w 2181066"/>
                    <a:gd name="connsiteY51" fmla="*/ 1091693 h 1276264"/>
                    <a:gd name="connsiteX52" fmla="*/ 1057805 w 2181066"/>
                    <a:gd name="connsiteY52" fmla="*/ 1091693 h 1276264"/>
                    <a:gd name="connsiteX53" fmla="*/ 1050039 w 2181066"/>
                    <a:gd name="connsiteY53" fmla="*/ 1083524 h 1276264"/>
                    <a:gd name="connsiteX54" fmla="*/ 1050039 w 2181066"/>
                    <a:gd name="connsiteY54" fmla="*/ 1083524 h 1276264"/>
                    <a:gd name="connsiteX55" fmla="*/ 1040457 w 2181066"/>
                    <a:gd name="connsiteY55" fmla="*/ 1080296 h 1276264"/>
                    <a:gd name="connsiteX56" fmla="*/ 1040457 w 2181066"/>
                    <a:gd name="connsiteY56" fmla="*/ 1080296 h 1276264"/>
                    <a:gd name="connsiteX57" fmla="*/ 1028152 w 2181066"/>
                    <a:gd name="connsiteY57" fmla="*/ 1100367 h 1276264"/>
                    <a:gd name="connsiteX58" fmla="*/ 1028152 w 2181066"/>
                    <a:gd name="connsiteY58" fmla="*/ 1100367 h 1276264"/>
                    <a:gd name="connsiteX59" fmla="*/ 967234 w 2181066"/>
                    <a:gd name="connsiteY59" fmla="*/ 1117109 h 1276264"/>
                    <a:gd name="connsiteX60" fmla="*/ 967234 w 2181066"/>
                    <a:gd name="connsiteY60" fmla="*/ 1117109 h 1276264"/>
                    <a:gd name="connsiteX61" fmla="*/ 940708 w 2181066"/>
                    <a:gd name="connsiteY61" fmla="*/ 1151502 h 1276264"/>
                    <a:gd name="connsiteX62" fmla="*/ 940708 w 2181066"/>
                    <a:gd name="connsiteY62" fmla="*/ 1151502 h 1276264"/>
                    <a:gd name="connsiteX63" fmla="*/ 941010 w 2181066"/>
                    <a:gd name="connsiteY63" fmla="*/ 1167438 h 1276264"/>
                    <a:gd name="connsiteX64" fmla="*/ 941010 w 2181066"/>
                    <a:gd name="connsiteY64" fmla="*/ 1167438 h 1276264"/>
                    <a:gd name="connsiteX65" fmla="*/ 940910 w 2181066"/>
                    <a:gd name="connsiteY65" fmla="*/ 1172481 h 1276264"/>
                    <a:gd name="connsiteX66" fmla="*/ 940910 w 2181066"/>
                    <a:gd name="connsiteY66" fmla="*/ 1172481 h 1276264"/>
                    <a:gd name="connsiteX67" fmla="*/ 940910 w 2181066"/>
                    <a:gd name="connsiteY67" fmla="*/ 1173590 h 1276264"/>
                    <a:gd name="connsiteX68" fmla="*/ 960980 w 2181066"/>
                    <a:gd name="connsiteY68" fmla="*/ 1213026 h 1276264"/>
                    <a:gd name="connsiteX69" fmla="*/ 960980 w 2181066"/>
                    <a:gd name="connsiteY69" fmla="*/ 1213026 h 1276264"/>
                    <a:gd name="connsiteX70" fmla="*/ 950491 w 2181066"/>
                    <a:gd name="connsiteY70" fmla="*/ 1230475 h 1276264"/>
                    <a:gd name="connsiteX71" fmla="*/ 950491 w 2181066"/>
                    <a:gd name="connsiteY71" fmla="*/ 1230475 h 1276264"/>
                    <a:gd name="connsiteX72" fmla="*/ 921141 w 2181066"/>
                    <a:gd name="connsiteY72" fmla="*/ 1217565 h 1276264"/>
                    <a:gd name="connsiteX73" fmla="*/ 921141 w 2181066"/>
                    <a:gd name="connsiteY73" fmla="*/ 1217565 h 1276264"/>
                    <a:gd name="connsiteX74" fmla="*/ 901776 w 2181066"/>
                    <a:gd name="connsiteY74" fmla="*/ 1188517 h 1276264"/>
                    <a:gd name="connsiteX75" fmla="*/ 901776 w 2181066"/>
                    <a:gd name="connsiteY75" fmla="*/ 1188517 h 1276264"/>
                    <a:gd name="connsiteX76" fmla="*/ 913174 w 2181066"/>
                    <a:gd name="connsiteY76" fmla="*/ 1123060 h 1276264"/>
                    <a:gd name="connsiteX77" fmla="*/ 913174 w 2181066"/>
                    <a:gd name="connsiteY77" fmla="*/ 1123060 h 1276264"/>
                    <a:gd name="connsiteX78" fmla="*/ 913779 w 2181066"/>
                    <a:gd name="connsiteY78" fmla="*/ 1109948 h 1276264"/>
                    <a:gd name="connsiteX79" fmla="*/ 913779 w 2181066"/>
                    <a:gd name="connsiteY79" fmla="*/ 1109948 h 1276264"/>
                    <a:gd name="connsiteX80" fmla="*/ 886950 w 2181066"/>
                    <a:gd name="connsiteY80" fmla="*/ 1075758 h 1276264"/>
                    <a:gd name="connsiteX81" fmla="*/ 886950 w 2181066"/>
                    <a:gd name="connsiteY81" fmla="*/ 1075758 h 1276264"/>
                    <a:gd name="connsiteX82" fmla="*/ 883622 w 2181066"/>
                    <a:gd name="connsiteY82" fmla="*/ 1065268 h 1276264"/>
                    <a:gd name="connsiteX83" fmla="*/ 883622 w 2181066"/>
                    <a:gd name="connsiteY83" fmla="*/ 1065268 h 1276264"/>
                    <a:gd name="connsiteX84" fmla="*/ 920536 w 2181066"/>
                    <a:gd name="connsiteY84" fmla="*/ 1041869 h 1276264"/>
                    <a:gd name="connsiteX85" fmla="*/ 920536 w 2181066"/>
                    <a:gd name="connsiteY85" fmla="*/ 1041869 h 1276264"/>
                    <a:gd name="connsiteX86" fmla="*/ 946558 w 2181066"/>
                    <a:gd name="connsiteY86" fmla="*/ 1005560 h 1276264"/>
                    <a:gd name="connsiteX87" fmla="*/ 946558 w 2181066"/>
                    <a:gd name="connsiteY87" fmla="*/ 1005560 h 1276264"/>
                    <a:gd name="connsiteX88" fmla="*/ 939397 w 2181066"/>
                    <a:gd name="connsiteY88" fmla="*/ 985287 h 1276264"/>
                    <a:gd name="connsiteX89" fmla="*/ 939397 w 2181066"/>
                    <a:gd name="connsiteY89" fmla="*/ 985287 h 1276264"/>
                    <a:gd name="connsiteX90" fmla="*/ 922553 w 2181066"/>
                    <a:gd name="connsiteY90" fmla="*/ 975807 h 1276264"/>
                    <a:gd name="connsiteX91" fmla="*/ 922553 w 2181066"/>
                    <a:gd name="connsiteY91" fmla="*/ 975807 h 1276264"/>
                    <a:gd name="connsiteX92" fmla="*/ 905407 w 2181066"/>
                    <a:gd name="connsiteY92" fmla="*/ 992448 h 1276264"/>
                    <a:gd name="connsiteX93" fmla="*/ 905407 w 2181066"/>
                    <a:gd name="connsiteY93" fmla="*/ 992448 h 1276264"/>
                    <a:gd name="connsiteX94" fmla="*/ 873738 w 2181066"/>
                    <a:gd name="connsiteY94" fmla="*/ 1039347 h 1276264"/>
                    <a:gd name="connsiteX95" fmla="*/ 873738 w 2181066"/>
                    <a:gd name="connsiteY95" fmla="*/ 1039347 h 1276264"/>
                    <a:gd name="connsiteX96" fmla="*/ 861736 w 2181066"/>
                    <a:gd name="connsiteY96" fmla="*/ 1041768 h 1276264"/>
                    <a:gd name="connsiteX97" fmla="*/ 861736 w 2181066"/>
                    <a:gd name="connsiteY97" fmla="*/ 1041768 h 1276264"/>
                    <a:gd name="connsiteX98" fmla="*/ 825427 w 2181066"/>
                    <a:gd name="connsiteY98" fmla="*/ 1012216 h 1276264"/>
                    <a:gd name="connsiteX99" fmla="*/ 825427 w 2181066"/>
                    <a:gd name="connsiteY99" fmla="*/ 1012216 h 1276264"/>
                    <a:gd name="connsiteX100" fmla="*/ 814937 w 2181066"/>
                    <a:gd name="connsiteY100" fmla="*/ 994768 h 1276264"/>
                    <a:gd name="connsiteX101" fmla="*/ 814937 w 2181066"/>
                    <a:gd name="connsiteY101" fmla="*/ 994768 h 1276264"/>
                    <a:gd name="connsiteX102" fmla="*/ 830974 w 2181066"/>
                    <a:gd name="connsiteY102" fmla="*/ 972377 h 1276264"/>
                    <a:gd name="connsiteX103" fmla="*/ 830974 w 2181066"/>
                    <a:gd name="connsiteY103" fmla="*/ 972377 h 1276264"/>
                    <a:gd name="connsiteX104" fmla="*/ 841665 w 2181066"/>
                    <a:gd name="connsiteY104" fmla="*/ 959468 h 1276264"/>
                    <a:gd name="connsiteX105" fmla="*/ 841665 w 2181066"/>
                    <a:gd name="connsiteY105" fmla="*/ 959468 h 1276264"/>
                    <a:gd name="connsiteX106" fmla="*/ 817156 w 2181066"/>
                    <a:gd name="connsiteY106" fmla="*/ 953012 h 1276264"/>
                    <a:gd name="connsiteX107" fmla="*/ 817156 w 2181066"/>
                    <a:gd name="connsiteY107" fmla="*/ 953012 h 1276264"/>
                    <a:gd name="connsiteX108" fmla="*/ 767029 w 2181066"/>
                    <a:gd name="connsiteY108" fmla="*/ 1000618 h 1276264"/>
                    <a:gd name="connsiteX109" fmla="*/ 767029 w 2181066"/>
                    <a:gd name="connsiteY109" fmla="*/ 1000618 h 1276264"/>
                    <a:gd name="connsiteX110" fmla="*/ 753313 w 2181066"/>
                    <a:gd name="connsiteY110" fmla="*/ 1002837 h 1276264"/>
                    <a:gd name="connsiteX111" fmla="*/ 753313 w 2181066"/>
                    <a:gd name="connsiteY111" fmla="*/ 1002837 h 1276264"/>
                    <a:gd name="connsiteX112" fmla="*/ 696933 w 2181066"/>
                    <a:gd name="connsiteY112" fmla="*/ 943532 h 1276264"/>
                    <a:gd name="connsiteX113" fmla="*/ 696933 w 2181066"/>
                    <a:gd name="connsiteY113" fmla="*/ 943532 h 1276264"/>
                    <a:gd name="connsiteX114" fmla="*/ 665667 w 2181066"/>
                    <a:gd name="connsiteY114" fmla="*/ 926588 h 1276264"/>
                    <a:gd name="connsiteX115" fmla="*/ 665667 w 2181066"/>
                    <a:gd name="connsiteY115" fmla="*/ 926588 h 1276264"/>
                    <a:gd name="connsiteX116" fmla="*/ 625121 w 2181066"/>
                    <a:gd name="connsiteY116" fmla="*/ 929613 h 1276264"/>
                    <a:gd name="connsiteX117" fmla="*/ 625121 w 2181066"/>
                    <a:gd name="connsiteY117" fmla="*/ 929613 h 1276264"/>
                    <a:gd name="connsiteX118" fmla="*/ 586493 w 2181066"/>
                    <a:gd name="connsiteY118" fmla="*/ 896330 h 1276264"/>
                    <a:gd name="connsiteX119" fmla="*/ 586493 w 2181066"/>
                    <a:gd name="connsiteY119" fmla="*/ 896330 h 1276264"/>
                    <a:gd name="connsiteX120" fmla="*/ 582660 w 2181066"/>
                    <a:gd name="connsiteY120" fmla="*/ 895624 h 1276264"/>
                    <a:gd name="connsiteX121" fmla="*/ 582660 w 2181066"/>
                    <a:gd name="connsiteY121" fmla="*/ 895624 h 1276264"/>
                    <a:gd name="connsiteX122" fmla="*/ 547158 w 2181066"/>
                    <a:gd name="connsiteY122" fmla="*/ 922856 h 1276264"/>
                    <a:gd name="connsiteX123" fmla="*/ 547158 w 2181066"/>
                    <a:gd name="connsiteY123" fmla="*/ 922856 h 1276264"/>
                    <a:gd name="connsiteX124" fmla="*/ 540098 w 2181066"/>
                    <a:gd name="connsiteY124" fmla="*/ 923865 h 1276264"/>
                    <a:gd name="connsiteX125" fmla="*/ 540098 w 2181066"/>
                    <a:gd name="connsiteY125" fmla="*/ 923865 h 1276264"/>
                    <a:gd name="connsiteX126" fmla="*/ 490677 w 2181066"/>
                    <a:gd name="connsiteY126" fmla="*/ 888160 h 1276264"/>
                    <a:gd name="connsiteX127" fmla="*/ 490677 w 2181066"/>
                    <a:gd name="connsiteY127" fmla="*/ 888160 h 1276264"/>
                    <a:gd name="connsiteX128" fmla="*/ 489366 w 2181066"/>
                    <a:gd name="connsiteY128" fmla="*/ 882613 h 1276264"/>
                    <a:gd name="connsiteX129" fmla="*/ 489366 w 2181066"/>
                    <a:gd name="connsiteY129" fmla="*/ 882613 h 1276264"/>
                    <a:gd name="connsiteX130" fmla="*/ 498140 w 2181066"/>
                    <a:gd name="connsiteY130" fmla="*/ 851347 h 1276264"/>
                    <a:gd name="connsiteX131" fmla="*/ 498140 w 2181066"/>
                    <a:gd name="connsiteY131" fmla="*/ 851347 h 1276264"/>
                    <a:gd name="connsiteX132" fmla="*/ 459310 w 2181066"/>
                    <a:gd name="connsiteY132" fmla="*/ 803641 h 1276264"/>
                    <a:gd name="connsiteX133" fmla="*/ 459310 w 2181066"/>
                    <a:gd name="connsiteY133" fmla="*/ 803641 h 1276264"/>
                    <a:gd name="connsiteX134" fmla="*/ 450737 w 2181066"/>
                    <a:gd name="connsiteY134" fmla="*/ 800212 h 1276264"/>
                    <a:gd name="connsiteX135" fmla="*/ 450737 w 2181066"/>
                    <a:gd name="connsiteY135" fmla="*/ 800212 h 1276264"/>
                    <a:gd name="connsiteX136" fmla="*/ 441054 w 2181066"/>
                    <a:gd name="connsiteY136" fmla="*/ 821392 h 1276264"/>
                    <a:gd name="connsiteX137" fmla="*/ 441054 w 2181066"/>
                    <a:gd name="connsiteY137" fmla="*/ 821392 h 1276264"/>
                    <a:gd name="connsiteX138" fmla="*/ 441559 w 2181066"/>
                    <a:gd name="connsiteY138" fmla="*/ 828856 h 1276264"/>
                    <a:gd name="connsiteX139" fmla="*/ 441559 w 2181066"/>
                    <a:gd name="connsiteY139" fmla="*/ 828856 h 1276264"/>
                    <a:gd name="connsiteX140" fmla="*/ 441761 w 2181066"/>
                    <a:gd name="connsiteY140" fmla="*/ 834302 h 1276264"/>
                    <a:gd name="connsiteX141" fmla="*/ 441761 w 2181066"/>
                    <a:gd name="connsiteY141" fmla="*/ 834302 h 1276264"/>
                    <a:gd name="connsiteX142" fmla="*/ 430464 w 2181066"/>
                    <a:gd name="connsiteY142" fmla="*/ 849229 h 1276264"/>
                    <a:gd name="connsiteX143" fmla="*/ 430464 w 2181066"/>
                    <a:gd name="connsiteY143" fmla="*/ 849229 h 1276264"/>
                    <a:gd name="connsiteX144" fmla="*/ 416748 w 2181066"/>
                    <a:gd name="connsiteY144" fmla="*/ 846102 h 1276264"/>
                    <a:gd name="connsiteX145" fmla="*/ 416748 w 2181066"/>
                    <a:gd name="connsiteY145" fmla="*/ 846102 h 1276264"/>
                    <a:gd name="connsiteX146" fmla="*/ 371462 w 2181066"/>
                    <a:gd name="connsiteY146" fmla="*/ 822300 h 1276264"/>
                    <a:gd name="connsiteX147" fmla="*/ 371462 w 2181066"/>
                    <a:gd name="connsiteY147" fmla="*/ 822300 h 1276264"/>
                    <a:gd name="connsiteX148" fmla="*/ 361780 w 2181066"/>
                    <a:gd name="connsiteY148" fmla="*/ 799909 h 1276264"/>
                    <a:gd name="connsiteX149" fmla="*/ 361780 w 2181066"/>
                    <a:gd name="connsiteY149" fmla="*/ 799909 h 1276264"/>
                    <a:gd name="connsiteX150" fmla="*/ 362687 w 2181066"/>
                    <a:gd name="connsiteY150" fmla="*/ 785890 h 1276264"/>
                    <a:gd name="connsiteX151" fmla="*/ 362687 w 2181066"/>
                    <a:gd name="connsiteY151" fmla="*/ 785890 h 1276264"/>
                    <a:gd name="connsiteX152" fmla="*/ 361981 w 2181066"/>
                    <a:gd name="connsiteY152" fmla="*/ 781654 h 1276264"/>
                    <a:gd name="connsiteX153" fmla="*/ 361981 w 2181066"/>
                    <a:gd name="connsiteY153" fmla="*/ 781654 h 1276264"/>
                    <a:gd name="connsiteX154" fmla="*/ 350887 w 2181066"/>
                    <a:gd name="connsiteY154" fmla="*/ 775401 h 1276264"/>
                    <a:gd name="connsiteX155" fmla="*/ 350887 w 2181066"/>
                    <a:gd name="connsiteY155" fmla="*/ 775401 h 1276264"/>
                    <a:gd name="connsiteX156" fmla="*/ 341608 w 2181066"/>
                    <a:gd name="connsiteY156" fmla="*/ 784276 h 1276264"/>
                    <a:gd name="connsiteX157" fmla="*/ 341608 w 2181066"/>
                    <a:gd name="connsiteY157" fmla="*/ 784276 h 1276264"/>
                    <a:gd name="connsiteX158" fmla="*/ 320629 w 2181066"/>
                    <a:gd name="connsiteY158" fmla="*/ 812315 h 1276264"/>
                    <a:gd name="connsiteX159" fmla="*/ 320629 w 2181066"/>
                    <a:gd name="connsiteY159" fmla="*/ 812315 h 1276264"/>
                    <a:gd name="connsiteX160" fmla="*/ 314275 w 2181066"/>
                    <a:gd name="connsiteY160" fmla="*/ 823510 h 1276264"/>
                    <a:gd name="connsiteX161" fmla="*/ 314275 w 2181066"/>
                    <a:gd name="connsiteY161" fmla="*/ 823510 h 1276264"/>
                    <a:gd name="connsiteX162" fmla="*/ 322445 w 2181066"/>
                    <a:gd name="connsiteY162" fmla="*/ 856793 h 1276264"/>
                    <a:gd name="connsiteX163" fmla="*/ 322445 w 2181066"/>
                    <a:gd name="connsiteY163" fmla="*/ 856793 h 1276264"/>
                    <a:gd name="connsiteX164" fmla="*/ 320529 w 2181066"/>
                    <a:gd name="connsiteY164" fmla="*/ 867686 h 1276264"/>
                    <a:gd name="connsiteX165" fmla="*/ 320529 w 2181066"/>
                    <a:gd name="connsiteY165" fmla="*/ 867686 h 1276264"/>
                    <a:gd name="connsiteX166" fmla="*/ 301164 w 2181066"/>
                    <a:gd name="connsiteY166" fmla="*/ 882613 h 1276264"/>
                    <a:gd name="connsiteX167" fmla="*/ 301164 w 2181066"/>
                    <a:gd name="connsiteY167" fmla="*/ 882613 h 1276264"/>
                    <a:gd name="connsiteX168" fmla="*/ 288556 w 2181066"/>
                    <a:gd name="connsiteY168" fmla="*/ 879587 h 1276264"/>
                    <a:gd name="connsiteX169" fmla="*/ 288556 w 2181066"/>
                    <a:gd name="connsiteY169" fmla="*/ 879587 h 1276264"/>
                    <a:gd name="connsiteX170" fmla="*/ 262737 w 2181066"/>
                    <a:gd name="connsiteY170" fmla="*/ 891489 h 1276264"/>
                    <a:gd name="connsiteX171" fmla="*/ 262737 w 2181066"/>
                    <a:gd name="connsiteY171" fmla="*/ 891489 h 1276264"/>
                    <a:gd name="connsiteX172" fmla="*/ 256382 w 2181066"/>
                    <a:gd name="connsiteY172" fmla="*/ 891993 h 1276264"/>
                    <a:gd name="connsiteX173" fmla="*/ 256382 w 2181066"/>
                    <a:gd name="connsiteY173" fmla="*/ 891993 h 1276264"/>
                    <a:gd name="connsiteX174" fmla="*/ 238228 w 2181066"/>
                    <a:gd name="connsiteY174" fmla="*/ 871720 h 1276264"/>
                    <a:gd name="connsiteX175" fmla="*/ 238228 w 2181066"/>
                    <a:gd name="connsiteY175" fmla="*/ 871720 h 1276264"/>
                    <a:gd name="connsiteX176" fmla="*/ 226125 w 2181066"/>
                    <a:gd name="connsiteY176" fmla="*/ 878579 h 1276264"/>
                    <a:gd name="connsiteX177" fmla="*/ 226125 w 2181066"/>
                    <a:gd name="connsiteY177" fmla="*/ 878579 h 1276264"/>
                    <a:gd name="connsiteX178" fmla="*/ 214930 w 2181066"/>
                    <a:gd name="connsiteY178" fmla="*/ 871720 h 1276264"/>
                    <a:gd name="connsiteX179" fmla="*/ 214930 w 2181066"/>
                    <a:gd name="connsiteY179" fmla="*/ 871720 h 1276264"/>
                    <a:gd name="connsiteX180" fmla="*/ 210391 w 2181066"/>
                    <a:gd name="connsiteY180" fmla="*/ 860525 h 1276264"/>
                    <a:gd name="connsiteX181" fmla="*/ 210391 w 2181066"/>
                    <a:gd name="connsiteY181" fmla="*/ 860525 h 1276264"/>
                    <a:gd name="connsiteX182" fmla="*/ 233992 w 2181066"/>
                    <a:gd name="connsiteY182" fmla="*/ 833495 h 1276264"/>
                    <a:gd name="connsiteX183" fmla="*/ 233992 w 2181066"/>
                    <a:gd name="connsiteY183" fmla="*/ 833495 h 1276264"/>
                    <a:gd name="connsiteX184" fmla="*/ 241153 w 2181066"/>
                    <a:gd name="connsiteY184" fmla="*/ 815139 h 1276264"/>
                    <a:gd name="connsiteX185" fmla="*/ 241153 w 2181066"/>
                    <a:gd name="connsiteY185" fmla="*/ 815139 h 1276264"/>
                    <a:gd name="connsiteX186" fmla="*/ 239842 w 2181066"/>
                    <a:gd name="connsiteY186" fmla="*/ 799304 h 1276264"/>
                    <a:gd name="connsiteX187" fmla="*/ 239842 w 2181066"/>
                    <a:gd name="connsiteY187" fmla="*/ 799304 h 1276264"/>
                    <a:gd name="connsiteX188" fmla="*/ 205751 w 2181066"/>
                    <a:gd name="connsiteY188" fmla="*/ 776207 h 1276264"/>
                    <a:gd name="connsiteX189" fmla="*/ 205751 w 2181066"/>
                    <a:gd name="connsiteY189" fmla="*/ 776207 h 1276264"/>
                    <a:gd name="connsiteX190" fmla="*/ 161172 w 2181066"/>
                    <a:gd name="connsiteY190" fmla="*/ 762289 h 1276264"/>
                    <a:gd name="connsiteX191" fmla="*/ 161172 w 2181066"/>
                    <a:gd name="connsiteY191" fmla="*/ 762289 h 1276264"/>
                    <a:gd name="connsiteX192" fmla="*/ 147859 w 2181066"/>
                    <a:gd name="connsiteY192" fmla="*/ 684023 h 1276264"/>
                    <a:gd name="connsiteX193" fmla="*/ 147859 w 2181066"/>
                    <a:gd name="connsiteY193" fmla="*/ 684023 h 1276264"/>
                    <a:gd name="connsiteX194" fmla="*/ 45992 w 2181066"/>
                    <a:gd name="connsiteY194" fmla="*/ 669600 h 1276264"/>
                    <a:gd name="connsiteX195" fmla="*/ 45992 w 2181066"/>
                    <a:gd name="connsiteY195" fmla="*/ 669600 h 1276264"/>
                    <a:gd name="connsiteX196" fmla="*/ 19869 w 2181066"/>
                    <a:gd name="connsiteY196" fmla="*/ 651042 h 1276264"/>
                    <a:gd name="connsiteX197" fmla="*/ 19869 w 2181066"/>
                    <a:gd name="connsiteY197" fmla="*/ 651042 h 1276264"/>
                    <a:gd name="connsiteX198" fmla="*/ 23903 w 2181066"/>
                    <a:gd name="connsiteY198" fmla="*/ 637829 h 1276264"/>
                    <a:gd name="connsiteX199" fmla="*/ 23903 w 2181066"/>
                    <a:gd name="connsiteY199" fmla="*/ 637829 h 1276264"/>
                    <a:gd name="connsiteX200" fmla="*/ 161575 w 2181066"/>
                    <a:gd name="connsiteY200" fmla="*/ 616548 h 1276264"/>
                    <a:gd name="connsiteX201" fmla="*/ 161575 w 2181066"/>
                    <a:gd name="connsiteY201" fmla="*/ 616548 h 1276264"/>
                    <a:gd name="connsiteX202" fmla="*/ 213820 w 2181066"/>
                    <a:gd name="connsiteY202" fmla="*/ 606664 h 1276264"/>
                    <a:gd name="connsiteX203" fmla="*/ 213820 w 2181066"/>
                    <a:gd name="connsiteY203" fmla="*/ 606664 h 1276264"/>
                    <a:gd name="connsiteX204" fmla="*/ 234093 w 2181066"/>
                    <a:gd name="connsiteY204" fmla="*/ 597789 h 1276264"/>
                    <a:gd name="connsiteX205" fmla="*/ 234093 w 2181066"/>
                    <a:gd name="connsiteY205" fmla="*/ 597789 h 1276264"/>
                    <a:gd name="connsiteX206" fmla="*/ 251138 w 2181066"/>
                    <a:gd name="connsiteY206" fmla="*/ 610396 h 1276264"/>
                    <a:gd name="connsiteX207" fmla="*/ 251138 w 2181066"/>
                    <a:gd name="connsiteY207" fmla="*/ 610396 h 1276264"/>
                    <a:gd name="connsiteX208" fmla="*/ 275445 w 2181066"/>
                    <a:gd name="connsiteY208" fmla="*/ 621591 h 1276264"/>
                    <a:gd name="connsiteX209" fmla="*/ 275445 w 2181066"/>
                    <a:gd name="connsiteY209" fmla="*/ 621591 h 1276264"/>
                    <a:gd name="connsiteX210" fmla="*/ 273226 w 2181066"/>
                    <a:gd name="connsiteY210" fmla="*/ 620986 h 1276264"/>
                    <a:gd name="connsiteX211" fmla="*/ 273226 w 2181066"/>
                    <a:gd name="connsiteY211" fmla="*/ 620986 h 1276264"/>
                    <a:gd name="connsiteX212" fmla="*/ 284522 w 2181066"/>
                    <a:gd name="connsiteY212" fmla="*/ 581651 h 1276264"/>
                    <a:gd name="connsiteX213" fmla="*/ 284522 w 2181066"/>
                    <a:gd name="connsiteY213" fmla="*/ 581651 h 1276264"/>
                    <a:gd name="connsiteX214" fmla="*/ 284320 w 2181066"/>
                    <a:gd name="connsiteY214" fmla="*/ 572877 h 1276264"/>
                    <a:gd name="connsiteX215" fmla="*/ 284320 w 2181066"/>
                    <a:gd name="connsiteY215" fmla="*/ 572877 h 1276264"/>
                    <a:gd name="connsiteX216" fmla="*/ 246902 w 2181066"/>
                    <a:gd name="connsiteY216" fmla="*/ 517808 h 1276264"/>
                    <a:gd name="connsiteX217" fmla="*/ 246902 w 2181066"/>
                    <a:gd name="connsiteY217" fmla="*/ 517808 h 1276264"/>
                    <a:gd name="connsiteX218" fmla="*/ 212610 w 2181066"/>
                    <a:gd name="connsiteY218" fmla="*/ 490778 h 1276264"/>
                    <a:gd name="connsiteX219" fmla="*/ 212610 w 2181066"/>
                    <a:gd name="connsiteY219" fmla="*/ 490778 h 1276264"/>
                    <a:gd name="connsiteX220" fmla="*/ 195060 w 2181066"/>
                    <a:gd name="connsiteY220" fmla="*/ 484020 h 1276264"/>
                    <a:gd name="connsiteX221" fmla="*/ 195060 w 2181066"/>
                    <a:gd name="connsiteY221" fmla="*/ 484020 h 1276264"/>
                    <a:gd name="connsiteX222" fmla="*/ 178318 w 2181066"/>
                    <a:gd name="connsiteY222" fmla="*/ 486542 h 1276264"/>
                    <a:gd name="connsiteX223" fmla="*/ 178318 w 2181066"/>
                    <a:gd name="connsiteY223" fmla="*/ 486542 h 1276264"/>
                    <a:gd name="connsiteX224" fmla="*/ 167829 w 2181066"/>
                    <a:gd name="connsiteY224" fmla="*/ 523557 h 1276264"/>
                    <a:gd name="connsiteX225" fmla="*/ 167829 w 2181066"/>
                    <a:gd name="connsiteY225" fmla="*/ 523557 h 1276264"/>
                    <a:gd name="connsiteX226" fmla="*/ 139689 w 2181066"/>
                    <a:gd name="connsiteY226" fmla="*/ 541005 h 1276264"/>
                    <a:gd name="connsiteX227" fmla="*/ 139689 w 2181066"/>
                    <a:gd name="connsiteY227" fmla="*/ 541005 h 1276264"/>
                    <a:gd name="connsiteX228" fmla="*/ 122442 w 2181066"/>
                    <a:gd name="connsiteY228" fmla="*/ 517203 h 1276264"/>
                    <a:gd name="connsiteX229" fmla="*/ 122442 w 2181066"/>
                    <a:gd name="connsiteY229" fmla="*/ 517203 h 1276264"/>
                    <a:gd name="connsiteX230" fmla="*/ 133335 w 2181066"/>
                    <a:gd name="connsiteY230" fmla="*/ 485130 h 1276264"/>
                    <a:gd name="connsiteX231" fmla="*/ 133335 w 2181066"/>
                    <a:gd name="connsiteY231" fmla="*/ 485130 h 1276264"/>
                    <a:gd name="connsiteX232" fmla="*/ 135957 w 2181066"/>
                    <a:gd name="connsiteY232" fmla="*/ 476960 h 1276264"/>
                    <a:gd name="connsiteX233" fmla="*/ 135957 w 2181066"/>
                    <a:gd name="connsiteY233" fmla="*/ 476960 h 1276264"/>
                    <a:gd name="connsiteX234" fmla="*/ 134747 w 2181066"/>
                    <a:gd name="connsiteY234" fmla="*/ 465563 h 1276264"/>
                    <a:gd name="connsiteX235" fmla="*/ 134747 w 2181066"/>
                    <a:gd name="connsiteY235" fmla="*/ 465563 h 1276264"/>
                    <a:gd name="connsiteX236" fmla="*/ 130814 w 2181066"/>
                    <a:gd name="connsiteY236" fmla="*/ 464857 h 1276264"/>
                    <a:gd name="connsiteX237" fmla="*/ 130814 w 2181066"/>
                    <a:gd name="connsiteY237" fmla="*/ 464857 h 1276264"/>
                    <a:gd name="connsiteX238" fmla="*/ 122341 w 2181066"/>
                    <a:gd name="connsiteY238" fmla="*/ 465160 h 1276264"/>
                    <a:gd name="connsiteX239" fmla="*/ 122341 w 2181066"/>
                    <a:gd name="connsiteY239" fmla="*/ 465160 h 1276264"/>
                    <a:gd name="connsiteX240" fmla="*/ 112659 w 2181066"/>
                    <a:gd name="connsiteY240" fmla="*/ 460621 h 1276264"/>
                    <a:gd name="connsiteX241" fmla="*/ 112659 w 2181066"/>
                    <a:gd name="connsiteY241" fmla="*/ 460621 h 1276264"/>
                    <a:gd name="connsiteX242" fmla="*/ 111953 w 2181066"/>
                    <a:gd name="connsiteY242" fmla="*/ 457091 h 1276264"/>
                    <a:gd name="connsiteX243" fmla="*/ 111953 w 2181066"/>
                    <a:gd name="connsiteY243" fmla="*/ 457091 h 1276264"/>
                    <a:gd name="connsiteX244" fmla="*/ 127384 w 2181066"/>
                    <a:gd name="connsiteY244" fmla="*/ 441256 h 1276264"/>
                    <a:gd name="connsiteX245" fmla="*/ 127384 w 2181066"/>
                    <a:gd name="connsiteY245" fmla="*/ 441256 h 1276264"/>
                    <a:gd name="connsiteX246" fmla="*/ 130208 w 2181066"/>
                    <a:gd name="connsiteY246" fmla="*/ 431069 h 1276264"/>
                    <a:gd name="connsiteX247" fmla="*/ 130208 w 2181066"/>
                    <a:gd name="connsiteY247" fmla="*/ 431069 h 1276264"/>
                    <a:gd name="connsiteX248" fmla="*/ 130108 w 2181066"/>
                    <a:gd name="connsiteY248" fmla="*/ 419572 h 1276264"/>
                    <a:gd name="connsiteX249" fmla="*/ 130108 w 2181066"/>
                    <a:gd name="connsiteY249" fmla="*/ 419572 h 1276264"/>
                    <a:gd name="connsiteX250" fmla="*/ 154818 w 2181066"/>
                    <a:gd name="connsiteY250" fmla="*/ 395466 h 1276264"/>
                    <a:gd name="connsiteX251" fmla="*/ 154818 w 2181066"/>
                    <a:gd name="connsiteY251" fmla="*/ 395466 h 1276264"/>
                    <a:gd name="connsiteX252" fmla="*/ 157642 w 2181066"/>
                    <a:gd name="connsiteY252" fmla="*/ 395668 h 1276264"/>
                    <a:gd name="connsiteX253" fmla="*/ 157642 w 2181066"/>
                    <a:gd name="connsiteY253" fmla="*/ 395668 h 1276264"/>
                    <a:gd name="connsiteX254" fmla="*/ 166517 w 2181066"/>
                    <a:gd name="connsiteY254" fmla="*/ 441861 h 1276264"/>
                    <a:gd name="connsiteX255" fmla="*/ 166517 w 2181066"/>
                    <a:gd name="connsiteY255" fmla="*/ 441861 h 1276264"/>
                    <a:gd name="connsiteX256" fmla="*/ 187597 w 2181066"/>
                    <a:gd name="connsiteY256" fmla="*/ 445996 h 1276264"/>
                    <a:gd name="connsiteX257" fmla="*/ 187597 w 2181066"/>
                    <a:gd name="connsiteY257" fmla="*/ 445996 h 1276264"/>
                    <a:gd name="connsiteX258" fmla="*/ 238228 w 2181066"/>
                    <a:gd name="connsiteY258" fmla="*/ 443374 h 1276264"/>
                    <a:gd name="connsiteX259" fmla="*/ 238228 w 2181066"/>
                    <a:gd name="connsiteY259" fmla="*/ 443374 h 1276264"/>
                    <a:gd name="connsiteX260" fmla="*/ 278168 w 2181066"/>
                    <a:gd name="connsiteY260" fmla="*/ 460016 h 1276264"/>
                    <a:gd name="connsiteX261" fmla="*/ 278168 w 2181066"/>
                    <a:gd name="connsiteY261" fmla="*/ 460016 h 1276264"/>
                    <a:gd name="connsiteX262" fmla="*/ 330413 w 2181066"/>
                    <a:gd name="connsiteY262" fmla="*/ 462537 h 1276264"/>
                    <a:gd name="connsiteX263" fmla="*/ 330413 w 2181066"/>
                    <a:gd name="connsiteY263" fmla="*/ 462537 h 1276264"/>
                    <a:gd name="connsiteX264" fmla="*/ 354215 w 2181066"/>
                    <a:gd name="connsiteY264" fmla="*/ 458503 h 1276264"/>
                    <a:gd name="connsiteX265" fmla="*/ 354215 w 2181066"/>
                    <a:gd name="connsiteY265" fmla="*/ 458503 h 1276264"/>
                    <a:gd name="connsiteX266" fmla="*/ 354921 w 2181066"/>
                    <a:gd name="connsiteY266" fmla="*/ 455175 h 1276264"/>
                    <a:gd name="connsiteX267" fmla="*/ 354921 w 2181066"/>
                    <a:gd name="connsiteY267" fmla="*/ 455175 h 1276264"/>
                    <a:gd name="connsiteX268" fmla="*/ 329908 w 2181066"/>
                    <a:gd name="connsiteY268" fmla="*/ 433389 h 1276264"/>
                    <a:gd name="connsiteX269" fmla="*/ 329908 w 2181066"/>
                    <a:gd name="connsiteY269" fmla="*/ 433389 h 1276264"/>
                    <a:gd name="connsiteX270" fmla="*/ 286035 w 2181066"/>
                    <a:gd name="connsiteY270" fmla="*/ 399198 h 1276264"/>
                    <a:gd name="connsiteX271" fmla="*/ 286035 w 2181066"/>
                    <a:gd name="connsiteY271" fmla="*/ 399198 h 1276264"/>
                    <a:gd name="connsiteX272" fmla="*/ 277966 w 2181066"/>
                    <a:gd name="connsiteY272" fmla="*/ 396172 h 1276264"/>
                    <a:gd name="connsiteX273" fmla="*/ 277966 w 2181066"/>
                    <a:gd name="connsiteY273" fmla="*/ 396172 h 1276264"/>
                    <a:gd name="connsiteX274" fmla="*/ 234496 w 2181066"/>
                    <a:gd name="connsiteY274" fmla="*/ 410091 h 1276264"/>
                    <a:gd name="connsiteX275" fmla="*/ 234496 w 2181066"/>
                    <a:gd name="connsiteY275" fmla="*/ 410091 h 1276264"/>
                    <a:gd name="connsiteX276" fmla="*/ 221788 w 2181066"/>
                    <a:gd name="connsiteY276" fmla="*/ 412007 h 1276264"/>
                    <a:gd name="connsiteX277" fmla="*/ 221788 w 2181066"/>
                    <a:gd name="connsiteY277" fmla="*/ 412007 h 1276264"/>
                    <a:gd name="connsiteX278" fmla="*/ 203230 w 2181066"/>
                    <a:gd name="connsiteY278" fmla="*/ 394861 h 1276264"/>
                    <a:gd name="connsiteX279" fmla="*/ 203230 w 2181066"/>
                    <a:gd name="connsiteY279" fmla="*/ 394861 h 1276264"/>
                    <a:gd name="connsiteX280" fmla="*/ 203331 w 2181066"/>
                    <a:gd name="connsiteY280" fmla="*/ 392743 h 1276264"/>
                    <a:gd name="connsiteX281" fmla="*/ 203331 w 2181066"/>
                    <a:gd name="connsiteY281" fmla="*/ 392743 h 1276264"/>
                    <a:gd name="connsiteX282" fmla="*/ 263443 w 2181066"/>
                    <a:gd name="connsiteY282" fmla="*/ 369142 h 1276264"/>
                    <a:gd name="connsiteX283" fmla="*/ 263443 w 2181066"/>
                    <a:gd name="connsiteY283" fmla="*/ 369142 h 1276264"/>
                    <a:gd name="connsiteX284" fmla="*/ 304290 w 2181066"/>
                    <a:gd name="connsiteY284" fmla="*/ 337573 h 1276264"/>
                    <a:gd name="connsiteX285" fmla="*/ 304290 w 2181066"/>
                    <a:gd name="connsiteY285" fmla="*/ 337573 h 1276264"/>
                    <a:gd name="connsiteX286" fmla="*/ 304290 w 2181066"/>
                    <a:gd name="connsiteY286" fmla="*/ 336767 h 1276264"/>
                    <a:gd name="connsiteX287" fmla="*/ 304290 w 2181066"/>
                    <a:gd name="connsiteY287" fmla="*/ 336767 h 1276264"/>
                    <a:gd name="connsiteX288" fmla="*/ 287850 w 2181066"/>
                    <a:gd name="connsiteY288" fmla="*/ 330009 h 1276264"/>
                    <a:gd name="connsiteX289" fmla="*/ 287850 w 2181066"/>
                    <a:gd name="connsiteY289" fmla="*/ 330009 h 1276264"/>
                    <a:gd name="connsiteX290" fmla="*/ 243977 w 2181066"/>
                    <a:gd name="connsiteY290" fmla="*/ 342213 h 1276264"/>
                    <a:gd name="connsiteX291" fmla="*/ 243977 w 2181066"/>
                    <a:gd name="connsiteY291" fmla="*/ 342213 h 1276264"/>
                    <a:gd name="connsiteX292" fmla="*/ 132932 w 2181066"/>
                    <a:gd name="connsiteY292" fmla="*/ 367831 h 1276264"/>
                    <a:gd name="connsiteX293" fmla="*/ 132932 w 2181066"/>
                    <a:gd name="connsiteY293" fmla="*/ 367831 h 1276264"/>
                    <a:gd name="connsiteX294" fmla="*/ 99648 w 2181066"/>
                    <a:gd name="connsiteY294" fmla="*/ 375597 h 1276264"/>
                    <a:gd name="connsiteX295" fmla="*/ 99648 w 2181066"/>
                    <a:gd name="connsiteY295" fmla="*/ 375597 h 1276264"/>
                    <a:gd name="connsiteX296" fmla="*/ 87344 w 2181066"/>
                    <a:gd name="connsiteY296" fmla="*/ 370756 h 1276264"/>
                    <a:gd name="connsiteX297" fmla="*/ 87344 w 2181066"/>
                    <a:gd name="connsiteY297" fmla="*/ 370756 h 1276264"/>
                    <a:gd name="connsiteX298" fmla="*/ 86436 w 2181066"/>
                    <a:gd name="connsiteY298" fmla="*/ 370453 h 1276264"/>
                    <a:gd name="connsiteX299" fmla="*/ 86436 w 2181066"/>
                    <a:gd name="connsiteY299" fmla="*/ 370453 h 1276264"/>
                    <a:gd name="connsiteX300" fmla="*/ 80788 w 2181066"/>
                    <a:gd name="connsiteY300" fmla="*/ 369747 h 1276264"/>
                    <a:gd name="connsiteX301" fmla="*/ 80788 w 2181066"/>
                    <a:gd name="connsiteY301" fmla="*/ 369747 h 1276264"/>
                    <a:gd name="connsiteX302" fmla="*/ 64650 w 2181066"/>
                    <a:gd name="connsiteY302" fmla="*/ 377413 h 1276264"/>
                    <a:gd name="connsiteX303" fmla="*/ 64650 w 2181066"/>
                    <a:gd name="connsiteY303" fmla="*/ 377413 h 1276264"/>
                    <a:gd name="connsiteX304" fmla="*/ 24912 w 2181066"/>
                    <a:gd name="connsiteY304" fmla="*/ 405552 h 1276264"/>
                    <a:gd name="connsiteX305" fmla="*/ 24912 w 2181066"/>
                    <a:gd name="connsiteY305" fmla="*/ 405552 h 1276264"/>
                    <a:gd name="connsiteX306" fmla="*/ 24509 w 2181066"/>
                    <a:gd name="connsiteY306" fmla="*/ 405552 h 1276264"/>
                    <a:gd name="connsiteX307" fmla="*/ 0 w 2181066"/>
                    <a:gd name="connsiteY307" fmla="*/ 338179 h 1276264"/>
                    <a:gd name="connsiteX308" fmla="*/ 0 w 2181066"/>
                    <a:gd name="connsiteY308" fmla="*/ 338179 h 1276264"/>
                    <a:gd name="connsiteX309" fmla="*/ 202 w 2181066"/>
                    <a:gd name="connsiteY309" fmla="*/ 328496 h 1276264"/>
                    <a:gd name="connsiteX310" fmla="*/ 202 w 2181066"/>
                    <a:gd name="connsiteY310" fmla="*/ 328496 h 1276264"/>
                    <a:gd name="connsiteX311" fmla="*/ 25719 w 2181066"/>
                    <a:gd name="connsiteY311" fmla="*/ 293196 h 1276264"/>
                    <a:gd name="connsiteX312" fmla="*/ 25719 w 2181066"/>
                    <a:gd name="connsiteY312" fmla="*/ 293196 h 1276264"/>
                    <a:gd name="connsiteX313" fmla="*/ 25517 w 2181066"/>
                    <a:gd name="connsiteY313" fmla="*/ 279277 h 1276264"/>
                    <a:gd name="connsiteX314" fmla="*/ 25517 w 2181066"/>
                    <a:gd name="connsiteY314" fmla="*/ 279277 h 1276264"/>
                    <a:gd name="connsiteX315" fmla="*/ 51034 w 2181066"/>
                    <a:gd name="connsiteY315" fmla="*/ 190219 h 1276264"/>
                    <a:gd name="connsiteX316" fmla="*/ 51034 w 2181066"/>
                    <a:gd name="connsiteY316" fmla="*/ 190219 h 1276264"/>
                    <a:gd name="connsiteX317" fmla="*/ 231269 w 2181066"/>
                    <a:gd name="connsiteY317" fmla="*/ 146144 h 1276264"/>
                    <a:gd name="connsiteX318" fmla="*/ 231269 w 2181066"/>
                    <a:gd name="connsiteY318" fmla="*/ 146144 h 1276264"/>
                    <a:gd name="connsiteX319" fmla="*/ 252247 w 2181066"/>
                    <a:gd name="connsiteY319" fmla="*/ 112255 h 1276264"/>
                    <a:gd name="connsiteX320" fmla="*/ 252247 w 2181066"/>
                    <a:gd name="connsiteY320" fmla="*/ 112255 h 1276264"/>
                    <a:gd name="connsiteX321" fmla="*/ 271814 w 2181066"/>
                    <a:gd name="connsiteY321" fmla="*/ 102271 h 1276264"/>
                    <a:gd name="connsiteX322" fmla="*/ 271814 w 2181066"/>
                    <a:gd name="connsiteY322" fmla="*/ 102271 h 1276264"/>
                    <a:gd name="connsiteX323" fmla="*/ 289868 w 2181066"/>
                    <a:gd name="connsiteY323" fmla="*/ 108120 h 1276264"/>
                    <a:gd name="connsiteX324" fmla="*/ 289868 w 2181066"/>
                    <a:gd name="connsiteY324" fmla="*/ 108120 h 1276264"/>
                    <a:gd name="connsiteX325" fmla="*/ 315990 w 2181066"/>
                    <a:gd name="connsiteY325" fmla="*/ 137369 h 1276264"/>
                    <a:gd name="connsiteX326" fmla="*/ 315990 w 2181066"/>
                    <a:gd name="connsiteY326" fmla="*/ 137369 h 1276264"/>
                    <a:gd name="connsiteX327" fmla="*/ 318915 w 2181066"/>
                    <a:gd name="connsiteY327" fmla="*/ 137470 h 1276264"/>
                    <a:gd name="connsiteX328" fmla="*/ 318915 w 2181066"/>
                    <a:gd name="connsiteY328" fmla="*/ 137470 h 1276264"/>
                    <a:gd name="connsiteX329" fmla="*/ 470505 w 2181066"/>
                    <a:gd name="connsiteY329" fmla="*/ 88655 h 1276264"/>
                    <a:gd name="connsiteX330" fmla="*/ 470505 w 2181066"/>
                    <a:gd name="connsiteY330" fmla="*/ 88655 h 1276264"/>
                    <a:gd name="connsiteX331" fmla="*/ 478574 w 2181066"/>
                    <a:gd name="connsiteY331" fmla="*/ 87949 h 1276264"/>
                    <a:gd name="connsiteX332" fmla="*/ 478574 w 2181066"/>
                    <a:gd name="connsiteY332" fmla="*/ 87949 h 1276264"/>
                    <a:gd name="connsiteX333" fmla="*/ 548166 w 2181066"/>
                    <a:gd name="connsiteY333" fmla="*/ 161172 h 1276264"/>
                    <a:gd name="connsiteX334" fmla="*/ 548166 w 2181066"/>
                    <a:gd name="connsiteY334" fmla="*/ 161172 h 1276264"/>
                    <a:gd name="connsiteX335" fmla="*/ 569145 w 2181066"/>
                    <a:gd name="connsiteY335" fmla="*/ 183966 h 1276264"/>
                    <a:gd name="connsiteX336" fmla="*/ 569145 w 2181066"/>
                    <a:gd name="connsiteY336" fmla="*/ 183966 h 1276264"/>
                    <a:gd name="connsiteX337" fmla="*/ 584576 w 2181066"/>
                    <a:gd name="connsiteY337" fmla="*/ 179024 h 1276264"/>
                    <a:gd name="connsiteX338" fmla="*/ 584576 w 2181066"/>
                    <a:gd name="connsiteY338" fmla="*/ 179024 h 1276264"/>
                    <a:gd name="connsiteX339" fmla="*/ 588207 w 2181066"/>
                    <a:gd name="connsiteY339" fmla="*/ 170753 h 1276264"/>
                    <a:gd name="connsiteX340" fmla="*/ 588207 w 2181066"/>
                    <a:gd name="connsiteY340" fmla="*/ 170753 h 1276264"/>
                    <a:gd name="connsiteX341" fmla="*/ 578222 w 2181066"/>
                    <a:gd name="connsiteY341" fmla="*/ 140798 h 1276264"/>
                    <a:gd name="connsiteX342" fmla="*/ 578222 w 2181066"/>
                    <a:gd name="connsiteY342" fmla="*/ 140798 h 1276264"/>
                    <a:gd name="connsiteX343" fmla="*/ 576407 w 2181066"/>
                    <a:gd name="connsiteY343" fmla="*/ 128393 h 1276264"/>
                    <a:gd name="connsiteX344" fmla="*/ 576407 w 2181066"/>
                    <a:gd name="connsiteY344" fmla="*/ 128393 h 1276264"/>
                    <a:gd name="connsiteX345" fmla="*/ 600814 w 2181066"/>
                    <a:gd name="connsiteY345" fmla="*/ 97732 h 1276264"/>
                    <a:gd name="connsiteX346" fmla="*/ 600814 w 2181066"/>
                    <a:gd name="connsiteY346" fmla="*/ 97732 h 1276264"/>
                    <a:gd name="connsiteX347" fmla="*/ 618061 w 2181066"/>
                    <a:gd name="connsiteY347" fmla="*/ 94303 h 1276264"/>
                    <a:gd name="connsiteX348" fmla="*/ 618061 w 2181066"/>
                    <a:gd name="connsiteY348" fmla="*/ 94303 h 1276264"/>
                    <a:gd name="connsiteX349" fmla="*/ 697941 w 2181066"/>
                    <a:gd name="connsiteY349" fmla="*/ 127989 h 1276264"/>
                    <a:gd name="connsiteX350" fmla="*/ 697941 w 2181066"/>
                    <a:gd name="connsiteY350" fmla="*/ 127989 h 1276264"/>
                    <a:gd name="connsiteX351" fmla="*/ 709036 w 2181066"/>
                    <a:gd name="connsiteY351" fmla="*/ 131721 h 1276264"/>
                    <a:gd name="connsiteX352" fmla="*/ 709036 w 2181066"/>
                    <a:gd name="connsiteY352" fmla="*/ 131721 h 1276264"/>
                    <a:gd name="connsiteX353" fmla="*/ 742924 w 2181066"/>
                    <a:gd name="connsiteY353" fmla="*/ 100959 h 1276264"/>
                    <a:gd name="connsiteX354" fmla="*/ 742924 w 2181066"/>
                    <a:gd name="connsiteY354" fmla="*/ 100959 h 1276264"/>
                    <a:gd name="connsiteX355" fmla="*/ 746656 w 2181066"/>
                    <a:gd name="connsiteY355" fmla="*/ 91479 h 1276264"/>
                    <a:gd name="connsiteX356" fmla="*/ 746656 w 2181066"/>
                    <a:gd name="connsiteY356" fmla="*/ 91479 h 1276264"/>
                    <a:gd name="connsiteX357" fmla="*/ 739798 w 2181066"/>
                    <a:gd name="connsiteY357" fmla="*/ 83007 h 1276264"/>
                    <a:gd name="connsiteX358" fmla="*/ 739798 w 2181066"/>
                    <a:gd name="connsiteY358" fmla="*/ 83007 h 1276264"/>
                    <a:gd name="connsiteX359" fmla="*/ 727795 w 2181066"/>
                    <a:gd name="connsiteY359" fmla="*/ 62230 h 1276264"/>
                    <a:gd name="connsiteX360" fmla="*/ 727795 w 2181066"/>
                    <a:gd name="connsiteY360" fmla="*/ 62230 h 1276264"/>
                    <a:gd name="connsiteX361" fmla="*/ 739092 w 2181066"/>
                    <a:gd name="connsiteY361" fmla="*/ 42562 h 1276264"/>
                    <a:gd name="connsiteX362" fmla="*/ 739092 w 2181066"/>
                    <a:gd name="connsiteY362" fmla="*/ 42562 h 1276264"/>
                    <a:gd name="connsiteX363" fmla="*/ 795471 w 2181066"/>
                    <a:gd name="connsiteY363" fmla="*/ 25416 h 1276264"/>
                    <a:gd name="connsiteX364" fmla="*/ 795471 w 2181066"/>
                    <a:gd name="connsiteY364" fmla="*/ 25416 h 1276264"/>
                    <a:gd name="connsiteX365" fmla="*/ 824115 w 2181066"/>
                    <a:gd name="connsiteY365" fmla="*/ 37822 h 1276264"/>
                    <a:gd name="connsiteX366" fmla="*/ 824115 w 2181066"/>
                    <a:gd name="connsiteY366" fmla="*/ 37822 h 1276264"/>
                    <a:gd name="connsiteX367" fmla="*/ 832890 w 2181066"/>
                    <a:gd name="connsiteY367" fmla="*/ 43873 h 1276264"/>
                    <a:gd name="connsiteX368" fmla="*/ 832890 w 2181066"/>
                    <a:gd name="connsiteY368" fmla="*/ 43873 h 1276264"/>
                    <a:gd name="connsiteX369" fmla="*/ 914989 w 2181066"/>
                    <a:gd name="connsiteY369" fmla="*/ 6657 h 1276264"/>
                    <a:gd name="connsiteX370" fmla="*/ 914989 w 2181066"/>
                    <a:gd name="connsiteY370" fmla="*/ 6657 h 1276264"/>
                    <a:gd name="connsiteX371" fmla="*/ 953920 w 2181066"/>
                    <a:gd name="connsiteY371" fmla="*/ 0 h 1276264"/>
                    <a:gd name="connsiteX372" fmla="*/ 953920 w 2181066"/>
                    <a:gd name="connsiteY372" fmla="*/ 0 h 1276264"/>
                    <a:gd name="connsiteX373" fmla="*/ 1065268 w 2181066"/>
                    <a:gd name="connsiteY373" fmla="*/ 55371 h 1276264"/>
                    <a:gd name="connsiteX374" fmla="*/ 1065268 w 2181066"/>
                    <a:gd name="connsiteY374" fmla="*/ 55371 h 1276264"/>
                    <a:gd name="connsiteX375" fmla="*/ 1065268 w 2181066"/>
                    <a:gd name="connsiteY375" fmla="*/ 56178 h 1276264"/>
                    <a:gd name="connsiteX376" fmla="*/ 1065268 w 2181066"/>
                    <a:gd name="connsiteY376" fmla="*/ 56178 h 1276264"/>
                    <a:gd name="connsiteX377" fmla="*/ 1065067 w 2181066"/>
                    <a:gd name="connsiteY377" fmla="*/ 62028 h 1276264"/>
                    <a:gd name="connsiteX378" fmla="*/ 1065067 w 2181066"/>
                    <a:gd name="connsiteY378" fmla="*/ 62028 h 1276264"/>
                    <a:gd name="connsiteX379" fmla="*/ 1082212 w 2181066"/>
                    <a:gd name="connsiteY379" fmla="*/ 83511 h 1276264"/>
                    <a:gd name="connsiteX380" fmla="*/ 1082212 w 2181066"/>
                    <a:gd name="connsiteY380" fmla="*/ 83511 h 1276264"/>
                    <a:gd name="connsiteX381" fmla="*/ 1088667 w 2181066"/>
                    <a:gd name="connsiteY381" fmla="*/ 83208 h 1276264"/>
                    <a:gd name="connsiteX382" fmla="*/ 1088667 w 2181066"/>
                    <a:gd name="connsiteY382" fmla="*/ 83208 h 1276264"/>
                    <a:gd name="connsiteX383" fmla="*/ 1095122 w 2181066"/>
                    <a:gd name="connsiteY383" fmla="*/ 82704 h 1276264"/>
                    <a:gd name="connsiteX384" fmla="*/ 1095122 w 2181066"/>
                    <a:gd name="connsiteY384" fmla="*/ 82704 h 1276264"/>
                    <a:gd name="connsiteX385" fmla="*/ 1113479 w 2181066"/>
                    <a:gd name="connsiteY385" fmla="*/ 101363 h 1276264"/>
                    <a:gd name="connsiteX386" fmla="*/ 1113479 w 2181066"/>
                    <a:gd name="connsiteY386" fmla="*/ 101363 h 1276264"/>
                    <a:gd name="connsiteX387" fmla="*/ 1110655 w 2181066"/>
                    <a:gd name="connsiteY387" fmla="*/ 125165 h 1276264"/>
                    <a:gd name="connsiteX388" fmla="*/ 1110655 w 2181066"/>
                    <a:gd name="connsiteY388" fmla="*/ 125165 h 1276264"/>
                    <a:gd name="connsiteX389" fmla="*/ 1108839 w 2181066"/>
                    <a:gd name="connsiteY389" fmla="*/ 142210 h 1276264"/>
                    <a:gd name="connsiteX390" fmla="*/ 1108839 w 2181066"/>
                    <a:gd name="connsiteY390" fmla="*/ 142210 h 1276264"/>
                    <a:gd name="connsiteX391" fmla="*/ 1120135 w 2181066"/>
                    <a:gd name="connsiteY391" fmla="*/ 157642 h 1276264"/>
                    <a:gd name="connsiteX392" fmla="*/ 1120135 w 2181066"/>
                    <a:gd name="connsiteY392" fmla="*/ 157642 h 1276264"/>
                    <a:gd name="connsiteX393" fmla="*/ 1122253 w 2181066"/>
                    <a:gd name="connsiteY393" fmla="*/ 157944 h 1276264"/>
                    <a:gd name="connsiteX394" fmla="*/ 1122253 w 2181066"/>
                    <a:gd name="connsiteY394" fmla="*/ 157944 h 1276264"/>
                    <a:gd name="connsiteX395" fmla="*/ 1136979 w 2181066"/>
                    <a:gd name="connsiteY395" fmla="*/ 155625 h 1276264"/>
                    <a:gd name="connsiteX396" fmla="*/ 1136979 w 2181066"/>
                    <a:gd name="connsiteY396" fmla="*/ 155625 h 1276264"/>
                    <a:gd name="connsiteX397" fmla="*/ 1156142 w 2181066"/>
                    <a:gd name="connsiteY397" fmla="*/ 179629 h 1276264"/>
                    <a:gd name="connsiteX398" fmla="*/ 1156142 w 2181066"/>
                    <a:gd name="connsiteY398" fmla="*/ 179629 h 1276264"/>
                    <a:gd name="connsiteX399" fmla="*/ 1175103 w 2181066"/>
                    <a:gd name="connsiteY399" fmla="*/ 245691 h 1276264"/>
                    <a:gd name="connsiteX400" fmla="*/ 1175103 w 2181066"/>
                    <a:gd name="connsiteY400" fmla="*/ 245691 h 1276264"/>
                    <a:gd name="connsiteX401" fmla="*/ 1216556 w 2181066"/>
                    <a:gd name="connsiteY401" fmla="*/ 284724 h 1276264"/>
                    <a:gd name="connsiteX402" fmla="*/ 1216556 w 2181066"/>
                    <a:gd name="connsiteY402" fmla="*/ 284724 h 1276264"/>
                    <a:gd name="connsiteX403" fmla="*/ 1214640 w 2181066"/>
                    <a:gd name="connsiteY403" fmla="*/ 292490 h 1276264"/>
                    <a:gd name="connsiteX404" fmla="*/ 1214640 w 2181066"/>
                    <a:gd name="connsiteY404" fmla="*/ 292490 h 1276264"/>
                    <a:gd name="connsiteX405" fmla="*/ 1210605 w 2181066"/>
                    <a:gd name="connsiteY405" fmla="*/ 308425 h 1276264"/>
                    <a:gd name="connsiteX406" fmla="*/ 1210605 w 2181066"/>
                    <a:gd name="connsiteY406" fmla="*/ 308425 h 1276264"/>
                    <a:gd name="connsiteX407" fmla="*/ 1224423 w 2181066"/>
                    <a:gd name="connsiteY407" fmla="*/ 330413 h 1276264"/>
                    <a:gd name="connsiteX408" fmla="*/ 1224423 w 2181066"/>
                    <a:gd name="connsiteY408" fmla="*/ 330413 h 1276264"/>
                    <a:gd name="connsiteX409" fmla="*/ 1345453 w 2181066"/>
                    <a:gd name="connsiteY409" fmla="*/ 236009 h 1276264"/>
                    <a:gd name="connsiteX410" fmla="*/ 1345453 w 2181066"/>
                    <a:gd name="connsiteY410" fmla="*/ 236009 h 1276264"/>
                    <a:gd name="connsiteX411" fmla="*/ 1378434 w 2181066"/>
                    <a:gd name="connsiteY411" fmla="*/ 211097 h 1276264"/>
                    <a:gd name="connsiteX412" fmla="*/ 1378434 w 2181066"/>
                    <a:gd name="connsiteY412" fmla="*/ 211097 h 1276264"/>
                    <a:gd name="connsiteX413" fmla="*/ 1397093 w 2181066"/>
                    <a:gd name="connsiteY413" fmla="*/ 217350 h 1276264"/>
                    <a:gd name="connsiteX414" fmla="*/ 1397093 w 2181066"/>
                    <a:gd name="connsiteY414" fmla="*/ 217350 h 1276264"/>
                    <a:gd name="connsiteX415" fmla="*/ 1407078 w 2181066"/>
                    <a:gd name="connsiteY415" fmla="*/ 219065 h 1276264"/>
                    <a:gd name="connsiteX416" fmla="*/ 1407078 w 2181066"/>
                    <a:gd name="connsiteY416" fmla="*/ 219065 h 1276264"/>
                    <a:gd name="connsiteX417" fmla="*/ 1427956 w 2181066"/>
                    <a:gd name="connsiteY417" fmla="*/ 202625 h 1276264"/>
                    <a:gd name="connsiteX418" fmla="*/ 1427956 w 2181066"/>
                    <a:gd name="connsiteY418" fmla="*/ 202625 h 1276264"/>
                    <a:gd name="connsiteX419" fmla="*/ 1453775 w 2181066"/>
                    <a:gd name="connsiteY419" fmla="*/ 178116 h 1276264"/>
                    <a:gd name="connsiteX420" fmla="*/ 1453775 w 2181066"/>
                    <a:gd name="connsiteY420" fmla="*/ 178116 h 1276264"/>
                    <a:gd name="connsiteX421" fmla="*/ 1460735 w 2181066"/>
                    <a:gd name="connsiteY421" fmla="*/ 179831 h 1276264"/>
                    <a:gd name="connsiteX422" fmla="*/ 1460735 w 2181066"/>
                    <a:gd name="connsiteY422" fmla="*/ 179831 h 1276264"/>
                    <a:gd name="connsiteX423" fmla="*/ 1470215 w 2181066"/>
                    <a:gd name="connsiteY423" fmla="*/ 199296 h 1276264"/>
                    <a:gd name="connsiteX424" fmla="*/ 1470215 w 2181066"/>
                    <a:gd name="connsiteY424" fmla="*/ 199296 h 1276264"/>
                    <a:gd name="connsiteX425" fmla="*/ 1461945 w 2181066"/>
                    <a:gd name="connsiteY425" fmla="*/ 228142 h 1276264"/>
                    <a:gd name="connsiteX426" fmla="*/ 1461945 w 2181066"/>
                    <a:gd name="connsiteY426" fmla="*/ 228142 h 1276264"/>
                    <a:gd name="connsiteX427" fmla="*/ 1460029 w 2181066"/>
                    <a:gd name="connsiteY427" fmla="*/ 234496 h 1276264"/>
                    <a:gd name="connsiteX428" fmla="*/ 1460029 w 2181066"/>
                    <a:gd name="connsiteY428" fmla="*/ 234496 h 1276264"/>
                    <a:gd name="connsiteX429" fmla="*/ 1505919 w 2181066"/>
                    <a:gd name="connsiteY429" fmla="*/ 261728 h 1276264"/>
                    <a:gd name="connsiteX430" fmla="*/ 1505919 w 2181066"/>
                    <a:gd name="connsiteY430" fmla="*/ 261728 h 1276264"/>
                    <a:gd name="connsiteX431" fmla="*/ 1524175 w 2181066"/>
                    <a:gd name="connsiteY431" fmla="*/ 264653 h 1276264"/>
                    <a:gd name="connsiteX432" fmla="*/ 1524175 w 2181066"/>
                    <a:gd name="connsiteY432" fmla="*/ 264653 h 1276264"/>
                    <a:gd name="connsiteX433" fmla="*/ 1546868 w 2181066"/>
                    <a:gd name="connsiteY433" fmla="*/ 256786 h 1276264"/>
                    <a:gd name="connsiteX434" fmla="*/ 1546868 w 2181066"/>
                    <a:gd name="connsiteY434" fmla="*/ 256786 h 1276264"/>
                    <a:gd name="connsiteX435" fmla="*/ 1584891 w 2181066"/>
                    <a:gd name="connsiteY435" fmla="*/ 220981 h 1276264"/>
                    <a:gd name="connsiteX436" fmla="*/ 1584891 w 2181066"/>
                    <a:gd name="connsiteY436" fmla="*/ 220981 h 1276264"/>
                    <a:gd name="connsiteX437" fmla="*/ 1601432 w 2181066"/>
                    <a:gd name="connsiteY437" fmla="*/ 224612 h 1276264"/>
                    <a:gd name="connsiteX438" fmla="*/ 1601432 w 2181066"/>
                    <a:gd name="connsiteY438" fmla="*/ 224612 h 1276264"/>
                    <a:gd name="connsiteX439" fmla="*/ 1623016 w 2181066"/>
                    <a:gd name="connsiteY439" fmla="*/ 229957 h 1276264"/>
                    <a:gd name="connsiteX440" fmla="*/ 1623016 w 2181066"/>
                    <a:gd name="connsiteY440" fmla="*/ 229957 h 1276264"/>
                    <a:gd name="connsiteX441" fmla="*/ 1646213 w 2181066"/>
                    <a:gd name="connsiteY441" fmla="*/ 201011 h 1276264"/>
                    <a:gd name="connsiteX442" fmla="*/ 1646213 w 2181066"/>
                    <a:gd name="connsiteY442" fmla="*/ 201011 h 1276264"/>
                    <a:gd name="connsiteX443" fmla="*/ 1693415 w 2181066"/>
                    <a:gd name="connsiteY443" fmla="*/ 175393 h 1276264"/>
                    <a:gd name="connsiteX444" fmla="*/ 1693415 w 2181066"/>
                    <a:gd name="connsiteY444" fmla="*/ 175393 h 1276264"/>
                    <a:gd name="connsiteX445" fmla="*/ 1728010 w 2181066"/>
                    <a:gd name="connsiteY445" fmla="*/ 185882 h 1276264"/>
                    <a:gd name="connsiteX446" fmla="*/ 1728010 w 2181066"/>
                    <a:gd name="connsiteY446" fmla="*/ 185882 h 1276264"/>
                    <a:gd name="connsiteX447" fmla="*/ 1729926 w 2181066"/>
                    <a:gd name="connsiteY447" fmla="*/ 193346 h 1276264"/>
                    <a:gd name="connsiteX448" fmla="*/ 1729926 w 2181066"/>
                    <a:gd name="connsiteY448" fmla="*/ 193346 h 1276264"/>
                    <a:gd name="connsiteX449" fmla="*/ 1723068 w 2181066"/>
                    <a:gd name="connsiteY449" fmla="*/ 226125 h 1276264"/>
                    <a:gd name="connsiteX450" fmla="*/ 1723068 w 2181066"/>
                    <a:gd name="connsiteY450" fmla="*/ 226125 h 1276264"/>
                    <a:gd name="connsiteX451" fmla="*/ 1728111 w 2181066"/>
                    <a:gd name="connsiteY451" fmla="*/ 244279 h 1276264"/>
                    <a:gd name="connsiteX452" fmla="*/ 1728111 w 2181066"/>
                    <a:gd name="connsiteY452" fmla="*/ 244279 h 1276264"/>
                    <a:gd name="connsiteX453" fmla="*/ 1792559 w 2181066"/>
                    <a:gd name="connsiteY453" fmla="*/ 263241 h 1276264"/>
                    <a:gd name="connsiteX454" fmla="*/ 1792559 w 2181066"/>
                    <a:gd name="connsiteY454" fmla="*/ 263241 h 1276264"/>
                    <a:gd name="connsiteX455" fmla="*/ 1855999 w 2181066"/>
                    <a:gd name="connsiteY455" fmla="*/ 260114 h 1276264"/>
                    <a:gd name="connsiteX456" fmla="*/ 1855999 w 2181066"/>
                    <a:gd name="connsiteY456" fmla="*/ 260114 h 1276264"/>
                    <a:gd name="connsiteX457" fmla="*/ 1865682 w 2181066"/>
                    <a:gd name="connsiteY457" fmla="*/ 259812 h 1276264"/>
                    <a:gd name="connsiteX458" fmla="*/ 1865682 w 2181066"/>
                    <a:gd name="connsiteY458" fmla="*/ 259812 h 1276264"/>
                    <a:gd name="connsiteX459" fmla="*/ 1890291 w 2181066"/>
                    <a:gd name="connsiteY459" fmla="*/ 262736 h 1276264"/>
                    <a:gd name="connsiteX460" fmla="*/ 1890291 w 2181066"/>
                    <a:gd name="connsiteY460" fmla="*/ 262736 h 1276264"/>
                    <a:gd name="connsiteX461" fmla="*/ 1891602 w 2181066"/>
                    <a:gd name="connsiteY461" fmla="*/ 267174 h 1276264"/>
                    <a:gd name="connsiteX462" fmla="*/ 1889182 w 2181066"/>
                    <a:gd name="connsiteY462" fmla="*/ 269091 h 1276264"/>
                    <a:gd name="connsiteX463" fmla="*/ 1889182 w 2181066"/>
                    <a:gd name="connsiteY463" fmla="*/ 269091 h 1276264"/>
                    <a:gd name="connsiteX464" fmla="*/ 1886862 w 2181066"/>
                    <a:gd name="connsiteY464" fmla="*/ 282000 h 1276264"/>
                    <a:gd name="connsiteX465" fmla="*/ 1886862 w 2181066"/>
                    <a:gd name="connsiteY465" fmla="*/ 282000 h 1276264"/>
                    <a:gd name="connsiteX466" fmla="*/ 1914497 w 2181066"/>
                    <a:gd name="connsiteY466" fmla="*/ 358451 h 1276264"/>
                    <a:gd name="connsiteX467" fmla="*/ 1914497 w 2181066"/>
                    <a:gd name="connsiteY467" fmla="*/ 358451 h 1276264"/>
                    <a:gd name="connsiteX468" fmla="*/ 1985804 w 2181066"/>
                    <a:gd name="connsiteY468" fmla="*/ 405653 h 1276264"/>
                    <a:gd name="connsiteX469" fmla="*/ 1985804 w 2181066"/>
                    <a:gd name="connsiteY469" fmla="*/ 405653 h 1276264"/>
                    <a:gd name="connsiteX470" fmla="*/ 2001236 w 2181066"/>
                    <a:gd name="connsiteY470" fmla="*/ 403434 h 1276264"/>
                    <a:gd name="connsiteX471" fmla="*/ 2001236 w 2181066"/>
                    <a:gd name="connsiteY471" fmla="*/ 403434 h 1276264"/>
                    <a:gd name="connsiteX472" fmla="*/ 2085150 w 2181066"/>
                    <a:gd name="connsiteY472" fmla="*/ 357039 h 1276264"/>
                    <a:gd name="connsiteX473" fmla="*/ 2085150 w 2181066"/>
                    <a:gd name="connsiteY473" fmla="*/ 357039 h 1276264"/>
                    <a:gd name="connsiteX474" fmla="*/ 2089285 w 2181066"/>
                    <a:gd name="connsiteY474" fmla="*/ 357241 h 1276264"/>
                    <a:gd name="connsiteX475" fmla="*/ 2089285 w 2181066"/>
                    <a:gd name="connsiteY475" fmla="*/ 357241 h 1276264"/>
                    <a:gd name="connsiteX476" fmla="*/ 2177032 w 2181066"/>
                    <a:gd name="connsiteY476" fmla="*/ 385784 h 1276264"/>
                    <a:gd name="connsiteX477" fmla="*/ 2177032 w 2181066"/>
                    <a:gd name="connsiteY477" fmla="*/ 385784 h 1276264"/>
                    <a:gd name="connsiteX478" fmla="*/ 2179150 w 2181066"/>
                    <a:gd name="connsiteY478" fmla="*/ 389617 h 1276264"/>
                    <a:gd name="connsiteX479" fmla="*/ 2163618 w 2181066"/>
                    <a:gd name="connsiteY479" fmla="*/ 413923 h 1276264"/>
                    <a:gd name="connsiteX480" fmla="*/ 2163618 w 2181066"/>
                    <a:gd name="connsiteY480" fmla="*/ 413923 h 1276264"/>
                    <a:gd name="connsiteX481" fmla="*/ 2155751 w 2181066"/>
                    <a:gd name="connsiteY481" fmla="*/ 444584 h 1276264"/>
                    <a:gd name="connsiteX482" fmla="*/ 2155751 w 2181066"/>
                    <a:gd name="connsiteY482" fmla="*/ 444584 h 1276264"/>
                    <a:gd name="connsiteX483" fmla="*/ 2172393 w 2181066"/>
                    <a:gd name="connsiteY483" fmla="*/ 508327 h 1276264"/>
                    <a:gd name="connsiteX484" fmla="*/ 2172393 w 2181066"/>
                    <a:gd name="connsiteY484" fmla="*/ 508327 h 1276264"/>
                    <a:gd name="connsiteX485" fmla="*/ 2181067 w 2181066"/>
                    <a:gd name="connsiteY485" fmla="*/ 530213 h 1276264"/>
                    <a:gd name="connsiteX486" fmla="*/ 2181067 w 2181066"/>
                    <a:gd name="connsiteY486" fmla="*/ 530213 h 1276264"/>
                    <a:gd name="connsiteX487" fmla="*/ 2157566 w 2181066"/>
                    <a:gd name="connsiteY487" fmla="*/ 572776 h 1276264"/>
                    <a:gd name="connsiteX488" fmla="*/ 2157566 w 2181066"/>
                    <a:gd name="connsiteY488" fmla="*/ 572776 h 1276264"/>
                    <a:gd name="connsiteX489" fmla="*/ 2144253 w 2181066"/>
                    <a:gd name="connsiteY489" fmla="*/ 588711 h 1276264"/>
                    <a:gd name="connsiteX490" fmla="*/ 2144253 w 2181066"/>
                    <a:gd name="connsiteY490" fmla="*/ 588711 h 1276264"/>
                    <a:gd name="connsiteX491" fmla="*/ 2157466 w 2181066"/>
                    <a:gd name="connsiteY491" fmla="*/ 615439 h 1276264"/>
                    <a:gd name="connsiteX492" fmla="*/ 2157466 w 2181066"/>
                    <a:gd name="connsiteY492" fmla="*/ 615439 h 1276264"/>
                    <a:gd name="connsiteX493" fmla="*/ 2165635 w 2181066"/>
                    <a:gd name="connsiteY493" fmla="*/ 643679 h 1276264"/>
                    <a:gd name="connsiteX494" fmla="*/ 2165635 w 2181066"/>
                    <a:gd name="connsiteY494" fmla="*/ 643679 h 1276264"/>
                    <a:gd name="connsiteX495" fmla="*/ 2146674 w 2181066"/>
                    <a:gd name="connsiteY495" fmla="*/ 686847 h 1276264"/>
                    <a:gd name="connsiteX496" fmla="*/ 2146674 w 2181066"/>
                    <a:gd name="connsiteY496" fmla="*/ 686847 h 1276264"/>
                    <a:gd name="connsiteX497" fmla="*/ 2130032 w 2181066"/>
                    <a:gd name="connsiteY497" fmla="*/ 709238 h 1276264"/>
                    <a:gd name="connsiteX498" fmla="*/ 2130032 w 2181066"/>
                    <a:gd name="connsiteY498" fmla="*/ 709238 h 1276264"/>
                    <a:gd name="connsiteX499" fmla="*/ 2153431 w 2181066"/>
                    <a:gd name="connsiteY499" fmla="*/ 741310 h 1276264"/>
                    <a:gd name="connsiteX500" fmla="*/ 2153431 w 2181066"/>
                    <a:gd name="connsiteY500" fmla="*/ 741310 h 1276264"/>
                    <a:gd name="connsiteX501" fmla="*/ 2177537 w 2181066"/>
                    <a:gd name="connsiteY501" fmla="*/ 786394 h 1276264"/>
                    <a:gd name="connsiteX502" fmla="*/ 2177537 w 2181066"/>
                    <a:gd name="connsiteY502" fmla="*/ 786394 h 1276264"/>
                    <a:gd name="connsiteX503" fmla="*/ 2163215 w 2181066"/>
                    <a:gd name="connsiteY503" fmla="*/ 832486 h 1276264"/>
                    <a:gd name="connsiteX504" fmla="*/ 2163215 w 2181066"/>
                    <a:gd name="connsiteY504" fmla="*/ 832486 h 1276264"/>
                    <a:gd name="connsiteX505" fmla="*/ 2136991 w 2181066"/>
                    <a:gd name="connsiteY505" fmla="*/ 843480 h 1276264"/>
                    <a:gd name="connsiteX506" fmla="*/ 2136991 w 2181066"/>
                    <a:gd name="connsiteY506" fmla="*/ 843480 h 1276264"/>
                    <a:gd name="connsiteX507" fmla="*/ 2105927 w 2181066"/>
                    <a:gd name="connsiteY507" fmla="*/ 852154 h 1276264"/>
                    <a:gd name="connsiteX508" fmla="*/ 2105927 w 2181066"/>
                    <a:gd name="connsiteY508" fmla="*/ 852154 h 1276264"/>
                    <a:gd name="connsiteX509" fmla="*/ 2096648 w 2181066"/>
                    <a:gd name="connsiteY509" fmla="*/ 866879 h 1276264"/>
                    <a:gd name="connsiteX510" fmla="*/ 2096648 w 2181066"/>
                    <a:gd name="connsiteY510" fmla="*/ 866879 h 1276264"/>
                    <a:gd name="connsiteX511" fmla="*/ 2097757 w 2181066"/>
                    <a:gd name="connsiteY511" fmla="*/ 875957 h 1276264"/>
                    <a:gd name="connsiteX512" fmla="*/ 2097757 w 2181066"/>
                    <a:gd name="connsiteY512" fmla="*/ 875957 h 1276264"/>
                    <a:gd name="connsiteX513" fmla="*/ 2091403 w 2181066"/>
                    <a:gd name="connsiteY513" fmla="*/ 887757 h 1276264"/>
                    <a:gd name="connsiteX514" fmla="*/ 2091403 w 2181066"/>
                    <a:gd name="connsiteY514" fmla="*/ 887757 h 1276264"/>
                    <a:gd name="connsiteX515" fmla="*/ 2072341 w 2181066"/>
                    <a:gd name="connsiteY515" fmla="*/ 941817 h 1276264"/>
                    <a:gd name="connsiteX516" fmla="*/ 2072341 w 2181066"/>
                    <a:gd name="connsiteY516" fmla="*/ 941817 h 1276264"/>
                    <a:gd name="connsiteX517" fmla="*/ 2072442 w 2181066"/>
                    <a:gd name="connsiteY517" fmla="*/ 952407 h 1276264"/>
                    <a:gd name="connsiteX518" fmla="*/ 2072442 w 2181066"/>
                    <a:gd name="connsiteY518" fmla="*/ 952407 h 1276264"/>
                    <a:gd name="connsiteX519" fmla="*/ 2072341 w 2181066"/>
                    <a:gd name="connsiteY519" fmla="*/ 954021 h 1276264"/>
                    <a:gd name="connsiteX520" fmla="*/ 2072341 w 2181066"/>
                    <a:gd name="connsiteY520" fmla="*/ 954021 h 1276264"/>
                    <a:gd name="connsiteX521" fmla="*/ 2016667 w 2181066"/>
                    <a:gd name="connsiteY521" fmla="*/ 1015948 h 1276264"/>
                    <a:gd name="connsiteX522" fmla="*/ 2016667 w 2181066"/>
                    <a:gd name="connsiteY522" fmla="*/ 1015948 h 1276264"/>
                    <a:gd name="connsiteX523" fmla="*/ 2002042 w 2181066"/>
                    <a:gd name="connsiteY523" fmla="*/ 1013528 h 1276264"/>
                    <a:gd name="connsiteX524" fmla="*/ 2002042 w 2181066"/>
                    <a:gd name="connsiteY524" fmla="*/ 1013528 h 1276264"/>
                    <a:gd name="connsiteX525" fmla="*/ 1946772 w 2181066"/>
                    <a:gd name="connsiteY525" fmla="*/ 990229 h 1276264"/>
                    <a:gd name="connsiteX526" fmla="*/ 1946772 w 2181066"/>
                    <a:gd name="connsiteY526" fmla="*/ 990229 h 1276264"/>
                    <a:gd name="connsiteX527" fmla="*/ 1904815 w 2181066"/>
                    <a:gd name="connsiteY527" fmla="*/ 993658 h 1276264"/>
                    <a:gd name="connsiteX528" fmla="*/ 1904815 w 2181066"/>
                    <a:gd name="connsiteY528" fmla="*/ 993658 h 1276264"/>
                    <a:gd name="connsiteX529" fmla="*/ 1802040 w 2181066"/>
                    <a:gd name="connsiteY529" fmla="*/ 1085036 h 1276264"/>
                    <a:gd name="connsiteX530" fmla="*/ 1802040 w 2181066"/>
                    <a:gd name="connsiteY530" fmla="*/ 1085036 h 1276264"/>
                    <a:gd name="connsiteX531" fmla="*/ 1765529 w 2181066"/>
                    <a:gd name="connsiteY531" fmla="*/ 1098249 h 1276264"/>
                    <a:gd name="connsiteX532" fmla="*/ 1765529 w 2181066"/>
                    <a:gd name="connsiteY532" fmla="*/ 1098249 h 1276264"/>
                    <a:gd name="connsiteX533" fmla="*/ 1700677 w 2181066"/>
                    <a:gd name="connsiteY533" fmla="*/ 1076262 h 1276264"/>
                    <a:gd name="connsiteX534" fmla="*/ 1700677 w 2181066"/>
                    <a:gd name="connsiteY534" fmla="*/ 1076262 h 1276264"/>
                    <a:gd name="connsiteX535" fmla="*/ 1691196 w 2181066"/>
                    <a:gd name="connsiteY535" fmla="*/ 1073236 h 1276264"/>
                    <a:gd name="connsiteX536" fmla="*/ 1691196 w 2181066"/>
                    <a:gd name="connsiteY536" fmla="*/ 1073236 h 1276264"/>
                    <a:gd name="connsiteX537" fmla="*/ 1651256 w 2181066"/>
                    <a:gd name="connsiteY537" fmla="*/ 1084633 h 1276264"/>
                    <a:gd name="connsiteX538" fmla="*/ 1651256 w 2181066"/>
                    <a:gd name="connsiteY538" fmla="*/ 1084633 h 1276264"/>
                    <a:gd name="connsiteX539" fmla="*/ 1623319 w 2181066"/>
                    <a:gd name="connsiteY539" fmla="*/ 1087961 h 1276264"/>
                    <a:gd name="connsiteX540" fmla="*/ 1623319 w 2181066"/>
                    <a:gd name="connsiteY540" fmla="*/ 1087961 h 1276264"/>
                    <a:gd name="connsiteX541" fmla="*/ 1578638 w 2181066"/>
                    <a:gd name="connsiteY541" fmla="*/ 1086146 h 1276264"/>
                    <a:gd name="connsiteX542" fmla="*/ 1578638 w 2181066"/>
                    <a:gd name="connsiteY542" fmla="*/ 1086146 h 1276264"/>
                    <a:gd name="connsiteX543" fmla="*/ 1569964 w 2181066"/>
                    <a:gd name="connsiteY543" fmla="*/ 1086953 h 1276264"/>
                    <a:gd name="connsiteX544" fmla="*/ 1569964 w 2181066"/>
                    <a:gd name="connsiteY544" fmla="*/ 1086953 h 1276264"/>
                    <a:gd name="connsiteX545" fmla="*/ 1531033 w 2181066"/>
                    <a:gd name="connsiteY545" fmla="*/ 1188013 h 1276264"/>
                    <a:gd name="connsiteX546" fmla="*/ 1531033 w 2181066"/>
                    <a:gd name="connsiteY546" fmla="*/ 1188013 h 1276264"/>
                    <a:gd name="connsiteX547" fmla="*/ 1486050 w 2181066"/>
                    <a:gd name="connsiteY547" fmla="*/ 1258715 h 1276264"/>
                    <a:gd name="connsiteX548" fmla="*/ 1486050 w 2181066"/>
                    <a:gd name="connsiteY548" fmla="*/ 1258715 h 1276264"/>
                    <a:gd name="connsiteX549" fmla="*/ 1477578 w 2181066"/>
                    <a:gd name="connsiteY549" fmla="*/ 1260530 h 1276264"/>
                    <a:gd name="connsiteX550" fmla="*/ 1477578 w 2181066"/>
                    <a:gd name="connsiteY550" fmla="*/ 1260530 h 1276264"/>
                    <a:gd name="connsiteX551" fmla="*/ 1433301 w 2181066"/>
                    <a:gd name="connsiteY551" fmla="*/ 1226642 h 1276264"/>
                    <a:gd name="connsiteX552" fmla="*/ 1433301 w 2181066"/>
                    <a:gd name="connsiteY552" fmla="*/ 1226642 h 1276264"/>
                    <a:gd name="connsiteX553" fmla="*/ 1429670 w 2181066"/>
                    <a:gd name="connsiteY553" fmla="*/ 1226339 h 1276264"/>
                    <a:gd name="connsiteX554" fmla="*/ 1429670 w 2181066"/>
                    <a:gd name="connsiteY554" fmla="*/ 1226339 h 1276264"/>
                    <a:gd name="connsiteX555" fmla="*/ 1362700 w 2181066"/>
                    <a:gd name="connsiteY555" fmla="*/ 1272028 h 1276264"/>
                    <a:gd name="connsiteX556" fmla="*/ 1362700 w 2181066"/>
                    <a:gd name="connsiteY556" fmla="*/ 1272028 h 1276264"/>
                    <a:gd name="connsiteX557" fmla="*/ 1339906 w 2181066"/>
                    <a:gd name="connsiteY557" fmla="*/ 1276264 h 1276264"/>
                    <a:gd name="connsiteX558" fmla="*/ 1339906 w 2181066"/>
                    <a:gd name="connsiteY558" fmla="*/ 1276264 h 1276264"/>
                    <a:gd name="connsiteX559" fmla="*/ 1289376 w 2181066"/>
                    <a:gd name="connsiteY559" fmla="*/ 1239148 h 1276264"/>
                    <a:gd name="connsiteX560" fmla="*/ 1289376 w 2181066"/>
                    <a:gd name="connsiteY560" fmla="*/ 1239148 h 1276264"/>
                    <a:gd name="connsiteX561" fmla="*/ 1294721 w 2181066"/>
                    <a:gd name="connsiteY561" fmla="*/ 1236728 h 1276264"/>
                    <a:gd name="connsiteX562" fmla="*/ 1294822 w 2181066"/>
                    <a:gd name="connsiteY562" fmla="*/ 1238341 h 1276264"/>
                    <a:gd name="connsiteX563" fmla="*/ 1294822 w 2181066"/>
                    <a:gd name="connsiteY563" fmla="*/ 1238341 h 1276264"/>
                    <a:gd name="connsiteX564" fmla="*/ 1340007 w 2181066"/>
                    <a:gd name="connsiteY564" fmla="*/ 1271020 h 1276264"/>
                    <a:gd name="connsiteX565" fmla="*/ 1340007 w 2181066"/>
                    <a:gd name="connsiteY565" fmla="*/ 1271020 h 1276264"/>
                    <a:gd name="connsiteX566" fmla="*/ 1360985 w 2181066"/>
                    <a:gd name="connsiteY566" fmla="*/ 1267086 h 1276264"/>
                    <a:gd name="connsiteX567" fmla="*/ 1360985 w 2181066"/>
                    <a:gd name="connsiteY567" fmla="*/ 1267086 h 1276264"/>
                    <a:gd name="connsiteX568" fmla="*/ 1429771 w 2181066"/>
                    <a:gd name="connsiteY568" fmla="*/ 1220994 h 1276264"/>
                    <a:gd name="connsiteX569" fmla="*/ 1429771 w 2181066"/>
                    <a:gd name="connsiteY569" fmla="*/ 1220994 h 1276264"/>
                    <a:gd name="connsiteX570" fmla="*/ 1434511 w 2181066"/>
                    <a:gd name="connsiteY570" fmla="*/ 1221397 h 1276264"/>
                    <a:gd name="connsiteX571" fmla="*/ 1434511 w 2181066"/>
                    <a:gd name="connsiteY571" fmla="*/ 1221397 h 1276264"/>
                    <a:gd name="connsiteX572" fmla="*/ 1477679 w 2181066"/>
                    <a:gd name="connsiteY572" fmla="*/ 1255185 h 1276264"/>
                    <a:gd name="connsiteX573" fmla="*/ 1477679 w 2181066"/>
                    <a:gd name="connsiteY573" fmla="*/ 1255185 h 1276264"/>
                    <a:gd name="connsiteX574" fmla="*/ 1483932 w 2181066"/>
                    <a:gd name="connsiteY574" fmla="*/ 1253874 h 1276264"/>
                    <a:gd name="connsiteX575" fmla="*/ 1483932 w 2181066"/>
                    <a:gd name="connsiteY575" fmla="*/ 1253874 h 1276264"/>
                    <a:gd name="connsiteX576" fmla="*/ 1525587 w 2181066"/>
                    <a:gd name="connsiteY576" fmla="*/ 1187004 h 1276264"/>
                    <a:gd name="connsiteX577" fmla="*/ 1525587 w 2181066"/>
                    <a:gd name="connsiteY577" fmla="*/ 1187004 h 1276264"/>
                    <a:gd name="connsiteX578" fmla="*/ 1568653 w 2181066"/>
                    <a:gd name="connsiteY578" fmla="*/ 1081708 h 1276264"/>
                    <a:gd name="connsiteX579" fmla="*/ 1568653 w 2181066"/>
                    <a:gd name="connsiteY579" fmla="*/ 1081708 h 1276264"/>
                    <a:gd name="connsiteX580" fmla="*/ 1578537 w 2181066"/>
                    <a:gd name="connsiteY580" fmla="*/ 1080800 h 1276264"/>
                    <a:gd name="connsiteX581" fmla="*/ 1578537 w 2181066"/>
                    <a:gd name="connsiteY581" fmla="*/ 1080800 h 1276264"/>
                    <a:gd name="connsiteX582" fmla="*/ 1623218 w 2181066"/>
                    <a:gd name="connsiteY582" fmla="*/ 1082616 h 1276264"/>
                    <a:gd name="connsiteX583" fmla="*/ 1623218 w 2181066"/>
                    <a:gd name="connsiteY583" fmla="*/ 1082616 h 1276264"/>
                    <a:gd name="connsiteX584" fmla="*/ 1649340 w 2181066"/>
                    <a:gd name="connsiteY584" fmla="*/ 1079691 h 1276264"/>
                    <a:gd name="connsiteX585" fmla="*/ 1649340 w 2181066"/>
                    <a:gd name="connsiteY585" fmla="*/ 1079691 h 1276264"/>
                    <a:gd name="connsiteX586" fmla="*/ 1691096 w 2181066"/>
                    <a:gd name="connsiteY586" fmla="*/ 1067991 h 1276264"/>
                    <a:gd name="connsiteX587" fmla="*/ 1691096 w 2181066"/>
                    <a:gd name="connsiteY587" fmla="*/ 1067991 h 1276264"/>
                    <a:gd name="connsiteX588" fmla="*/ 1704207 w 2181066"/>
                    <a:gd name="connsiteY588" fmla="*/ 1072429 h 1276264"/>
                    <a:gd name="connsiteX589" fmla="*/ 1704207 w 2181066"/>
                    <a:gd name="connsiteY589" fmla="*/ 1072429 h 1276264"/>
                    <a:gd name="connsiteX590" fmla="*/ 1765428 w 2181066"/>
                    <a:gd name="connsiteY590" fmla="*/ 1093105 h 1276264"/>
                    <a:gd name="connsiteX591" fmla="*/ 1765428 w 2181066"/>
                    <a:gd name="connsiteY591" fmla="*/ 1093105 h 1276264"/>
                    <a:gd name="connsiteX592" fmla="*/ 1798106 w 2181066"/>
                    <a:gd name="connsiteY592" fmla="*/ 1081506 h 1276264"/>
                    <a:gd name="connsiteX593" fmla="*/ 1798106 w 2181066"/>
                    <a:gd name="connsiteY593" fmla="*/ 1081506 h 1276264"/>
                    <a:gd name="connsiteX594" fmla="*/ 1904008 w 2181066"/>
                    <a:gd name="connsiteY594" fmla="*/ 988716 h 1276264"/>
                    <a:gd name="connsiteX595" fmla="*/ 1904008 w 2181066"/>
                    <a:gd name="connsiteY595" fmla="*/ 988716 h 1276264"/>
                    <a:gd name="connsiteX596" fmla="*/ 1946772 w 2181066"/>
                    <a:gd name="connsiteY596" fmla="*/ 985186 h 1276264"/>
                    <a:gd name="connsiteX597" fmla="*/ 1946772 w 2181066"/>
                    <a:gd name="connsiteY597" fmla="*/ 985186 h 1276264"/>
                    <a:gd name="connsiteX598" fmla="*/ 2004060 w 2181066"/>
                    <a:gd name="connsiteY598" fmla="*/ 1008787 h 1276264"/>
                    <a:gd name="connsiteX599" fmla="*/ 2004060 w 2181066"/>
                    <a:gd name="connsiteY599" fmla="*/ 1008787 h 1276264"/>
                    <a:gd name="connsiteX600" fmla="*/ 2016768 w 2181066"/>
                    <a:gd name="connsiteY600" fmla="*/ 1010805 h 1276264"/>
                    <a:gd name="connsiteX601" fmla="*/ 2016768 w 2181066"/>
                    <a:gd name="connsiteY601" fmla="*/ 1010805 h 1276264"/>
                    <a:gd name="connsiteX602" fmla="*/ 2066794 w 2181066"/>
                    <a:gd name="connsiteY602" fmla="*/ 954425 h 1276264"/>
                    <a:gd name="connsiteX603" fmla="*/ 2066794 w 2181066"/>
                    <a:gd name="connsiteY603" fmla="*/ 954425 h 1276264"/>
                    <a:gd name="connsiteX604" fmla="*/ 2066895 w 2181066"/>
                    <a:gd name="connsiteY604" fmla="*/ 952710 h 1276264"/>
                    <a:gd name="connsiteX605" fmla="*/ 2066895 w 2181066"/>
                    <a:gd name="connsiteY605" fmla="*/ 952710 h 1276264"/>
                    <a:gd name="connsiteX606" fmla="*/ 2066794 w 2181066"/>
                    <a:gd name="connsiteY606" fmla="*/ 942221 h 1276264"/>
                    <a:gd name="connsiteX607" fmla="*/ 2066794 w 2181066"/>
                    <a:gd name="connsiteY607" fmla="*/ 942221 h 1276264"/>
                    <a:gd name="connsiteX608" fmla="*/ 2087772 w 2181066"/>
                    <a:gd name="connsiteY608" fmla="*/ 883924 h 1276264"/>
                    <a:gd name="connsiteX609" fmla="*/ 2087772 w 2181066"/>
                    <a:gd name="connsiteY609" fmla="*/ 883924 h 1276264"/>
                    <a:gd name="connsiteX610" fmla="*/ 2092311 w 2181066"/>
                    <a:gd name="connsiteY610" fmla="*/ 876360 h 1276264"/>
                    <a:gd name="connsiteX611" fmla="*/ 2092311 w 2181066"/>
                    <a:gd name="connsiteY611" fmla="*/ 876360 h 1276264"/>
                    <a:gd name="connsiteX612" fmla="*/ 2091202 w 2181066"/>
                    <a:gd name="connsiteY612" fmla="*/ 867283 h 1276264"/>
                    <a:gd name="connsiteX613" fmla="*/ 2091202 w 2181066"/>
                    <a:gd name="connsiteY613" fmla="*/ 867283 h 1276264"/>
                    <a:gd name="connsiteX614" fmla="*/ 2102296 w 2181066"/>
                    <a:gd name="connsiteY614" fmla="*/ 848422 h 1276264"/>
                    <a:gd name="connsiteX615" fmla="*/ 2102296 w 2181066"/>
                    <a:gd name="connsiteY615" fmla="*/ 848422 h 1276264"/>
                    <a:gd name="connsiteX616" fmla="*/ 2136991 w 2181066"/>
                    <a:gd name="connsiteY616" fmla="*/ 838235 h 1276264"/>
                    <a:gd name="connsiteX617" fmla="*/ 2136991 w 2181066"/>
                    <a:gd name="connsiteY617" fmla="*/ 838235 h 1276264"/>
                    <a:gd name="connsiteX618" fmla="*/ 2158172 w 2181066"/>
                    <a:gd name="connsiteY618" fmla="*/ 830469 h 1276264"/>
                    <a:gd name="connsiteX619" fmla="*/ 2158172 w 2181066"/>
                    <a:gd name="connsiteY619" fmla="*/ 830469 h 1276264"/>
                    <a:gd name="connsiteX620" fmla="*/ 2172090 w 2181066"/>
                    <a:gd name="connsiteY620" fmla="*/ 786797 h 1276264"/>
                    <a:gd name="connsiteX621" fmla="*/ 2172090 w 2181066"/>
                    <a:gd name="connsiteY621" fmla="*/ 786797 h 1276264"/>
                    <a:gd name="connsiteX622" fmla="*/ 2150103 w 2181066"/>
                    <a:gd name="connsiteY622" fmla="*/ 746051 h 1276264"/>
                    <a:gd name="connsiteX623" fmla="*/ 2150103 w 2181066"/>
                    <a:gd name="connsiteY623" fmla="*/ 746051 h 1276264"/>
                    <a:gd name="connsiteX624" fmla="*/ 2124687 w 2181066"/>
                    <a:gd name="connsiteY624" fmla="*/ 709641 h 1276264"/>
                    <a:gd name="connsiteX625" fmla="*/ 2124687 w 2181066"/>
                    <a:gd name="connsiteY625" fmla="*/ 709641 h 1276264"/>
                    <a:gd name="connsiteX626" fmla="*/ 2143346 w 2181066"/>
                    <a:gd name="connsiteY626" fmla="*/ 682913 h 1276264"/>
                    <a:gd name="connsiteX627" fmla="*/ 2143346 w 2181066"/>
                    <a:gd name="connsiteY627" fmla="*/ 682913 h 1276264"/>
                    <a:gd name="connsiteX628" fmla="*/ 2160088 w 2181066"/>
                    <a:gd name="connsiteY628" fmla="*/ 644184 h 1276264"/>
                    <a:gd name="connsiteX629" fmla="*/ 2160088 w 2181066"/>
                    <a:gd name="connsiteY629" fmla="*/ 644184 h 1276264"/>
                    <a:gd name="connsiteX630" fmla="*/ 2152725 w 2181066"/>
                    <a:gd name="connsiteY630" fmla="*/ 618969 h 1276264"/>
                    <a:gd name="connsiteX631" fmla="*/ 2152725 w 2181066"/>
                    <a:gd name="connsiteY631" fmla="*/ 618969 h 1276264"/>
                    <a:gd name="connsiteX632" fmla="*/ 2138605 w 2181066"/>
                    <a:gd name="connsiteY632" fmla="*/ 589216 h 1276264"/>
                    <a:gd name="connsiteX633" fmla="*/ 2138605 w 2181066"/>
                    <a:gd name="connsiteY633" fmla="*/ 589216 h 1276264"/>
                    <a:gd name="connsiteX634" fmla="*/ 2154742 w 2181066"/>
                    <a:gd name="connsiteY634" fmla="*/ 568540 h 1276264"/>
                    <a:gd name="connsiteX635" fmla="*/ 2154742 w 2181066"/>
                    <a:gd name="connsiteY635" fmla="*/ 568540 h 1276264"/>
                    <a:gd name="connsiteX636" fmla="*/ 2154742 w 2181066"/>
                    <a:gd name="connsiteY636" fmla="*/ 568439 h 1276264"/>
                    <a:gd name="connsiteX637" fmla="*/ 2175519 w 2181066"/>
                    <a:gd name="connsiteY637" fmla="*/ 530718 h 1276264"/>
                    <a:gd name="connsiteX638" fmla="*/ 2175519 w 2181066"/>
                    <a:gd name="connsiteY638" fmla="*/ 530718 h 1276264"/>
                    <a:gd name="connsiteX639" fmla="*/ 2168863 w 2181066"/>
                    <a:gd name="connsiteY639" fmla="*/ 513168 h 1276264"/>
                    <a:gd name="connsiteX640" fmla="*/ 2168863 w 2181066"/>
                    <a:gd name="connsiteY640" fmla="*/ 513168 h 1276264"/>
                    <a:gd name="connsiteX641" fmla="*/ 2150204 w 2181066"/>
                    <a:gd name="connsiteY641" fmla="*/ 445089 h 1276264"/>
                    <a:gd name="connsiteX642" fmla="*/ 2150204 w 2181066"/>
                    <a:gd name="connsiteY642" fmla="*/ 445089 h 1276264"/>
                    <a:gd name="connsiteX643" fmla="*/ 2159886 w 2181066"/>
                    <a:gd name="connsiteY643" fmla="*/ 410293 h 1276264"/>
                    <a:gd name="connsiteX644" fmla="*/ 2159886 w 2181066"/>
                    <a:gd name="connsiteY644" fmla="*/ 410293 h 1276264"/>
                    <a:gd name="connsiteX645" fmla="*/ 2172494 w 2181066"/>
                    <a:gd name="connsiteY645" fmla="*/ 391029 h 1276264"/>
                    <a:gd name="connsiteX646" fmla="*/ 2172494 w 2181066"/>
                    <a:gd name="connsiteY646" fmla="*/ 391029 h 1276264"/>
                    <a:gd name="connsiteX647" fmla="*/ 2088781 w 2181066"/>
                    <a:gd name="connsiteY647" fmla="*/ 363292 h 1276264"/>
                    <a:gd name="connsiteX648" fmla="*/ 2088781 w 2181066"/>
                    <a:gd name="connsiteY648" fmla="*/ 363292 h 1276264"/>
                    <a:gd name="connsiteX649" fmla="*/ 2085150 w 2181066"/>
                    <a:gd name="connsiteY649" fmla="*/ 363091 h 1276264"/>
                    <a:gd name="connsiteX650" fmla="*/ 2085150 w 2181066"/>
                    <a:gd name="connsiteY650" fmla="*/ 363091 h 1276264"/>
                    <a:gd name="connsiteX651" fmla="*/ 2002648 w 2181066"/>
                    <a:gd name="connsiteY651" fmla="*/ 409284 h 1276264"/>
                    <a:gd name="connsiteX652" fmla="*/ 2002648 w 2181066"/>
                    <a:gd name="connsiteY652" fmla="*/ 409284 h 1276264"/>
                    <a:gd name="connsiteX653" fmla="*/ 1985804 w 2181066"/>
                    <a:gd name="connsiteY653" fmla="*/ 411705 h 1276264"/>
                    <a:gd name="connsiteX654" fmla="*/ 1985804 w 2181066"/>
                    <a:gd name="connsiteY654" fmla="*/ 411705 h 1276264"/>
                    <a:gd name="connsiteX655" fmla="*/ 1910160 w 2181066"/>
                    <a:gd name="connsiteY655" fmla="*/ 362183 h 1276264"/>
                    <a:gd name="connsiteX656" fmla="*/ 1910160 w 2181066"/>
                    <a:gd name="connsiteY656" fmla="*/ 362183 h 1276264"/>
                    <a:gd name="connsiteX657" fmla="*/ 1881416 w 2181066"/>
                    <a:gd name="connsiteY657" fmla="*/ 282505 h 1276264"/>
                    <a:gd name="connsiteX658" fmla="*/ 1881416 w 2181066"/>
                    <a:gd name="connsiteY658" fmla="*/ 282505 h 1276264"/>
                    <a:gd name="connsiteX659" fmla="*/ 1884038 w 2181066"/>
                    <a:gd name="connsiteY659" fmla="*/ 267477 h 1276264"/>
                    <a:gd name="connsiteX660" fmla="*/ 1884038 w 2181066"/>
                    <a:gd name="connsiteY660" fmla="*/ 267477 h 1276264"/>
                    <a:gd name="connsiteX661" fmla="*/ 1865480 w 2181066"/>
                    <a:gd name="connsiteY661" fmla="*/ 265863 h 1276264"/>
                    <a:gd name="connsiteX662" fmla="*/ 1865480 w 2181066"/>
                    <a:gd name="connsiteY662" fmla="*/ 265863 h 1276264"/>
                    <a:gd name="connsiteX663" fmla="*/ 1856201 w 2181066"/>
                    <a:gd name="connsiteY663" fmla="*/ 266166 h 1276264"/>
                    <a:gd name="connsiteX664" fmla="*/ 1856201 w 2181066"/>
                    <a:gd name="connsiteY664" fmla="*/ 266166 h 1276264"/>
                    <a:gd name="connsiteX665" fmla="*/ 1792358 w 2181066"/>
                    <a:gd name="connsiteY665" fmla="*/ 269091 h 1276264"/>
                    <a:gd name="connsiteX666" fmla="*/ 1792358 w 2181066"/>
                    <a:gd name="connsiteY666" fmla="*/ 269091 h 1276264"/>
                    <a:gd name="connsiteX667" fmla="*/ 1723068 w 2181066"/>
                    <a:gd name="connsiteY667" fmla="*/ 247406 h 1276264"/>
                    <a:gd name="connsiteX668" fmla="*/ 1723068 w 2181066"/>
                    <a:gd name="connsiteY668" fmla="*/ 247406 h 1276264"/>
                    <a:gd name="connsiteX669" fmla="*/ 1717319 w 2181066"/>
                    <a:gd name="connsiteY669" fmla="*/ 226528 h 1276264"/>
                    <a:gd name="connsiteX670" fmla="*/ 1717319 w 2181066"/>
                    <a:gd name="connsiteY670" fmla="*/ 226528 h 1276264"/>
                    <a:gd name="connsiteX671" fmla="*/ 1724177 w 2181066"/>
                    <a:gd name="connsiteY671" fmla="*/ 193749 h 1276264"/>
                    <a:gd name="connsiteX672" fmla="*/ 1724177 w 2181066"/>
                    <a:gd name="connsiteY672" fmla="*/ 193749 h 1276264"/>
                    <a:gd name="connsiteX673" fmla="*/ 1723068 w 2181066"/>
                    <a:gd name="connsiteY673" fmla="*/ 189110 h 1276264"/>
                    <a:gd name="connsiteX674" fmla="*/ 1723068 w 2181066"/>
                    <a:gd name="connsiteY674" fmla="*/ 189110 h 1276264"/>
                    <a:gd name="connsiteX675" fmla="*/ 1693314 w 2181066"/>
                    <a:gd name="connsiteY675" fmla="*/ 181344 h 1276264"/>
                    <a:gd name="connsiteX676" fmla="*/ 1693314 w 2181066"/>
                    <a:gd name="connsiteY676" fmla="*/ 181344 h 1276264"/>
                    <a:gd name="connsiteX677" fmla="*/ 1651559 w 2181066"/>
                    <a:gd name="connsiteY677" fmla="*/ 202020 h 1276264"/>
                    <a:gd name="connsiteX678" fmla="*/ 1651559 w 2181066"/>
                    <a:gd name="connsiteY678" fmla="*/ 202020 h 1276264"/>
                    <a:gd name="connsiteX679" fmla="*/ 1622915 w 2181066"/>
                    <a:gd name="connsiteY679" fmla="*/ 236009 h 1276264"/>
                    <a:gd name="connsiteX680" fmla="*/ 1622915 w 2181066"/>
                    <a:gd name="connsiteY680" fmla="*/ 236009 h 1276264"/>
                    <a:gd name="connsiteX681" fmla="*/ 1599113 w 2181066"/>
                    <a:gd name="connsiteY681" fmla="*/ 230260 h 1276264"/>
                    <a:gd name="connsiteX682" fmla="*/ 1599113 w 2181066"/>
                    <a:gd name="connsiteY682" fmla="*/ 230260 h 1276264"/>
                    <a:gd name="connsiteX683" fmla="*/ 1584891 w 2181066"/>
                    <a:gd name="connsiteY683" fmla="*/ 227033 h 1276264"/>
                    <a:gd name="connsiteX684" fmla="*/ 1584891 w 2181066"/>
                    <a:gd name="connsiteY684" fmla="*/ 227033 h 1276264"/>
                    <a:gd name="connsiteX685" fmla="*/ 1551810 w 2181066"/>
                    <a:gd name="connsiteY685" fmla="*/ 259509 h 1276264"/>
                    <a:gd name="connsiteX686" fmla="*/ 1551810 w 2181066"/>
                    <a:gd name="connsiteY686" fmla="*/ 259509 h 1276264"/>
                    <a:gd name="connsiteX687" fmla="*/ 1524074 w 2181066"/>
                    <a:gd name="connsiteY687" fmla="*/ 270704 h 1276264"/>
                    <a:gd name="connsiteX688" fmla="*/ 1524074 w 2181066"/>
                    <a:gd name="connsiteY688" fmla="*/ 270704 h 1276264"/>
                    <a:gd name="connsiteX689" fmla="*/ 1504205 w 2181066"/>
                    <a:gd name="connsiteY689" fmla="*/ 267376 h 1276264"/>
                    <a:gd name="connsiteX690" fmla="*/ 1504205 w 2181066"/>
                    <a:gd name="connsiteY690" fmla="*/ 267376 h 1276264"/>
                    <a:gd name="connsiteX691" fmla="*/ 1454381 w 2181066"/>
                    <a:gd name="connsiteY691" fmla="*/ 234900 h 1276264"/>
                    <a:gd name="connsiteX692" fmla="*/ 1454381 w 2181066"/>
                    <a:gd name="connsiteY692" fmla="*/ 234900 h 1276264"/>
                    <a:gd name="connsiteX693" fmla="*/ 1457104 w 2181066"/>
                    <a:gd name="connsiteY693" fmla="*/ 225621 h 1276264"/>
                    <a:gd name="connsiteX694" fmla="*/ 1457104 w 2181066"/>
                    <a:gd name="connsiteY694" fmla="*/ 225621 h 1276264"/>
                    <a:gd name="connsiteX695" fmla="*/ 1464668 w 2181066"/>
                    <a:gd name="connsiteY695" fmla="*/ 199599 h 1276264"/>
                    <a:gd name="connsiteX696" fmla="*/ 1464668 w 2181066"/>
                    <a:gd name="connsiteY696" fmla="*/ 199599 h 1276264"/>
                    <a:gd name="connsiteX697" fmla="*/ 1458314 w 2181066"/>
                    <a:gd name="connsiteY697" fmla="*/ 185176 h 1276264"/>
                    <a:gd name="connsiteX698" fmla="*/ 1458314 w 2181066"/>
                    <a:gd name="connsiteY698" fmla="*/ 185176 h 1276264"/>
                    <a:gd name="connsiteX699" fmla="*/ 1453876 w 2181066"/>
                    <a:gd name="connsiteY699" fmla="*/ 184067 h 1276264"/>
                    <a:gd name="connsiteX700" fmla="*/ 1453876 w 2181066"/>
                    <a:gd name="connsiteY700" fmla="*/ 184067 h 1276264"/>
                    <a:gd name="connsiteX701" fmla="*/ 1433503 w 2181066"/>
                    <a:gd name="connsiteY701" fmla="*/ 204642 h 1276264"/>
                    <a:gd name="connsiteX702" fmla="*/ 1433503 w 2181066"/>
                    <a:gd name="connsiteY702" fmla="*/ 204642 h 1276264"/>
                    <a:gd name="connsiteX703" fmla="*/ 1407280 w 2181066"/>
                    <a:gd name="connsiteY703" fmla="*/ 225015 h 1276264"/>
                    <a:gd name="connsiteX704" fmla="*/ 1407280 w 2181066"/>
                    <a:gd name="connsiteY704" fmla="*/ 225015 h 1276264"/>
                    <a:gd name="connsiteX705" fmla="*/ 1395681 w 2181066"/>
                    <a:gd name="connsiteY705" fmla="*/ 223099 h 1276264"/>
                    <a:gd name="connsiteX706" fmla="*/ 1395681 w 2181066"/>
                    <a:gd name="connsiteY706" fmla="*/ 223099 h 1276264"/>
                    <a:gd name="connsiteX707" fmla="*/ 1378535 w 2181066"/>
                    <a:gd name="connsiteY707" fmla="*/ 217048 h 1276264"/>
                    <a:gd name="connsiteX708" fmla="*/ 1378535 w 2181066"/>
                    <a:gd name="connsiteY708" fmla="*/ 217048 h 1276264"/>
                    <a:gd name="connsiteX709" fmla="*/ 1349689 w 2181066"/>
                    <a:gd name="connsiteY709" fmla="*/ 240043 h 1276264"/>
                    <a:gd name="connsiteX710" fmla="*/ 1349689 w 2181066"/>
                    <a:gd name="connsiteY710" fmla="*/ 240043 h 1276264"/>
                    <a:gd name="connsiteX711" fmla="*/ 1224625 w 2181066"/>
                    <a:gd name="connsiteY711" fmla="*/ 336363 h 1276264"/>
                    <a:gd name="connsiteX712" fmla="*/ 1224625 w 2181066"/>
                    <a:gd name="connsiteY712" fmla="*/ 336363 h 1276264"/>
                    <a:gd name="connsiteX713" fmla="*/ 1205260 w 2181066"/>
                    <a:gd name="connsiteY713" fmla="*/ 308728 h 1276264"/>
                    <a:gd name="connsiteX714" fmla="*/ 1205260 w 2181066"/>
                    <a:gd name="connsiteY714" fmla="*/ 308728 h 1276264"/>
                    <a:gd name="connsiteX715" fmla="*/ 1209899 w 2181066"/>
                    <a:gd name="connsiteY715" fmla="*/ 290170 h 1276264"/>
                    <a:gd name="connsiteX716" fmla="*/ 1209899 w 2181066"/>
                    <a:gd name="connsiteY716" fmla="*/ 290170 h 1276264"/>
                    <a:gd name="connsiteX717" fmla="*/ 1211211 w 2181066"/>
                    <a:gd name="connsiteY717" fmla="*/ 285026 h 1276264"/>
                    <a:gd name="connsiteX718" fmla="*/ 1211211 w 2181066"/>
                    <a:gd name="connsiteY718" fmla="*/ 285026 h 1276264"/>
                    <a:gd name="connsiteX719" fmla="*/ 1171775 w 2181066"/>
                    <a:gd name="connsiteY719" fmla="*/ 250331 h 1276264"/>
                    <a:gd name="connsiteX720" fmla="*/ 1171775 w 2181066"/>
                    <a:gd name="connsiteY720" fmla="*/ 250331 h 1276264"/>
                    <a:gd name="connsiteX721" fmla="*/ 1150796 w 2181066"/>
                    <a:gd name="connsiteY721" fmla="*/ 180940 h 1276264"/>
                    <a:gd name="connsiteX722" fmla="*/ 1150796 w 2181066"/>
                    <a:gd name="connsiteY722" fmla="*/ 180940 h 1276264"/>
                    <a:gd name="connsiteX723" fmla="*/ 1137080 w 2181066"/>
                    <a:gd name="connsiteY723" fmla="*/ 161575 h 1276264"/>
                    <a:gd name="connsiteX724" fmla="*/ 1137080 w 2181066"/>
                    <a:gd name="connsiteY724" fmla="*/ 161575 h 1276264"/>
                    <a:gd name="connsiteX725" fmla="*/ 1122354 w 2181066"/>
                    <a:gd name="connsiteY725" fmla="*/ 163895 h 1276264"/>
                    <a:gd name="connsiteX726" fmla="*/ 1122354 w 2181066"/>
                    <a:gd name="connsiteY726" fmla="*/ 163895 h 1276264"/>
                    <a:gd name="connsiteX727" fmla="*/ 1117815 w 2181066"/>
                    <a:gd name="connsiteY727" fmla="*/ 162987 h 1276264"/>
                    <a:gd name="connsiteX728" fmla="*/ 1117815 w 2181066"/>
                    <a:gd name="connsiteY728" fmla="*/ 162987 h 1276264"/>
                    <a:gd name="connsiteX729" fmla="*/ 1103292 w 2181066"/>
                    <a:gd name="connsiteY729" fmla="*/ 142614 h 1276264"/>
                    <a:gd name="connsiteX730" fmla="*/ 1103292 w 2181066"/>
                    <a:gd name="connsiteY730" fmla="*/ 142614 h 1276264"/>
                    <a:gd name="connsiteX731" fmla="*/ 1105208 w 2181066"/>
                    <a:gd name="connsiteY731" fmla="*/ 124560 h 1276264"/>
                    <a:gd name="connsiteX732" fmla="*/ 1105208 w 2181066"/>
                    <a:gd name="connsiteY732" fmla="*/ 124560 h 1276264"/>
                    <a:gd name="connsiteX733" fmla="*/ 1107931 w 2181066"/>
                    <a:gd name="connsiteY733" fmla="*/ 101766 h 1276264"/>
                    <a:gd name="connsiteX734" fmla="*/ 1107931 w 2181066"/>
                    <a:gd name="connsiteY734" fmla="*/ 101766 h 1276264"/>
                    <a:gd name="connsiteX735" fmla="*/ 1095122 w 2181066"/>
                    <a:gd name="connsiteY735" fmla="*/ 88655 h 1276264"/>
                    <a:gd name="connsiteX736" fmla="*/ 1095122 w 2181066"/>
                    <a:gd name="connsiteY736" fmla="*/ 88655 h 1276264"/>
                    <a:gd name="connsiteX737" fmla="*/ 1089273 w 2181066"/>
                    <a:gd name="connsiteY737" fmla="*/ 89159 h 1276264"/>
                    <a:gd name="connsiteX738" fmla="*/ 1089273 w 2181066"/>
                    <a:gd name="connsiteY738" fmla="*/ 89159 h 1276264"/>
                    <a:gd name="connsiteX739" fmla="*/ 1082112 w 2181066"/>
                    <a:gd name="connsiteY739" fmla="*/ 89361 h 1276264"/>
                    <a:gd name="connsiteX740" fmla="*/ 1082112 w 2181066"/>
                    <a:gd name="connsiteY740" fmla="*/ 89361 h 1276264"/>
                    <a:gd name="connsiteX741" fmla="*/ 1059418 w 2181066"/>
                    <a:gd name="connsiteY741" fmla="*/ 62431 h 1276264"/>
                    <a:gd name="connsiteX742" fmla="*/ 1059418 w 2181066"/>
                    <a:gd name="connsiteY742" fmla="*/ 62431 h 1276264"/>
                    <a:gd name="connsiteX743" fmla="*/ 1059620 w 2181066"/>
                    <a:gd name="connsiteY743" fmla="*/ 56279 h 1276264"/>
                    <a:gd name="connsiteX744" fmla="*/ 1059620 w 2181066"/>
                    <a:gd name="connsiteY744" fmla="*/ 56279 h 1276264"/>
                    <a:gd name="connsiteX745" fmla="*/ 1059620 w 2181066"/>
                    <a:gd name="connsiteY745" fmla="*/ 55876 h 1276264"/>
                    <a:gd name="connsiteX746" fmla="*/ 953920 w 2181066"/>
                    <a:gd name="connsiteY746" fmla="*/ 6051 h 1276264"/>
                    <a:gd name="connsiteX747" fmla="*/ 953920 w 2181066"/>
                    <a:gd name="connsiteY747" fmla="*/ 6051 h 1276264"/>
                    <a:gd name="connsiteX748" fmla="*/ 917006 w 2181066"/>
                    <a:gd name="connsiteY748" fmla="*/ 12406 h 1276264"/>
                    <a:gd name="connsiteX749" fmla="*/ 917006 w 2181066"/>
                    <a:gd name="connsiteY749" fmla="*/ 12406 h 1276264"/>
                    <a:gd name="connsiteX750" fmla="*/ 832991 w 2181066"/>
                    <a:gd name="connsiteY750" fmla="*/ 49925 h 1276264"/>
                    <a:gd name="connsiteX751" fmla="*/ 832991 w 2181066"/>
                    <a:gd name="connsiteY751" fmla="*/ 49925 h 1276264"/>
                    <a:gd name="connsiteX752" fmla="*/ 819375 w 2181066"/>
                    <a:gd name="connsiteY752" fmla="*/ 41150 h 1276264"/>
                    <a:gd name="connsiteX753" fmla="*/ 819375 w 2181066"/>
                    <a:gd name="connsiteY753" fmla="*/ 41150 h 1276264"/>
                    <a:gd name="connsiteX754" fmla="*/ 795572 w 2181066"/>
                    <a:gd name="connsiteY754" fmla="*/ 31468 h 1276264"/>
                    <a:gd name="connsiteX755" fmla="*/ 795572 w 2181066"/>
                    <a:gd name="connsiteY755" fmla="*/ 31468 h 1276264"/>
                    <a:gd name="connsiteX756" fmla="*/ 742420 w 2181066"/>
                    <a:gd name="connsiteY756" fmla="*/ 47504 h 1276264"/>
                    <a:gd name="connsiteX757" fmla="*/ 742420 w 2181066"/>
                    <a:gd name="connsiteY757" fmla="*/ 47504 h 1276264"/>
                    <a:gd name="connsiteX758" fmla="*/ 733544 w 2181066"/>
                    <a:gd name="connsiteY758" fmla="*/ 62633 h 1276264"/>
                    <a:gd name="connsiteX759" fmla="*/ 733544 w 2181066"/>
                    <a:gd name="connsiteY759" fmla="*/ 62633 h 1276264"/>
                    <a:gd name="connsiteX760" fmla="*/ 741714 w 2181066"/>
                    <a:gd name="connsiteY760" fmla="*/ 78064 h 1276264"/>
                    <a:gd name="connsiteX761" fmla="*/ 741714 w 2181066"/>
                    <a:gd name="connsiteY761" fmla="*/ 78064 h 1276264"/>
                    <a:gd name="connsiteX762" fmla="*/ 752304 w 2181066"/>
                    <a:gd name="connsiteY762" fmla="*/ 91882 h 1276264"/>
                    <a:gd name="connsiteX763" fmla="*/ 752304 w 2181066"/>
                    <a:gd name="connsiteY763" fmla="*/ 91882 h 1276264"/>
                    <a:gd name="connsiteX764" fmla="*/ 747564 w 2181066"/>
                    <a:gd name="connsiteY764" fmla="*/ 104590 h 1276264"/>
                    <a:gd name="connsiteX765" fmla="*/ 747564 w 2181066"/>
                    <a:gd name="connsiteY765" fmla="*/ 104590 h 1276264"/>
                    <a:gd name="connsiteX766" fmla="*/ 709137 w 2181066"/>
                    <a:gd name="connsiteY766" fmla="*/ 137773 h 1276264"/>
                    <a:gd name="connsiteX767" fmla="*/ 709137 w 2181066"/>
                    <a:gd name="connsiteY767" fmla="*/ 137773 h 1276264"/>
                    <a:gd name="connsiteX768" fmla="*/ 695016 w 2181066"/>
                    <a:gd name="connsiteY768" fmla="*/ 133133 h 1276264"/>
                    <a:gd name="connsiteX769" fmla="*/ 695016 w 2181066"/>
                    <a:gd name="connsiteY769" fmla="*/ 133133 h 1276264"/>
                    <a:gd name="connsiteX770" fmla="*/ 618263 w 2181066"/>
                    <a:gd name="connsiteY770" fmla="*/ 100455 h 1276264"/>
                    <a:gd name="connsiteX771" fmla="*/ 618263 w 2181066"/>
                    <a:gd name="connsiteY771" fmla="*/ 100455 h 1276264"/>
                    <a:gd name="connsiteX772" fmla="*/ 603336 w 2181066"/>
                    <a:gd name="connsiteY772" fmla="*/ 103380 h 1276264"/>
                    <a:gd name="connsiteX773" fmla="*/ 603336 w 2181066"/>
                    <a:gd name="connsiteY773" fmla="*/ 103380 h 1276264"/>
                    <a:gd name="connsiteX774" fmla="*/ 582257 w 2181066"/>
                    <a:gd name="connsiteY774" fmla="*/ 128897 h 1276264"/>
                    <a:gd name="connsiteX775" fmla="*/ 582257 w 2181066"/>
                    <a:gd name="connsiteY775" fmla="*/ 128897 h 1276264"/>
                    <a:gd name="connsiteX776" fmla="*/ 583971 w 2181066"/>
                    <a:gd name="connsiteY776" fmla="*/ 140093 h 1276264"/>
                    <a:gd name="connsiteX777" fmla="*/ 583971 w 2181066"/>
                    <a:gd name="connsiteY777" fmla="*/ 140093 h 1276264"/>
                    <a:gd name="connsiteX778" fmla="*/ 594158 w 2181066"/>
                    <a:gd name="connsiteY778" fmla="*/ 171359 h 1276264"/>
                    <a:gd name="connsiteX779" fmla="*/ 594158 w 2181066"/>
                    <a:gd name="connsiteY779" fmla="*/ 171359 h 1276264"/>
                    <a:gd name="connsiteX780" fmla="*/ 588510 w 2181066"/>
                    <a:gd name="connsiteY780" fmla="*/ 183865 h 1276264"/>
                    <a:gd name="connsiteX781" fmla="*/ 588510 w 2181066"/>
                    <a:gd name="connsiteY781" fmla="*/ 183865 h 1276264"/>
                    <a:gd name="connsiteX782" fmla="*/ 569447 w 2181066"/>
                    <a:gd name="connsiteY782" fmla="*/ 190118 h 1276264"/>
                    <a:gd name="connsiteX783" fmla="*/ 569447 w 2181066"/>
                    <a:gd name="connsiteY783" fmla="*/ 190118 h 1276264"/>
                    <a:gd name="connsiteX784" fmla="*/ 542821 w 2181066"/>
                    <a:gd name="connsiteY784" fmla="*/ 161676 h 1276264"/>
                    <a:gd name="connsiteX785" fmla="*/ 542821 w 2181066"/>
                    <a:gd name="connsiteY785" fmla="*/ 161676 h 1276264"/>
                    <a:gd name="connsiteX786" fmla="*/ 478876 w 2181066"/>
                    <a:gd name="connsiteY786" fmla="*/ 93899 h 1276264"/>
                    <a:gd name="connsiteX787" fmla="*/ 478876 w 2181066"/>
                    <a:gd name="connsiteY787" fmla="*/ 93899 h 1276264"/>
                    <a:gd name="connsiteX788" fmla="*/ 471816 w 2181066"/>
                    <a:gd name="connsiteY788" fmla="*/ 94605 h 1276264"/>
                    <a:gd name="connsiteX789" fmla="*/ 471816 w 2181066"/>
                    <a:gd name="connsiteY789" fmla="*/ 94605 h 1276264"/>
                    <a:gd name="connsiteX790" fmla="*/ 319217 w 2181066"/>
                    <a:gd name="connsiteY790" fmla="*/ 143522 h 1276264"/>
                    <a:gd name="connsiteX791" fmla="*/ 319217 w 2181066"/>
                    <a:gd name="connsiteY791" fmla="*/ 143522 h 1276264"/>
                    <a:gd name="connsiteX792" fmla="*/ 315687 w 2181066"/>
                    <a:gd name="connsiteY792" fmla="*/ 143421 h 1276264"/>
                    <a:gd name="connsiteX793" fmla="*/ 315687 w 2181066"/>
                    <a:gd name="connsiteY793" fmla="*/ 143421 h 1276264"/>
                    <a:gd name="connsiteX794" fmla="*/ 286438 w 2181066"/>
                    <a:gd name="connsiteY794" fmla="*/ 112861 h 1276264"/>
                    <a:gd name="connsiteX795" fmla="*/ 286438 w 2181066"/>
                    <a:gd name="connsiteY795" fmla="*/ 112861 h 1276264"/>
                    <a:gd name="connsiteX796" fmla="*/ 272016 w 2181066"/>
                    <a:gd name="connsiteY796" fmla="*/ 108423 h 1276264"/>
                    <a:gd name="connsiteX797" fmla="*/ 272016 w 2181066"/>
                    <a:gd name="connsiteY797" fmla="*/ 108423 h 1276264"/>
                    <a:gd name="connsiteX798" fmla="*/ 257391 w 2181066"/>
                    <a:gd name="connsiteY798" fmla="*/ 115281 h 1276264"/>
                    <a:gd name="connsiteX799" fmla="*/ 257391 w 2181066"/>
                    <a:gd name="connsiteY799" fmla="*/ 115281 h 1276264"/>
                    <a:gd name="connsiteX800" fmla="*/ 231975 w 2181066"/>
                    <a:gd name="connsiteY800" fmla="*/ 152296 h 1276264"/>
                    <a:gd name="connsiteX801" fmla="*/ 231975 w 2181066"/>
                    <a:gd name="connsiteY801" fmla="*/ 152296 h 1276264"/>
                    <a:gd name="connsiteX802" fmla="*/ 54968 w 2181066"/>
                    <a:gd name="connsiteY802" fmla="*/ 194859 h 1276264"/>
                    <a:gd name="connsiteX803" fmla="*/ 54968 w 2181066"/>
                    <a:gd name="connsiteY803" fmla="*/ 194859 h 1276264"/>
                    <a:gd name="connsiteX804" fmla="*/ 31266 w 2181066"/>
                    <a:gd name="connsiteY804" fmla="*/ 279883 h 1276264"/>
                    <a:gd name="connsiteX805" fmla="*/ 31266 w 2181066"/>
                    <a:gd name="connsiteY805" fmla="*/ 279883 h 1276264"/>
                    <a:gd name="connsiteX806" fmla="*/ 31468 w 2181066"/>
                    <a:gd name="connsiteY806" fmla="*/ 293801 h 1276264"/>
                    <a:gd name="connsiteX807" fmla="*/ 31468 w 2181066"/>
                    <a:gd name="connsiteY807" fmla="*/ 293801 h 1276264"/>
                    <a:gd name="connsiteX808" fmla="*/ 5951 w 2181066"/>
                    <a:gd name="connsiteY808" fmla="*/ 329404 h 1276264"/>
                    <a:gd name="connsiteX809" fmla="*/ 5951 w 2181066"/>
                    <a:gd name="connsiteY809" fmla="*/ 329404 h 1276264"/>
                    <a:gd name="connsiteX810" fmla="*/ 5749 w 2181066"/>
                    <a:gd name="connsiteY810" fmla="*/ 338885 h 1276264"/>
                    <a:gd name="connsiteX811" fmla="*/ 5749 w 2181066"/>
                    <a:gd name="connsiteY811" fmla="*/ 338885 h 1276264"/>
                    <a:gd name="connsiteX812" fmla="*/ 24710 w 2181066"/>
                    <a:gd name="connsiteY812" fmla="*/ 400711 h 1276264"/>
                    <a:gd name="connsiteX813" fmla="*/ 24710 w 2181066"/>
                    <a:gd name="connsiteY813" fmla="*/ 400711 h 1276264"/>
                    <a:gd name="connsiteX814" fmla="*/ 25416 w 2181066"/>
                    <a:gd name="connsiteY814" fmla="*/ 400812 h 1276264"/>
                    <a:gd name="connsiteX815" fmla="*/ 25416 w 2181066"/>
                    <a:gd name="connsiteY815" fmla="*/ 400812 h 1276264"/>
                    <a:gd name="connsiteX816" fmla="*/ 59507 w 2181066"/>
                    <a:gd name="connsiteY816" fmla="*/ 375799 h 1276264"/>
                    <a:gd name="connsiteX817" fmla="*/ 59507 w 2181066"/>
                    <a:gd name="connsiteY817" fmla="*/ 375799 h 1276264"/>
                    <a:gd name="connsiteX818" fmla="*/ 80788 w 2181066"/>
                    <a:gd name="connsiteY818" fmla="*/ 364805 h 1276264"/>
                    <a:gd name="connsiteX819" fmla="*/ 80788 w 2181066"/>
                    <a:gd name="connsiteY819" fmla="*/ 364805 h 1276264"/>
                    <a:gd name="connsiteX820" fmla="*/ 92689 w 2181066"/>
                    <a:gd name="connsiteY820" fmla="*/ 370252 h 1276264"/>
                    <a:gd name="connsiteX821" fmla="*/ 92689 w 2181066"/>
                    <a:gd name="connsiteY821" fmla="*/ 370252 h 1276264"/>
                    <a:gd name="connsiteX822" fmla="*/ 93294 w 2181066"/>
                    <a:gd name="connsiteY822" fmla="*/ 369647 h 1276264"/>
                    <a:gd name="connsiteX823" fmla="*/ 99749 w 2181066"/>
                    <a:gd name="connsiteY823" fmla="*/ 370554 h 1276264"/>
                    <a:gd name="connsiteX824" fmla="*/ 99749 w 2181066"/>
                    <a:gd name="connsiteY824" fmla="*/ 370554 h 1276264"/>
                    <a:gd name="connsiteX825" fmla="*/ 131015 w 2181066"/>
                    <a:gd name="connsiteY825" fmla="*/ 363091 h 1276264"/>
                    <a:gd name="connsiteX826" fmla="*/ 131015 w 2181066"/>
                    <a:gd name="connsiteY826" fmla="*/ 363091 h 1276264"/>
                    <a:gd name="connsiteX827" fmla="*/ 241758 w 2181066"/>
                    <a:gd name="connsiteY827" fmla="*/ 337674 h 1276264"/>
                    <a:gd name="connsiteX828" fmla="*/ 241758 w 2181066"/>
                    <a:gd name="connsiteY828" fmla="*/ 337674 h 1276264"/>
                    <a:gd name="connsiteX829" fmla="*/ 288052 w 2181066"/>
                    <a:gd name="connsiteY829" fmla="*/ 324865 h 1276264"/>
                    <a:gd name="connsiteX830" fmla="*/ 288052 w 2181066"/>
                    <a:gd name="connsiteY830" fmla="*/ 324865 h 1276264"/>
                    <a:gd name="connsiteX831" fmla="*/ 310039 w 2181066"/>
                    <a:gd name="connsiteY831" fmla="*/ 336666 h 1276264"/>
                    <a:gd name="connsiteX832" fmla="*/ 310039 w 2181066"/>
                    <a:gd name="connsiteY832" fmla="*/ 336666 h 1276264"/>
                    <a:gd name="connsiteX833" fmla="*/ 310039 w 2181066"/>
                    <a:gd name="connsiteY833" fmla="*/ 337977 h 1276264"/>
                    <a:gd name="connsiteX834" fmla="*/ 264350 w 2181066"/>
                    <a:gd name="connsiteY834" fmla="*/ 375093 h 1276264"/>
                    <a:gd name="connsiteX835" fmla="*/ 264350 w 2181066"/>
                    <a:gd name="connsiteY835" fmla="*/ 375093 h 1276264"/>
                    <a:gd name="connsiteX836" fmla="*/ 209181 w 2181066"/>
                    <a:gd name="connsiteY836" fmla="*/ 393752 h 1276264"/>
                    <a:gd name="connsiteX837" fmla="*/ 209181 w 2181066"/>
                    <a:gd name="connsiteY837" fmla="*/ 393752 h 1276264"/>
                    <a:gd name="connsiteX838" fmla="*/ 209080 w 2181066"/>
                    <a:gd name="connsiteY838" fmla="*/ 395366 h 1276264"/>
                    <a:gd name="connsiteX839" fmla="*/ 209080 w 2181066"/>
                    <a:gd name="connsiteY839" fmla="*/ 395366 h 1276264"/>
                    <a:gd name="connsiteX840" fmla="*/ 222091 w 2181066"/>
                    <a:gd name="connsiteY840" fmla="*/ 406863 h 1276264"/>
                    <a:gd name="connsiteX841" fmla="*/ 222091 w 2181066"/>
                    <a:gd name="connsiteY841" fmla="*/ 406863 h 1276264"/>
                    <a:gd name="connsiteX842" fmla="*/ 233387 w 2181066"/>
                    <a:gd name="connsiteY842" fmla="*/ 405149 h 1276264"/>
                    <a:gd name="connsiteX843" fmla="*/ 233387 w 2181066"/>
                    <a:gd name="connsiteY843" fmla="*/ 405149 h 1276264"/>
                    <a:gd name="connsiteX844" fmla="*/ 278370 w 2181066"/>
                    <a:gd name="connsiteY844" fmla="*/ 391130 h 1276264"/>
                    <a:gd name="connsiteX845" fmla="*/ 278370 w 2181066"/>
                    <a:gd name="connsiteY845" fmla="*/ 391130 h 1276264"/>
                    <a:gd name="connsiteX846" fmla="*/ 290674 w 2181066"/>
                    <a:gd name="connsiteY846" fmla="*/ 395870 h 1276264"/>
                    <a:gd name="connsiteX847" fmla="*/ 290674 w 2181066"/>
                    <a:gd name="connsiteY847" fmla="*/ 395870 h 1276264"/>
                    <a:gd name="connsiteX848" fmla="*/ 331018 w 2181066"/>
                    <a:gd name="connsiteY848" fmla="*/ 428245 h 1276264"/>
                    <a:gd name="connsiteX849" fmla="*/ 331018 w 2181066"/>
                    <a:gd name="connsiteY849" fmla="*/ 428245 h 1276264"/>
                    <a:gd name="connsiteX850" fmla="*/ 360872 w 2181066"/>
                    <a:gd name="connsiteY850" fmla="*/ 455578 h 1276264"/>
                    <a:gd name="connsiteX851" fmla="*/ 360872 w 2181066"/>
                    <a:gd name="connsiteY851" fmla="*/ 455578 h 1276264"/>
                    <a:gd name="connsiteX852" fmla="*/ 359763 w 2181066"/>
                    <a:gd name="connsiteY852" fmla="*/ 460924 h 1276264"/>
                    <a:gd name="connsiteX853" fmla="*/ 359763 w 2181066"/>
                    <a:gd name="connsiteY853" fmla="*/ 460924 h 1276264"/>
                    <a:gd name="connsiteX854" fmla="*/ 330816 w 2181066"/>
                    <a:gd name="connsiteY854" fmla="*/ 468387 h 1276264"/>
                    <a:gd name="connsiteX855" fmla="*/ 330816 w 2181066"/>
                    <a:gd name="connsiteY855" fmla="*/ 468387 h 1276264"/>
                    <a:gd name="connsiteX856" fmla="*/ 278370 w 2181066"/>
                    <a:gd name="connsiteY856" fmla="*/ 465866 h 1276264"/>
                    <a:gd name="connsiteX857" fmla="*/ 278370 w 2181066"/>
                    <a:gd name="connsiteY857" fmla="*/ 465866 h 1276264"/>
                    <a:gd name="connsiteX858" fmla="*/ 238631 w 2181066"/>
                    <a:gd name="connsiteY858" fmla="*/ 449224 h 1276264"/>
                    <a:gd name="connsiteX859" fmla="*/ 238631 w 2181066"/>
                    <a:gd name="connsiteY859" fmla="*/ 449224 h 1276264"/>
                    <a:gd name="connsiteX860" fmla="*/ 188000 w 2181066"/>
                    <a:gd name="connsiteY860" fmla="*/ 451846 h 1276264"/>
                    <a:gd name="connsiteX861" fmla="*/ 188000 w 2181066"/>
                    <a:gd name="connsiteY861" fmla="*/ 451846 h 1276264"/>
                    <a:gd name="connsiteX862" fmla="*/ 161676 w 2181066"/>
                    <a:gd name="connsiteY862" fmla="*/ 444080 h 1276264"/>
                    <a:gd name="connsiteX863" fmla="*/ 161676 w 2181066"/>
                    <a:gd name="connsiteY863" fmla="*/ 444080 h 1276264"/>
                    <a:gd name="connsiteX864" fmla="*/ 157238 w 2181066"/>
                    <a:gd name="connsiteY864" fmla="*/ 401518 h 1276264"/>
                    <a:gd name="connsiteX865" fmla="*/ 157238 w 2181066"/>
                    <a:gd name="connsiteY865" fmla="*/ 401518 h 1276264"/>
                    <a:gd name="connsiteX866" fmla="*/ 155221 w 2181066"/>
                    <a:gd name="connsiteY866" fmla="*/ 401316 h 1276264"/>
                    <a:gd name="connsiteX867" fmla="*/ 155221 w 2181066"/>
                    <a:gd name="connsiteY867" fmla="*/ 401316 h 1276264"/>
                    <a:gd name="connsiteX868" fmla="*/ 136058 w 2181066"/>
                    <a:gd name="connsiteY868" fmla="*/ 419773 h 1276264"/>
                    <a:gd name="connsiteX869" fmla="*/ 136058 w 2181066"/>
                    <a:gd name="connsiteY869" fmla="*/ 419773 h 1276264"/>
                    <a:gd name="connsiteX870" fmla="*/ 136159 w 2181066"/>
                    <a:gd name="connsiteY870" fmla="*/ 431271 h 1276264"/>
                    <a:gd name="connsiteX871" fmla="*/ 136159 w 2181066"/>
                    <a:gd name="connsiteY871" fmla="*/ 431271 h 1276264"/>
                    <a:gd name="connsiteX872" fmla="*/ 127687 w 2181066"/>
                    <a:gd name="connsiteY872" fmla="*/ 447005 h 1276264"/>
                    <a:gd name="connsiteX873" fmla="*/ 127687 w 2181066"/>
                    <a:gd name="connsiteY873" fmla="*/ 447005 h 1276264"/>
                    <a:gd name="connsiteX874" fmla="*/ 117904 w 2181066"/>
                    <a:gd name="connsiteY874" fmla="*/ 457293 h 1276264"/>
                    <a:gd name="connsiteX875" fmla="*/ 117904 w 2181066"/>
                    <a:gd name="connsiteY875" fmla="*/ 457293 h 1276264"/>
                    <a:gd name="connsiteX876" fmla="*/ 118105 w 2181066"/>
                    <a:gd name="connsiteY876" fmla="*/ 458906 h 1276264"/>
                    <a:gd name="connsiteX877" fmla="*/ 118105 w 2181066"/>
                    <a:gd name="connsiteY877" fmla="*/ 458906 h 1276264"/>
                    <a:gd name="connsiteX878" fmla="*/ 122644 w 2181066"/>
                    <a:gd name="connsiteY878" fmla="*/ 459814 h 1276264"/>
                    <a:gd name="connsiteX879" fmla="*/ 122644 w 2181066"/>
                    <a:gd name="connsiteY879" fmla="*/ 459814 h 1276264"/>
                    <a:gd name="connsiteX880" fmla="*/ 131116 w 2181066"/>
                    <a:gd name="connsiteY880" fmla="*/ 459411 h 1276264"/>
                    <a:gd name="connsiteX881" fmla="*/ 131116 w 2181066"/>
                    <a:gd name="connsiteY881" fmla="*/ 459411 h 1276264"/>
                    <a:gd name="connsiteX882" fmla="*/ 140496 w 2181066"/>
                    <a:gd name="connsiteY882" fmla="*/ 464756 h 1276264"/>
                    <a:gd name="connsiteX883" fmla="*/ 140496 w 2181066"/>
                    <a:gd name="connsiteY883" fmla="*/ 464756 h 1276264"/>
                    <a:gd name="connsiteX884" fmla="*/ 141908 w 2181066"/>
                    <a:gd name="connsiteY884" fmla="*/ 477061 h 1276264"/>
                    <a:gd name="connsiteX885" fmla="*/ 141908 w 2181066"/>
                    <a:gd name="connsiteY885" fmla="*/ 477061 h 1276264"/>
                    <a:gd name="connsiteX886" fmla="*/ 137269 w 2181066"/>
                    <a:gd name="connsiteY886" fmla="*/ 489668 h 1276264"/>
                    <a:gd name="connsiteX887" fmla="*/ 137269 w 2181066"/>
                    <a:gd name="connsiteY887" fmla="*/ 489668 h 1276264"/>
                    <a:gd name="connsiteX888" fmla="*/ 128393 w 2181066"/>
                    <a:gd name="connsiteY888" fmla="*/ 517404 h 1276264"/>
                    <a:gd name="connsiteX889" fmla="*/ 128393 w 2181066"/>
                    <a:gd name="connsiteY889" fmla="*/ 517404 h 1276264"/>
                    <a:gd name="connsiteX890" fmla="*/ 139992 w 2181066"/>
                    <a:gd name="connsiteY890" fmla="*/ 535660 h 1276264"/>
                    <a:gd name="connsiteX891" fmla="*/ 139992 w 2181066"/>
                    <a:gd name="connsiteY891" fmla="*/ 535660 h 1276264"/>
                    <a:gd name="connsiteX892" fmla="*/ 162786 w 2181066"/>
                    <a:gd name="connsiteY892" fmla="*/ 522044 h 1276264"/>
                    <a:gd name="connsiteX893" fmla="*/ 162786 w 2181066"/>
                    <a:gd name="connsiteY893" fmla="*/ 522044 h 1276264"/>
                    <a:gd name="connsiteX894" fmla="*/ 176805 w 2181066"/>
                    <a:gd name="connsiteY894" fmla="*/ 481398 h 1276264"/>
                    <a:gd name="connsiteX895" fmla="*/ 176805 w 2181066"/>
                    <a:gd name="connsiteY895" fmla="*/ 481398 h 1276264"/>
                    <a:gd name="connsiteX896" fmla="*/ 195363 w 2181066"/>
                    <a:gd name="connsiteY896" fmla="*/ 478574 h 1276264"/>
                    <a:gd name="connsiteX897" fmla="*/ 195363 w 2181066"/>
                    <a:gd name="connsiteY897" fmla="*/ 478574 h 1276264"/>
                    <a:gd name="connsiteX898" fmla="*/ 217854 w 2181066"/>
                    <a:gd name="connsiteY898" fmla="*/ 488357 h 1276264"/>
                    <a:gd name="connsiteX899" fmla="*/ 217854 w 2181066"/>
                    <a:gd name="connsiteY899" fmla="*/ 488357 h 1276264"/>
                    <a:gd name="connsiteX900" fmla="*/ 247810 w 2181066"/>
                    <a:gd name="connsiteY900" fmla="*/ 512361 h 1276264"/>
                    <a:gd name="connsiteX901" fmla="*/ 247810 w 2181066"/>
                    <a:gd name="connsiteY901" fmla="*/ 512361 h 1276264"/>
                    <a:gd name="connsiteX902" fmla="*/ 290271 w 2181066"/>
                    <a:gd name="connsiteY902" fmla="*/ 572675 h 1276264"/>
                    <a:gd name="connsiteX903" fmla="*/ 290271 w 2181066"/>
                    <a:gd name="connsiteY903" fmla="*/ 572675 h 1276264"/>
                    <a:gd name="connsiteX904" fmla="*/ 290473 w 2181066"/>
                    <a:gd name="connsiteY904" fmla="*/ 581752 h 1276264"/>
                    <a:gd name="connsiteX905" fmla="*/ 290473 w 2181066"/>
                    <a:gd name="connsiteY905" fmla="*/ 581752 h 1276264"/>
                    <a:gd name="connsiteX906" fmla="*/ 272217 w 2181066"/>
                    <a:gd name="connsiteY906" fmla="*/ 625726 h 1276264"/>
                    <a:gd name="connsiteX907" fmla="*/ 272217 w 2181066"/>
                    <a:gd name="connsiteY907" fmla="*/ 625726 h 1276264"/>
                    <a:gd name="connsiteX908" fmla="*/ 274033 w 2181066"/>
                    <a:gd name="connsiteY908" fmla="*/ 626533 h 1276264"/>
                    <a:gd name="connsiteX909" fmla="*/ 274033 w 2181066"/>
                    <a:gd name="connsiteY909" fmla="*/ 626533 h 1276264"/>
                    <a:gd name="connsiteX910" fmla="*/ 245792 w 2181066"/>
                    <a:gd name="connsiteY910" fmla="*/ 610497 h 1276264"/>
                    <a:gd name="connsiteX911" fmla="*/ 245792 w 2181066"/>
                    <a:gd name="connsiteY911" fmla="*/ 610497 h 1276264"/>
                    <a:gd name="connsiteX912" fmla="*/ 234395 w 2181066"/>
                    <a:gd name="connsiteY912" fmla="*/ 603437 h 1276264"/>
                    <a:gd name="connsiteX913" fmla="*/ 234395 w 2181066"/>
                    <a:gd name="connsiteY913" fmla="*/ 603437 h 1276264"/>
                    <a:gd name="connsiteX914" fmla="*/ 218661 w 2181066"/>
                    <a:gd name="connsiteY914" fmla="*/ 609791 h 1276264"/>
                    <a:gd name="connsiteX915" fmla="*/ 218661 w 2181066"/>
                    <a:gd name="connsiteY915" fmla="*/ 609791 h 1276264"/>
                    <a:gd name="connsiteX916" fmla="*/ 162181 w 2181066"/>
                    <a:gd name="connsiteY916" fmla="*/ 622196 h 1276264"/>
                    <a:gd name="connsiteX917" fmla="*/ 162181 w 2181066"/>
                    <a:gd name="connsiteY917" fmla="*/ 622196 h 1276264"/>
                    <a:gd name="connsiteX918" fmla="*/ 29148 w 2181066"/>
                    <a:gd name="connsiteY918" fmla="*/ 640553 h 1276264"/>
                    <a:gd name="connsiteX919" fmla="*/ 29148 w 2181066"/>
                    <a:gd name="connsiteY919" fmla="*/ 640553 h 1276264"/>
                    <a:gd name="connsiteX920" fmla="*/ 25719 w 2181066"/>
                    <a:gd name="connsiteY920" fmla="*/ 651143 h 1276264"/>
                    <a:gd name="connsiteX921" fmla="*/ 25719 w 2181066"/>
                    <a:gd name="connsiteY921" fmla="*/ 651143 h 1276264"/>
                    <a:gd name="connsiteX922" fmla="*/ 46899 w 2181066"/>
                    <a:gd name="connsiteY922" fmla="*/ 664254 h 1276264"/>
                    <a:gd name="connsiteX923" fmla="*/ 46899 w 2181066"/>
                    <a:gd name="connsiteY923" fmla="*/ 664254 h 1276264"/>
                    <a:gd name="connsiteX924" fmla="*/ 153507 w 2181066"/>
                    <a:gd name="connsiteY924" fmla="*/ 683216 h 1276264"/>
                    <a:gd name="connsiteX925" fmla="*/ 153507 w 2181066"/>
                    <a:gd name="connsiteY925" fmla="*/ 683216 h 1276264"/>
                    <a:gd name="connsiteX926" fmla="*/ 164702 w 2181066"/>
                    <a:gd name="connsiteY926" fmla="*/ 757952 h 1276264"/>
                    <a:gd name="connsiteX927" fmla="*/ 164702 w 2181066"/>
                    <a:gd name="connsiteY927" fmla="*/ 757952 h 1276264"/>
                    <a:gd name="connsiteX928" fmla="*/ 206659 w 2181066"/>
                    <a:gd name="connsiteY928" fmla="*/ 770761 h 1276264"/>
                    <a:gd name="connsiteX929" fmla="*/ 206659 w 2181066"/>
                    <a:gd name="connsiteY929" fmla="*/ 770761 h 1276264"/>
                    <a:gd name="connsiteX930" fmla="*/ 245691 w 2181066"/>
                    <a:gd name="connsiteY930" fmla="*/ 798800 h 1276264"/>
                    <a:gd name="connsiteX931" fmla="*/ 245691 w 2181066"/>
                    <a:gd name="connsiteY931" fmla="*/ 798800 h 1276264"/>
                    <a:gd name="connsiteX932" fmla="*/ 247003 w 2181066"/>
                    <a:gd name="connsiteY932" fmla="*/ 815240 h 1276264"/>
                    <a:gd name="connsiteX933" fmla="*/ 247003 w 2181066"/>
                    <a:gd name="connsiteY933" fmla="*/ 815240 h 1276264"/>
                    <a:gd name="connsiteX934" fmla="*/ 238026 w 2181066"/>
                    <a:gd name="connsiteY934" fmla="*/ 837731 h 1276264"/>
                    <a:gd name="connsiteX935" fmla="*/ 238026 w 2181066"/>
                    <a:gd name="connsiteY935" fmla="*/ 837731 h 1276264"/>
                    <a:gd name="connsiteX936" fmla="*/ 216241 w 2181066"/>
                    <a:gd name="connsiteY936" fmla="*/ 860626 h 1276264"/>
                    <a:gd name="connsiteX937" fmla="*/ 216241 w 2181066"/>
                    <a:gd name="connsiteY937" fmla="*/ 860626 h 1276264"/>
                    <a:gd name="connsiteX938" fmla="*/ 219569 w 2181066"/>
                    <a:gd name="connsiteY938" fmla="*/ 868291 h 1276264"/>
                    <a:gd name="connsiteX939" fmla="*/ 219569 w 2181066"/>
                    <a:gd name="connsiteY939" fmla="*/ 868291 h 1276264"/>
                    <a:gd name="connsiteX940" fmla="*/ 226427 w 2181066"/>
                    <a:gd name="connsiteY940" fmla="*/ 873032 h 1276264"/>
                    <a:gd name="connsiteX941" fmla="*/ 226427 w 2181066"/>
                    <a:gd name="connsiteY941" fmla="*/ 873032 h 1276264"/>
                    <a:gd name="connsiteX942" fmla="*/ 239035 w 2181066"/>
                    <a:gd name="connsiteY942" fmla="*/ 866173 h 1276264"/>
                    <a:gd name="connsiteX943" fmla="*/ 239035 w 2181066"/>
                    <a:gd name="connsiteY943" fmla="*/ 866173 h 1276264"/>
                    <a:gd name="connsiteX944" fmla="*/ 242867 w 2181066"/>
                    <a:gd name="connsiteY944" fmla="*/ 868291 h 1276264"/>
                    <a:gd name="connsiteX945" fmla="*/ 242867 w 2181066"/>
                    <a:gd name="connsiteY945" fmla="*/ 868291 h 1276264"/>
                    <a:gd name="connsiteX946" fmla="*/ 256786 w 2181066"/>
                    <a:gd name="connsiteY946" fmla="*/ 886446 h 1276264"/>
                    <a:gd name="connsiteX947" fmla="*/ 256786 w 2181066"/>
                    <a:gd name="connsiteY947" fmla="*/ 886446 h 1276264"/>
                    <a:gd name="connsiteX948" fmla="*/ 262535 w 2181066"/>
                    <a:gd name="connsiteY948" fmla="*/ 886143 h 1276264"/>
                    <a:gd name="connsiteX949" fmla="*/ 262535 w 2181066"/>
                    <a:gd name="connsiteY949" fmla="*/ 886143 h 1276264"/>
                    <a:gd name="connsiteX950" fmla="*/ 284522 w 2181066"/>
                    <a:gd name="connsiteY950" fmla="*/ 875755 h 1276264"/>
                    <a:gd name="connsiteX951" fmla="*/ 284522 w 2181066"/>
                    <a:gd name="connsiteY951" fmla="*/ 875755 h 1276264"/>
                    <a:gd name="connsiteX952" fmla="*/ 285329 w 2181066"/>
                    <a:gd name="connsiteY952" fmla="*/ 873536 h 1276264"/>
                    <a:gd name="connsiteX953" fmla="*/ 285329 w 2181066"/>
                    <a:gd name="connsiteY953" fmla="*/ 873536 h 1276264"/>
                    <a:gd name="connsiteX954" fmla="*/ 288859 w 2181066"/>
                    <a:gd name="connsiteY954" fmla="*/ 873233 h 1276264"/>
                    <a:gd name="connsiteX955" fmla="*/ 301567 w 2181066"/>
                    <a:gd name="connsiteY955" fmla="*/ 877167 h 1276264"/>
                    <a:gd name="connsiteX956" fmla="*/ 301567 w 2181066"/>
                    <a:gd name="connsiteY956" fmla="*/ 877167 h 1276264"/>
                    <a:gd name="connsiteX957" fmla="*/ 315687 w 2181066"/>
                    <a:gd name="connsiteY957" fmla="*/ 865669 h 1276264"/>
                    <a:gd name="connsiteX958" fmla="*/ 315687 w 2181066"/>
                    <a:gd name="connsiteY958" fmla="*/ 865669 h 1276264"/>
                    <a:gd name="connsiteX959" fmla="*/ 317301 w 2181066"/>
                    <a:gd name="connsiteY959" fmla="*/ 856793 h 1276264"/>
                    <a:gd name="connsiteX960" fmla="*/ 317301 w 2181066"/>
                    <a:gd name="connsiteY960" fmla="*/ 856793 h 1276264"/>
                    <a:gd name="connsiteX961" fmla="*/ 309132 w 2181066"/>
                    <a:gd name="connsiteY961" fmla="*/ 823510 h 1276264"/>
                    <a:gd name="connsiteX962" fmla="*/ 309132 w 2181066"/>
                    <a:gd name="connsiteY962" fmla="*/ 823510 h 1276264"/>
                    <a:gd name="connsiteX963" fmla="*/ 317704 w 2181066"/>
                    <a:gd name="connsiteY963" fmla="*/ 807978 h 1276264"/>
                    <a:gd name="connsiteX964" fmla="*/ 317704 w 2181066"/>
                    <a:gd name="connsiteY964" fmla="*/ 807978 h 1276264"/>
                    <a:gd name="connsiteX965" fmla="*/ 336767 w 2181066"/>
                    <a:gd name="connsiteY965" fmla="*/ 782763 h 1276264"/>
                    <a:gd name="connsiteX966" fmla="*/ 336767 w 2181066"/>
                    <a:gd name="connsiteY966" fmla="*/ 782763 h 1276264"/>
                    <a:gd name="connsiteX967" fmla="*/ 351492 w 2181066"/>
                    <a:gd name="connsiteY967" fmla="*/ 769853 h 1276264"/>
                    <a:gd name="connsiteX968" fmla="*/ 351492 w 2181066"/>
                    <a:gd name="connsiteY968" fmla="*/ 769853 h 1276264"/>
                    <a:gd name="connsiteX969" fmla="*/ 367327 w 2181066"/>
                    <a:gd name="connsiteY969" fmla="*/ 778729 h 1276264"/>
                    <a:gd name="connsiteX970" fmla="*/ 367327 w 2181066"/>
                    <a:gd name="connsiteY970" fmla="*/ 778729 h 1276264"/>
                    <a:gd name="connsiteX971" fmla="*/ 368840 w 2181066"/>
                    <a:gd name="connsiteY971" fmla="*/ 785789 h 1276264"/>
                    <a:gd name="connsiteX972" fmla="*/ 368840 w 2181066"/>
                    <a:gd name="connsiteY972" fmla="*/ 785789 h 1276264"/>
                    <a:gd name="connsiteX973" fmla="*/ 367932 w 2181066"/>
                    <a:gd name="connsiteY973" fmla="*/ 799808 h 1276264"/>
                    <a:gd name="connsiteX974" fmla="*/ 367932 w 2181066"/>
                    <a:gd name="connsiteY974" fmla="*/ 799808 h 1276264"/>
                    <a:gd name="connsiteX975" fmla="*/ 375698 w 2181066"/>
                    <a:gd name="connsiteY975" fmla="*/ 817963 h 1276264"/>
                    <a:gd name="connsiteX976" fmla="*/ 375698 w 2181066"/>
                    <a:gd name="connsiteY976" fmla="*/ 817963 h 1276264"/>
                    <a:gd name="connsiteX977" fmla="*/ 419168 w 2181066"/>
                    <a:gd name="connsiteY977" fmla="*/ 840757 h 1276264"/>
                    <a:gd name="connsiteX978" fmla="*/ 419168 w 2181066"/>
                    <a:gd name="connsiteY978" fmla="*/ 840757 h 1276264"/>
                    <a:gd name="connsiteX979" fmla="*/ 431070 w 2181066"/>
                    <a:gd name="connsiteY979" fmla="*/ 843480 h 1276264"/>
                    <a:gd name="connsiteX980" fmla="*/ 431070 w 2181066"/>
                    <a:gd name="connsiteY980" fmla="*/ 843480 h 1276264"/>
                    <a:gd name="connsiteX981" fmla="*/ 436818 w 2181066"/>
                    <a:gd name="connsiteY981" fmla="*/ 834100 h 1276264"/>
                    <a:gd name="connsiteX982" fmla="*/ 436818 w 2181066"/>
                    <a:gd name="connsiteY982" fmla="*/ 834100 h 1276264"/>
                    <a:gd name="connsiteX983" fmla="*/ 436617 w 2181066"/>
                    <a:gd name="connsiteY983" fmla="*/ 829158 h 1276264"/>
                    <a:gd name="connsiteX984" fmla="*/ 436617 w 2181066"/>
                    <a:gd name="connsiteY984" fmla="*/ 829158 h 1276264"/>
                    <a:gd name="connsiteX985" fmla="*/ 436112 w 2181066"/>
                    <a:gd name="connsiteY985" fmla="*/ 821190 h 1276264"/>
                    <a:gd name="connsiteX986" fmla="*/ 436112 w 2181066"/>
                    <a:gd name="connsiteY986" fmla="*/ 821190 h 1276264"/>
                    <a:gd name="connsiteX987" fmla="*/ 451443 w 2181066"/>
                    <a:gd name="connsiteY987" fmla="*/ 794362 h 1276264"/>
                    <a:gd name="connsiteX988" fmla="*/ 451443 w 2181066"/>
                    <a:gd name="connsiteY988" fmla="*/ 794362 h 1276264"/>
                    <a:gd name="connsiteX989" fmla="*/ 463143 w 2181066"/>
                    <a:gd name="connsiteY989" fmla="*/ 798800 h 1276264"/>
                    <a:gd name="connsiteX990" fmla="*/ 463143 w 2181066"/>
                    <a:gd name="connsiteY990" fmla="*/ 798800 h 1276264"/>
                    <a:gd name="connsiteX991" fmla="*/ 504293 w 2181066"/>
                    <a:gd name="connsiteY991" fmla="*/ 851045 h 1276264"/>
                    <a:gd name="connsiteX992" fmla="*/ 504293 w 2181066"/>
                    <a:gd name="connsiteY992" fmla="*/ 851045 h 1276264"/>
                    <a:gd name="connsiteX993" fmla="*/ 495518 w 2181066"/>
                    <a:gd name="connsiteY993" fmla="*/ 882311 h 1276264"/>
                    <a:gd name="connsiteX994" fmla="*/ 495518 w 2181066"/>
                    <a:gd name="connsiteY994" fmla="*/ 882311 h 1276264"/>
                    <a:gd name="connsiteX995" fmla="*/ 496224 w 2181066"/>
                    <a:gd name="connsiteY995" fmla="*/ 885236 h 1276264"/>
                    <a:gd name="connsiteX996" fmla="*/ 496224 w 2181066"/>
                    <a:gd name="connsiteY996" fmla="*/ 885236 h 1276264"/>
                    <a:gd name="connsiteX997" fmla="*/ 540703 w 2181066"/>
                    <a:gd name="connsiteY997" fmla="*/ 917914 h 1276264"/>
                    <a:gd name="connsiteX998" fmla="*/ 540703 w 2181066"/>
                    <a:gd name="connsiteY998" fmla="*/ 917914 h 1276264"/>
                    <a:gd name="connsiteX999" fmla="*/ 546048 w 2181066"/>
                    <a:gd name="connsiteY999" fmla="*/ 917107 h 1276264"/>
                    <a:gd name="connsiteX1000" fmla="*/ 546048 w 2181066"/>
                    <a:gd name="connsiteY1000" fmla="*/ 917107 h 1276264"/>
                    <a:gd name="connsiteX1001" fmla="*/ 583265 w 2181066"/>
                    <a:gd name="connsiteY1001" fmla="*/ 889572 h 1276264"/>
                    <a:gd name="connsiteX1002" fmla="*/ 583265 w 2181066"/>
                    <a:gd name="connsiteY1002" fmla="*/ 889572 h 1276264"/>
                    <a:gd name="connsiteX1003" fmla="*/ 588812 w 2181066"/>
                    <a:gd name="connsiteY1003" fmla="*/ 890480 h 1276264"/>
                    <a:gd name="connsiteX1004" fmla="*/ 588812 w 2181066"/>
                    <a:gd name="connsiteY1004" fmla="*/ 890480 h 1276264"/>
                    <a:gd name="connsiteX1005" fmla="*/ 625727 w 2181066"/>
                    <a:gd name="connsiteY1005" fmla="*/ 923663 h 1276264"/>
                    <a:gd name="connsiteX1006" fmla="*/ 625727 w 2181066"/>
                    <a:gd name="connsiteY1006" fmla="*/ 923663 h 1276264"/>
                    <a:gd name="connsiteX1007" fmla="*/ 666272 w 2181066"/>
                    <a:gd name="connsiteY1007" fmla="*/ 920435 h 1276264"/>
                    <a:gd name="connsiteX1008" fmla="*/ 666272 w 2181066"/>
                    <a:gd name="connsiteY1008" fmla="*/ 920435 h 1276264"/>
                    <a:gd name="connsiteX1009" fmla="*/ 702682 w 2181066"/>
                    <a:gd name="connsiteY1009" fmla="*/ 940809 h 1276264"/>
                    <a:gd name="connsiteX1010" fmla="*/ 702682 w 2181066"/>
                    <a:gd name="connsiteY1010" fmla="*/ 940809 h 1276264"/>
                    <a:gd name="connsiteX1011" fmla="*/ 753918 w 2181066"/>
                    <a:gd name="connsiteY1011" fmla="*/ 996785 h 1276264"/>
                    <a:gd name="connsiteX1012" fmla="*/ 753918 w 2181066"/>
                    <a:gd name="connsiteY1012" fmla="*/ 996785 h 1276264"/>
                    <a:gd name="connsiteX1013" fmla="*/ 765819 w 2181066"/>
                    <a:gd name="connsiteY1013" fmla="*/ 994566 h 1276264"/>
                    <a:gd name="connsiteX1014" fmla="*/ 765819 w 2181066"/>
                    <a:gd name="connsiteY1014" fmla="*/ 994566 h 1276264"/>
                    <a:gd name="connsiteX1015" fmla="*/ 817761 w 2181066"/>
                    <a:gd name="connsiteY1015" fmla="*/ 946759 h 1276264"/>
                    <a:gd name="connsiteX1016" fmla="*/ 817761 w 2181066"/>
                    <a:gd name="connsiteY1016" fmla="*/ 946759 h 1276264"/>
                    <a:gd name="connsiteX1017" fmla="*/ 847817 w 2181066"/>
                    <a:gd name="connsiteY1017" fmla="*/ 958862 h 1276264"/>
                    <a:gd name="connsiteX1018" fmla="*/ 847817 w 2181066"/>
                    <a:gd name="connsiteY1018" fmla="*/ 958862 h 1276264"/>
                    <a:gd name="connsiteX1019" fmla="*/ 834907 w 2181066"/>
                    <a:gd name="connsiteY1019" fmla="*/ 976210 h 1276264"/>
                    <a:gd name="connsiteX1020" fmla="*/ 834907 w 2181066"/>
                    <a:gd name="connsiteY1020" fmla="*/ 976210 h 1276264"/>
                    <a:gd name="connsiteX1021" fmla="*/ 820989 w 2181066"/>
                    <a:gd name="connsiteY1021" fmla="*/ 994163 h 1276264"/>
                    <a:gd name="connsiteX1022" fmla="*/ 820989 w 2181066"/>
                    <a:gd name="connsiteY1022" fmla="*/ 994163 h 1276264"/>
                    <a:gd name="connsiteX1023" fmla="*/ 829562 w 2181066"/>
                    <a:gd name="connsiteY1023" fmla="*/ 1007375 h 1276264"/>
                    <a:gd name="connsiteX1024" fmla="*/ 829562 w 2181066"/>
                    <a:gd name="connsiteY1024" fmla="*/ 1007375 h 1276264"/>
                    <a:gd name="connsiteX1025" fmla="*/ 862139 w 2181066"/>
                    <a:gd name="connsiteY1025" fmla="*/ 1035515 h 1276264"/>
                    <a:gd name="connsiteX1026" fmla="*/ 862139 w 2181066"/>
                    <a:gd name="connsiteY1026" fmla="*/ 1035515 h 1276264"/>
                    <a:gd name="connsiteX1027" fmla="*/ 872124 w 2181066"/>
                    <a:gd name="connsiteY1027" fmla="*/ 1033498 h 1276264"/>
                    <a:gd name="connsiteX1028" fmla="*/ 872124 w 2181066"/>
                    <a:gd name="connsiteY1028" fmla="*/ 1033498 h 1276264"/>
                    <a:gd name="connsiteX1029" fmla="*/ 900163 w 2181066"/>
                    <a:gd name="connsiteY1029" fmla="*/ 991541 h 1276264"/>
                    <a:gd name="connsiteX1030" fmla="*/ 900163 w 2181066"/>
                    <a:gd name="connsiteY1030" fmla="*/ 991541 h 1276264"/>
                    <a:gd name="connsiteX1031" fmla="*/ 922856 w 2181066"/>
                    <a:gd name="connsiteY1031" fmla="*/ 969654 h 1276264"/>
                    <a:gd name="connsiteX1032" fmla="*/ 922856 w 2181066"/>
                    <a:gd name="connsiteY1032" fmla="*/ 969654 h 1276264"/>
                    <a:gd name="connsiteX1033" fmla="*/ 943935 w 2181066"/>
                    <a:gd name="connsiteY1033" fmla="*/ 981152 h 1276264"/>
                    <a:gd name="connsiteX1034" fmla="*/ 943935 w 2181066"/>
                    <a:gd name="connsiteY1034" fmla="*/ 981152 h 1276264"/>
                    <a:gd name="connsiteX1035" fmla="*/ 952508 w 2181066"/>
                    <a:gd name="connsiteY1035" fmla="*/ 1004955 h 1276264"/>
                    <a:gd name="connsiteX1036" fmla="*/ 952508 w 2181066"/>
                    <a:gd name="connsiteY1036" fmla="*/ 1004955 h 1276264"/>
                    <a:gd name="connsiteX1037" fmla="*/ 922755 w 2181066"/>
                    <a:gd name="connsiteY1037" fmla="*/ 1046508 h 1276264"/>
                    <a:gd name="connsiteX1038" fmla="*/ 922755 w 2181066"/>
                    <a:gd name="connsiteY1038" fmla="*/ 1046508 h 1276264"/>
                    <a:gd name="connsiteX1039" fmla="*/ 889573 w 2181066"/>
                    <a:gd name="connsiteY1039" fmla="*/ 1064663 h 1276264"/>
                    <a:gd name="connsiteX1040" fmla="*/ 889573 w 2181066"/>
                    <a:gd name="connsiteY1040" fmla="*/ 1064663 h 1276264"/>
                    <a:gd name="connsiteX1041" fmla="*/ 892195 w 2181066"/>
                    <a:gd name="connsiteY1041" fmla="*/ 1072429 h 1276264"/>
                    <a:gd name="connsiteX1042" fmla="*/ 892195 w 2181066"/>
                    <a:gd name="connsiteY1042" fmla="*/ 1072429 h 1276264"/>
                    <a:gd name="connsiteX1043" fmla="*/ 919729 w 2181066"/>
                    <a:gd name="connsiteY1043" fmla="*/ 1109343 h 1276264"/>
                    <a:gd name="connsiteX1044" fmla="*/ 919729 w 2181066"/>
                    <a:gd name="connsiteY1044" fmla="*/ 1109343 h 1276264"/>
                    <a:gd name="connsiteX1045" fmla="*/ 919124 w 2181066"/>
                    <a:gd name="connsiteY1045" fmla="*/ 1122758 h 1276264"/>
                    <a:gd name="connsiteX1046" fmla="*/ 919124 w 2181066"/>
                    <a:gd name="connsiteY1046" fmla="*/ 1122758 h 1276264"/>
                    <a:gd name="connsiteX1047" fmla="*/ 907727 w 2181066"/>
                    <a:gd name="connsiteY1047" fmla="*/ 1187912 h 1276264"/>
                    <a:gd name="connsiteX1048" fmla="*/ 907727 w 2181066"/>
                    <a:gd name="connsiteY1048" fmla="*/ 1187912 h 1276264"/>
                    <a:gd name="connsiteX1049" fmla="*/ 924470 w 2181066"/>
                    <a:gd name="connsiteY1049" fmla="*/ 1212320 h 1276264"/>
                    <a:gd name="connsiteX1050" fmla="*/ 924470 w 2181066"/>
                    <a:gd name="connsiteY1050" fmla="*/ 1212320 h 1276264"/>
                    <a:gd name="connsiteX1051" fmla="*/ 950794 w 2181066"/>
                    <a:gd name="connsiteY1051" fmla="*/ 1224322 h 1276264"/>
                    <a:gd name="connsiteX1052" fmla="*/ 950794 w 2181066"/>
                    <a:gd name="connsiteY1052" fmla="*/ 1224322 h 1276264"/>
                    <a:gd name="connsiteX1053" fmla="*/ 955736 w 2181066"/>
                    <a:gd name="connsiteY1053" fmla="*/ 1212421 h 1276264"/>
                    <a:gd name="connsiteX1054" fmla="*/ 955736 w 2181066"/>
                    <a:gd name="connsiteY1054" fmla="*/ 1212421 h 1276264"/>
                    <a:gd name="connsiteX1055" fmla="*/ 935665 w 2181066"/>
                    <a:gd name="connsiteY1055" fmla="*/ 1172985 h 1276264"/>
                    <a:gd name="connsiteX1056" fmla="*/ 935665 w 2181066"/>
                    <a:gd name="connsiteY1056" fmla="*/ 1172985 h 1276264"/>
                    <a:gd name="connsiteX1057" fmla="*/ 935766 w 2181066"/>
                    <a:gd name="connsiteY1057" fmla="*/ 1171271 h 1276264"/>
                    <a:gd name="connsiteX1058" fmla="*/ 935766 w 2181066"/>
                    <a:gd name="connsiteY1058" fmla="*/ 1171271 h 1276264"/>
                    <a:gd name="connsiteX1059" fmla="*/ 935766 w 2181066"/>
                    <a:gd name="connsiteY1059" fmla="*/ 1166833 h 1276264"/>
                    <a:gd name="connsiteX1060" fmla="*/ 935766 w 2181066"/>
                    <a:gd name="connsiteY1060" fmla="*/ 1166833 h 1276264"/>
                    <a:gd name="connsiteX1061" fmla="*/ 935362 w 2181066"/>
                    <a:gd name="connsiteY1061" fmla="*/ 1150897 h 1276264"/>
                    <a:gd name="connsiteX1062" fmla="*/ 935362 w 2181066"/>
                    <a:gd name="connsiteY1062" fmla="*/ 1150897 h 1276264"/>
                    <a:gd name="connsiteX1063" fmla="*/ 967032 w 2181066"/>
                    <a:gd name="connsiteY1063" fmla="*/ 1110957 h 1276264"/>
                    <a:gd name="connsiteX1064" fmla="*/ 967032 w 2181066"/>
                    <a:gd name="connsiteY1064" fmla="*/ 1110957 h 1276264"/>
                    <a:gd name="connsiteX1065" fmla="*/ 1023714 w 2181066"/>
                    <a:gd name="connsiteY1065" fmla="*/ 1096534 h 1276264"/>
                    <a:gd name="connsiteX1066" fmla="*/ 1023714 w 2181066"/>
                    <a:gd name="connsiteY1066" fmla="*/ 1096534 h 1276264"/>
                    <a:gd name="connsiteX1067" fmla="*/ 1040760 w 2181066"/>
                    <a:gd name="connsiteY1067" fmla="*/ 1074043 h 1276264"/>
                    <a:gd name="connsiteX1068" fmla="*/ 1040760 w 2181066"/>
                    <a:gd name="connsiteY1068" fmla="*/ 1074043 h 1276264"/>
                    <a:gd name="connsiteX1069" fmla="*/ 1052863 w 2181066"/>
                    <a:gd name="connsiteY1069" fmla="*/ 1077976 h 1276264"/>
                    <a:gd name="connsiteX1070" fmla="*/ 1052863 w 2181066"/>
                    <a:gd name="connsiteY1070" fmla="*/ 1077976 h 1276264"/>
                    <a:gd name="connsiteX1071" fmla="*/ 1063654 w 2181066"/>
                    <a:gd name="connsiteY1071" fmla="*/ 1091088 h 1276264"/>
                    <a:gd name="connsiteX1072" fmla="*/ 1063654 w 2181066"/>
                    <a:gd name="connsiteY1072" fmla="*/ 1091088 h 1276264"/>
                    <a:gd name="connsiteX1073" fmla="*/ 1062848 w 2181066"/>
                    <a:gd name="connsiteY1073" fmla="*/ 1097846 h 1276264"/>
                    <a:gd name="connsiteX1074" fmla="*/ 1062848 w 2181066"/>
                    <a:gd name="connsiteY1074" fmla="*/ 1097846 h 1276264"/>
                    <a:gd name="connsiteX1075" fmla="*/ 1068294 w 2181066"/>
                    <a:gd name="connsiteY1075" fmla="*/ 1103393 h 1276264"/>
                    <a:gd name="connsiteX1076" fmla="*/ 1068294 w 2181066"/>
                    <a:gd name="connsiteY1076" fmla="*/ 1103393 h 1276264"/>
                    <a:gd name="connsiteX1077" fmla="*/ 1078884 w 2181066"/>
                    <a:gd name="connsiteY1077" fmla="*/ 1106015 h 1276264"/>
                    <a:gd name="connsiteX1078" fmla="*/ 1078884 w 2181066"/>
                    <a:gd name="connsiteY1078" fmla="*/ 1106015 h 1276264"/>
                    <a:gd name="connsiteX1079" fmla="*/ 1113680 w 2181066"/>
                    <a:gd name="connsiteY1079" fmla="*/ 1092298 h 1276264"/>
                    <a:gd name="connsiteX1080" fmla="*/ 1113680 w 2181066"/>
                    <a:gd name="connsiteY1080" fmla="*/ 1092298 h 1276264"/>
                    <a:gd name="connsiteX1081" fmla="*/ 1158058 w 2181066"/>
                    <a:gd name="connsiteY1081" fmla="*/ 1078279 h 1276264"/>
                    <a:gd name="connsiteX1082" fmla="*/ 1158058 w 2181066"/>
                    <a:gd name="connsiteY1082" fmla="*/ 1078279 h 1276264"/>
                    <a:gd name="connsiteX1083" fmla="*/ 1191745 w 2181066"/>
                    <a:gd name="connsiteY1083" fmla="*/ 1089172 h 1276264"/>
                    <a:gd name="connsiteX1084" fmla="*/ 1191745 w 2181066"/>
                    <a:gd name="connsiteY1084" fmla="*/ 1089172 h 1276264"/>
                    <a:gd name="connsiteX1085" fmla="*/ 1207580 w 2181066"/>
                    <a:gd name="connsiteY1085" fmla="*/ 1116303 h 1276264"/>
                    <a:gd name="connsiteX1086" fmla="*/ 1207580 w 2181066"/>
                    <a:gd name="connsiteY1086" fmla="*/ 1116303 h 1276264"/>
                    <a:gd name="connsiteX1087" fmla="*/ 1158764 w 2181066"/>
                    <a:gd name="connsiteY1087" fmla="*/ 1169657 h 1276264"/>
                    <a:gd name="connsiteX1088" fmla="*/ 1158764 w 2181066"/>
                    <a:gd name="connsiteY1088" fmla="*/ 1169657 h 1276264"/>
                    <a:gd name="connsiteX1089" fmla="*/ 1116908 w 2181066"/>
                    <a:gd name="connsiteY1089" fmla="*/ 1177221 h 1276264"/>
                    <a:gd name="connsiteX1090" fmla="*/ 1116908 w 2181066"/>
                    <a:gd name="connsiteY1090" fmla="*/ 1177221 h 1276264"/>
                    <a:gd name="connsiteX1091" fmla="*/ 1099762 w 2181066"/>
                    <a:gd name="connsiteY1091" fmla="*/ 1163605 h 1276264"/>
                    <a:gd name="connsiteX1092" fmla="*/ 1099762 w 2181066"/>
                    <a:gd name="connsiteY1092" fmla="*/ 1163605 h 1276264"/>
                    <a:gd name="connsiteX1093" fmla="*/ 1072429 w 2181066"/>
                    <a:gd name="connsiteY1093" fmla="*/ 1150897 h 1276264"/>
                    <a:gd name="connsiteX1094" fmla="*/ 1072429 w 2181066"/>
                    <a:gd name="connsiteY1094" fmla="*/ 1150897 h 1276264"/>
                    <a:gd name="connsiteX1095" fmla="*/ 1057502 w 2181066"/>
                    <a:gd name="connsiteY1095" fmla="*/ 1156848 h 1276264"/>
                    <a:gd name="connsiteX1096" fmla="*/ 1057502 w 2181066"/>
                    <a:gd name="connsiteY1096" fmla="*/ 1156848 h 1276264"/>
                    <a:gd name="connsiteX1097" fmla="*/ 1056695 w 2181066"/>
                    <a:gd name="connsiteY1097" fmla="*/ 1161185 h 1276264"/>
                    <a:gd name="connsiteX1098" fmla="*/ 1056695 w 2181066"/>
                    <a:gd name="connsiteY1098" fmla="*/ 1161185 h 1276264"/>
                    <a:gd name="connsiteX1099" fmla="*/ 1076867 w 2181066"/>
                    <a:gd name="connsiteY1099" fmla="*/ 1188719 h 1276264"/>
                    <a:gd name="connsiteX1100" fmla="*/ 1076867 w 2181066"/>
                    <a:gd name="connsiteY1100" fmla="*/ 1188719 h 1276264"/>
                    <a:gd name="connsiteX1101" fmla="*/ 1097240 w 2181066"/>
                    <a:gd name="connsiteY1101" fmla="*/ 1210807 h 1276264"/>
                    <a:gd name="connsiteX1102" fmla="*/ 1097240 w 2181066"/>
                    <a:gd name="connsiteY1102" fmla="*/ 1210807 h 1276264"/>
                    <a:gd name="connsiteX1103" fmla="*/ 1138391 w 2181066"/>
                    <a:gd name="connsiteY1103" fmla="*/ 1213833 h 1276264"/>
                    <a:gd name="connsiteX1104" fmla="*/ 1138391 w 2181066"/>
                    <a:gd name="connsiteY1104" fmla="*/ 1213833 h 1276264"/>
                    <a:gd name="connsiteX1105" fmla="*/ 1206168 w 2181066"/>
                    <a:gd name="connsiteY1105" fmla="*/ 1193661 h 1276264"/>
                    <a:gd name="connsiteX1106" fmla="*/ 1206168 w 2181066"/>
                    <a:gd name="connsiteY1106" fmla="*/ 1193661 h 1276264"/>
                    <a:gd name="connsiteX1107" fmla="*/ 1241166 w 2181066"/>
                    <a:gd name="connsiteY1107" fmla="*/ 1174195 h 1276264"/>
                    <a:gd name="connsiteX1108" fmla="*/ 1241166 w 2181066"/>
                    <a:gd name="connsiteY1108" fmla="*/ 1174195 h 1276264"/>
                    <a:gd name="connsiteX1109" fmla="*/ 1275054 w 2181066"/>
                    <a:gd name="connsiteY1109" fmla="*/ 1182062 h 1276264"/>
                    <a:gd name="connsiteX1110" fmla="*/ 1275054 w 2181066"/>
                    <a:gd name="connsiteY1110" fmla="*/ 1182062 h 1276264"/>
                    <a:gd name="connsiteX1111" fmla="*/ 1336174 w 2181066"/>
                    <a:gd name="connsiteY1111" fmla="*/ 1193157 h 1276264"/>
                    <a:gd name="connsiteX1112" fmla="*/ 1336174 w 2181066"/>
                    <a:gd name="connsiteY1112" fmla="*/ 1193157 h 1276264"/>
                    <a:gd name="connsiteX1113" fmla="*/ 1364919 w 2181066"/>
                    <a:gd name="connsiteY1113" fmla="*/ 1214841 h 1276264"/>
                    <a:gd name="connsiteX1114" fmla="*/ 1364919 w 2181066"/>
                    <a:gd name="connsiteY1114" fmla="*/ 1214841 h 1276264"/>
                    <a:gd name="connsiteX1115" fmla="*/ 1342125 w 2181066"/>
                    <a:gd name="connsiteY1115" fmla="*/ 1237534 h 1276264"/>
                    <a:gd name="connsiteX1116" fmla="*/ 1342125 w 2181066"/>
                    <a:gd name="connsiteY1116" fmla="*/ 1237534 h 1276264"/>
                    <a:gd name="connsiteX1117" fmla="*/ 1329921 w 2181066"/>
                    <a:gd name="connsiteY1117" fmla="*/ 1230777 h 1276264"/>
                    <a:gd name="connsiteX1118" fmla="*/ 1329921 w 2181066"/>
                    <a:gd name="connsiteY1118" fmla="*/ 1230777 h 1276264"/>
                    <a:gd name="connsiteX1119" fmla="*/ 1313078 w 2181066"/>
                    <a:gd name="connsiteY1119" fmla="*/ 1223414 h 1276264"/>
                    <a:gd name="connsiteX1120" fmla="*/ 1313078 w 2181066"/>
                    <a:gd name="connsiteY1120" fmla="*/ 1223414 h 1276264"/>
                    <a:gd name="connsiteX1121" fmla="*/ 1294721 w 2181066"/>
                    <a:gd name="connsiteY1121" fmla="*/ 1236728 h 1276264"/>
                    <a:gd name="connsiteX1122" fmla="*/ 1294721 w 2181066"/>
                    <a:gd name="connsiteY1122" fmla="*/ 1236728 h 1276264"/>
                    <a:gd name="connsiteX1123" fmla="*/ 273629 w 2181066"/>
                    <a:gd name="connsiteY1123" fmla="*/ 626836 h 1276264"/>
                    <a:gd name="connsiteX1124" fmla="*/ 273629 w 2181066"/>
                    <a:gd name="connsiteY1124" fmla="*/ 626836 h 1276264"/>
                    <a:gd name="connsiteX1125" fmla="*/ 273629 w 2181066"/>
                    <a:gd name="connsiteY1125" fmla="*/ 626836 h 1276264"/>
                    <a:gd name="connsiteX1126" fmla="*/ 273629 w 2181066"/>
                    <a:gd name="connsiteY1126" fmla="*/ 626836 h 1276264"/>
                    <a:gd name="connsiteX1127" fmla="*/ 273629 w 2181066"/>
                    <a:gd name="connsiteY1127" fmla="*/ 626836 h 1276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Lst>
                  <a:rect l="l" t="t" r="r" b="b"/>
                  <a:pathLst>
                    <a:path w="2181066" h="1276264">
                      <a:moveTo>
                        <a:pt x="1289376" y="1239148"/>
                      </a:moveTo>
                      <a:cubicBezTo>
                        <a:pt x="1289275" y="1238341"/>
                        <a:pt x="1289174" y="1237534"/>
                        <a:pt x="1289174" y="1236728"/>
                      </a:cubicBezTo>
                      <a:lnTo>
                        <a:pt x="1289174" y="1236728"/>
                      </a:lnTo>
                      <a:cubicBezTo>
                        <a:pt x="1289275" y="1224322"/>
                        <a:pt x="1301580" y="1218371"/>
                        <a:pt x="1312876" y="1218371"/>
                      </a:cubicBezTo>
                      <a:lnTo>
                        <a:pt x="1312876" y="1218371"/>
                      </a:lnTo>
                      <a:cubicBezTo>
                        <a:pt x="1321046" y="1218371"/>
                        <a:pt x="1329518" y="1221296"/>
                        <a:pt x="1334258" y="1228155"/>
                      </a:cubicBezTo>
                      <a:lnTo>
                        <a:pt x="1334258" y="1228155"/>
                      </a:lnTo>
                      <a:cubicBezTo>
                        <a:pt x="1336578" y="1231483"/>
                        <a:pt x="1339099" y="1232491"/>
                        <a:pt x="1341923" y="1232491"/>
                      </a:cubicBezTo>
                      <a:lnTo>
                        <a:pt x="1341923" y="1232491"/>
                      </a:lnTo>
                      <a:cubicBezTo>
                        <a:pt x="1349488" y="1232491"/>
                        <a:pt x="1359069" y="1222204"/>
                        <a:pt x="1359170" y="1215346"/>
                      </a:cubicBezTo>
                      <a:lnTo>
                        <a:pt x="1359170" y="1215346"/>
                      </a:lnTo>
                      <a:cubicBezTo>
                        <a:pt x="1358968" y="1204856"/>
                        <a:pt x="1355136" y="1204050"/>
                        <a:pt x="1334762" y="1199107"/>
                      </a:cubicBezTo>
                      <a:lnTo>
                        <a:pt x="1334762" y="1199107"/>
                      </a:lnTo>
                      <a:cubicBezTo>
                        <a:pt x="1314994" y="1194670"/>
                        <a:pt x="1308337" y="1194770"/>
                        <a:pt x="1273844" y="1188114"/>
                      </a:cubicBezTo>
                      <a:lnTo>
                        <a:pt x="1273844" y="1188114"/>
                      </a:lnTo>
                      <a:cubicBezTo>
                        <a:pt x="1256294" y="1184584"/>
                        <a:pt x="1247923" y="1180247"/>
                        <a:pt x="1240964" y="1180348"/>
                      </a:cubicBezTo>
                      <a:lnTo>
                        <a:pt x="1240964" y="1180348"/>
                      </a:lnTo>
                      <a:cubicBezTo>
                        <a:pt x="1234206" y="1180348"/>
                        <a:pt x="1226642" y="1184080"/>
                        <a:pt x="1209496" y="1198603"/>
                      </a:cubicBezTo>
                      <a:lnTo>
                        <a:pt x="1209496" y="1198603"/>
                      </a:lnTo>
                      <a:cubicBezTo>
                        <a:pt x="1188618" y="1215951"/>
                        <a:pt x="1161588" y="1219985"/>
                        <a:pt x="1138189" y="1219985"/>
                      </a:cubicBezTo>
                      <a:lnTo>
                        <a:pt x="1138189" y="1219985"/>
                      </a:lnTo>
                      <a:cubicBezTo>
                        <a:pt x="1121346" y="1219985"/>
                        <a:pt x="1106116" y="1217968"/>
                        <a:pt x="1096434" y="1217060"/>
                      </a:cubicBezTo>
                      <a:lnTo>
                        <a:pt x="1096434" y="1217060"/>
                      </a:lnTo>
                      <a:cubicBezTo>
                        <a:pt x="1071421" y="1214841"/>
                        <a:pt x="1077371" y="1192047"/>
                        <a:pt x="1074749" y="1194670"/>
                      </a:cubicBezTo>
                      <a:lnTo>
                        <a:pt x="1074749" y="1194670"/>
                      </a:lnTo>
                      <a:cubicBezTo>
                        <a:pt x="1067487" y="1191846"/>
                        <a:pt x="1051350" y="1177423"/>
                        <a:pt x="1050845" y="1161890"/>
                      </a:cubicBezTo>
                      <a:lnTo>
                        <a:pt x="1050845" y="1161890"/>
                      </a:lnTo>
                      <a:cubicBezTo>
                        <a:pt x="1050845" y="1159672"/>
                        <a:pt x="1051249" y="1157554"/>
                        <a:pt x="1052056" y="1155637"/>
                      </a:cubicBezTo>
                      <a:lnTo>
                        <a:pt x="1052056" y="1155637"/>
                      </a:lnTo>
                      <a:cubicBezTo>
                        <a:pt x="1054981" y="1148174"/>
                        <a:pt x="1063554" y="1146056"/>
                        <a:pt x="1072127" y="1146056"/>
                      </a:cubicBezTo>
                      <a:lnTo>
                        <a:pt x="1072127" y="1146056"/>
                      </a:lnTo>
                      <a:cubicBezTo>
                        <a:pt x="1086348" y="1146358"/>
                        <a:pt x="1103998" y="1151704"/>
                        <a:pt x="1105107" y="1164311"/>
                      </a:cubicBezTo>
                      <a:lnTo>
                        <a:pt x="1105107" y="1164311"/>
                      </a:lnTo>
                      <a:cubicBezTo>
                        <a:pt x="1105410" y="1170363"/>
                        <a:pt x="1107125" y="1171876"/>
                        <a:pt x="1116605" y="1172279"/>
                      </a:cubicBezTo>
                      <a:lnTo>
                        <a:pt x="1116605" y="1172279"/>
                      </a:lnTo>
                      <a:cubicBezTo>
                        <a:pt x="1125178" y="1172279"/>
                        <a:pt x="1138592" y="1169657"/>
                        <a:pt x="1157049" y="1164916"/>
                      </a:cubicBezTo>
                      <a:lnTo>
                        <a:pt x="1157049" y="1164916"/>
                      </a:lnTo>
                      <a:cubicBezTo>
                        <a:pt x="1182365" y="1158562"/>
                        <a:pt x="1201932" y="1135668"/>
                        <a:pt x="1201629" y="1117009"/>
                      </a:cubicBezTo>
                      <a:lnTo>
                        <a:pt x="1201629" y="1117009"/>
                      </a:lnTo>
                      <a:cubicBezTo>
                        <a:pt x="1201629" y="1108335"/>
                        <a:pt x="1197897" y="1100569"/>
                        <a:pt x="1188416" y="1094618"/>
                      </a:cubicBezTo>
                      <a:lnTo>
                        <a:pt x="1188416" y="1094618"/>
                      </a:lnTo>
                      <a:cubicBezTo>
                        <a:pt x="1176414" y="1087054"/>
                        <a:pt x="1166631" y="1084633"/>
                        <a:pt x="1157756" y="1084633"/>
                      </a:cubicBezTo>
                      <a:lnTo>
                        <a:pt x="1157756" y="1084633"/>
                      </a:lnTo>
                      <a:cubicBezTo>
                        <a:pt x="1143030" y="1084633"/>
                        <a:pt x="1130120" y="1091794"/>
                        <a:pt x="1115597" y="1098148"/>
                      </a:cubicBezTo>
                      <a:lnTo>
                        <a:pt x="1115597" y="1098148"/>
                      </a:lnTo>
                      <a:cubicBezTo>
                        <a:pt x="1098753" y="1105107"/>
                        <a:pt x="1090079" y="1112167"/>
                        <a:pt x="1078682" y="1112268"/>
                      </a:cubicBezTo>
                      <a:lnTo>
                        <a:pt x="1078682" y="1112268"/>
                      </a:lnTo>
                      <a:cubicBezTo>
                        <a:pt x="1074547" y="1112268"/>
                        <a:pt x="1070311" y="1111361"/>
                        <a:pt x="1065672" y="1109041"/>
                      </a:cubicBezTo>
                      <a:lnTo>
                        <a:pt x="1065672" y="1109041"/>
                      </a:lnTo>
                      <a:cubicBezTo>
                        <a:pt x="1059418" y="1106318"/>
                        <a:pt x="1056796" y="1102182"/>
                        <a:pt x="1056998" y="1098451"/>
                      </a:cubicBezTo>
                      <a:lnTo>
                        <a:pt x="1056998" y="1098451"/>
                      </a:lnTo>
                      <a:cubicBezTo>
                        <a:pt x="1056998" y="1095425"/>
                        <a:pt x="1057805" y="1093408"/>
                        <a:pt x="1057805" y="1091693"/>
                      </a:cubicBezTo>
                      <a:lnTo>
                        <a:pt x="1057805" y="1091693"/>
                      </a:lnTo>
                      <a:cubicBezTo>
                        <a:pt x="1057704" y="1089474"/>
                        <a:pt x="1057401" y="1087356"/>
                        <a:pt x="1050039" y="1083524"/>
                      </a:cubicBezTo>
                      <a:lnTo>
                        <a:pt x="1050039" y="1083524"/>
                      </a:lnTo>
                      <a:cubicBezTo>
                        <a:pt x="1045399" y="1081103"/>
                        <a:pt x="1042272" y="1080296"/>
                        <a:pt x="1040457" y="1080296"/>
                      </a:cubicBezTo>
                      <a:lnTo>
                        <a:pt x="1040457" y="1080296"/>
                      </a:lnTo>
                      <a:cubicBezTo>
                        <a:pt x="1036221" y="1079187"/>
                        <a:pt x="1035918" y="1088062"/>
                        <a:pt x="1028152" y="1100367"/>
                      </a:cubicBezTo>
                      <a:lnTo>
                        <a:pt x="1028152" y="1100367"/>
                      </a:lnTo>
                      <a:cubicBezTo>
                        <a:pt x="1016856" y="1116202"/>
                        <a:pt x="1003240" y="1113680"/>
                        <a:pt x="967234" y="1117109"/>
                      </a:cubicBezTo>
                      <a:lnTo>
                        <a:pt x="967234" y="1117109"/>
                      </a:lnTo>
                      <a:cubicBezTo>
                        <a:pt x="942927" y="1119530"/>
                        <a:pt x="941111" y="1133953"/>
                        <a:pt x="940708" y="1151502"/>
                      </a:cubicBezTo>
                      <a:lnTo>
                        <a:pt x="940708" y="1151502"/>
                      </a:lnTo>
                      <a:cubicBezTo>
                        <a:pt x="940708" y="1156848"/>
                        <a:pt x="941010" y="1162395"/>
                        <a:pt x="941010" y="1167438"/>
                      </a:cubicBezTo>
                      <a:lnTo>
                        <a:pt x="941010" y="1167438"/>
                      </a:lnTo>
                      <a:cubicBezTo>
                        <a:pt x="941010" y="1169052"/>
                        <a:pt x="941010" y="1170665"/>
                        <a:pt x="940910" y="1172481"/>
                      </a:cubicBezTo>
                      <a:lnTo>
                        <a:pt x="940910" y="1172481"/>
                      </a:lnTo>
                      <a:lnTo>
                        <a:pt x="940910" y="1173590"/>
                      </a:lnTo>
                      <a:cubicBezTo>
                        <a:pt x="940304" y="1191240"/>
                        <a:pt x="959972" y="1196082"/>
                        <a:pt x="960980" y="1213026"/>
                      </a:cubicBezTo>
                      <a:lnTo>
                        <a:pt x="960980" y="1213026"/>
                      </a:lnTo>
                      <a:cubicBezTo>
                        <a:pt x="960980" y="1220792"/>
                        <a:pt x="960073" y="1230273"/>
                        <a:pt x="950491" y="1230475"/>
                      </a:cubicBezTo>
                      <a:lnTo>
                        <a:pt x="950491" y="1230475"/>
                      </a:lnTo>
                      <a:cubicBezTo>
                        <a:pt x="944137" y="1230374"/>
                        <a:pt x="935564" y="1226541"/>
                        <a:pt x="921141" y="1217565"/>
                      </a:cubicBezTo>
                      <a:lnTo>
                        <a:pt x="921141" y="1217565"/>
                      </a:lnTo>
                      <a:cubicBezTo>
                        <a:pt x="907021" y="1208790"/>
                        <a:pt x="901676" y="1199410"/>
                        <a:pt x="901776" y="1188517"/>
                      </a:cubicBezTo>
                      <a:lnTo>
                        <a:pt x="901776" y="1188517"/>
                      </a:lnTo>
                      <a:cubicBezTo>
                        <a:pt x="901877" y="1172985"/>
                        <a:pt x="910652" y="1154528"/>
                        <a:pt x="913174" y="1123060"/>
                      </a:cubicBezTo>
                      <a:lnTo>
                        <a:pt x="913174" y="1123060"/>
                      </a:lnTo>
                      <a:cubicBezTo>
                        <a:pt x="913476" y="1117916"/>
                        <a:pt x="913779" y="1113579"/>
                        <a:pt x="913779" y="1109948"/>
                      </a:cubicBezTo>
                      <a:lnTo>
                        <a:pt x="913779" y="1109948"/>
                      </a:lnTo>
                      <a:cubicBezTo>
                        <a:pt x="913678" y="1074345"/>
                        <a:pt x="899759" y="1094921"/>
                        <a:pt x="886950" y="1075758"/>
                      </a:cubicBezTo>
                      <a:lnTo>
                        <a:pt x="886950" y="1075758"/>
                      </a:lnTo>
                      <a:cubicBezTo>
                        <a:pt x="884731" y="1071824"/>
                        <a:pt x="883622" y="1068395"/>
                        <a:pt x="883622" y="1065268"/>
                      </a:cubicBezTo>
                      <a:lnTo>
                        <a:pt x="883622" y="1065268"/>
                      </a:lnTo>
                      <a:cubicBezTo>
                        <a:pt x="884530" y="1051652"/>
                        <a:pt x="900768" y="1049131"/>
                        <a:pt x="920536" y="1041869"/>
                      </a:cubicBezTo>
                      <a:lnTo>
                        <a:pt x="920536" y="1041869"/>
                      </a:lnTo>
                      <a:cubicBezTo>
                        <a:pt x="936573" y="1036221"/>
                        <a:pt x="946558" y="1020688"/>
                        <a:pt x="946558" y="1005560"/>
                      </a:cubicBezTo>
                      <a:lnTo>
                        <a:pt x="946558" y="1005560"/>
                      </a:lnTo>
                      <a:cubicBezTo>
                        <a:pt x="946558" y="998298"/>
                        <a:pt x="944238" y="991238"/>
                        <a:pt x="939397" y="985287"/>
                      </a:cubicBezTo>
                      <a:lnTo>
                        <a:pt x="939397" y="985287"/>
                      </a:lnTo>
                      <a:cubicBezTo>
                        <a:pt x="933547" y="978328"/>
                        <a:pt x="927697" y="975907"/>
                        <a:pt x="922553" y="975807"/>
                      </a:cubicBezTo>
                      <a:lnTo>
                        <a:pt x="922553" y="975807"/>
                      </a:lnTo>
                      <a:cubicBezTo>
                        <a:pt x="913678" y="975807"/>
                        <a:pt x="906012" y="983472"/>
                        <a:pt x="905407" y="992448"/>
                      </a:cubicBezTo>
                      <a:lnTo>
                        <a:pt x="905407" y="992448"/>
                      </a:lnTo>
                      <a:cubicBezTo>
                        <a:pt x="904500" y="1009191"/>
                        <a:pt x="900465" y="1029060"/>
                        <a:pt x="873738" y="1039347"/>
                      </a:cubicBezTo>
                      <a:lnTo>
                        <a:pt x="873738" y="1039347"/>
                      </a:lnTo>
                      <a:cubicBezTo>
                        <a:pt x="869300" y="1040961"/>
                        <a:pt x="865467" y="1041768"/>
                        <a:pt x="861736" y="1041768"/>
                      </a:cubicBezTo>
                      <a:lnTo>
                        <a:pt x="861736" y="1041768"/>
                      </a:lnTo>
                      <a:cubicBezTo>
                        <a:pt x="842573" y="1041264"/>
                        <a:pt x="836723" y="1021193"/>
                        <a:pt x="825427" y="1012216"/>
                      </a:cubicBezTo>
                      <a:lnTo>
                        <a:pt x="825427" y="1012216"/>
                      </a:lnTo>
                      <a:cubicBezTo>
                        <a:pt x="818669" y="1006669"/>
                        <a:pt x="814937" y="1001021"/>
                        <a:pt x="814937" y="994768"/>
                      </a:cubicBezTo>
                      <a:lnTo>
                        <a:pt x="814937" y="994768"/>
                      </a:lnTo>
                      <a:cubicBezTo>
                        <a:pt x="815038" y="986800"/>
                        <a:pt x="820989" y="979942"/>
                        <a:pt x="830974" y="972377"/>
                      </a:cubicBezTo>
                      <a:lnTo>
                        <a:pt x="830974" y="972377"/>
                      </a:lnTo>
                      <a:cubicBezTo>
                        <a:pt x="838236" y="966931"/>
                        <a:pt x="841967" y="961686"/>
                        <a:pt x="841665" y="959468"/>
                      </a:cubicBezTo>
                      <a:lnTo>
                        <a:pt x="841665" y="959468"/>
                      </a:lnTo>
                      <a:cubicBezTo>
                        <a:pt x="841665" y="957349"/>
                        <a:pt x="836420" y="953012"/>
                        <a:pt x="817156" y="953012"/>
                      </a:cubicBezTo>
                      <a:lnTo>
                        <a:pt x="817156" y="953012"/>
                      </a:lnTo>
                      <a:cubicBezTo>
                        <a:pt x="787302" y="951500"/>
                        <a:pt x="803843" y="986094"/>
                        <a:pt x="767029" y="1000618"/>
                      </a:cubicBezTo>
                      <a:lnTo>
                        <a:pt x="767029" y="1000618"/>
                      </a:lnTo>
                      <a:cubicBezTo>
                        <a:pt x="762289" y="1002231"/>
                        <a:pt x="757650" y="1002837"/>
                        <a:pt x="753313" y="1002837"/>
                      </a:cubicBezTo>
                      <a:lnTo>
                        <a:pt x="753313" y="1002837"/>
                      </a:lnTo>
                      <a:cubicBezTo>
                        <a:pt x="723963" y="1002534"/>
                        <a:pt x="707725" y="968545"/>
                        <a:pt x="696933" y="943532"/>
                      </a:cubicBezTo>
                      <a:lnTo>
                        <a:pt x="696933" y="943532"/>
                      </a:lnTo>
                      <a:cubicBezTo>
                        <a:pt x="690982" y="929714"/>
                        <a:pt x="679888" y="926689"/>
                        <a:pt x="665667" y="926588"/>
                      </a:cubicBezTo>
                      <a:lnTo>
                        <a:pt x="665667" y="926588"/>
                      </a:lnTo>
                      <a:cubicBezTo>
                        <a:pt x="652656" y="926588"/>
                        <a:pt x="637830" y="929613"/>
                        <a:pt x="625121" y="929613"/>
                      </a:cubicBezTo>
                      <a:lnTo>
                        <a:pt x="625121" y="929613"/>
                      </a:lnTo>
                      <a:cubicBezTo>
                        <a:pt x="596881" y="928806"/>
                        <a:pt x="601520" y="899457"/>
                        <a:pt x="586493" y="896330"/>
                      </a:cubicBezTo>
                      <a:lnTo>
                        <a:pt x="586493" y="896330"/>
                      </a:lnTo>
                      <a:cubicBezTo>
                        <a:pt x="584980" y="895725"/>
                        <a:pt x="583769" y="895624"/>
                        <a:pt x="582660" y="895624"/>
                      </a:cubicBezTo>
                      <a:lnTo>
                        <a:pt x="582660" y="895624"/>
                      </a:lnTo>
                      <a:cubicBezTo>
                        <a:pt x="572272" y="894414"/>
                        <a:pt x="567733" y="915695"/>
                        <a:pt x="547158" y="922856"/>
                      </a:cubicBezTo>
                      <a:lnTo>
                        <a:pt x="547158" y="922856"/>
                      </a:lnTo>
                      <a:cubicBezTo>
                        <a:pt x="544838" y="923562"/>
                        <a:pt x="542518" y="923865"/>
                        <a:pt x="540098" y="923865"/>
                      </a:cubicBezTo>
                      <a:lnTo>
                        <a:pt x="540098" y="923865"/>
                      </a:lnTo>
                      <a:cubicBezTo>
                        <a:pt x="517808" y="923360"/>
                        <a:pt x="495417" y="896935"/>
                        <a:pt x="490677" y="888160"/>
                      </a:cubicBezTo>
                      <a:lnTo>
                        <a:pt x="490677" y="888160"/>
                      </a:lnTo>
                      <a:cubicBezTo>
                        <a:pt x="489668" y="886345"/>
                        <a:pt x="489366" y="884429"/>
                        <a:pt x="489366" y="882613"/>
                      </a:cubicBezTo>
                      <a:lnTo>
                        <a:pt x="489366" y="882613"/>
                      </a:lnTo>
                      <a:cubicBezTo>
                        <a:pt x="489769" y="872729"/>
                        <a:pt x="498241" y="864358"/>
                        <a:pt x="498140" y="851347"/>
                      </a:cubicBezTo>
                      <a:lnTo>
                        <a:pt x="498140" y="851347"/>
                      </a:lnTo>
                      <a:cubicBezTo>
                        <a:pt x="498443" y="837025"/>
                        <a:pt x="476859" y="815542"/>
                        <a:pt x="459310" y="803641"/>
                      </a:cubicBezTo>
                      <a:lnTo>
                        <a:pt x="459310" y="803641"/>
                      </a:lnTo>
                      <a:cubicBezTo>
                        <a:pt x="455679" y="801120"/>
                        <a:pt x="452956" y="800212"/>
                        <a:pt x="450737" y="800212"/>
                      </a:cubicBezTo>
                      <a:lnTo>
                        <a:pt x="450737" y="800212"/>
                      </a:lnTo>
                      <a:cubicBezTo>
                        <a:pt x="445291" y="800212"/>
                        <a:pt x="441054" y="808280"/>
                        <a:pt x="441054" y="821392"/>
                      </a:cubicBezTo>
                      <a:lnTo>
                        <a:pt x="441054" y="821392"/>
                      </a:lnTo>
                      <a:cubicBezTo>
                        <a:pt x="441054" y="823813"/>
                        <a:pt x="441256" y="826334"/>
                        <a:pt x="441559" y="828856"/>
                      </a:cubicBezTo>
                      <a:lnTo>
                        <a:pt x="441559" y="828856"/>
                      </a:lnTo>
                      <a:cubicBezTo>
                        <a:pt x="441660" y="830873"/>
                        <a:pt x="441761" y="832688"/>
                        <a:pt x="441761" y="834302"/>
                      </a:cubicBezTo>
                      <a:lnTo>
                        <a:pt x="441761" y="834302"/>
                      </a:lnTo>
                      <a:cubicBezTo>
                        <a:pt x="441761" y="843984"/>
                        <a:pt x="437121" y="849128"/>
                        <a:pt x="430464" y="849229"/>
                      </a:cubicBezTo>
                      <a:lnTo>
                        <a:pt x="430464" y="849229"/>
                      </a:lnTo>
                      <a:cubicBezTo>
                        <a:pt x="426228" y="849128"/>
                        <a:pt x="421690" y="847716"/>
                        <a:pt x="416748" y="846102"/>
                      </a:cubicBezTo>
                      <a:lnTo>
                        <a:pt x="416748" y="846102"/>
                      </a:lnTo>
                      <a:cubicBezTo>
                        <a:pt x="403434" y="841665"/>
                        <a:pt x="387398" y="835916"/>
                        <a:pt x="371462" y="822300"/>
                      </a:cubicBezTo>
                      <a:lnTo>
                        <a:pt x="371462" y="822300"/>
                      </a:lnTo>
                      <a:cubicBezTo>
                        <a:pt x="363595" y="815542"/>
                        <a:pt x="361679" y="807272"/>
                        <a:pt x="361780" y="799909"/>
                      </a:cubicBezTo>
                      <a:lnTo>
                        <a:pt x="361780" y="799909"/>
                      </a:lnTo>
                      <a:cubicBezTo>
                        <a:pt x="361780" y="794463"/>
                        <a:pt x="362687" y="789420"/>
                        <a:pt x="362687" y="785890"/>
                      </a:cubicBezTo>
                      <a:lnTo>
                        <a:pt x="362687" y="785890"/>
                      </a:lnTo>
                      <a:cubicBezTo>
                        <a:pt x="362687" y="783873"/>
                        <a:pt x="362486" y="782360"/>
                        <a:pt x="361981" y="781654"/>
                      </a:cubicBezTo>
                      <a:lnTo>
                        <a:pt x="361981" y="781654"/>
                      </a:lnTo>
                      <a:cubicBezTo>
                        <a:pt x="360267" y="778426"/>
                        <a:pt x="355224" y="775401"/>
                        <a:pt x="350887" y="775401"/>
                      </a:cubicBezTo>
                      <a:lnTo>
                        <a:pt x="350887" y="775401"/>
                      </a:lnTo>
                      <a:cubicBezTo>
                        <a:pt x="347054" y="775602"/>
                        <a:pt x="343625" y="777216"/>
                        <a:pt x="341608" y="784276"/>
                      </a:cubicBezTo>
                      <a:lnTo>
                        <a:pt x="341608" y="784276"/>
                      </a:lnTo>
                      <a:cubicBezTo>
                        <a:pt x="337674" y="800111"/>
                        <a:pt x="340095" y="797690"/>
                        <a:pt x="320629" y="812315"/>
                      </a:cubicBezTo>
                      <a:lnTo>
                        <a:pt x="320629" y="812315"/>
                      </a:lnTo>
                      <a:cubicBezTo>
                        <a:pt x="315586" y="816147"/>
                        <a:pt x="314376" y="819576"/>
                        <a:pt x="314275" y="823510"/>
                      </a:cubicBezTo>
                      <a:lnTo>
                        <a:pt x="314275" y="823510"/>
                      </a:lnTo>
                      <a:cubicBezTo>
                        <a:pt x="314074" y="831982"/>
                        <a:pt x="322243" y="843077"/>
                        <a:pt x="322445" y="856793"/>
                      </a:cubicBezTo>
                      <a:lnTo>
                        <a:pt x="322445" y="856793"/>
                      </a:lnTo>
                      <a:cubicBezTo>
                        <a:pt x="322445" y="860323"/>
                        <a:pt x="321840" y="863954"/>
                        <a:pt x="320529" y="867686"/>
                      </a:cubicBezTo>
                      <a:lnTo>
                        <a:pt x="320529" y="867686"/>
                      </a:lnTo>
                      <a:cubicBezTo>
                        <a:pt x="316292" y="878881"/>
                        <a:pt x="308224" y="882815"/>
                        <a:pt x="301164" y="882613"/>
                      </a:cubicBezTo>
                      <a:lnTo>
                        <a:pt x="301164" y="882613"/>
                      </a:lnTo>
                      <a:cubicBezTo>
                        <a:pt x="296121" y="882613"/>
                        <a:pt x="291481" y="881000"/>
                        <a:pt x="288556" y="879587"/>
                      </a:cubicBezTo>
                      <a:lnTo>
                        <a:pt x="288556" y="879587"/>
                      </a:lnTo>
                      <a:cubicBezTo>
                        <a:pt x="286337" y="883824"/>
                        <a:pt x="279983" y="889572"/>
                        <a:pt x="262737" y="891489"/>
                      </a:cubicBezTo>
                      <a:lnTo>
                        <a:pt x="262737" y="891489"/>
                      </a:lnTo>
                      <a:cubicBezTo>
                        <a:pt x="260316" y="891892"/>
                        <a:pt x="258299" y="891993"/>
                        <a:pt x="256382" y="891993"/>
                      </a:cubicBezTo>
                      <a:lnTo>
                        <a:pt x="256382" y="891993"/>
                      </a:lnTo>
                      <a:cubicBezTo>
                        <a:pt x="235908" y="892296"/>
                        <a:pt x="240548" y="873233"/>
                        <a:pt x="238228" y="871720"/>
                      </a:cubicBezTo>
                      <a:lnTo>
                        <a:pt x="238228" y="871720"/>
                      </a:lnTo>
                      <a:cubicBezTo>
                        <a:pt x="236917" y="872729"/>
                        <a:pt x="232378" y="878176"/>
                        <a:pt x="226125" y="878579"/>
                      </a:cubicBezTo>
                      <a:lnTo>
                        <a:pt x="226125" y="878579"/>
                      </a:lnTo>
                      <a:cubicBezTo>
                        <a:pt x="222393" y="878579"/>
                        <a:pt x="218460" y="876360"/>
                        <a:pt x="214930" y="871720"/>
                      </a:cubicBezTo>
                      <a:lnTo>
                        <a:pt x="214930" y="871720"/>
                      </a:lnTo>
                      <a:cubicBezTo>
                        <a:pt x="211904" y="867888"/>
                        <a:pt x="210391" y="864055"/>
                        <a:pt x="210391" y="860525"/>
                      </a:cubicBezTo>
                      <a:lnTo>
                        <a:pt x="210391" y="860525"/>
                      </a:lnTo>
                      <a:cubicBezTo>
                        <a:pt x="210996" y="847615"/>
                        <a:pt x="226125" y="841059"/>
                        <a:pt x="233992" y="833495"/>
                      </a:cubicBezTo>
                      <a:lnTo>
                        <a:pt x="233992" y="833495"/>
                      </a:lnTo>
                      <a:cubicBezTo>
                        <a:pt x="239640" y="828351"/>
                        <a:pt x="241052" y="822199"/>
                        <a:pt x="241153" y="815139"/>
                      </a:cubicBezTo>
                      <a:lnTo>
                        <a:pt x="241153" y="815139"/>
                      </a:lnTo>
                      <a:cubicBezTo>
                        <a:pt x="241153" y="809995"/>
                        <a:pt x="240245" y="804549"/>
                        <a:pt x="239842" y="799304"/>
                      </a:cubicBezTo>
                      <a:lnTo>
                        <a:pt x="239842" y="799304"/>
                      </a:lnTo>
                      <a:cubicBezTo>
                        <a:pt x="239237" y="789420"/>
                        <a:pt x="224915" y="778325"/>
                        <a:pt x="205751" y="776207"/>
                      </a:cubicBezTo>
                      <a:lnTo>
                        <a:pt x="205751" y="776207"/>
                      </a:lnTo>
                      <a:cubicBezTo>
                        <a:pt x="186185" y="773989"/>
                        <a:pt x="175998" y="773888"/>
                        <a:pt x="161172" y="762289"/>
                      </a:cubicBezTo>
                      <a:lnTo>
                        <a:pt x="161172" y="762289"/>
                      </a:lnTo>
                      <a:cubicBezTo>
                        <a:pt x="144631" y="748572"/>
                        <a:pt x="151490" y="702278"/>
                        <a:pt x="147859" y="684023"/>
                      </a:cubicBezTo>
                      <a:lnTo>
                        <a:pt x="147859" y="684023"/>
                      </a:lnTo>
                      <a:cubicBezTo>
                        <a:pt x="148161" y="669802"/>
                        <a:pt x="67374" y="670911"/>
                        <a:pt x="45992" y="669600"/>
                      </a:cubicBezTo>
                      <a:lnTo>
                        <a:pt x="45992" y="669600"/>
                      </a:lnTo>
                      <a:cubicBezTo>
                        <a:pt x="30459" y="668087"/>
                        <a:pt x="19970" y="662338"/>
                        <a:pt x="19869" y="651042"/>
                      </a:cubicBezTo>
                      <a:lnTo>
                        <a:pt x="19869" y="651042"/>
                      </a:lnTo>
                      <a:cubicBezTo>
                        <a:pt x="19869" y="647008"/>
                        <a:pt x="21382" y="642570"/>
                        <a:pt x="23903" y="637829"/>
                      </a:cubicBezTo>
                      <a:lnTo>
                        <a:pt x="23903" y="637829"/>
                      </a:lnTo>
                      <a:cubicBezTo>
                        <a:pt x="36107" y="618364"/>
                        <a:pt x="105901" y="620381"/>
                        <a:pt x="161575" y="616548"/>
                      </a:cubicBezTo>
                      <a:lnTo>
                        <a:pt x="161575" y="616548"/>
                      </a:lnTo>
                      <a:cubicBezTo>
                        <a:pt x="218359" y="612514"/>
                        <a:pt x="206962" y="616347"/>
                        <a:pt x="213820" y="606664"/>
                      </a:cubicBezTo>
                      <a:lnTo>
                        <a:pt x="213820" y="606664"/>
                      </a:lnTo>
                      <a:cubicBezTo>
                        <a:pt x="217955" y="600512"/>
                        <a:pt x="226327" y="597890"/>
                        <a:pt x="234093" y="597789"/>
                      </a:cubicBezTo>
                      <a:lnTo>
                        <a:pt x="234093" y="597789"/>
                      </a:lnTo>
                      <a:cubicBezTo>
                        <a:pt x="241960" y="597789"/>
                        <a:pt x="250936" y="601319"/>
                        <a:pt x="251138" y="610396"/>
                      </a:cubicBezTo>
                      <a:lnTo>
                        <a:pt x="251138" y="610396"/>
                      </a:lnTo>
                      <a:cubicBezTo>
                        <a:pt x="251138" y="619171"/>
                        <a:pt x="271814" y="620784"/>
                        <a:pt x="275445" y="621591"/>
                      </a:cubicBezTo>
                      <a:lnTo>
                        <a:pt x="275445" y="621591"/>
                      </a:lnTo>
                      <a:cubicBezTo>
                        <a:pt x="275142" y="621490"/>
                        <a:pt x="274537" y="621389"/>
                        <a:pt x="273226" y="620986"/>
                      </a:cubicBezTo>
                      <a:lnTo>
                        <a:pt x="273226" y="620986"/>
                      </a:lnTo>
                      <a:cubicBezTo>
                        <a:pt x="273125" y="620684"/>
                        <a:pt x="284320" y="620280"/>
                        <a:pt x="284522" y="581651"/>
                      </a:cubicBezTo>
                      <a:lnTo>
                        <a:pt x="284522" y="581651"/>
                      </a:lnTo>
                      <a:cubicBezTo>
                        <a:pt x="284522" y="578928"/>
                        <a:pt x="284421" y="575902"/>
                        <a:pt x="284320" y="572877"/>
                      </a:cubicBezTo>
                      <a:lnTo>
                        <a:pt x="284320" y="572877"/>
                      </a:lnTo>
                      <a:cubicBezTo>
                        <a:pt x="281597" y="525675"/>
                        <a:pt x="267174" y="520430"/>
                        <a:pt x="246902" y="517808"/>
                      </a:cubicBezTo>
                      <a:lnTo>
                        <a:pt x="246902" y="517808"/>
                      </a:lnTo>
                      <a:cubicBezTo>
                        <a:pt x="224612" y="515589"/>
                        <a:pt x="217854" y="501771"/>
                        <a:pt x="212610" y="490778"/>
                      </a:cubicBezTo>
                      <a:lnTo>
                        <a:pt x="212610" y="490778"/>
                      </a:lnTo>
                      <a:cubicBezTo>
                        <a:pt x="210391" y="486138"/>
                        <a:pt x="203230" y="483919"/>
                        <a:pt x="195060" y="484020"/>
                      </a:cubicBezTo>
                      <a:lnTo>
                        <a:pt x="195060" y="484020"/>
                      </a:lnTo>
                      <a:cubicBezTo>
                        <a:pt x="188807" y="484020"/>
                        <a:pt x="182251" y="485331"/>
                        <a:pt x="178318" y="486542"/>
                      </a:cubicBezTo>
                      <a:lnTo>
                        <a:pt x="178318" y="486542"/>
                      </a:lnTo>
                      <a:cubicBezTo>
                        <a:pt x="171460" y="487449"/>
                        <a:pt x="170754" y="512664"/>
                        <a:pt x="167829" y="523557"/>
                      </a:cubicBezTo>
                      <a:lnTo>
                        <a:pt x="167829" y="523557"/>
                      </a:lnTo>
                      <a:cubicBezTo>
                        <a:pt x="163492" y="535559"/>
                        <a:pt x="148464" y="540904"/>
                        <a:pt x="139689" y="541005"/>
                      </a:cubicBezTo>
                      <a:lnTo>
                        <a:pt x="139689" y="541005"/>
                      </a:lnTo>
                      <a:cubicBezTo>
                        <a:pt x="130309" y="541005"/>
                        <a:pt x="122442" y="533340"/>
                        <a:pt x="122442" y="517203"/>
                      </a:cubicBezTo>
                      <a:lnTo>
                        <a:pt x="122442" y="517203"/>
                      </a:lnTo>
                      <a:cubicBezTo>
                        <a:pt x="122442" y="501166"/>
                        <a:pt x="126981" y="490374"/>
                        <a:pt x="133335" y="485130"/>
                      </a:cubicBezTo>
                      <a:lnTo>
                        <a:pt x="133335" y="485130"/>
                      </a:lnTo>
                      <a:cubicBezTo>
                        <a:pt x="135150" y="483718"/>
                        <a:pt x="135957" y="480793"/>
                        <a:pt x="135957" y="476960"/>
                      </a:cubicBezTo>
                      <a:lnTo>
                        <a:pt x="135957" y="476960"/>
                      </a:lnTo>
                      <a:cubicBezTo>
                        <a:pt x="135957" y="473228"/>
                        <a:pt x="135150" y="468891"/>
                        <a:pt x="134747" y="465563"/>
                      </a:cubicBezTo>
                      <a:lnTo>
                        <a:pt x="134747" y="465563"/>
                      </a:lnTo>
                      <a:cubicBezTo>
                        <a:pt x="134747" y="465563"/>
                        <a:pt x="134444" y="464857"/>
                        <a:pt x="130814" y="464857"/>
                      </a:cubicBezTo>
                      <a:lnTo>
                        <a:pt x="130814" y="464857"/>
                      </a:lnTo>
                      <a:cubicBezTo>
                        <a:pt x="128393" y="464857"/>
                        <a:pt x="125367" y="465160"/>
                        <a:pt x="122341" y="465160"/>
                      </a:cubicBezTo>
                      <a:lnTo>
                        <a:pt x="122341" y="465160"/>
                      </a:lnTo>
                      <a:cubicBezTo>
                        <a:pt x="118912" y="465160"/>
                        <a:pt x="114374" y="464958"/>
                        <a:pt x="112659" y="460621"/>
                      </a:cubicBezTo>
                      <a:lnTo>
                        <a:pt x="112659" y="460621"/>
                      </a:lnTo>
                      <a:cubicBezTo>
                        <a:pt x="112054" y="459209"/>
                        <a:pt x="111953" y="457999"/>
                        <a:pt x="111953" y="457091"/>
                      </a:cubicBezTo>
                      <a:lnTo>
                        <a:pt x="111953" y="457091"/>
                      </a:lnTo>
                      <a:cubicBezTo>
                        <a:pt x="112256" y="449022"/>
                        <a:pt x="119517" y="441559"/>
                        <a:pt x="127384" y="441256"/>
                      </a:cubicBezTo>
                      <a:lnTo>
                        <a:pt x="127384" y="441256"/>
                      </a:lnTo>
                      <a:cubicBezTo>
                        <a:pt x="129805" y="441256"/>
                        <a:pt x="129906" y="440954"/>
                        <a:pt x="130208" y="431069"/>
                      </a:cubicBezTo>
                      <a:lnTo>
                        <a:pt x="130208" y="431069"/>
                      </a:lnTo>
                      <a:cubicBezTo>
                        <a:pt x="130208" y="427842"/>
                        <a:pt x="130108" y="424110"/>
                        <a:pt x="130108" y="419572"/>
                      </a:cubicBezTo>
                      <a:lnTo>
                        <a:pt x="130108" y="419572"/>
                      </a:lnTo>
                      <a:cubicBezTo>
                        <a:pt x="130208" y="401417"/>
                        <a:pt x="145741" y="395668"/>
                        <a:pt x="154818" y="395466"/>
                      </a:cubicBezTo>
                      <a:lnTo>
                        <a:pt x="154818" y="395466"/>
                      </a:lnTo>
                      <a:cubicBezTo>
                        <a:pt x="155927" y="395466"/>
                        <a:pt x="156835" y="395567"/>
                        <a:pt x="157642" y="395668"/>
                      </a:cubicBezTo>
                      <a:lnTo>
                        <a:pt x="157642" y="395668"/>
                      </a:lnTo>
                      <a:cubicBezTo>
                        <a:pt x="170249" y="400812"/>
                        <a:pt x="161273" y="431977"/>
                        <a:pt x="166517" y="441861"/>
                      </a:cubicBezTo>
                      <a:lnTo>
                        <a:pt x="166517" y="441861"/>
                      </a:lnTo>
                      <a:cubicBezTo>
                        <a:pt x="166517" y="443677"/>
                        <a:pt x="175595" y="446400"/>
                        <a:pt x="187597" y="445996"/>
                      </a:cubicBezTo>
                      <a:lnTo>
                        <a:pt x="187597" y="445996"/>
                      </a:lnTo>
                      <a:cubicBezTo>
                        <a:pt x="204440" y="445996"/>
                        <a:pt x="226226" y="443475"/>
                        <a:pt x="238228" y="443374"/>
                      </a:cubicBezTo>
                      <a:lnTo>
                        <a:pt x="238228" y="443374"/>
                      </a:lnTo>
                      <a:cubicBezTo>
                        <a:pt x="261022" y="444383"/>
                        <a:pt x="252247" y="459612"/>
                        <a:pt x="278168" y="460016"/>
                      </a:cubicBezTo>
                      <a:lnTo>
                        <a:pt x="278168" y="460016"/>
                      </a:lnTo>
                      <a:cubicBezTo>
                        <a:pt x="293498" y="460621"/>
                        <a:pt x="314174" y="462537"/>
                        <a:pt x="330413" y="462537"/>
                      </a:cubicBezTo>
                      <a:lnTo>
                        <a:pt x="330413" y="462537"/>
                      </a:lnTo>
                      <a:cubicBezTo>
                        <a:pt x="344029" y="462840"/>
                        <a:pt x="354417" y="460218"/>
                        <a:pt x="354215" y="458503"/>
                      </a:cubicBezTo>
                      <a:lnTo>
                        <a:pt x="354215" y="458503"/>
                      </a:lnTo>
                      <a:cubicBezTo>
                        <a:pt x="354720" y="457393"/>
                        <a:pt x="354921" y="456284"/>
                        <a:pt x="354921" y="455175"/>
                      </a:cubicBezTo>
                      <a:lnTo>
                        <a:pt x="354921" y="455175"/>
                      </a:lnTo>
                      <a:cubicBezTo>
                        <a:pt x="355224" y="447408"/>
                        <a:pt x="344029" y="434902"/>
                        <a:pt x="329908" y="433389"/>
                      </a:cubicBezTo>
                      <a:lnTo>
                        <a:pt x="329908" y="433389"/>
                      </a:lnTo>
                      <a:cubicBezTo>
                        <a:pt x="310342" y="430666"/>
                        <a:pt x="295919" y="409990"/>
                        <a:pt x="286035" y="399198"/>
                      </a:cubicBezTo>
                      <a:lnTo>
                        <a:pt x="286035" y="399198"/>
                      </a:lnTo>
                      <a:cubicBezTo>
                        <a:pt x="284119" y="396979"/>
                        <a:pt x="281597" y="396273"/>
                        <a:pt x="277966" y="396172"/>
                      </a:cubicBezTo>
                      <a:lnTo>
                        <a:pt x="277966" y="396172"/>
                      </a:lnTo>
                      <a:cubicBezTo>
                        <a:pt x="266973" y="396071"/>
                        <a:pt x="249020" y="405754"/>
                        <a:pt x="234496" y="410091"/>
                      </a:cubicBezTo>
                      <a:lnTo>
                        <a:pt x="234496" y="410091"/>
                      </a:lnTo>
                      <a:cubicBezTo>
                        <a:pt x="229756" y="411301"/>
                        <a:pt x="225520" y="412007"/>
                        <a:pt x="221788" y="412007"/>
                      </a:cubicBezTo>
                      <a:lnTo>
                        <a:pt x="221788" y="412007"/>
                      </a:lnTo>
                      <a:cubicBezTo>
                        <a:pt x="210492" y="412007"/>
                        <a:pt x="203230" y="405048"/>
                        <a:pt x="203230" y="394861"/>
                      </a:cubicBezTo>
                      <a:lnTo>
                        <a:pt x="203230" y="394861"/>
                      </a:lnTo>
                      <a:cubicBezTo>
                        <a:pt x="203230" y="394054"/>
                        <a:pt x="203331" y="393247"/>
                        <a:pt x="203331" y="392743"/>
                      </a:cubicBezTo>
                      <a:lnTo>
                        <a:pt x="203331" y="392743"/>
                      </a:lnTo>
                      <a:cubicBezTo>
                        <a:pt x="206155" y="375597"/>
                        <a:pt x="234698" y="372975"/>
                        <a:pt x="263443" y="369142"/>
                      </a:cubicBezTo>
                      <a:lnTo>
                        <a:pt x="263443" y="369142"/>
                      </a:lnTo>
                      <a:cubicBezTo>
                        <a:pt x="290069" y="366217"/>
                        <a:pt x="304593" y="346651"/>
                        <a:pt x="304290" y="337573"/>
                      </a:cubicBezTo>
                      <a:lnTo>
                        <a:pt x="304290" y="337573"/>
                      </a:lnTo>
                      <a:cubicBezTo>
                        <a:pt x="304290" y="337573"/>
                        <a:pt x="304290" y="336666"/>
                        <a:pt x="304290" y="336767"/>
                      </a:cubicBezTo>
                      <a:lnTo>
                        <a:pt x="304290" y="336767"/>
                      </a:lnTo>
                      <a:cubicBezTo>
                        <a:pt x="304290" y="333741"/>
                        <a:pt x="298945" y="329908"/>
                        <a:pt x="287850" y="330009"/>
                      </a:cubicBezTo>
                      <a:lnTo>
                        <a:pt x="287850" y="330009"/>
                      </a:lnTo>
                      <a:cubicBezTo>
                        <a:pt x="276958" y="330009"/>
                        <a:pt x="261425" y="333438"/>
                        <a:pt x="243977" y="342213"/>
                      </a:cubicBezTo>
                      <a:lnTo>
                        <a:pt x="243977" y="342213"/>
                      </a:lnTo>
                      <a:cubicBezTo>
                        <a:pt x="207567" y="360368"/>
                        <a:pt x="159558" y="356938"/>
                        <a:pt x="132932" y="367831"/>
                      </a:cubicBezTo>
                      <a:lnTo>
                        <a:pt x="132932" y="367831"/>
                      </a:lnTo>
                      <a:cubicBezTo>
                        <a:pt x="118206" y="373580"/>
                        <a:pt x="107112" y="375597"/>
                        <a:pt x="99648" y="375597"/>
                      </a:cubicBezTo>
                      <a:lnTo>
                        <a:pt x="99648" y="375597"/>
                      </a:lnTo>
                      <a:cubicBezTo>
                        <a:pt x="93395" y="375093"/>
                        <a:pt x="88957" y="375093"/>
                        <a:pt x="87344" y="370756"/>
                      </a:cubicBezTo>
                      <a:lnTo>
                        <a:pt x="87344" y="370756"/>
                      </a:lnTo>
                      <a:cubicBezTo>
                        <a:pt x="87142" y="370655"/>
                        <a:pt x="86839" y="370554"/>
                        <a:pt x="86436" y="370453"/>
                      </a:cubicBezTo>
                      <a:lnTo>
                        <a:pt x="86436" y="370453"/>
                      </a:lnTo>
                      <a:cubicBezTo>
                        <a:pt x="85125" y="369949"/>
                        <a:pt x="83007" y="369747"/>
                        <a:pt x="80788" y="369747"/>
                      </a:cubicBezTo>
                      <a:lnTo>
                        <a:pt x="80788" y="369747"/>
                      </a:lnTo>
                      <a:cubicBezTo>
                        <a:pt x="74534" y="369747"/>
                        <a:pt x="66970" y="371966"/>
                        <a:pt x="64650" y="377413"/>
                      </a:cubicBezTo>
                      <a:lnTo>
                        <a:pt x="64650" y="377413"/>
                      </a:lnTo>
                      <a:cubicBezTo>
                        <a:pt x="58801" y="390121"/>
                        <a:pt x="46899" y="404544"/>
                        <a:pt x="24912" y="405552"/>
                      </a:cubicBezTo>
                      <a:lnTo>
                        <a:pt x="24912" y="405552"/>
                      </a:lnTo>
                      <a:lnTo>
                        <a:pt x="24509" y="405552"/>
                      </a:lnTo>
                      <a:cubicBezTo>
                        <a:pt x="2925" y="403838"/>
                        <a:pt x="706" y="365612"/>
                        <a:pt x="0" y="338179"/>
                      </a:cubicBezTo>
                      <a:lnTo>
                        <a:pt x="0" y="338179"/>
                      </a:lnTo>
                      <a:cubicBezTo>
                        <a:pt x="0" y="334749"/>
                        <a:pt x="101" y="331421"/>
                        <a:pt x="202" y="328496"/>
                      </a:cubicBezTo>
                      <a:lnTo>
                        <a:pt x="202" y="328496"/>
                      </a:lnTo>
                      <a:cubicBezTo>
                        <a:pt x="1412" y="299449"/>
                        <a:pt x="28543" y="295818"/>
                        <a:pt x="25719" y="293196"/>
                      </a:cubicBezTo>
                      <a:lnTo>
                        <a:pt x="25719" y="293196"/>
                      </a:lnTo>
                      <a:cubicBezTo>
                        <a:pt x="25719" y="291481"/>
                        <a:pt x="25517" y="286237"/>
                        <a:pt x="25517" y="279277"/>
                      </a:cubicBezTo>
                      <a:lnTo>
                        <a:pt x="25517" y="279277"/>
                      </a:lnTo>
                      <a:cubicBezTo>
                        <a:pt x="25618" y="256181"/>
                        <a:pt x="27837" y="212005"/>
                        <a:pt x="51034" y="190219"/>
                      </a:cubicBezTo>
                      <a:lnTo>
                        <a:pt x="51034" y="190219"/>
                      </a:lnTo>
                      <a:cubicBezTo>
                        <a:pt x="81796" y="162382"/>
                        <a:pt x="207567" y="148665"/>
                        <a:pt x="231269" y="146144"/>
                      </a:cubicBezTo>
                      <a:lnTo>
                        <a:pt x="231269" y="146144"/>
                      </a:lnTo>
                      <a:cubicBezTo>
                        <a:pt x="251844" y="144429"/>
                        <a:pt x="246196" y="125770"/>
                        <a:pt x="252247" y="112255"/>
                      </a:cubicBezTo>
                      <a:lnTo>
                        <a:pt x="252247" y="112255"/>
                      </a:lnTo>
                      <a:cubicBezTo>
                        <a:pt x="255878" y="104792"/>
                        <a:pt x="264249" y="102271"/>
                        <a:pt x="271814" y="102271"/>
                      </a:cubicBezTo>
                      <a:lnTo>
                        <a:pt x="271814" y="102271"/>
                      </a:lnTo>
                      <a:cubicBezTo>
                        <a:pt x="278571" y="102371"/>
                        <a:pt x="285430" y="104288"/>
                        <a:pt x="289868" y="108120"/>
                      </a:cubicBezTo>
                      <a:lnTo>
                        <a:pt x="289868" y="108120"/>
                      </a:lnTo>
                      <a:cubicBezTo>
                        <a:pt x="299651" y="118307"/>
                        <a:pt x="290372" y="134041"/>
                        <a:pt x="315990" y="137369"/>
                      </a:cubicBezTo>
                      <a:lnTo>
                        <a:pt x="315990" y="137369"/>
                      </a:lnTo>
                      <a:cubicBezTo>
                        <a:pt x="316898" y="137470"/>
                        <a:pt x="317906" y="137470"/>
                        <a:pt x="318915" y="137470"/>
                      </a:cubicBezTo>
                      <a:lnTo>
                        <a:pt x="318915" y="137470"/>
                      </a:lnTo>
                      <a:cubicBezTo>
                        <a:pt x="347962" y="137672"/>
                        <a:pt x="431372" y="95311"/>
                        <a:pt x="470505" y="88655"/>
                      </a:cubicBezTo>
                      <a:lnTo>
                        <a:pt x="470505" y="88655"/>
                      </a:lnTo>
                      <a:cubicBezTo>
                        <a:pt x="473228" y="88049"/>
                        <a:pt x="475952" y="87949"/>
                        <a:pt x="478574" y="87949"/>
                      </a:cubicBezTo>
                      <a:lnTo>
                        <a:pt x="478574" y="87949"/>
                      </a:lnTo>
                      <a:cubicBezTo>
                        <a:pt x="517505" y="88251"/>
                        <a:pt x="547864" y="132528"/>
                        <a:pt x="548166" y="161172"/>
                      </a:cubicBezTo>
                      <a:lnTo>
                        <a:pt x="548166" y="161172"/>
                      </a:lnTo>
                      <a:cubicBezTo>
                        <a:pt x="548368" y="178318"/>
                        <a:pt x="558454" y="183764"/>
                        <a:pt x="569145" y="183966"/>
                      </a:cubicBezTo>
                      <a:lnTo>
                        <a:pt x="569145" y="183966"/>
                      </a:lnTo>
                      <a:cubicBezTo>
                        <a:pt x="575096" y="184067"/>
                        <a:pt x="581046" y="182050"/>
                        <a:pt x="584576" y="179024"/>
                      </a:cubicBezTo>
                      <a:lnTo>
                        <a:pt x="584576" y="179024"/>
                      </a:lnTo>
                      <a:cubicBezTo>
                        <a:pt x="587199" y="176704"/>
                        <a:pt x="588207" y="174082"/>
                        <a:pt x="588207" y="170753"/>
                      </a:cubicBezTo>
                      <a:lnTo>
                        <a:pt x="588207" y="170753"/>
                      </a:lnTo>
                      <a:cubicBezTo>
                        <a:pt x="588308" y="161575"/>
                        <a:pt x="580239" y="148867"/>
                        <a:pt x="578222" y="140798"/>
                      </a:cubicBezTo>
                      <a:lnTo>
                        <a:pt x="578222" y="140798"/>
                      </a:lnTo>
                      <a:cubicBezTo>
                        <a:pt x="577415" y="137470"/>
                        <a:pt x="576407" y="133133"/>
                        <a:pt x="576407" y="128393"/>
                      </a:cubicBezTo>
                      <a:lnTo>
                        <a:pt x="576407" y="128393"/>
                      </a:lnTo>
                      <a:cubicBezTo>
                        <a:pt x="576306" y="118408"/>
                        <a:pt x="581550" y="106002"/>
                        <a:pt x="600814" y="97732"/>
                      </a:cubicBezTo>
                      <a:lnTo>
                        <a:pt x="600814" y="97732"/>
                      </a:lnTo>
                      <a:cubicBezTo>
                        <a:pt x="606160" y="95311"/>
                        <a:pt x="612010" y="94303"/>
                        <a:pt x="618061" y="94303"/>
                      </a:cubicBezTo>
                      <a:lnTo>
                        <a:pt x="618061" y="94303"/>
                      </a:lnTo>
                      <a:cubicBezTo>
                        <a:pt x="645797" y="94403"/>
                        <a:pt x="678476" y="115180"/>
                        <a:pt x="697941" y="127989"/>
                      </a:cubicBezTo>
                      <a:lnTo>
                        <a:pt x="697941" y="127989"/>
                      </a:lnTo>
                      <a:cubicBezTo>
                        <a:pt x="701976" y="130612"/>
                        <a:pt x="705707" y="131721"/>
                        <a:pt x="709036" y="131721"/>
                      </a:cubicBezTo>
                      <a:lnTo>
                        <a:pt x="709036" y="131721"/>
                      </a:lnTo>
                      <a:cubicBezTo>
                        <a:pt x="723156" y="132125"/>
                        <a:pt x="735763" y="111146"/>
                        <a:pt x="742924" y="100959"/>
                      </a:cubicBezTo>
                      <a:lnTo>
                        <a:pt x="742924" y="100959"/>
                      </a:lnTo>
                      <a:cubicBezTo>
                        <a:pt x="745748" y="97026"/>
                        <a:pt x="746656" y="93899"/>
                        <a:pt x="746656" y="91479"/>
                      </a:cubicBezTo>
                      <a:lnTo>
                        <a:pt x="746656" y="91479"/>
                      </a:lnTo>
                      <a:cubicBezTo>
                        <a:pt x="746656" y="87142"/>
                        <a:pt x="743429" y="84217"/>
                        <a:pt x="739798" y="83007"/>
                      </a:cubicBezTo>
                      <a:lnTo>
                        <a:pt x="739798" y="83007"/>
                      </a:lnTo>
                      <a:cubicBezTo>
                        <a:pt x="733948" y="80687"/>
                        <a:pt x="728098" y="72416"/>
                        <a:pt x="727795" y="62230"/>
                      </a:cubicBezTo>
                      <a:lnTo>
                        <a:pt x="727795" y="62230"/>
                      </a:lnTo>
                      <a:cubicBezTo>
                        <a:pt x="727795" y="55472"/>
                        <a:pt x="731023" y="48210"/>
                        <a:pt x="739092" y="42562"/>
                      </a:cubicBezTo>
                      <a:lnTo>
                        <a:pt x="739092" y="42562"/>
                      </a:lnTo>
                      <a:cubicBezTo>
                        <a:pt x="751396" y="33788"/>
                        <a:pt x="775300" y="25517"/>
                        <a:pt x="795471" y="25416"/>
                      </a:cubicBezTo>
                      <a:lnTo>
                        <a:pt x="795471" y="25416"/>
                      </a:lnTo>
                      <a:cubicBezTo>
                        <a:pt x="807575" y="25416"/>
                        <a:pt x="818568" y="28644"/>
                        <a:pt x="824115" y="37822"/>
                      </a:cubicBezTo>
                      <a:lnTo>
                        <a:pt x="824115" y="37822"/>
                      </a:lnTo>
                      <a:cubicBezTo>
                        <a:pt x="826939" y="42461"/>
                        <a:pt x="829259" y="43873"/>
                        <a:pt x="832890" y="43873"/>
                      </a:cubicBezTo>
                      <a:lnTo>
                        <a:pt x="832890" y="43873"/>
                      </a:lnTo>
                      <a:cubicBezTo>
                        <a:pt x="844287" y="44378"/>
                        <a:pt x="868392" y="24408"/>
                        <a:pt x="914989" y="6657"/>
                      </a:cubicBezTo>
                      <a:lnTo>
                        <a:pt x="914989" y="6657"/>
                      </a:lnTo>
                      <a:cubicBezTo>
                        <a:pt x="927395" y="2017"/>
                        <a:pt x="940607" y="0"/>
                        <a:pt x="953920" y="0"/>
                      </a:cubicBezTo>
                      <a:lnTo>
                        <a:pt x="953920" y="0"/>
                      </a:lnTo>
                      <a:cubicBezTo>
                        <a:pt x="1008586" y="605"/>
                        <a:pt x="1063856" y="31670"/>
                        <a:pt x="1065268" y="55371"/>
                      </a:cubicBezTo>
                      <a:lnTo>
                        <a:pt x="1065268" y="55371"/>
                      </a:lnTo>
                      <a:cubicBezTo>
                        <a:pt x="1065268" y="55371"/>
                        <a:pt x="1065268" y="55775"/>
                        <a:pt x="1065268" y="56178"/>
                      </a:cubicBezTo>
                      <a:lnTo>
                        <a:pt x="1065268" y="56178"/>
                      </a:lnTo>
                      <a:cubicBezTo>
                        <a:pt x="1065067" y="58094"/>
                        <a:pt x="1065067" y="60112"/>
                        <a:pt x="1065067" y="62028"/>
                      </a:cubicBezTo>
                      <a:lnTo>
                        <a:pt x="1065067" y="62028"/>
                      </a:lnTo>
                      <a:cubicBezTo>
                        <a:pt x="1065773" y="78972"/>
                        <a:pt x="1067790" y="82805"/>
                        <a:pt x="1082212" y="83511"/>
                      </a:cubicBezTo>
                      <a:lnTo>
                        <a:pt x="1082212" y="83511"/>
                      </a:lnTo>
                      <a:cubicBezTo>
                        <a:pt x="1084230" y="83511"/>
                        <a:pt x="1086448" y="83410"/>
                        <a:pt x="1088667" y="83208"/>
                      </a:cubicBezTo>
                      <a:lnTo>
                        <a:pt x="1088667" y="83208"/>
                      </a:lnTo>
                      <a:cubicBezTo>
                        <a:pt x="1091088" y="82805"/>
                        <a:pt x="1093206" y="82704"/>
                        <a:pt x="1095122" y="82704"/>
                      </a:cubicBezTo>
                      <a:lnTo>
                        <a:pt x="1095122" y="82704"/>
                      </a:lnTo>
                      <a:cubicBezTo>
                        <a:pt x="1107326" y="82805"/>
                        <a:pt x="1113378" y="89361"/>
                        <a:pt x="1113479" y="101363"/>
                      </a:cubicBezTo>
                      <a:lnTo>
                        <a:pt x="1113479" y="101363"/>
                      </a:lnTo>
                      <a:cubicBezTo>
                        <a:pt x="1113479" y="107414"/>
                        <a:pt x="1112369" y="115180"/>
                        <a:pt x="1110655" y="125165"/>
                      </a:cubicBezTo>
                      <a:lnTo>
                        <a:pt x="1110655" y="125165"/>
                      </a:lnTo>
                      <a:cubicBezTo>
                        <a:pt x="1109343" y="132427"/>
                        <a:pt x="1108839" y="137974"/>
                        <a:pt x="1108839" y="142210"/>
                      </a:cubicBezTo>
                      <a:lnTo>
                        <a:pt x="1108839" y="142210"/>
                      </a:lnTo>
                      <a:cubicBezTo>
                        <a:pt x="1109444" y="155524"/>
                        <a:pt x="1112672" y="153507"/>
                        <a:pt x="1120135" y="157642"/>
                      </a:cubicBezTo>
                      <a:lnTo>
                        <a:pt x="1120135" y="157642"/>
                      </a:lnTo>
                      <a:cubicBezTo>
                        <a:pt x="1120640" y="157844"/>
                        <a:pt x="1121346" y="157944"/>
                        <a:pt x="1122253" y="157944"/>
                      </a:cubicBezTo>
                      <a:lnTo>
                        <a:pt x="1122253" y="157944"/>
                      </a:lnTo>
                      <a:cubicBezTo>
                        <a:pt x="1125481" y="158045"/>
                        <a:pt x="1131028" y="155725"/>
                        <a:pt x="1136979" y="155625"/>
                      </a:cubicBezTo>
                      <a:lnTo>
                        <a:pt x="1136979" y="155625"/>
                      </a:lnTo>
                      <a:cubicBezTo>
                        <a:pt x="1145148" y="155524"/>
                        <a:pt x="1153015" y="161475"/>
                        <a:pt x="1156142" y="179629"/>
                      </a:cubicBezTo>
                      <a:lnTo>
                        <a:pt x="1156142" y="179629"/>
                      </a:lnTo>
                      <a:cubicBezTo>
                        <a:pt x="1162597" y="215333"/>
                        <a:pt x="1165623" y="238430"/>
                        <a:pt x="1175103" y="245691"/>
                      </a:cubicBezTo>
                      <a:lnTo>
                        <a:pt x="1175103" y="245691"/>
                      </a:lnTo>
                      <a:cubicBezTo>
                        <a:pt x="1184080" y="253357"/>
                        <a:pt x="1215850" y="265460"/>
                        <a:pt x="1216556" y="284724"/>
                      </a:cubicBezTo>
                      <a:lnTo>
                        <a:pt x="1216556" y="284724"/>
                      </a:lnTo>
                      <a:cubicBezTo>
                        <a:pt x="1216556" y="287245"/>
                        <a:pt x="1215951" y="289867"/>
                        <a:pt x="1214640" y="292490"/>
                      </a:cubicBezTo>
                      <a:lnTo>
                        <a:pt x="1214640" y="292490"/>
                      </a:lnTo>
                      <a:cubicBezTo>
                        <a:pt x="1211816" y="297634"/>
                        <a:pt x="1210605" y="303282"/>
                        <a:pt x="1210605" y="308425"/>
                      </a:cubicBezTo>
                      <a:lnTo>
                        <a:pt x="1210605" y="308425"/>
                      </a:lnTo>
                      <a:cubicBezTo>
                        <a:pt x="1210605" y="321033"/>
                        <a:pt x="1217565" y="330413"/>
                        <a:pt x="1224423" y="330413"/>
                      </a:cubicBezTo>
                      <a:lnTo>
                        <a:pt x="1224423" y="330413"/>
                      </a:lnTo>
                      <a:cubicBezTo>
                        <a:pt x="1234610" y="331320"/>
                        <a:pt x="1315397" y="269897"/>
                        <a:pt x="1345453" y="236009"/>
                      </a:cubicBezTo>
                      <a:lnTo>
                        <a:pt x="1345453" y="236009"/>
                      </a:lnTo>
                      <a:cubicBezTo>
                        <a:pt x="1362297" y="217350"/>
                        <a:pt x="1370264" y="211299"/>
                        <a:pt x="1378434" y="211097"/>
                      </a:cubicBezTo>
                      <a:lnTo>
                        <a:pt x="1378434" y="211097"/>
                      </a:lnTo>
                      <a:cubicBezTo>
                        <a:pt x="1385292" y="211198"/>
                        <a:pt x="1389528" y="215232"/>
                        <a:pt x="1397093" y="217350"/>
                      </a:cubicBezTo>
                      <a:lnTo>
                        <a:pt x="1397093" y="217350"/>
                      </a:lnTo>
                      <a:cubicBezTo>
                        <a:pt x="1400724" y="218460"/>
                        <a:pt x="1404153" y="219065"/>
                        <a:pt x="1407078" y="219065"/>
                      </a:cubicBezTo>
                      <a:lnTo>
                        <a:pt x="1407078" y="219065"/>
                      </a:lnTo>
                      <a:cubicBezTo>
                        <a:pt x="1417769" y="218964"/>
                        <a:pt x="1424627" y="213013"/>
                        <a:pt x="1427956" y="202625"/>
                      </a:cubicBezTo>
                      <a:lnTo>
                        <a:pt x="1427956" y="202625"/>
                      </a:lnTo>
                      <a:cubicBezTo>
                        <a:pt x="1431990" y="189816"/>
                        <a:pt x="1441975" y="178318"/>
                        <a:pt x="1453775" y="178116"/>
                      </a:cubicBezTo>
                      <a:lnTo>
                        <a:pt x="1453775" y="178116"/>
                      </a:lnTo>
                      <a:cubicBezTo>
                        <a:pt x="1456196" y="178116"/>
                        <a:pt x="1458617" y="178721"/>
                        <a:pt x="1460735" y="179831"/>
                      </a:cubicBezTo>
                      <a:lnTo>
                        <a:pt x="1460735" y="179831"/>
                      </a:lnTo>
                      <a:cubicBezTo>
                        <a:pt x="1467492" y="183260"/>
                        <a:pt x="1470215" y="190925"/>
                        <a:pt x="1470215" y="199296"/>
                      </a:cubicBezTo>
                      <a:lnTo>
                        <a:pt x="1470215" y="199296"/>
                      </a:lnTo>
                      <a:cubicBezTo>
                        <a:pt x="1470115" y="208172"/>
                        <a:pt x="1467291" y="218560"/>
                        <a:pt x="1461945" y="228142"/>
                      </a:cubicBezTo>
                      <a:lnTo>
                        <a:pt x="1461945" y="228142"/>
                      </a:lnTo>
                      <a:cubicBezTo>
                        <a:pt x="1460432" y="230563"/>
                        <a:pt x="1460029" y="232580"/>
                        <a:pt x="1460029" y="234496"/>
                      </a:cubicBezTo>
                      <a:lnTo>
                        <a:pt x="1460029" y="234496"/>
                      </a:lnTo>
                      <a:cubicBezTo>
                        <a:pt x="1459121" y="244178"/>
                        <a:pt x="1478788" y="253659"/>
                        <a:pt x="1505919" y="261728"/>
                      </a:cubicBezTo>
                      <a:lnTo>
                        <a:pt x="1505919" y="261728"/>
                      </a:lnTo>
                      <a:cubicBezTo>
                        <a:pt x="1512979" y="263745"/>
                        <a:pt x="1519031" y="264653"/>
                        <a:pt x="1524175" y="264653"/>
                      </a:cubicBezTo>
                      <a:lnTo>
                        <a:pt x="1524175" y="264653"/>
                      </a:lnTo>
                      <a:cubicBezTo>
                        <a:pt x="1540413" y="264653"/>
                        <a:pt x="1546767" y="256483"/>
                        <a:pt x="1546868" y="256786"/>
                      </a:cubicBezTo>
                      <a:lnTo>
                        <a:pt x="1546868" y="256786"/>
                      </a:lnTo>
                      <a:cubicBezTo>
                        <a:pt x="1549591" y="242766"/>
                        <a:pt x="1562198" y="221183"/>
                        <a:pt x="1584891" y="220981"/>
                      </a:cubicBezTo>
                      <a:lnTo>
                        <a:pt x="1584891" y="220981"/>
                      </a:lnTo>
                      <a:cubicBezTo>
                        <a:pt x="1590035" y="220981"/>
                        <a:pt x="1595482" y="222090"/>
                        <a:pt x="1601432" y="224612"/>
                      </a:cubicBezTo>
                      <a:lnTo>
                        <a:pt x="1601432" y="224612"/>
                      </a:lnTo>
                      <a:cubicBezTo>
                        <a:pt x="1609905" y="228243"/>
                        <a:pt x="1617166" y="229957"/>
                        <a:pt x="1623016" y="229957"/>
                      </a:cubicBezTo>
                      <a:lnTo>
                        <a:pt x="1623016" y="229957"/>
                      </a:lnTo>
                      <a:cubicBezTo>
                        <a:pt x="1636632" y="229857"/>
                        <a:pt x="1643591" y="221183"/>
                        <a:pt x="1646213" y="201011"/>
                      </a:cubicBezTo>
                      <a:lnTo>
                        <a:pt x="1646213" y="201011"/>
                      </a:lnTo>
                      <a:cubicBezTo>
                        <a:pt x="1648735" y="181444"/>
                        <a:pt x="1672840" y="175494"/>
                        <a:pt x="1693415" y="175393"/>
                      </a:cubicBezTo>
                      <a:lnTo>
                        <a:pt x="1693415" y="175393"/>
                      </a:lnTo>
                      <a:cubicBezTo>
                        <a:pt x="1708948" y="175595"/>
                        <a:pt x="1723068" y="178318"/>
                        <a:pt x="1728010" y="185882"/>
                      </a:cubicBezTo>
                      <a:lnTo>
                        <a:pt x="1728010" y="185882"/>
                      </a:lnTo>
                      <a:cubicBezTo>
                        <a:pt x="1729321" y="188303"/>
                        <a:pt x="1729926" y="190925"/>
                        <a:pt x="1729926" y="193346"/>
                      </a:cubicBezTo>
                      <a:lnTo>
                        <a:pt x="1729926" y="193346"/>
                      </a:lnTo>
                      <a:cubicBezTo>
                        <a:pt x="1729724" y="203432"/>
                        <a:pt x="1722967" y="213618"/>
                        <a:pt x="1723068" y="226125"/>
                      </a:cubicBezTo>
                      <a:lnTo>
                        <a:pt x="1723068" y="226125"/>
                      </a:lnTo>
                      <a:cubicBezTo>
                        <a:pt x="1723068" y="231571"/>
                        <a:pt x="1724278" y="237522"/>
                        <a:pt x="1728111" y="244279"/>
                      </a:cubicBezTo>
                      <a:lnTo>
                        <a:pt x="1728111" y="244279"/>
                      </a:lnTo>
                      <a:cubicBezTo>
                        <a:pt x="1735675" y="258601"/>
                        <a:pt x="1761495" y="263342"/>
                        <a:pt x="1792559" y="263241"/>
                      </a:cubicBezTo>
                      <a:lnTo>
                        <a:pt x="1792559" y="263241"/>
                      </a:lnTo>
                      <a:cubicBezTo>
                        <a:pt x="1812933" y="263241"/>
                        <a:pt x="1835424" y="261425"/>
                        <a:pt x="1855999" y="260114"/>
                      </a:cubicBezTo>
                      <a:lnTo>
                        <a:pt x="1855999" y="260114"/>
                      </a:lnTo>
                      <a:cubicBezTo>
                        <a:pt x="1859529" y="259812"/>
                        <a:pt x="1862757" y="259812"/>
                        <a:pt x="1865682" y="259812"/>
                      </a:cubicBezTo>
                      <a:lnTo>
                        <a:pt x="1865682" y="259812"/>
                      </a:lnTo>
                      <a:cubicBezTo>
                        <a:pt x="1875868" y="259812"/>
                        <a:pt x="1883836" y="260921"/>
                        <a:pt x="1890291" y="262736"/>
                      </a:cubicBezTo>
                      <a:lnTo>
                        <a:pt x="1890291" y="262736"/>
                      </a:lnTo>
                      <a:lnTo>
                        <a:pt x="1891602" y="267174"/>
                      </a:lnTo>
                      <a:cubicBezTo>
                        <a:pt x="1889888" y="268889"/>
                        <a:pt x="1889081" y="268990"/>
                        <a:pt x="1889182" y="269091"/>
                      </a:cubicBezTo>
                      <a:lnTo>
                        <a:pt x="1889182" y="269091"/>
                      </a:lnTo>
                      <a:cubicBezTo>
                        <a:pt x="1887770" y="271814"/>
                        <a:pt x="1886862" y="276352"/>
                        <a:pt x="1886862" y="282000"/>
                      </a:cubicBezTo>
                      <a:lnTo>
                        <a:pt x="1886862" y="282000"/>
                      </a:lnTo>
                      <a:cubicBezTo>
                        <a:pt x="1886862" y="301970"/>
                        <a:pt x="1896948" y="335052"/>
                        <a:pt x="1914497" y="358451"/>
                      </a:cubicBezTo>
                      <a:lnTo>
                        <a:pt x="1914497" y="358451"/>
                      </a:lnTo>
                      <a:cubicBezTo>
                        <a:pt x="1933761" y="384069"/>
                        <a:pt x="1958371" y="405653"/>
                        <a:pt x="1985804" y="405653"/>
                      </a:cubicBezTo>
                      <a:lnTo>
                        <a:pt x="1985804" y="405653"/>
                      </a:lnTo>
                      <a:cubicBezTo>
                        <a:pt x="1990847" y="405653"/>
                        <a:pt x="1995991" y="404947"/>
                        <a:pt x="2001236" y="403434"/>
                      </a:cubicBezTo>
                      <a:lnTo>
                        <a:pt x="2001236" y="403434"/>
                      </a:lnTo>
                      <a:cubicBezTo>
                        <a:pt x="2034216" y="394458"/>
                        <a:pt x="2045109" y="357443"/>
                        <a:pt x="2085150" y="357039"/>
                      </a:cubicBezTo>
                      <a:lnTo>
                        <a:pt x="2085150" y="357039"/>
                      </a:lnTo>
                      <a:cubicBezTo>
                        <a:pt x="2086461" y="357039"/>
                        <a:pt x="2087873" y="357140"/>
                        <a:pt x="2089285" y="357241"/>
                      </a:cubicBezTo>
                      <a:lnTo>
                        <a:pt x="2089285" y="357241"/>
                      </a:lnTo>
                      <a:cubicBezTo>
                        <a:pt x="2126199" y="359662"/>
                        <a:pt x="2143850" y="380640"/>
                        <a:pt x="2177032" y="385784"/>
                      </a:cubicBezTo>
                      <a:lnTo>
                        <a:pt x="2177032" y="385784"/>
                      </a:lnTo>
                      <a:lnTo>
                        <a:pt x="2179150" y="389617"/>
                      </a:lnTo>
                      <a:cubicBezTo>
                        <a:pt x="2174813" y="399097"/>
                        <a:pt x="2169871" y="407973"/>
                        <a:pt x="2163618" y="413923"/>
                      </a:cubicBezTo>
                      <a:lnTo>
                        <a:pt x="2163618" y="413923"/>
                      </a:lnTo>
                      <a:cubicBezTo>
                        <a:pt x="2158373" y="418462"/>
                        <a:pt x="2155650" y="430565"/>
                        <a:pt x="2155751" y="444584"/>
                      </a:cubicBezTo>
                      <a:lnTo>
                        <a:pt x="2155751" y="444584"/>
                      </a:lnTo>
                      <a:cubicBezTo>
                        <a:pt x="2155449" y="470001"/>
                        <a:pt x="2164526" y="502175"/>
                        <a:pt x="2172393" y="508327"/>
                      </a:cubicBezTo>
                      <a:lnTo>
                        <a:pt x="2172393" y="508327"/>
                      </a:lnTo>
                      <a:cubicBezTo>
                        <a:pt x="2178444" y="513471"/>
                        <a:pt x="2181067" y="521540"/>
                        <a:pt x="2181067" y="530213"/>
                      </a:cubicBezTo>
                      <a:lnTo>
                        <a:pt x="2181067" y="530213"/>
                      </a:lnTo>
                      <a:cubicBezTo>
                        <a:pt x="2180966" y="545544"/>
                        <a:pt x="2172897" y="563497"/>
                        <a:pt x="2157566" y="572776"/>
                      </a:cubicBezTo>
                      <a:lnTo>
                        <a:pt x="2157566" y="572776"/>
                      </a:lnTo>
                      <a:cubicBezTo>
                        <a:pt x="2147279" y="578928"/>
                        <a:pt x="2144253" y="583668"/>
                        <a:pt x="2144253" y="588711"/>
                      </a:cubicBezTo>
                      <a:lnTo>
                        <a:pt x="2144253" y="588711"/>
                      </a:lnTo>
                      <a:cubicBezTo>
                        <a:pt x="2144152" y="594662"/>
                        <a:pt x="2149195" y="603235"/>
                        <a:pt x="2157466" y="615439"/>
                      </a:cubicBezTo>
                      <a:lnTo>
                        <a:pt x="2157466" y="615439"/>
                      </a:lnTo>
                      <a:cubicBezTo>
                        <a:pt x="2163215" y="624113"/>
                        <a:pt x="2165635" y="633997"/>
                        <a:pt x="2165635" y="643679"/>
                      </a:cubicBezTo>
                      <a:lnTo>
                        <a:pt x="2165635" y="643679"/>
                      </a:lnTo>
                      <a:cubicBezTo>
                        <a:pt x="2165534" y="661330"/>
                        <a:pt x="2157667" y="678173"/>
                        <a:pt x="2146674" y="686847"/>
                      </a:cubicBezTo>
                      <a:lnTo>
                        <a:pt x="2146674" y="686847"/>
                      </a:lnTo>
                      <a:cubicBezTo>
                        <a:pt x="2138000" y="693403"/>
                        <a:pt x="2129931" y="700463"/>
                        <a:pt x="2130032" y="709238"/>
                      </a:cubicBezTo>
                      <a:lnTo>
                        <a:pt x="2130032" y="709238"/>
                      </a:lnTo>
                      <a:cubicBezTo>
                        <a:pt x="2130032" y="716499"/>
                        <a:pt x="2135479" y="726888"/>
                        <a:pt x="2153431" y="741310"/>
                      </a:cubicBezTo>
                      <a:lnTo>
                        <a:pt x="2153431" y="741310"/>
                      </a:lnTo>
                      <a:cubicBezTo>
                        <a:pt x="2171485" y="755733"/>
                        <a:pt x="2177637" y="771770"/>
                        <a:pt x="2177537" y="786394"/>
                      </a:cubicBezTo>
                      <a:lnTo>
                        <a:pt x="2177537" y="786394"/>
                      </a:lnTo>
                      <a:cubicBezTo>
                        <a:pt x="2177537" y="805356"/>
                        <a:pt x="2167955" y="821896"/>
                        <a:pt x="2163215" y="832486"/>
                      </a:cubicBezTo>
                      <a:lnTo>
                        <a:pt x="2163215" y="832486"/>
                      </a:lnTo>
                      <a:cubicBezTo>
                        <a:pt x="2157869" y="843581"/>
                        <a:pt x="2146976" y="843480"/>
                        <a:pt x="2136991" y="843480"/>
                      </a:cubicBezTo>
                      <a:lnTo>
                        <a:pt x="2136991" y="843480"/>
                      </a:lnTo>
                      <a:cubicBezTo>
                        <a:pt x="2126502" y="843480"/>
                        <a:pt x="2115710" y="843480"/>
                        <a:pt x="2105927" y="852154"/>
                      </a:cubicBezTo>
                      <a:lnTo>
                        <a:pt x="2105927" y="852154"/>
                      </a:lnTo>
                      <a:cubicBezTo>
                        <a:pt x="2097959" y="859315"/>
                        <a:pt x="2096850" y="863551"/>
                        <a:pt x="2096648" y="866879"/>
                      </a:cubicBezTo>
                      <a:lnTo>
                        <a:pt x="2096648" y="866879"/>
                      </a:lnTo>
                      <a:cubicBezTo>
                        <a:pt x="2096648" y="869502"/>
                        <a:pt x="2097757" y="872225"/>
                        <a:pt x="2097757" y="875957"/>
                      </a:cubicBezTo>
                      <a:lnTo>
                        <a:pt x="2097757" y="875957"/>
                      </a:lnTo>
                      <a:cubicBezTo>
                        <a:pt x="2097858" y="879587"/>
                        <a:pt x="2096144" y="883723"/>
                        <a:pt x="2091403" y="887757"/>
                      </a:cubicBezTo>
                      <a:lnTo>
                        <a:pt x="2091403" y="887757"/>
                      </a:lnTo>
                      <a:cubicBezTo>
                        <a:pt x="2078090" y="899255"/>
                        <a:pt x="2072744" y="900566"/>
                        <a:pt x="2072341" y="941817"/>
                      </a:cubicBezTo>
                      <a:lnTo>
                        <a:pt x="2072341" y="941817"/>
                      </a:lnTo>
                      <a:cubicBezTo>
                        <a:pt x="2072341" y="945045"/>
                        <a:pt x="2072341" y="948373"/>
                        <a:pt x="2072442" y="952407"/>
                      </a:cubicBezTo>
                      <a:lnTo>
                        <a:pt x="2072442" y="952407"/>
                      </a:lnTo>
                      <a:cubicBezTo>
                        <a:pt x="2072341" y="952912"/>
                        <a:pt x="2072341" y="953416"/>
                        <a:pt x="2072341" y="954021"/>
                      </a:cubicBezTo>
                      <a:lnTo>
                        <a:pt x="2072341" y="954021"/>
                      </a:lnTo>
                      <a:cubicBezTo>
                        <a:pt x="2072341" y="996583"/>
                        <a:pt x="2041781" y="1015948"/>
                        <a:pt x="2016667" y="1015948"/>
                      </a:cubicBezTo>
                      <a:lnTo>
                        <a:pt x="2016667" y="1015948"/>
                      </a:lnTo>
                      <a:cubicBezTo>
                        <a:pt x="2011523" y="1015948"/>
                        <a:pt x="2006682" y="1015141"/>
                        <a:pt x="2002042" y="1013528"/>
                      </a:cubicBezTo>
                      <a:lnTo>
                        <a:pt x="2002042" y="1013528"/>
                      </a:lnTo>
                      <a:cubicBezTo>
                        <a:pt x="1980156" y="1004955"/>
                        <a:pt x="1988729" y="990431"/>
                        <a:pt x="1946772" y="990229"/>
                      </a:cubicBezTo>
                      <a:lnTo>
                        <a:pt x="1946772" y="990229"/>
                      </a:lnTo>
                      <a:cubicBezTo>
                        <a:pt x="1936283" y="990229"/>
                        <a:pt x="1922566" y="991238"/>
                        <a:pt x="1904815" y="993658"/>
                      </a:cubicBezTo>
                      <a:lnTo>
                        <a:pt x="1904815" y="993658"/>
                      </a:lnTo>
                      <a:cubicBezTo>
                        <a:pt x="1816463" y="1005963"/>
                        <a:pt x="1833609" y="1053871"/>
                        <a:pt x="1802040" y="1085036"/>
                      </a:cubicBezTo>
                      <a:lnTo>
                        <a:pt x="1802040" y="1085036"/>
                      </a:lnTo>
                      <a:cubicBezTo>
                        <a:pt x="1791752" y="1094719"/>
                        <a:pt x="1778641" y="1098249"/>
                        <a:pt x="1765529" y="1098249"/>
                      </a:cubicBezTo>
                      <a:lnTo>
                        <a:pt x="1765529" y="1098249"/>
                      </a:lnTo>
                      <a:cubicBezTo>
                        <a:pt x="1737188" y="1098148"/>
                        <a:pt x="1708342" y="1082817"/>
                        <a:pt x="1700677" y="1076262"/>
                      </a:cubicBezTo>
                      <a:lnTo>
                        <a:pt x="1700677" y="1076262"/>
                      </a:lnTo>
                      <a:cubicBezTo>
                        <a:pt x="1698257" y="1074043"/>
                        <a:pt x="1695332" y="1073236"/>
                        <a:pt x="1691196" y="1073236"/>
                      </a:cubicBezTo>
                      <a:lnTo>
                        <a:pt x="1691196" y="1073236"/>
                      </a:lnTo>
                      <a:cubicBezTo>
                        <a:pt x="1681514" y="1073135"/>
                        <a:pt x="1666990" y="1079086"/>
                        <a:pt x="1651256" y="1084633"/>
                      </a:cubicBezTo>
                      <a:lnTo>
                        <a:pt x="1651256" y="1084633"/>
                      </a:lnTo>
                      <a:cubicBezTo>
                        <a:pt x="1643490" y="1087255"/>
                        <a:pt x="1633707" y="1087961"/>
                        <a:pt x="1623319" y="1087961"/>
                      </a:cubicBezTo>
                      <a:lnTo>
                        <a:pt x="1623319" y="1087961"/>
                      </a:lnTo>
                      <a:cubicBezTo>
                        <a:pt x="1607080" y="1087961"/>
                        <a:pt x="1589733" y="1086146"/>
                        <a:pt x="1578638" y="1086146"/>
                      </a:cubicBezTo>
                      <a:lnTo>
                        <a:pt x="1578638" y="1086146"/>
                      </a:lnTo>
                      <a:cubicBezTo>
                        <a:pt x="1574907" y="1086146"/>
                        <a:pt x="1571881" y="1086348"/>
                        <a:pt x="1569964" y="1086953"/>
                      </a:cubicBezTo>
                      <a:lnTo>
                        <a:pt x="1569964" y="1086953"/>
                      </a:lnTo>
                      <a:cubicBezTo>
                        <a:pt x="1560181" y="1087860"/>
                        <a:pt x="1541421" y="1139500"/>
                        <a:pt x="1531033" y="1188013"/>
                      </a:cubicBezTo>
                      <a:lnTo>
                        <a:pt x="1531033" y="1188013"/>
                      </a:lnTo>
                      <a:cubicBezTo>
                        <a:pt x="1520241" y="1236728"/>
                        <a:pt x="1510155" y="1248730"/>
                        <a:pt x="1486050" y="1258715"/>
                      </a:cubicBezTo>
                      <a:lnTo>
                        <a:pt x="1486050" y="1258715"/>
                      </a:lnTo>
                      <a:cubicBezTo>
                        <a:pt x="1483125" y="1260026"/>
                        <a:pt x="1480301" y="1260530"/>
                        <a:pt x="1477578" y="1260530"/>
                      </a:cubicBezTo>
                      <a:lnTo>
                        <a:pt x="1477578" y="1260530"/>
                      </a:lnTo>
                      <a:cubicBezTo>
                        <a:pt x="1457406" y="1259118"/>
                        <a:pt x="1453876" y="1229365"/>
                        <a:pt x="1433301" y="1226642"/>
                      </a:cubicBezTo>
                      <a:lnTo>
                        <a:pt x="1433301" y="1226642"/>
                      </a:lnTo>
                      <a:cubicBezTo>
                        <a:pt x="1432091" y="1226440"/>
                        <a:pt x="1430780" y="1226339"/>
                        <a:pt x="1429670" y="1226339"/>
                      </a:cubicBezTo>
                      <a:lnTo>
                        <a:pt x="1429670" y="1226339"/>
                      </a:lnTo>
                      <a:cubicBezTo>
                        <a:pt x="1410406" y="1225432"/>
                        <a:pt x="1400421" y="1257605"/>
                        <a:pt x="1362700" y="1272028"/>
                      </a:cubicBezTo>
                      <a:lnTo>
                        <a:pt x="1362700" y="1272028"/>
                      </a:lnTo>
                      <a:cubicBezTo>
                        <a:pt x="1354732" y="1274852"/>
                        <a:pt x="1346966" y="1276264"/>
                        <a:pt x="1339906" y="1276264"/>
                      </a:cubicBezTo>
                      <a:lnTo>
                        <a:pt x="1339906" y="1276264"/>
                      </a:lnTo>
                      <a:cubicBezTo>
                        <a:pt x="1311262" y="1276365"/>
                        <a:pt x="1291393" y="1255790"/>
                        <a:pt x="1289376" y="1239148"/>
                      </a:cubicBezTo>
                      <a:lnTo>
                        <a:pt x="1289376" y="1239148"/>
                      </a:lnTo>
                      <a:close/>
                      <a:moveTo>
                        <a:pt x="1294721" y="1236728"/>
                      </a:moveTo>
                      <a:cubicBezTo>
                        <a:pt x="1294721" y="1237232"/>
                        <a:pt x="1294721" y="1237534"/>
                        <a:pt x="1294822" y="1238341"/>
                      </a:cubicBezTo>
                      <a:lnTo>
                        <a:pt x="1294822" y="1238341"/>
                      </a:lnTo>
                      <a:cubicBezTo>
                        <a:pt x="1296134" y="1251554"/>
                        <a:pt x="1313985" y="1271221"/>
                        <a:pt x="1340007" y="1271020"/>
                      </a:cubicBezTo>
                      <a:lnTo>
                        <a:pt x="1340007" y="1271020"/>
                      </a:lnTo>
                      <a:cubicBezTo>
                        <a:pt x="1346361" y="1271020"/>
                        <a:pt x="1353421" y="1269910"/>
                        <a:pt x="1360985" y="1267086"/>
                      </a:cubicBezTo>
                      <a:lnTo>
                        <a:pt x="1360985" y="1267086"/>
                      </a:lnTo>
                      <a:cubicBezTo>
                        <a:pt x="1396488" y="1254277"/>
                        <a:pt x="1404456" y="1222002"/>
                        <a:pt x="1429771" y="1220994"/>
                      </a:cubicBezTo>
                      <a:lnTo>
                        <a:pt x="1429771" y="1220994"/>
                      </a:lnTo>
                      <a:cubicBezTo>
                        <a:pt x="1431183" y="1220994"/>
                        <a:pt x="1432898" y="1221095"/>
                        <a:pt x="1434511" y="1221397"/>
                      </a:cubicBezTo>
                      <a:lnTo>
                        <a:pt x="1434511" y="1221397"/>
                      </a:lnTo>
                      <a:cubicBezTo>
                        <a:pt x="1459121" y="1226541"/>
                        <a:pt x="1464265" y="1256698"/>
                        <a:pt x="1477679" y="1255185"/>
                      </a:cubicBezTo>
                      <a:lnTo>
                        <a:pt x="1477679" y="1255185"/>
                      </a:lnTo>
                      <a:cubicBezTo>
                        <a:pt x="1479494" y="1255185"/>
                        <a:pt x="1481612" y="1254882"/>
                        <a:pt x="1483932" y="1253874"/>
                      </a:cubicBezTo>
                      <a:lnTo>
                        <a:pt x="1483932" y="1253874"/>
                      </a:lnTo>
                      <a:cubicBezTo>
                        <a:pt x="1506524" y="1243889"/>
                        <a:pt x="1514290" y="1235820"/>
                        <a:pt x="1525587" y="1187004"/>
                      </a:cubicBezTo>
                      <a:lnTo>
                        <a:pt x="1525587" y="1187004"/>
                      </a:lnTo>
                      <a:cubicBezTo>
                        <a:pt x="1537387" y="1137886"/>
                        <a:pt x="1551810" y="1087255"/>
                        <a:pt x="1568653" y="1081708"/>
                      </a:cubicBezTo>
                      <a:lnTo>
                        <a:pt x="1568653" y="1081708"/>
                      </a:lnTo>
                      <a:cubicBezTo>
                        <a:pt x="1571276" y="1081002"/>
                        <a:pt x="1574604" y="1080800"/>
                        <a:pt x="1578537" y="1080800"/>
                      </a:cubicBezTo>
                      <a:lnTo>
                        <a:pt x="1578537" y="1080800"/>
                      </a:lnTo>
                      <a:cubicBezTo>
                        <a:pt x="1590136" y="1080800"/>
                        <a:pt x="1607383" y="1082616"/>
                        <a:pt x="1623218" y="1082616"/>
                      </a:cubicBezTo>
                      <a:lnTo>
                        <a:pt x="1623218" y="1082616"/>
                      </a:lnTo>
                      <a:cubicBezTo>
                        <a:pt x="1633203" y="1082616"/>
                        <a:pt x="1642684" y="1081809"/>
                        <a:pt x="1649340" y="1079691"/>
                      </a:cubicBezTo>
                      <a:lnTo>
                        <a:pt x="1649340" y="1079691"/>
                      </a:lnTo>
                      <a:cubicBezTo>
                        <a:pt x="1664973" y="1074244"/>
                        <a:pt x="1679497" y="1068092"/>
                        <a:pt x="1691096" y="1067991"/>
                      </a:cubicBezTo>
                      <a:lnTo>
                        <a:pt x="1691096" y="1067991"/>
                      </a:lnTo>
                      <a:cubicBezTo>
                        <a:pt x="1695937" y="1067991"/>
                        <a:pt x="1700576" y="1069302"/>
                        <a:pt x="1704207" y="1072429"/>
                      </a:cubicBezTo>
                      <a:lnTo>
                        <a:pt x="1704207" y="1072429"/>
                      </a:lnTo>
                      <a:cubicBezTo>
                        <a:pt x="1710259" y="1077875"/>
                        <a:pt x="1739306" y="1093206"/>
                        <a:pt x="1765428" y="1093105"/>
                      </a:cubicBezTo>
                      <a:lnTo>
                        <a:pt x="1765428" y="1093105"/>
                      </a:lnTo>
                      <a:cubicBezTo>
                        <a:pt x="1777632" y="1093105"/>
                        <a:pt x="1789130" y="1089878"/>
                        <a:pt x="1798106" y="1081506"/>
                      </a:cubicBezTo>
                      <a:lnTo>
                        <a:pt x="1798106" y="1081506"/>
                      </a:lnTo>
                      <a:cubicBezTo>
                        <a:pt x="1826549" y="1055081"/>
                        <a:pt x="1812731" y="1000819"/>
                        <a:pt x="1904008" y="988716"/>
                      </a:cubicBezTo>
                      <a:lnTo>
                        <a:pt x="1904008" y="988716"/>
                      </a:lnTo>
                      <a:cubicBezTo>
                        <a:pt x="1921961" y="986195"/>
                        <a:pt x="1935879" y="985186"/>
                        <a:pt x="1946772" y="985186"/>
                      </a:cubicBezTo>
                      <a:lnTo>
                        <a:pt x="1946772" y="985186"/>
                      </a:lnTo>
                      <a:cubicBezTo>
                        <a:pt x="1990343" y="985085"/>
                        <a:pt x="1986712" y="1003038"/>
                        <a:pt x="2004060" y="1008787"/>
                      </a:cubicBezTo>
                      <a:lnTo>
                        <a:pt x="2004060" y="1008787"/>
                      </a:lnTo>
                      <a:cubicBezTo>
                        <a:pt x="2007792" y="1010098"/>
                        <a:pt x="2012128" y="1010805"/>
                        <a:pt x="2016768" y="1010805"/>
                      </a:cubicBezTo>
                      <a:lnTo>
                        <a:pt x="2016768" y="1010805"/>
                      </a:lnTo>
                      <a:cubicBezTo>
                        <a:pt x="2039259" y="1010704"/>
                        <a:pt x="2066794" y="994062"/>
                        <a:pt x="2066794" y="954425"/>
                      </a:cubicBezTo>
                      <a:lnTo>
                        <a:pt x="2066794" y="954425"/>
                      </a:lnTo>
                      <a:cubicBezTo>
                        <a:pt x="2066794" y="953719"/>
                        <a:pt x="2066794" y="953113"/>
                        <a:pt x="2066895" y="952710"/>
                      </a:cubicBezTo>
                      <a:lnTo>
                        <a:pt x="2066895" y="952710"/>
                      </a:lnTo>
                      <a:cubicBezTo>
                        <a:pt x="2066794" y="948877"/>
                        <a:pt x="2066794" y="945549"/>
                        <a:pt x="2066794" y="942221"/>
                      </a:cubicBezTo>
                      <a:lnTo>
                        <a:pt x="2066794" y="942221"/>
                      </a:lnTo>
                      <a:cubicBezTo>
                        <a:pt x="2066390" y="901070"/>
                        <a:pt x="2074358" y="894817"/>
                        <a:pt x="2087772" y="883924"/>
                      </a:cubicBezTo>
                      <a:lnTo>
                        <a:pt x="2087772" y="883924"/>
                      </a:lnTo>
                      <a:cubicBezTo>
                        <a:pt x="2091908" y="880394"/>
                        <a:pt x="2092210" y="878579"/>
                        <a:pt x="2092311" y="876360"/>
                      </a:cubicBezTo>
                      <a:lnTo>
                        <a:pt x="2092311" y="876360"/>
                      </a:lnTo>
                      <a:cubicBezTo>
                        <a:pt x="2092311" y="874040"/>
                        <a:pt x="2091202" y="871216"/>
                        <a:pt x="2091202" y="867283"/>
                      </a:cubicBezTo>
                      <a:lnTo>
                        <a:pt x="2091202" y="867283"/>
                      </a:lnTo>
                      <a:cubicBezTo>
                        <a:pt x="2091101" y="862139"/>
                        <a:pt x="2093622" y="855987"/>
                        <a:pt x="2102296" y="848422"/>
                      </a:cubicBezTo>
                      <a:lnTo>
                        <a:pt x="2102296" y="848422"/>
                      </a:lnTo>
                      <a:cubicBezTo>
                        <a:pt x="2113592" y="838235"/>
                        <a:pt x="2126603" y="838235"/>
                        <a:pt x="2136991" y="838235"/>
                      </a:cubicBezTo>
                      <a:lnTo>
                        <a:pt x="2136991" y="838235"/>
                      </a:lnTo>
                      <a:cubicBezTo>
                        <a:pt x="2147582" y="838135"/>
                        <a:pt x="2154541" y="838135"/>
                        <a:pt x="2158172" y="830469"/>
                      </a:cubicBezTo>
                      <a:lnTo>
                        <a:pt x="2158172" y="830469"/>
                      </a:lnTo>
                      <a:cubicBezTo>
                        <a:pt x="2163215" y="819677"/>
                        <a:pt x="2172090" y="803843"/>
                        <a:pt x="2172090" y="786797"/>
                      </a:cubicBezTo>
                      <a:lnTo>
                        <a:pt x="2172090" y="786797"/>
                      </a:lnTo>
                      <a:cubicBezTo>
                        <a:pt x="2171989" y="773686"/>
                        <a:pt x="2166946" y="759767"/>
                        <a:pt x="2150103" y="746051"/>
                      </a:cubicBezTo>
                      <a:lnTo>
                        <a:pt x="2150103" y="746051"/>
                      </a:lnTo>
                      <a:cubicBezTo>
                        <a:pt x="2131747" y="731325"/>
                        <a:pt x="2124687" y="719828"/>
                        <a:pt x="2124687" y="709641"/>
                      </a:cubicBezTo>
                      <a:lnTo>
                        <a:pt x="2124687" y="709641"/>
                      </a:lnTo>
                      <a:cubicBezTo>
                        <a:pt x="2124787" y="697235"/>
                        <a:pt x="2134974" y="689570"/>
                        <a:pt x="2143346" y="682913"/>
                      </a:cubicBezTo>
                      <a:lnTo>
                        <a:pt x="2143346" y="682913"/>
                      </a:lnTo>
                      <a:cubicBezTo>
                        <a:pt x="2152624" y="675752"/>
                        <a:pt x="2160088" y="660119"/>
                        <a:pt x="2160088" y="644184"/>
                      </a:cubicBezTo>
                      <a:lnTo>
                        <a:pt x="2160088" y="644184"/>
                      </a:lnTo>
                      <a:cubicBezTo>
                        <a:pt x="2160088" y="635409"/>
                        <a:pt x="2157768" y="626634"/>
                        <a:pt x="2152725" y="618969"/>
                      </a:cubicBezTo>
                      <a:lnTo>
                        <a:pt x="2152725" y="618969"/>
                      </a:lnTo>
                      <a:cubicBezTo>
                        <a:pt x="2144556" y="606664"/>
                        <a:pt x="2138706" y="597990"/>
                        <a:pt x="2138605" y="589216"/>
                      </a:cubicBezTo>
                      <a:lnTo>
                        <a:pt x="2138605" y="589216"/>
                      </a:lnTo>
                      <a:cubicBezTo>
                        <a:pt x="2138605" y="581248"/>
                        <a:pt x="2143951" y="574793"/>
                        <a:pt x="2154742" y="568540"/>
                      </a:cubicBezTo>
                      <a:lnTo>
                        <a:pt x="2154742" y="568540"/>
                      </a:lnTo>
                      <a:lnTo>
                        <a:pt x="2154742" y="568439"/>
                      </a:lnTo>
                      <a:cubicBezTo>
                        <a:pt x="2167955" y="560572"/>
                        <a:pt x="2175519" y="544132"/>
                        <a:pt x="2175519" y="530718"/>
                      </a:cubicBezTo>
                      <a:lnTo>
                        <a:pt x="2175519" y="530718"/>
                      </a:lnTo>
                      <a:cubicBezTo>
                        <a:pt x="2175519" y="523052"/>
                        <a:pt x="2173099" y="516698"/>
                        <a:pt x="2168863" y="513168"/>
                      </a:cubicBezTo>
                      <a:lnTo>
                        <a:pt x="2168863" y="513168"/>
                      </a:lnTo>
                      <a:cubicBezTo>
                        <a:pt x="2158071" y="503587"/>
                        <a:pt x="2150406" y="471816"/>
                        <a:pt x="2150204" y="445089"/>
                      </a:cubicBezTo>
                      <a:lnTo>
                        <a:pt x="2150204" y="445089"/>
                      </a:lnTo>
                      <a:cubicBezTo>
                        <a:pt x="2150204" y="430464"/>
                        <a:pt x="2152524" y="417353"/>
                        <a:pt x="2159886" y="410293"/>
                      </a:cubicBezTo>
                      <a:lnTo>
                        <a:pt x="2159886" y="410293"/>
                      </a:lnTo>
                      <a:cubicBezTo>
                        <a:pt x="2164425" y="405956"/>
                        <a:pt x="2168762" y="398895"/>
                        <a:pt x="2172494" y="391029"/>
                      </a:cubicBezTo>
                      <a:lnTo>
                        <a:pt x="2172494" y="391029"/>
                      </a:lnTo>
                      <a:cubicBezTo>
                        <a:pt x="2139513" y="384473"/>
                        <a:pt x="2122266" y="365209"/>
                        <a:pt x="2088781" y="363292"/>
                      </a:cubicBezTo>
                      <a:lnTo>
                        <a:pt x="2088781" y="363292"/>
                      </a:lnTo>
                      <a:cubicBezTo>
                        <a:pt x="2087571" y="363192"/>
                        <a:pt x="2086259" y="363091"/>
                        <a:pt x="2085150" y="363091"/>
                      </a:cubicBezTo>
                      <a:lnTo>
                        <a:pt x="2085150" y="363091"/>
                      </a:lnTo>
                      <a:cubicBezTo>
                        <a:pt x="2049547" y="362687"/>
                        <a:pt x="2039058" y="398190"/>
                        <a:pt x="2002648" y="409284"/>
                      </a:cubicBezTo>
                      <a:lnTo>
                        <a:pt x="2002648" y="409284"/>
                      </a:lnTo>
                      <a:cubicBezTo>
                        <a:pt x="1996899" y="410898"/>
                        <a:pt x="1991251" y="411705"/>
                        <a:pt x="1985804" y="411705"/>
                      </a:cubicBezTo>
                      <a:lnTo>
                        <a:pt x="1985804" y="411705"/>
                      </a:lnTo>
                      <a:cubicBezTo>
                        <a:pt x="1955244" y="411604"/>
                        <a:pt x="1929828" y="388305"/>
                        <a:pt x="1910160" y="362183"/>
                      </a:cubicBezTo>
                      <a:lnTo>
                        <a:pt x="1910160" y="362183"/>
                      </a:lnTo>
                      <a:cubicBezTo>
                        <a:pt x="1891703" y="337573"/>
                        <a:pt x="1881416" y="304089"/>
                        <a:pt x="1881416" y="282505"/>
                      </a:cubicBezTo>
                      <a:lnTo>
                        <a:pt x="1881416" y="282505"/>
                      </a:lnTo>
                      <a:cubicBezTo>
                        <a:pt x="1881416" y="276554"/>
                        <a:pt x="1882021" y="271410"/>
                        <a:pt x="1884038" y="267477"/>
                      </a:cubicBezTo>
                      <a:lnTo>
                        <a:pt x="1884038" y="267477"/>
                      </a:lnTo>
                      <a:cubicBezTo>
                        <a:pt x="1878894" y="266468"/>
                        <a:pt x="1872843" y="265863"/>
                        <a:pt x="1865480" y="265863"/>
                      </a:cubicBezTo>
                      <a:lnTo>
                        <a:pt x="1865480" y="265863"/>
                      </a:lnTo>
                      <a:cubicBezTo>
                        <a:pt x="1862656" y="265863"/>
                        <a:pt x="1859529" y="265863"/>
                        <a:pt x="1856201" y="266166"/>
                      </a:cubicBezTo>
                      <a:lnTo>
                        <a:pt x="1856201" y="266166"/>
                      </a:lnTo>
                      <a:cubicBezTo>
                        <a:pt x="1835626" y="267376"/>
                        <a:pt x="1813134" y="269091"/>
                        <a:pt x="1792358" y="269091"/>
                      </a:cubicBezTo>
                      <a:lnTo>
                        <a:pt x="1792358" y="269091"/>
                      </a:lnTo>
                      <a:cubicBezTo>
                        <a:pt x="1761091" y="268990"/>
                        <a:pt x="1733557" y="265460"/>
                        <a:pt x="1723068" y="247406"/>
                      </a:cubicBezTo>
                      <a:lnTo>
                        <a:pt x="1723068" y="247406"/>
                      </a:lnTo>
                      <a:cubicBezTo>
                        <a:pt x="1718832" y="239842"/>
                        <a:pt x="1717319" y="232882"/>
                        <a:pt x="1717319" y="226528"/>
                      </a:cubicBezTo>
                      <a:lnTo>
                        <a:pt x="1717319" y="226528"/>
                      </a:lnTo>
                      <a:cubicBezTo>
                        <a:pt x="1717420" y="212307"/>
                        <a:pt x="1724379" y="201112"/>
                        <a:pt x="1724177" y="193749"/>
                      </a:cubicBezTo>
                      <a:lnTo>
                        <a:pt x="1724177" y="193749"/>
                      </a:lnTo>
                      <a:cubicBezTo>
                        <a:pt x="1724177" y="191934"/>
                        <a:pt x="1723875" y="190421"/>
                        <a:pt x="1723068" y="189110"/>
                      </a:cubicBezTo>
                      <a:lnTo>
                        <a:pt x="1723068" y="189110"/>
                      </a:lnTo>
                      <a:cubicBezTo>
                        <a:pt x="1721555" y="185479"/>
                        <a:pt x="1707939" y="181041"/>
                        <a:pt x="1693314" y="181344"/>
                      </a:cubicBezTo>
                      <a:lnTo>
                        <a:pt x="1693314" y="181344"/>
                      </a:lnTo>
                      <a:cubicBezTo>
                        <a:pt x="1673244" y="181243"/>
                        <a:pt x="1652568" y="188000"/>
                        <a:pt x="1651559" y="202020"/>
                      </a:cubicBezTo>
                      <a:lnTo>
                        <a:pt x="1651559" y="202020"/>
                      </a:lnTo>
                      <a:cubicBezTo>
                        <a:pt x="1649542" y="223099"/>
                        <a:pt x="1639960" y="236211"/>
                        <a:pt x="1622915" y="236009"/>
                      </a:cubicBezTo>
                      <a:lnTo>
                        <a:pt x="1622915" y="236009"/>
                      </a:lnTo>
                      <a:cubicBezTo>
                        <a:pt x="1615956" y="236009"/>
                        <a:pt x="1608089" y="234093"/>
                        <a:pt x="1599113" y="230260"/>
                      </a:cubicBezTo>
                      <a:lnTo>
                        <a:pt x="1599113" y="230260"/>
                      </a:lnTo>
                      <a:cubicBezTo>
                        <a:pt x="1593868" y="227940"/>
                        <a:pt x="1589228" y="227033"/>
                        <a:pt x="1584891" y="227033"/>
                      </a:cubicBezTo>
                      <a:lnTo>
                        <a:pt x="1584891" y="227033"/>
                      </a:lnTo>
                      <a:cubicBezTo>
                        <a:pt x="1566334" y="226831"/>
                        <a:pt x="1554634" y="245994"/>
                        <a:pt x="1551810" y="259509"/>
                      </a:cubicBezTo>
                      <a:lnTo>
                        <a:pt x="1551810" y="259509"/>
                      </a:lnTo>
                      <a:cubicBezTo>
                        <a:pt x="1551507" y="259912"/>
                        <a:pt x="1543237" y="270704"/>
                        <a:pt x="1524074" y="270704"/>
                      </a:cubicBezTo>
                      <a:lnTo>
                        <a:pt x="1524074" y="270704"/>
                      </a:lnTo>
                      <a:cubicBezTo>
                        <a:pt x="1518426" y="270704"/>
                        <a:pt x="1511769" y="269696"/>
                        <a:pt x="1504205" y="267376"/>
                      </a:cubicBezTo>
                      <a:lnTo>
                        <a:pt x="1504205" y="267376"/>
                      </a:lnTo>
                      <a:cubicBezTo>
                        <a:pt x="1477275" y="258702"/>
                        <a:pt x="1455187" y="251340"/>
                        <a:pt x="1454381" y="234900"/>
                      </a:cubicBezTo>
                      <a:lnTo>
                        <a:pt x="1454381" y="234900"/>
                      </a:lnTo>
                      <a:cubicBezTo>
                        <a:pt x="1454381" y="231874"/>
                        <a:pt x="1455187" y="228747"/>
                        <a:pt x="1457104" y="225621"/>
                      </a:cubicBezTo>
                      <a:lnTo>
                        <a:pt x="1457104" y="225621"/>
                      </a:lnTo>
                      <a:cubicBezTo>
                        <a:pt x="1461945" y="216947"/>
                        <a:pt x="1464668" y="207264"/>
                        <a:pt x="1464668" y="199599"/>
                      </a:cubicBezTo>
                      <a:lnTo>
                        <a:pt x="1464668" y="199599"/>
                      </a:lnTo>
                      <a:cubicBezTo>
                        <a:pt x="1464668" y="192135"/>
                        <a:pt x="1462248" y="186992"/>
                        <a:pt x="1458314" y="185176"/>
                      </a:cubicBezTo>
                      <a:lnTo>
                        <a:pt x="1458314" y="185176"/>
                      </a:lnTo>
                      <a:cubicBezTo>
                        <a:pt x="1456801" y="184369"/>
                        <a:pt x="1455389" y="184067"/>
                        <a:pt x="1453876" y="184067"/>
                      </a:cubicBezTo>
                      <a:lnTo>
                        <a:pt x="1453876" y="184067"/>
                      </a:lnTo>
                      <a:cubicBezTo>
                        <a:pt x="1446312" y="183865"/>
                        <a:pt x="1436730" y="193245"/>
                        <a:pt x="1433503" y="204642"/>
                      </a:cubicBezTo>
                      <a:lnTo>
                        <a:pt x="1433503" y="204642"/>
                      </a:lnTo>
                      <a:cubicBezTo>
                        <a:pt x="1429872" y="216745"/>
                        <a:pt x="1420391" y="225015"/>
                        <a:pt x="1407280" y="225015"/>
                      </a:cubicBezTo>
                      <a:lnTo>
                        <a:pt x="1407280" y="225015"/>
                      </a:lnTo>
                      <a:cubicBezTo>
                        <a:pt x="1403649" y="225015"/>
                        <a:pt x="1399715" y="224309"/>
                        <a:pt x="1395681" y="223099"/>
                      </a:cubicBezTo>
                      <a:lnTo>
                        <a:pt x="1395681" y="223099"/>
                      </a:lnTo>
                      <a:cubicBezTo>
                        <a:pt x="1387007" y="220376"/>
                        <a:pt x="1382569" y="216846"/>
                        <a:pt x="1378535" y="217048"/>
                      </a:cubicBezTo>
                      <a:lnTo>
                        <a:pt x="1378535" y="217048"/>
                      </a:lnTo>
                      <a:cubicBezTo>
                        <a:pt x="1373996" y="216846"/>
                        <a:pt x="1366432" y="221284"/>
                        <a:pt x="1349689" y="240043"/>
                      </a:cubicBezTo>
                      <a:lnTo>
                        <a:pt x="1349689" y="240043"/>
                      </a:lnTo>
                      <a:cubicBezTo>
                        <a:pt x="1317616" y="274840"/>
                        <a:pt x="1240964" y="335556"/>
                        <a:pt x="1224625" y="336363"/>
                      </a:cubicBezTo>
                      <a:lnTo>
                        <a:pt x="1224625" y="336363"/>
                      </a:lnTo>
                      <a:cubicBezTo>
                        <a:pt x="1212623" y="335960"/>
                        <a:pt x="1205361" y="322949"/>
                        <a:pt x="1205260" y="308728"/>
                      </a:cubicBezTo>
                      <a:lnTo>
                        <a:pt x="1205260" y="308728"/>
                      </a:lnTo>
                      <a:cubicBezTo>
                        <a:pt x="1205260" y="302677"/>
                        <a:pt x="1206571" y="296222"/>
                        <a:pt x="1209899" y="290170"/>
                      </a:cubicBezTo>
                      <a:lnTo>
                        <a:pt x="1209899" y="290170"/>
                      </a:lnTo>
                      <a:cubicBezTo>
                        <a:pt x="1210807" y="288355"/>
                        <a:pt x="1211211" y="286640"/>
                        <a:pt x="1211211" y="285026"/>
                      </a:cubicBezTo>
                      <a:lnTo>
                        <a:pt x="1211211" y="285026"/>
                      </a:lnTo>
                      <a:cubicBezTo>
                        <a:pt x="1212017" y="272318"/>
                        <a:pt x="1182365" y="258198"/>
                        <a:pt x="1171775" y="250331"/>
                      </a:cubicBezTo>
                      <a:lnTo>
                        <a:pt x="1171775" y="250331"/>
                      </a:lnTo>
                      <a:cubicBezTo>
                        <a:pt x="1159168" y="239741"/>
                        <a:pt x="1157655" y="216442"/>
                        <a:pt x="1150796" y="180940"/>
                      </a:cubicBezTo>
                      <a:lnTo>
                        <a:pt x="1150796" y="180940"/>
                      </a:lnTo>
                      <a:cubicBezTo>
                        <a:pt x="1147266" y="163592"/>
                        <a:pt x="1142324" y="161777"/>
                        <a:pt x="1137080" y="161575"/>
                      </a:cubicBezTo>
                      <a:lnTo>
                        <a:pt x="1137080" y="161575"/>
                      </a:lnTo>
                      <a:cubicBezTo>
                        <a:pt x="1132642" y="161575"/>
                        <a:pt x="1127397" y="163794"/>
                        <a:pt x="1122354" y="163895"/>
                      </a:cubicBezTo>
                      <a:lnTo>
                        <a:pt x="1122354" y="163895"/>
                      </a:lnTo>
                      <a:cubicBezTo>
                        <a:pt x="1120740" y="163895"/>
                        <a:pt x="1119328" y="163693"/>
                        <a:pt x="1117815" y="162987"/>
                      </a:cubicBezTo>
                      <a:lnTo>
                        <a:pt x="1117815" y="162987"/>
                      </a:lnTo>
                      <a:cubicBezTo>
                        <a:pt x="1111865" y="160365"/>
                        <a:pt x="1102888" y="157944"/>
                        <a:pt x="1103292" y="142614"/>
                      </a:cubicBezTo>
                      <a:lnTo>
                        <a:pt x="1103292" y="142614"/>
                      </a:lnTo>
                      <a:cubicBezTo>
                        <a:pt x="1103292" y="137974"/>
                        <a:pt x="1103897" y="132125"/>
                        <a:pt x="1105208" y="124560"/>
                      </a:cubicBezTo>
                      <a:lnTo>
                        <a:pt x="1105208" y="124560"/>
                      </a:lnTo>
                      <a:cubicBezTo>
                        <a:pt x="1106923" y="114777"/>
                        <a:pt x="1107931" y="107213"/>
                        <a:pt x="1107931" y="101766"/>
                      </a:cubicBezTo>
                      <a:lnTo>
                        <a:pt x="1107931" y="101766"/>
                      </a:lnTo>
                      <a:cubicBezTo>
                        <a:pt x="1107225" y="90974"/>
                        <a:pt x="1105813" y="89361"/>
                        <a:pt x="1095122" y="88655"/>
                      </a:cubicBezTo>
                      <a:lnTo>
                        <a:pt x="1095122" y="88655"/>
                      </a:lnTo>
                      <a:cubicBezTo>
                        <a:pt x="1093307" y="88655"/>
                        <a:pt x="1091391" y="88755"/>
                        <a:pt x="1089273" y="89159"/>
                      </a:cubicBezTo>
                      <a:lnTo>
                        <a:pt x="1089273" y="89159"/>
                      </a:lnTo>
                      <a:cubicBezTo>
                        <a:pt x="1086650" y="89260"/>
                        <a:pt x="1084330" y="89361"/>
                        <a:pt x="1082112" y="89361"/>
                      </a:cubicBezTo>
                      <a:lnTo>
                        <a:pt x="1082112" y="89361"/>
                      </a:lnTo>
                      <a:cubicBezTo>
                        <a:pt x="1065470" y="89361"/>
                        <a:pt x="1059418" y="79880"/>
                        <a:pt x="1059418" y="62431"/>
                      </a:cubicBezTo>
                      <a:lnTo>
                        <a:pt x="1059418" y="62431"/>
                      </a:lnTo>
                      <a:cubicBezTo>
                        <a:pt x="1059418" y="60515"/>
                        <a:pt x="1059418" y="58296"/>
                        <a:pt x="1059620" y="56279"/>
                      </a:cubicBezTo>
                      <a:lnTo>
                        <a:pt x="1059620" y="56279"/>
                      </a:lnTo>
                      <a:lnTo>
                        <a:pt x="1059620" y="55876"/>
                      </a:lnTo>
                      <a:cubicBezTo>
                        <a:pt x="1059519" y="39839"/>
                        <a:pt x="1006367" y="6152"/>
                        <a:pt x="953920" y="6051"/>
                      </a:cubicBezTo>
                      <a:lnTo>
                        <a:pt x="953920" y="6051"/>
                      </a:lnTo>
                      <a:cubicBezTo>
                        <a:pt x="941313" y="6051"/>
                        <a:pt x="928605" y="7968"/>
                        <a:pt x="917006" y="12406"/>
                      </a:cubicBezTo>
                      <a:lnTo>
                        <a:pt x="917006" y="12406"/>
                      </a:lnTo>
                      <a:cubicBezTo>
                        <a:pt x="870611" y="29652"/>
                        <a:pt x="848826" y="49521"/>
                        <a:pt x="832991" y="49925"/>
                      </a:cubicBezTo>
                      <a:lnTo>
                        <a:pt x="832991" y="49925"/>
                      </a:lnTo>
                      <a:cubicBezTo>
                        <a:pt x="827343" y="50026"/>
                        <a:pt x="822502" y="46798"/>
                        <a:pt x="819375" y="41150"/>
                      </a:cubicBezTo>
                      <a:lnTo>
                        <a:pt x="819375" y="41150"/>
                      </a:lnTo>
                      <a:cubicBezTo>
                        <a:pt x="815643" y="34494"/>
                        <a:pt x="806869" y="31468"/>
                        <a:pt x="795572" y="31468"/>
                      </a:cubicBezTo>
                      <a:lnTo>
                        <a:pt x="795572" y="31468"/>
                      </a:lnTo>
                      <a:cubicBezTo>
                        <a:pt x="777115" y="31468"/>
                        <a:pt x="753413" y="39637"/>
                        <a:pt x="742420" y="47504"/>
                      </a:cubicBezTo>
                      <a:lnTo>
                        <a:pt x="742420" y="47504"/>
                      </a:lnTo>
                      <a:cubicBezTo>
                        <a:pt x="735562" y="52446"/>
                        <a:pt x="733544" y="57691"/>
                        <a:pt x="733544" y="62633"/>
                      </a:cubicBezTo>
                      <a:lnTo>
                        <a:pt x="733544" y="62633"/>
                      </a:lnTo>
                      <a:cubicBezTo>
                        <a:pt x="733343" y="70298"/>
                        <a:pt x="739394" y="77560"/>
                        <a:pt x="741714" y="78064"/>
                      </a:cubicBezTo>
                      <a:lnTo>
                        <a:pt x="741714" y="78064"/>
                      </a:lnTo>
                      <a:cubicBezTo>
                        <a:pt x="746858" y="79779"/>
                        <a:pt x="752304" y="84419"/>
                        <a:pt x="752304" y="91882"/>
                      </a:cubicBezTo>
                      <a:lnTo>
                        <a:pt x="752304" y="91882"/>
                      </a:lnTo>
                      <a:cubicBezTo>
                        <a:pt x="752304" y="95816"/>
                        <a:pt x="750791" y="99951"/>
                        <a:pt x="747564" y="104590"/>
                      </a:cubicBezTo>
                      <a:lnTo>
                        <a:pt x="747564" y="104590"/>
                      </a:lnTo>
                      <a:cubicBezTo>
                        <a:pt x="740403" y="114071"/>
                        <a:pt x="728401" y="137369"/>
                        <a:pt x="709137" y="137773"/>
                      </a:cubicBezTo>
                      <a:lnTo>
                        <a:pt x="709137" y="137773"/>
                      </a:lnTo>
                      <a:cubicBezTo>
                        <a:pt x="704598" y="137773"/>
                        <a:pt x="699656" y="136159"/>
                        <a:pt x="695016" y="133133"/>
                      </a:cubicBezTo>
                      <a:lnTo>
                        <a:pt x="695016" y="133133"/>
                      </a:lnTo>
                      <a:cubicBezTo>
                        <a:pt x="675954" y="120223"/>
                        <a:pt x="643377" y="100253"/>
                        <a:pt x="618263" y="100455"/>
                      </a:cubicBezTo>
                      <a:lnTo>
                        <a:pt x="618263" y="100455"/>
                      </a:lnTo>
                      <a:cubicBezTo>
                        <a:pt x="612817" y="100455"/>
                        <a:pt x="607774" y="101363"/>
                        <a:pt x="603336" y="103380"/>
                      </a:cubicBezTo>
                      <a:lnTo>
                        <a:pt x="603336" y="103380"/>
                      </a:lnTo>
                      <a:cubicBezTo>
                        <a:pt x="585383" y="111449"/>
                        <a:pt x="582357" y="120728"/>
                        <a:pt x="582257" y="128897"/>
                      </a:cubicBezTo>
                      <a:lnTo>
                        <a:pt x="582257" y="128897"/>
                      </a:lnTo>
                      <a:cubicBezTo>
                        <a:pt x="582257" y="132932"/>
                        <a:pt x="583164" y="136764"/>
                        <a:pt x="583971" y="140093"/>
                      </a:cubicBezTo>
                      <a:lnTo>
                        <a:pt x="583971" y="140093"/>
                      </a:lnTo>
                      <a:cubicBezTo>
                        <a:pt x="585282" y="146346"/>
                        <a:pt x="594057" y="159659"/>
                        <a:pt x="594158" y="171359"/>
                      </a:cubicBezTo>
                      <a:lnTo>
                        <a:pt x="594158" y="171359"/>
                      </a:lnTo>
                      <a:cubicBezTo>
                        <a:pt x="594158" y="175897"/>
                        <a:pt x="592544" y="180537"/>
                        <a:pt x="588510" y="183865"/>
                      </a:cubicBezTo>
                      <a:lnTo>
                        <a:pt x="588510" y="183865"/>
                      </a:lnTo>
                      <a:cubicBezTo>
                        <a:pt x="583467" y="188000"/>
                        <a:pt x="576508" y="190118"/>
                        <a:pt x="569447" y="190118"/>
                      </a:cubicBezTo>
                      <a:lnTo>
                        <a:pt x="569447" y="190118"/>
                      </a:lnTo>
                      <a:cubicBezTo>
                        <a:pt x="556538" y="190118"/>
                        <a:pt x="543023" y="181646"/>
                        <a:pt x="542821" y="161676"/>
                      </a:cubicBezTo>
                      <a:lnTo>
                        <a:pt x="542821" y="161676"/>
                      </a:lnTo>
                      <a:cubicBezTo>
                        <a:pt x="542821" y="136361"/>
                        <a:pt x="513168" y="94101"/>
                        <a:pt x="478876" y="93899"/>
                      </a:cubicBezTo>
                      <a:lnTo>
                        <a:pt x="478876" y="93899"/>
                      </a:lnTo>
                      <a:cubicBezTo>
                        <a:pt x="476456" y="93899"/>
                        <a:pt x="474136" y="94101"/>
                        <a:pt x="471816" y="94605"/>
                      </a:cubicBezTo>
                      <a:lnTo>
                        <a:pt x="471816" y="94605"/>
                      </a:lnTo>
                      <a:cubicBezTo>
                        <a:pt x="433894" y="100758"/>
                        <a:pt x="351391" y="143320"/>
                        <a:pt x="319217" y="143522"/>
                      </a:cubicBezTo>
                      <a:lnTo>
                        <a:pt x="319217" y="143522"/>
                      </a:lnTo>
                      <a:cubicBezTo>
                        <a:pt x="317906" y="143522"/>
                        <a:pt x="316797" y="143522"/>
                        <a:pt x="315687" y="143421"/>
                      </a:cubicBezTo>
                      <a:lnTo>
                        <a:pt x="315687" y="143421"/>
                      </a:lnTo>
                      <a:cubicBezTo>
                        <a:pt x="286136" y="140093"/>
                        <a:pt x="292187" y="115886"/>
                        <a:pt x="286438" y="112861"/>
                      </a:cubicBezTo>
                      <a:lnTo>
                        <a:pt x="286438" y="112861"/>
                      </a:lnTo>
                      <a:cubicBezTo>
                        <a:pt x="283614" y="110339"/>
                        <a:pt x="277764" y="108423"/>
                        <a:pt x="272016" y="108423"/>
                      </a:cubicBezTo>
                      <a:lnTo>
                        <a:pt x="272016" y="108423"/>
                      </a:lnTo>
                      <a:cubicBezTo>
                        <a:pt x="265359" y="108423"/>
                        <a:pt x="259610" y="110743"/>
                        <a:pt x="257391" y="115281"/>
                      </a:cubicBezTo>
                      <a:lnTo>
                        <a:pt x="257391" y="115281"/>
                      </a:lnTo>
                      <a:cubicBezTo>
                        <a:pt x="252449" y="123955"/>
                        <a:pt x="257996" y="149674"/>
                        <a:pt x="231975" y="152296"/>
                      </a:cubicBezTo>
                      <a:lnTo>
                        <a:pt x="231975" y="152296"/>
                      </a:lnTo>
                      <a:cubicBezTo>
                        <a:pt x="208979" y="154213"/>
                        <a:pt x="81796" y="169442"/>
                        <a:pt x="54968" y="194859"/>
                      </a:cubicBezTo>
                      <a:lnTo>
                        <a:pt x="54968" y="194859"/>
                      </a:lnTo>
                      <a:cubicBezTo>
                        <a:pt x="34090" y="213820"/>
                        <a:pt x="30964" y="257088"/>
                        <a:pt x="31266" y="279883"/>
                      </a:cubicBezTo>
                      <a:lnTo>
                        <a:pt x="31266" y="279883"/>
                      </a:lnTo>
                      <a:cubicBezTo>
                        <a:pt x="31266" y="286842"/>
                        <a:pt x="31468" y="291784"/>
                        <a:pt x="31468" y="293801"/>
                      </a:cubicBezTo>
                      <a:lnTo>
                        <a:pt x="31468" y="293801"/>
                      </a:lnTo>
                      <a:cubicBezTo>
                        <a:pt x="28644" y="306408"/>
                        <a:pt x="6959" y="302878"/>
                        <a:pt x="5951" y="329404"/>
                      </a:cubicBezTo>
                      <a:lnTo>
                        <a:pt x="5951" y="329404"/>
                      </a:lnTo>
                      <a:cubicBezTo>
                        <a:pt x="5850" y="332329"/>
                        <a:pt x="5749" y="335556"/>
                        <a:pt x="5749" y="338885"/>
                      </a:cubicBezTo>
                      <a:lnTo>
                        <a:pt x="5749" y="338885"/>
                      </a:lnTo>
                      <a:cubicBezTo>
                        <a:pt x="5749" y="366419"/>
                        <a:pt x="11800" y="400711"/>
                        <a:pt x="24710" y="400711"/>
                      </a:cubicBezTo>
                      <a:lnTo>
                        <a:pt x="24710" y="400711"/>
                      </a:lnTo>
                      <a:cubicBezTo>
                        <a:pt x="25114" y="400711"/>
                        <a:pt x="25517" y="400812"/>
                        <a:pt x="25416" y="400812"/>
                      </a:cubicBezTo>
                      <a:lnTo>
                        <a:pt x="25416" y="400812"/>
                      </a:lnTo>
                      <a:cubicBezTo>
                        <a:pt x="44075" y="399702"/>
                        <a:pt x="54161" y="387499"/>
                        <a:pt x="59507" y="375799"/>
                      </a:cubicBezTo>
                      <a:lnTo>
                        <a:pt x="59507" y="375799"/>
                      </a:lnTo>
                      <a:cubicBezTo>
                        <a:pt x="63642" y="367125"/>
                        <a:pt x="73526" y="364805"/>
                        <a:pt x="80788" y="364805"/>
                      </a:cubicBezTo>
                      <a:lnTo>
                        <a:pt x="80788" y="364805"/>
                      </a:lnTo>
                      <a:cubicBezTo>
                        <a:pt x="86133" y="365511"/>
                        <a:pt x="90672" y="364301"/>
                        <a:pt x="92689" y="370252"/>
                      </a:cubicBezTo>
                      <a:lnTo>
                        <a:pt x="92689" y="370252"/>
                      </a:lnTo>
                      <a:lnTo>
                        <a:pt x="93294" y="369647"/>
                      </a:lnTo>
                      <a:cubicBezTo>
                        <a:pt x="94504" y="370151"/>
                        <a:pt x="96723" y="370554"/>
                        <a:pt x="99749" y="370554"/>
                      </a:cubicBezTo>
                      <a:lnTo>
                        <a:pt x="99749" y="370554"/>
                      </a:lnTo>
                      <a:cubicBezTo>
                        <a:pt x="106204" y="370554"/>
                        <a:pt x="116693" y="368739"/>
                        <a:pt x="131015" y="363091"/>
                      </a:cubicBezTo>
                      <a:lnTo>
                        <a:pt x="131015" y="363091"/>
                      </a:lnTo>
                      <a:cubicBezTo>
                        <a:pt x="159861" y="351694"/>
                        <a:pt x="207163" y="355022"/>
                        <a:pt x="241758" y="337674"/>
                      </a:cubicBezTo>
                      <a:lnTo>
                        <a:pt x="241758" y="337674"/>
                      </a:lnTo>
                      <a:cubicBezTo>
                        <a:pt x="259812" y="328698"/>
                        <a:pt x="275848" y="324865"/>
                        <a:pt x="288052" y="324865"/>
                      </a:cubicBezTo>
                      <a:lnTo>
                        <a:pt x="288052" y="324865"/>
                      </a:lnTo>
                      <a:cubicBezTo>
                        <a:pt x="299752" y="324865"/>
                        <a:pt x="308829" y="328295"/>
                        <a:pt x="310039" y="336666"/>
                      </a:cubicBezTo>
                      <a:lnTo>
                        <a:pt x="310039" y="336666"/>
                      </a:lnTo>
                      <a:lnTo>
                        <a:pt x="310039" y="337977"/>
                      </a:lnTo>
                      <a:cubicBezTo>
                        <a:pt x="309838" y="351391"/>
                        <a:pt x="293297" y="371462"/>
                        <a:pt x="264350" y="375093"/>
                      </a:cubicBezTo>
                      <a:lnTo>
                        <a:pt x="264350" y="375093"/>
                      </a:lnTo>
                      <a:cubicBezTo>
                        <a:pt x="235404" y="377917"/>
                        <a:pt x="208576" y="384170"/>
                        <a:pt x="209181" y="393752"/>
                      </a:cubicBezTo>
                      <a:lnTo>
                        <a:pt x="209181" y="393752"/>
                      </a:lnTo>
                      <a:cubicBezTo>
                        <a:pt x="209080" y="394357"/>
                        <a:pt x="209080" y="394861"/>
                        <a:pt x="209080" y="395366"/>
                      </a:cubicBezTo>
                      <a:lnTo>
                        <a:pt x="209080" y="395366"/>
                      </a:lnTo>
                      <a:cubicBezTo>
                        <a:pt x="209483" y="403031"/>
                        <a:pt x="212711" y="406561"/>
                        <a:pt x="222091" y="406863"/>
                      </a:cubicBezTo>
                      <a:lnTo>
                        <a:pt x="222091" y="406863"/>
                      </a:lnTo>
                      <a:cubicBezTo>
                        <a:pt x="225116" y="406863"/>
                        <a:pt x="228949" y="406359"/>
                        <a:pt x="233387" y="405149"/>
                      </a:cubicBezTo>
                      <a:lnTo>
                        <a:pt x="233387" y="405149"/>
                      </a:lnTo>
                      <a:cubicBezTo>
                        <a:pt x="247103" y="401114"/>
                        <a:pt x="264754" y="391230"/>
                        <a:pt x="278370" y="391130"/>
                      </a:cubicBezTo>
                      <a:lnTo>
                        <a:pt x="278370" y="391130"/>
                      </a:lnTo>
                      <a:cubicBezTo>
                        <a:pt x="282908" y="391029"/>
                        <a:pt x="287346" y="392340"/>
                        <a:pt x="290674" y="395870"/>
                      </a:cubicBezTo>
                      <a:lnTo>
                        <a:pt x="290674" y="395870"/>
                      </a:lnTo>
                      <a:cubicBezTo>
                        <a:pt x="300559" y="407267"/>
                        <a:pt x="315082" y="426430"/>
                        <a:pt x="331018" y="428245"/>
                      </a:cubicBezTo>
                      <a:lnTo>
                        <a:pt x="331018" y="428245"/>
                      </a:lnTo>
                      <a:cubicBezTo>
                        <a:pt x="347659" y="430565"/>
                        <a:pt x="360569" y="443677"/>
                        <a:pt x="360872" y="455578"/>
                      </a:cubicBezTo>
                      <a:lnTo>
                        <a:pt x="360872" y="455578"/>
                      </a:lnTo>
                      <a:cubicBezTo>
                        <a:pt x="360872" y="457393"/>
                        <a:pt x="360469" y="459209"/>
                        <a:pt x="359763" y="460924"/>
                      </a:cubicBezTo>
                      <a:lnTo>
                        <a:pt x="359763" y="460924"/>
                      </a:lnTo>
                      <a:cubicBezTo>
                        <a:pt x="355627" y="468084"/>
                        <a:pt x="344735" y="467984"/>
                        <a:pt x="330816" y="468387"/>
                      </a:cubicBezTo>
                      <a:lnTo>
                        <a:pt x="330816" y="468387"/>
                      </a:lnTo>
                      <a:cubicBezTo>
                        <a:pt x="314174" y="468387"/>
                        <a:pt x="293398" y="466471"/>
                        <a:pt x="278370" y="465866"/>
                      </a:cubicBezTo>
                      <a:lnTo>
                        <a:pt x="278370" y="465866"/>
                      </a:lnTo>
                      <a:cubicBezTo>
                        <a:pt x="248818" y="464151"/>
                        <a:pt x="255777" y="448215"/>
                        <a:pt x="238631" y="449224"/>
                      </a:cubicBezTo>
                      <a:lnTo>
                        <a:pt x="238631" y="449224"/>
                      </a:lnTo>
                      <a:cubicBezTo>
                        <a:pt x="227234" y="449224"/>
                        <a:pt x="205348" y="451846"/>
                        <a:pt x="188000" y="451846"/>
                      </a:cubicBezTo>
                      <a:lnTo>
                        <a:pt x="188000" y="451846"/>
                      </a:lnTo>
                      <a:cubicBezTo>
                        <a:pt x="175696" y="451544"/>
                        <a:pt x="165307" y="451342"/>
                        <a:pt x="161676" y="444080"/>
                      </a:cubicBezTo>
                      <a:lnTo>
                        <a:pt x="161676" y="444080"/>
                      </a:lnTo>
                      <a:cubicBezTo>
                        <a:pt x="158045" y="431775"/>
                        <a:pt x="160769" y="400207"/>
                        <a:pt x="157238" y="401518"/>
                      </a:cubicBezTo>
                      <a:lnTo>
                        <a:pt x="157238" y="401518"/>
                      </a:lnTo>
                      <a:cubicBezTo>
                        <a:pt x="156532" y="401417"/>
                        <a:pt x="155826" y="401316"/>
                        <a:pt x="155221" y="401316"/>
                      </a:cubicBezTo>
                      <a:lnTo>
                        <a:pt x="155221" y="401316"/>
                      </a:lnTo>
                      <a:cubicBezTo>
                        <a:pt x="147657" y="401518"/>
                        <a:pt x="136058" y="405653"/>
                        <a:pt x="136058" y="419773"/>
                      </a:cubicBezTo>
                      <a:lnTo>
                        <a:pt x="136058" y="419773"/>
                      </a:lnTo>
                      <a:cubicBezTo>
                        <a:pt x="136058" y="424312"/>
                        <a:pt x="136159" y="428145"/>
                        <a:pt x="136159" y="431271"/>
                      </a:cubicBezTo>
                      <a:lnTo>
                        <a:pt x="136159" y="431271"/>
                      </a:lnTo>
                      <a:cubicBezTo>
                        <a:pt x="136159" y="439844"/>
                        <a:pt x="135251" y="446904"/>
                        <a:pt x="127687" y="447005"/>
                      </a:cubicBezTo>
                      <a:lnTo>
                        <a:pt x="127687" y="447005"/>
                      </a:lnTo>
                      <a:cubicBezTo>
                        <a:pt x="123854" y="447005"/>
                        <a:pt x="117904" y="452956"/>
                        <a:pt x="117904" y="457293"/>
                      </a:cubicBezTo>
                      <a:lnTo>
                        <a:pt x="117904" y="457293"/>
                      </a:lnTo>
                      <a:cubicBezTo>
                        <a:pt x="117904" y="457797"/>
                        <a:pt x="117904" y="458301"/>
                        <a:pt x="118105" y="458906"/>
                      </a:cubicBezTo>
                      <a:lnTo>
                        <a:pt x="118105" y="458906"/>
                      </a:lnTo>
                      <a:cubicBezTo>
                        <a:pt x="118105" y="459007"/>
                        <a:pt x="119215" y="459915"/>
                        <a:pt x="122644" y="459814"/>
                      </a:cubicBezTo>
                      <a:lnTo>
                        <a:pt x="122644" y="459814"/>
                      </a:lnTo>
                      <a:cubicBezTo>
                        <a:pt x="125165" y="459814"/>
                        <a:pt x="128191" y="459411"/>
                        <a:pt x="131116" y="459411"/>
                      </a:cubicBezTo>
                      <a:lnTo>
                        <a:pt x="131116" y="459411"/>
                      </a:lnTo>
                      <a:cubicBezTo>
                        <a:pt x="134444" y="459411"/>
                        <a:pt x="139185" y="459814"/>
                        <a:pt x="140496" y="464756"/>
                      </a:cubicBezTo>
                      <a:lnTo>
                        <a:pt x="140496" y="464756"/>
                      </a:lnTo>
                      <a:cubicBezTo>
                        <a:pt x="141000" y="468084"/>
                        <a:pt x="141908" y="472623"/>
                        <a:pt x="141908" y="477061"/>
                      </a:cubicBezTo>
                      <a:lnTo>
                        <a:pt x="141908" y="477061"/>
                      </a:lnTo>
                      <a:cubicBezTo>
                        <a:pt x="141908" y="481499"/>
                        <a:pt x="141101" y="486340"/>
                        <a:pt x="137269" y="489668"/>
                      </a:cubicBezTo>
                      <a:lnTo>
                        <a:pt x="137269" y="489668"/>
                      </a:lnTo>
                      <a:cubicBezTo>
                        <a:pt x="132730" y="493198"/>
                        <a:pt x="128393" y="502276"/>
                        <a:pt x="128393" y="517404"/>
                      </a:cubicBezTo>
                      <a:lnTo>
                        <a:pt x="128393" y="517404"/>
                      </a:lnTo>
                      <a:cubicBezTo>
                        <a:pt x="128696" y="532231"/>
                        <a:pt x="133839" y="535458"/>
                        <a:pt x="139992" y="535660"/>
                      </a:cubicBezTo>
                      <a:lnTo>
                        <a:pt x="139992" y="535660"/>
                      </a:lnTo>
                      <a:cubicBezTo>
                        <a:pt x="146749" y="535861"/>
                        <a:pt x="160567" y="530213"/>
                        <a:pt x="162786" y="522044"/>
                      </a:cubicBezTo>
                      <a:lnTo>
                        <a:pt x="162786" y="522044"/>
                      </a:lnTo>
                      <a:cubicBezTo>
                        <a:pt x="166517" y="513067"/>
                        <a:pt x="163593" y="487248"/>
                        <a:pt x="176805" y="481398"/>
                      </a:cubicBezTo>
                      <a:lnTo>
                        <a:pt x="176805" y="481398"/>
                      </a:lnTo>
                      <a:cubicBezTo>
                        <a:pt x="181445" y="479784"/>
                        <a:pt x="188303" y="478574"/>
                        <a:pt x="195363" y="478574"/>
                      </a:cubicBezTo>
                      <a:lnTo>
                        <a:pt x="195363" y="478574"/>
                      </a:lnTo>
                      <a:cubicBezTo>
                        <a:pt x="204138" y="478574"/>
                        <a:pt x="213719" y="480389"/>
                        <a:pt x="217854" y="488357"/>
                      </a:cubicBezTo>
                      <a:lnTo>
                        <a:pt x="217854" y="488357"/>
                      </a:lnTo>
                      <a:cubicBezTo>
                        <a:pt x="223704" y="499552"/>
                        <a:pt x="228041" y="510142"/>
                        <a:pt x="247810" y="512361"/>
                      </a:cubicBezTo>
                      <a:lnTo>
                        <a:pt x="247810" y="512361"/>
                      </a:lnTo>
                      <a:cubicBezTo>
                        <a:pt x="269595" y="514177"/>
                        <a:pt x="288556" y="524565"/>
                        <a:pt x="290271" y="572675"/>
                      </a:cubicBezTo>
                      <a:lnTo>
                        <a:pt x="290271" y="572675"/>
                      </a:lnTo>
                      <a:cubicBezTo>
                        <a:pt x="290372" y="576003"/>
                        <a:pt x="290473" y="578928"/>
                        <a:pt x="290473" y="581752"/>
                      </a:cubicBezTo>
                      <a:lnTo>
                        <a:pt x="290473" y="581752"/>
                      </a:lnTo>
                      <a:cubicBezTo>
                        <a:pt x="290574" y="621389"/>
                        <a:pt x="276352" y="626332"/>
                        <a:pt x="272217" y="625726"/>
                      </a:cubicBezTo>
                      <a:lnTo>
                        <a:pt x="272217" y="625726"/>
                      </a:lnTo>
                      <a:cubicBezTo>
                        <a:pt x="272217" y="625726"/>
                        <a:pt x="272116" y="625726"/>
                        <a:pt x="274033" y="626533"/>
                      </a:cubicBezTo>
                      <a:lnTo>
                        <a:pt x="274033" y="626533"/>
                      </a:lnTo>
                      <a:cubicBezTo>
                        <a:pt x="272217" y="626231"/>
                        <a:pt x="247305" y="627340"/>
                        <a:pt x="245792" y="610497"/>
                      </a:cubicBezTo>
                      <a:lnTo>
                        <a:pt x="245792" y="610497"/>
                      </a:lnTo>
                      <a:cubicBezTo>
                        <a:pt x="245792" y="606059"/>
                        <a:pt x="241355" y="603538"/>
                        <a:pt x="234395" y="603437"/>
                      </a:cubicBezTo>
                      <a:lnTo>
                        <a:pt x="234395" y="603437"/>
                      </a:lnTo>
                      <a:cubicBezTo>
                        <a:pt x="228041" y="603336"/>
                        <a:pt x="220981" y="606160"/>
                        <a:pt x="218661" y="609791"/>
                      </a:cubicBezTo>
                      <a:lnTo>
                        <a:pt x="218661" y="609791"/>
                      </a:lnTo>
                      <a:cubicBezTo>
                        <a:pt x="212206" y="620179"/>
                        <a:pt x="216342" y="619473"/>
                        <a:pt x="162181" y="622196"/>
                      </a:cubicBezTo>
                      <a:lnTo>
                        <a:pt x="162181" y="622196"/>
                      </a:lnTo>
                      <a:cubicBezTo>
                        <a:pt x="107011" y="624819"/>
                        <a:pt x="34796" y="626836"/>
                        <a:pt x="29148" y="640553"/>
                      </a:cubicBezTo>
                      <a:lnTo>
                        <a:pt x="29148" y="640553"/>
                      </a:lnTo>
                      <a:cubicBezTo>
                        <a:pt x="26728" y="644890"/>
                        <a:pt x="25719" y="648420"/>
                        <a:pt x="25719" y="651143"/>
                      </a:cubicBezTo>
                      <a:lnTo>
                        <a:pt x="25719" y="651143"/>
                      </a:lnTo>
                      <a:cubicBezTo>
                        <a:pt x="25618" y="658001"/>
                        <a:pt x="31670" y="662439"/>
                        <a:pt x="46899" y="664254"/>
                      </a:cubicBezTo>
                      <a:lnTo>
                        <a:pt x="46899" y="664254"/>
                      </a:lnTo>
                      <a:cubicBezTo>
                        <a:pt x="67777" y="667482"/>
                        <a:pt x="146648" y="659716"/>
                        <a:pt x="153507" y="683216"/>
                      </a:cubicBezTo>
                      <a:lnTo>
                        <a:pt x="153507" y="683216"/>
                      </a:lnTo>
                      <a:cubicBezTo>
                        <a:pt x="156532" y="702782"/>
                        <a:pt x="152397" y="749480"/>
                        <a:pt x="164702" y="757952"/>
                      </a:cubicBezTo>
                      <a:lnTo>
                        <a:pt x="164702" y="757952"/>
                      </a:lnTo>
                      <a:cubicBezTo>
                        <a:pt x="178621" y="768643"/>
                        <a:pt x="186387" y="768542"/>
                        <a:pt x="206659" y="770761"/>
                      </a:cubicBezTo>
                      <a:lnTo>
                        <a:pt x="206659" y="770761"/>
                      </a:lnTo>
                      <a:cubicBezTo>
                        <a:pt x="227335" y="773182"/>
                        <a:pt x="244078" y="784478"/>
                        <a:pt x="245691" y="798800"/>
                      </a:cubicBezTo>
                      <a:lnTo>
                        <a:pt x="245691" y="798800"/>
                      </a:lnTo>
                      <a:cubicBezTo>
                        <a:pt x="246196" y="803944"/>
                        <a:pt x="247003" y="809491"/>
                        <a:pt x="247003" y="815240"/>
                      </a:cubicBezTo>
                      <a:lnTo>
                        <a:pt x="247003" y="815240"/>
                      </a:lnTo>
                      <a:cubicBezTo>
                        <a:pt x="247003" y="823006"/>
                        <a:pt x="245187" y="831276"/>
                        <a:pt x="238026" y="837731"/>
                      </a:cubicBezTo>
                      <a:lnTo>
                        <a:pt x="238026" y="837731"/>
                      </a:lnTo>
                      <a:cubicBezTo>
                        <a:pt x="228747" y="845699"/>
                        <a:pt x="215636" y="853264"/>
                        <a:pt x="216241" y="860626"/>
                      </a:cubicBezTo>
                      <a:lnTo>
                        <a:pt x="216241" y="860626"/>
                      </a:lnTo>
                      <a:cubicBezTo>
                        <a:pt x="216241" y="862643"/>
                        <a:pt x="217048" y="865064"/>
                        <a:pt x="219569" y="868291"/>
                      </a:cubicBezTo>
                      <a:lnTo>
                        <a:pt x="219569" y="868291"/>
                      </a:lnTo>
                      <a:cubicBezTo>
                        <a:pt x="222797" y="872427"/>
                        <a:pt x="224814" y="873032"/>
                        <a:pt x="226427" y="873032"/>
                      </a:cubicBezTo>
                      <a:lnTo>
                        <a:pt x="226427" y="873032"/>
                      </a:lnTo>
                      <a:cubicBezTo>
                        <a:pt x="230058" y="873536"/>
                        <a:pt x="232782" y="867384"/>
                        <a:pt x="239035" y="866173"/>
                      </a:cubicBezTo>
                      <a:lnTo>
                        <a:pt x="239035" y="866173"/>
                      </a:lnTo>
                      <a:cubicBezTo>
                        <a:pt x="240649" y="866173"/>
                        <a:pt x="242061" y="867182"/>
                        <a:pt x="242867" y="868291"/>
                      </a:cubicBezTo>
                      <a:lnTo>
                        <a:pt x="242867" y="868291"/>
                      </a:lnTo>
                      <a:cubicBezTo>
                        <a:pt x="248516" y="877167"/>
                        <a:pt x="241153" y="886244"/>
                        <a:pt x="256786" y="886446"/>
                      </a:cubicBezTo>
                      <a:lnTo>
                        <a:pt x="256786" y="886446"/>
                      </a:lnTo>
                      <a:cubicBezTo>
                        <a:pt x="258400" y="886446"/>
                        <a:pt x="260316" y="886345"/>
                        <a:pt x="262535" y="886143"/>
                      </a:cubicBezTo>
                      <a:lnTo>
                        <a:pt x="262535" y="886143"/>
                      </a:lnTo>
                      <a:cubicBezTo>
                        <a:pt x="285531" y="882815"/>
                        <a:pt x="284320" y="875755"/>
                        <a:pt x="284522" y="875755"/>
                      </a:cubicBezTo>
                      <a:lnTo>
                        <a:pt x="284522" y="875755"/>
                      </a:lnTo>
                      <a:cubicBezTo>
                        <a:pt x="284522" y="875251"/>
                        <a:pt x="284522" y="874545"/>
                        <a:pt x="285329" y="873536"/>
                      </a:cubicBezTo>
                      <a:lnTo>
                        <a:pt x="285329" y="873536"/>
                      </a:lnTo>
                      <a:lnTo>
                        <a:pt x="288859" y="873233"/>
                      </a:lnTo>
                      <a:cubicBezTo>
                        <a:pt x="288859" y="873133"/>
                        <a:pt x="295112" y="877167"/>
                        <a:pt x="301567" y="877167"/>
                      </a:cubicBezTo>
                      <a:lnTo>
                        <a:pt x="301567" y="877167"/>
                      </a:lnTo>
                      <a:cubicBezTo>
                        <a:pt x="306812" y="876965"/>
                        <a:pt x="311956" y="875150"/>
                        <a:pt x="315687" y="865669"/>
                      </a:cubicBezTo>
                      <a:lnTo>
                        <a:pt x="315687" y="865669"/>
                      </a:lnTo>
                      <a:cubicBezTo>
                        <a:pt x="316797" y="862643"/>
                        <a:pt x="317301" y="859718"/>
                        <a:pt x="317301" y="856793"/>
                      </a:cubicBezTo>
                      <a:lnTo>
                        <a:pt x="317301" y="856793"/>
                      </a:lnTo>
                      <a:cubicBezTo>
                        <a:pt x="317402" y="845397"/>
                        <a:pt x="309333" y="834806"/>
                        <a:pt x="309132" y="823510"/>
                      </a:cubicBezTo>
                      <a:lnTo>
                        <a:pt x="309132" y="823510"/>
                      </a:lnTo>
                      <a:cubicBezTo>
                        <a:pt x="309132" y="818064"/>
                        <a:pt x="311653" y="812416"/>
                        <a:pt x="317704" y="807978"/>
                      </a:cubicBezTo>
                      <a:lnTo>
                        <a:pt x="317704" y="807978"/>
                      </a:lnTo>
                      <a:cubicBezTo>
                        <a:pt x="338280" y="791437"/>
                        <a:pt x="331724" y="800111"/>
                        <a:pt x="336767" y="782763"/>
                      </a:cubicBezTo>
                      <a:lnTo>
                        <a:pt x="336767" y="782763"/>
                      </a:lnTo>
                      <a:cubicBezTo>
                        <a:pt x="338986" y="773888"/>
                        <a:pt x="345340" y="769652"/>
                        <a:pt x="351492" y="769853"/>
                      </a:cubicBezTo>
                      <a:lnTo>
                        <a:pt x="351492" y="769853"/>
                      </a:lnTo>
                      <a:cubicBezTo>
                        <a:pt x="358149" y="769853"/>
                        <a:pt x="364402" y="773585"/>
                        <a:pt x="367327" y="778729"/>
                      </a:cubicBezTo>
                      <a:lnTo>
                        <a:pt x="367327" y="778729"/>
                      </a:lnTo>
                      <a:cubicBezTo>
                        <a:pt x="368537" y="781049"/>
                        <a:pt x="368840" y="783368"/>
                        <a:pt x="368840" y="785789"/>
                      </a:cubicBezTo>
                      <a:lnTo>
                        <a:pt x="368840" y="785789"/>
                      </a:lnTo>
                      <a:cubicBezTo>
                        <a:pt x="368840" y="790126"/>
                        <a:pt x="367932" y="794967"/>
                        <a:pt x="367932" y="799808"/>
                      </a:cubicBezTo>
                      <a:lnTo>
                        <a:pt x="367932" y="799808"/>
                      </a:lnTo>
                      <a:cubicBezTo>
                        <a:pt x="367932" y="806364"/>
                        <a:pt x="369142" y="812416"/>
                        <a:pt x="375698" y="817963"/>
                      </a:cubicBezTo>
                      <a:lnTo>
                        <a:pt x="375698" y="817963"/>
                      </a:lnTo>
                      <a:cubicBezTo>
                        <a:pt x="390726" y="830873"/>
                        <a:pt x="405754" y="836319"/>
                        <a:pt x="419168" y="840757"/>
                      </a:cubicBezTo>
                      <a:lnTo>
                        <a:pt x="419168" y="840757"/>
                      </a:lnTo>
                      <a:cubicBezTo>
                        <a:pt x="423808" y="842371"/>
                        <a:pt x="428145" y="843480"/>
                        <a:pt x="431070" y="843480"/>
                      </a:cubicBezTo>
                      <a:lnTo>
                        <a:pt x="431070" y="843480"/>
                      </a:lnTo>
                      <a:cubicBezTo>
                        <a:pt x="434801" y="842976"/>
                        <a:pt x="436314" y="842774"/>
                        <a:pt x="436818" y="834100"/>
                      </a:cubicBezTo>
                      <a:lnTo>
                        <a:pt x="436818" y="834100"/>
                      </a:lnTo>
                      <a:cubicBezTo>
                        <a:pt x="436818" y="832587"/>
                        <a:pt x="436718" y="830873"/>
                        <a:pt x="436617" y="829158"/>
                      </a:cubicBezTo>
                      <a:lnTo>
                        <a:pt x="436617" y="829158"/>
                      </a:lnTo>
                      <a:cubicBezTo>
                        <a:pt x="436415" y="826435"/>
                        <a:pt x="436112" y="823813"/>
                        <a:pt x="436112" y="821190"/>
                      </a:cubicBezTo>
                      <a:lnTo>
                        <a:pt x="436112" y="821190"/>
                      </a:lnTo>
                      <a:cubicBezTo>
                        <a:pt x="436213" y="807877"/>
                        <a:pt x="439844" y="794967"/>
                        <a:pt x="451443" y="794362"/>
                      </a:cubicBezTo>
                      <a:lnTo>
                        <a:pt x="451443" y="794362"/>
                      </a:lnTo>
                      <a:cubicBezTo>
                        <a:pt x="455074" y="794362"/>
                        <a:pt x="459007" y="795875"/>
                        <a:pt x="463143" y="798800"/>
                      </a:cubicBezTo>
                      <a:lnTo>
                        <a:pt x="463143" y="798800"/>
                      </a:lnTo>
                      <a:cubicBezTo>
                        <a:pt x="481196" y="811508"/>
                        <a:pt x="503889" y="832083"/>
                        <a:pt x="504293" y="851045"/>
                      </a:cubicBezTo>
                      <a:lnTo>
                        <a:pt x="504293" y="851045"/>
                      </a:lnTo>
                      <a:cubicBezTo>
                        <a:pt x="504091" y="866072"/>
                        <a:pt x="495014" y="876259"/>
                        <a:pt x="495518" y="882311"/>
                      </a:cubicBezTo>
                      <a:lnTo>
                        <a:pt x="495518" y="882311"/>
                      </a:lnTo>
                      <a:cubicBezTo>
                        <a:pt x="495518" y="883319"/>
                        <a:pt x="495619" y="884227"/>
                        <a:pt x="496224" y="885236"/>
                      </a:cubicBezTo>
                      <a:lnTo>
                        <a:pt x="496224" y="885236"/>
                      </a:lnTo>
                      <a:cubicBezTo>
                        <a:pt x="499452" y="892296"/>
                        <a:pt x="523153" y="918418"/>
                        <a:pt x="540703" y="917914"/>
                      </a:cubicBezTo>
                      <a:lnTo>
                        <a:pt x="540703" y="917914"/>
                      </a:lnTo>
                      <a:cubicBezTo>
                        <a:pt x="542518" y="917914"/>
                        <a:pt x="544334" y="917712"/>
                        <a:pt x="546048" y="917107"/>
                      </a:cubicBezTo>
                      <a:lnTo>
                        <a:pt x="546048" y="917107"/>
                      </a:lnTo>
                      <a:cubicBezTo>
                        <a:pt x="563598" y="912165"/>
                        <a:pt x="566321" y="890783"/>
                        <a:pt x="583265" y="889572"/>
                      </a:cubicBezTo>
                      <a:lnTo>
                        <a:pt x="583265" y="889572"/>
                      </a:lnTo>
                      <a:cubicBezTo>
                        <a:pt x="584980" y="889572"/>
                        <a:pt x="586795" y="889774"/>
                        <a:pt x="588812" y="890480"/>
                      </a:cubicBezTo>
                      <a:lnTo>
                        <a:pt x="588812" y="890480"/>
                      </a:lnTo>
                      <a:cubicBezTo>
                        <a:pt x="609387" y="898448"/>
                        <a:pt x="603134" y="924470"/>
                        <a:pt x="625727" y="923663"/>
                      </a:cubicBezTo>
                      <a:lnTo>
                        <a:pt x="625727" y="923663"/>
                      </a:lnTo>
                      <a:cubicBezTo>
                        <a:pt x="637527" y="923663"/>
                        <a:pt x="652454" y="920435"/>
                        <a:pt x="666272" y="920435"/>
                      </a:cubicBezTo>
                      <a:lnTo>
                        <a:pt x="666272" y="920435"/>
                      </a:lnTo>
                      <a:cubicBezTo>
                        <a:pt x="681098" y="920334"/>
                        <a:pt x="695722" y="924369"/>
                        <a:pt x="702682" y="940809"/>
                      </a:cubicBezTo>
                      <a:lnTo>
                        <a:pt x="702682" y="940809"/>
                      </a:lnTo>
                      <a:cubicBezTo>
                        <a:pt x="713070" y="965922"/>
                        <a:pt x="729813" y="997189"/>
                        <a:pt x="753918" y="996785"/>
                      </a:cubicBezTo>
                      <a:lnTo>
                        <a:pt x="753918" y="996785"/>
                      </a:lnTo>
                      <a:cubicBezTo>
                        <a:pt x="757549" y="996785"/>
                        <a:pt x="761482" y="996079"/>
                        <a:pt x="765819" y="994566"/>
                      </a:cubicBezTo>
                      <a:lnTo>
                        <a:pt x="765819" y="994566"/>
                      </a:lnTo>
                      <a:cubicBezTo>
                        <a:pt x="797892" y="984682"/>
                        <a:pt x="781150" y="948272"/>
                        <a:pt x="817761" y="946759"/>
                      </a:cubicBezTo>
                      <a:lnTo>
                        <a:pt x="817761" y="946759"/>
                      </a:lnTo>
                      <a:cubicBezTo>
                        <a:pt x="836924" y="946860"/>
                        <a:pt x="847111" y="949785"/>
                        <a:pt x="847817" y="958862"/>
                      </a:cubicBezTo>
                      <a:lnTo>
                        <a:pt x="847817" y="958862"/>
                      </a:lnTo>
                      <a:cubicBezTo>
                        <a:pt x="847615" y="965015"/>
                        <a:pt x="842472" y="970159"/>
                        <a:pt x="834907" y="976210"/>
                      </a:cubicBezTo>
                      <a:lnTo>
                        <a:pt x="834907" y="976210"/>
                      </a:lnTo>
                      <a:cubicBezTo>
                        <a:pt x="825124" y="983472"/>
                        <a:pt x="820888" y="989423"/>
                        <a:pt x="820989" y="994163"/>
                      </a:cubicBezTo>
                      <a:lnTo>
                        <a:pt x="820989" y="994163"/>
                      </a:lnTo>
                      <a:cubicBezTo>
                        <a:pt x="820989" y="997895"/>
                        <a:pt x="823208" y="1002131"/>
                        <a:pt x="829562" y="1007375"/>
                      </a:cubicBezTo>
                      <a:lnTo>
                        <a:pt x="829562" y="1007375"/>
                      </a:lnTo>
                      <a:cubicBezTo>
                        <a:pt x="842371" y="1018671"/>
                        <a:pt x="848120" y="1036019"/>
                        <a:pt x="862139" y="1035515"/>
                      </a:cubicBezTo>
                      <a:lnTo>
                        <a:pt x="862139" y="1035515"/>
                      </a:lnTo>
                      <a:cubicBezTo>
                        <a:pt x="864862" y="1035515"/>
                        <a:pt x="868191" y="1034910"/>
                        <a:pt x="872124" y="1033498"/>
                      </a:cubicBezTo>
                      <a:lnTo>
                        <a:pt x="872124" y="1033498"/>
                      </a:lnTo>
                      <a:cubicBezTo>
                        <a:pt x="896431" y="1023815"/>
                        <a:pt x="898952" y="1008081"/>
                        <a:pt x="900163" y="991541"/>
                      </a:cubicBezTo>
                      <a:lnTo>
                        <a:pt x="900163" y="991541"/>
                      </a:lnTo>
                      <a:cubicBezTo>
                        <a:pt x="900970" y="979639"/>
                        <a:pt x="910652" y="969755"/>
                        <a:pt x="922856" y="969654"/>
                      </a:cubicBezTo>
                      <a:lnTo>
                        <a:pt x="922856" y="969654"/>
                      </a:lnTo>
                      <a:cubicBezTo>
                        <a:pt x="929815" y="969654"/>
                        <a:pt x="937480" y="973184"/>
                        <a:pt x="943935" y="981152"/>
                      </a:cubicBezTo>
                      <a:lnTo>
                        <a:pt x="943935" y="981152"/>
                      </a:lnTo>
                      <a:cubicBezTo>
                        <a:pt x="949785" y="988111"/>
                        <a:pt x="952508" y="996583"/>
                        <a:pt x="952508" y="1004955"/>
                      </a:cubicBezTo>
                      <a:lnTo>
                        <a:pt x="952508" y="1004955"/>
                      </a:lnTo>
                      <a:cubicBezTo>
                        <a:pt x="952407" y="1022403"/>
                        <a:pt x="941111" y="1039953"/>
                        <a:pt x="922755" y="1046508"/>
                      </a:cubicBezTo>
                      <a:lnTo>
                        <a:pt x="922755" y="1046508"/>
                      </a:lnTo>
                      <a:cubicBezTo>
                        <a:pt x="901877" y="1053367"/>
                        <a:pt x="888564" y="1057905"/>
                        <a:pt x="889573" y="1064663"/>
                      </a:cubicBezTo>
                      <a:lnTo>
                        <a:pt x="889573" y="1064663"/>
                      </a:lnTo>
                      <a:cubicBezTo>
                        <a:pt x="889573" y="1066579"/>
                        <a:pt x="890279" y="1069101"/>
                        <a:pt x="892195" y="1072429"/>
                      </a:cubicBezTo>
                      <a:lnTo>
                        <a:pt x="892195" y="1072429"/>
                      </a:lnTo>
                      <a:cubicBezTo>
                        <a:pt x="897440" y="1085541"/>
                        <a:pt x="919931" y="1070614"/>
                        <a:pt x="919729" y="1109343"/>
                      </a:cubicBezTo>
                      <a:lnTo>
                        <a:pt x="919729" y="1109343"/>
                      </a:lnTo>
                      <a:cubicBezTo>
                        <a:pt x="919729" y="1113277"/>
                        <a:pt x="919528" y="1117614"/>
                        <a:pt x="919124" y="1122758"/>
                      </a:cubicBezTo>
                      <a:lnTo>
                        <a:pt x="919124" y="1122758"/>
                      </a:lnTo>
                      <a:cubicBezTo>
                        <a:pt x="916401" y="1155032"/>
                        <a:pt x="907626" y="1174599"/>
                        <a:pt x="907727" y="1187912"/>
                      </a:cubicBezTo>
                      <a:lnTo>
                        <a:pt x="907727" y="1187912"/>
                      </a:lnTo>
                      <a:cubicBezTo>
                        <a:pt x="907828" y="1197090"/>
                        <a:pt x="911156" y="1203646"/>
                        <a:pt x="924470" y="1212320"/>
                      </a:cubicBezTo>
                      <a:lnTo>
                        <a:pt x="924470" y="1212320"/>
                      </a:lnTo>
                      <a:cubicBezTo>
                        <a:pt x="938388" y="1221195"/>
                        <a:pt x="946860" y="1224423"/>
                        <a:pt x="950794" y="1224322"/>
                      </a:cubicBezTo>
                      <a:lnTo>
                        <a:pt x="950794" y="1224322"/>
                      </a:lnTo>
                      <a:cubicBezTo>
                        <a:pt x="954929" y="1224322"/>
                        <a:pt x="955433" y="1221095"/>
                        <a:pt x="955736" y="1212421"/>
                      </a:cubicBezTo>
                      <a:lnTo>
                        <a:pt x="955736" y="1212421"/>
                      </a:lnTo>
                      <a:cubicBezTo>
                        <a:pt x="956744" y="1201226"/>
                        <a:pt x="936169" y="1194871"/>
                        <a:pt x="935665" y="1172985"/>
                      </a:cubicBezTo>
                      <a:lnTo>
                        <a:pt x="935665" y="1172985"/>
                      </a:lnTo>
                      <a:cubicBezTo>
                        <a:pt x="935665" y="1172481"/>
                        <a:pt x="935665" y="1171876"/>
                        <a:pt x="935766" y="1171271"/>
                      </a:cubicBezTo>
                      <a:lnTo>
                        <a:pt x="935766" y="1171271"/>
                      </a:lnTo>
                      <a:cubicBezTo>
                        <a:pt x="935766" y="1169959"/>
                        <a:pt x="935766" y="1168447"/>
                        <a:pt x="935766" y="1166833"/>
                      </a:cubicBezTo>
                      <a:lnTo>
                        <a:pt x="935766" y="1166833"/>
                      </a:lnTo>
                      <a:cubicBezTo>
                        <a:pt x="935766" y="1161890"/>
                        <a:pt x="935362" y="1156444"/>
                        <a:pt x="935362" y="1150897"/>
                      </a:cubicBezTo>
                      <a:lnTo>
                        <a:pt x="935362" y="1150897"/>
                      </a:lnTo>
                      <a:cubicBezTo>
                        <a:pt x="935060" y="1133449"/>
                        <a:pt x="939397" y="1113176"/>
                        <a:pt x="967032" y="1110957"/>
                      </a:cubicBezTo>
                      <a:lnTo>
                        <a:pt x="967032" y="1110957"/>
                      </a:lnTo>
                      <a:cubicBezTo>
                        <a:pt x="1004249" y="1107629"/>
                        <a:pt x="1014940" y="1109646"/>
                        <a:pt x="1023714" y="1096534"/>
                      </a:cubicBezTo>
                      <a:lnTo>
                        <a:pt x="1023714" y="1096534"/>
                      </a:lnTo>
                      <a:cubicBezTo>
                        <a:pt x="1031178" y="1086953"/>
                        <a:pt x="1029262" y="1075253"/>
                        <a:pt x="1040760" y="1074043"/>
                      </a:cubicBezTo>
                      <a:lnTo>
                        <a:pt x="1040760" y="1074043"/>
                      </a:lnTo>
                      <a:cubicBezTo>
                        <a:pt x="1044088" y="1074043"/>
                        <a:pt x="1047719" y="1075253"/>
                        <a:pt x="1052863" y="1077976"/>
                      </a:cubicBezTo>
                      <a:lnTo>
                        <a:pt x="1052863" y="1077976"/>
                      </a:lnTo>
                      <a:cubicBezTo>
                        <a:pt x="1060931" y="1081809"/>
                        <a:pt x="1063755" y="1086650"/>
                        <a:pt x="1063654" y="1091088"/>
                      </a:cubicBezTo>
                      <a:lnTo>
                        <a:pt x="1063654" y="1091088"/>
                      </a:lnTo>
                      <a:cubicBezTo>
                        <a:pt x="1063554" y="1094013"/>
                        <a:pt x="1062747" y="1096332"/>
                        <a:pt x="1062848" y="1097846"/>
                      </a:cubicBezTo>
                      <a:lnTo>
                        <a:pt x="1062848" y="1097846"/>
                      </a:lnTo>
                      <a:cubicBezTo>
                        <a:pt x="1062948" y="1099560"/>
                        <a:pt x="1062948" y="1100670"/>
                        <a:pt x="1068294" y="1103393"/>
                      </a:cubicBezTo>
                      <a:lnTo>
                        <a:pt x="1068294" y="1103393"/>
                      </a:lnTo>
                      <a:cubicBezTo>
                        <a:pt x="1072429" y="1105309"/>
                        <a:pt x="1075757" y="1106015"/>
                        <a:pt x="1078884" y="1106015"/>
                      </a:cubicBezTo>
                      <a:lnTo>
                        <a:pt x="1078884" y="1106015"/>
                      </a:lnTo>
                      <a:cubicBezTo>
                        <a:pt x="1087457" y="1106217"/>
                        <a:pt x="1096232" y="1099762"/>
                        <a:pt x="1113680" y="1092298"/>
                      </a:cubicBezTo>
                      <a:lnTo>
                        <a:pt x="1113680" y="1092298"/>
                      </a:lnTo>
                      <a:cubicBezTo>
                        <a:pt x="1128002" y="1086146"/>
                        <a:pt x="1141416" y="1078380"/>
                        <a:pt x="1158058" y="1078279"/>
                      </a:cubicBezTo>
                      <a:lnTo>
                        <a:pt x="1158058" y="1078279"/>
                      </a:lnTo>
                      <a:cubicBezTo>
                        <a:pt x="1168043" y="1078279"/>
                        <a:pt x="1179138" y="1081204"/>
                        <a:pt x="1191745" y="1089172"/>
                      </a:cubicBezTo>
                      <a:lnTo>
                        <a:pt x="1191745" y="1089172"/>
                      </a:lnTo>
                      <a:cubicBezTo>
                        <a:pt x="1202537" y="1095929"/>
                        <a:pt x="1207580" y="1105914"/>
                        <a:pt x="1207580" y="1116303"/>
                      </a:cubicBezTo>
                      <a:lnTo>
                        <a:pt x="1207580" y="1116303"/>
                      </a:lnTo>
                      <a:cubicBezTo>
                        <a:pt x="1207378" y="1138592"/>
                        <a:pt x="1186198" y="1162395"/>
                        <a:pt x="1158764" y="1169657"/>
                      </a:cubicBezTo>
                      <a:lnTo>
                        <a:pt x="1158764" y="1169657"/>
                      </a:lnTo>
                      <a:cubicBezTo>
                        <a:pt x="1140105" y="1174397"/>
                        <a:pt x="1126489" y="1177221"/>
                        <a:pt x="1116908" y="1177221"/>
                      </a:cubicBezTo>
                      <a:lnTo>
                        <a:pt x="1116908" y="1177221"/>
                      </a:lnTo>
                      <a:cubicBezTo>
                        <a:pt x="1106620" y="1177221"/>
                        <a:pt x="1099762" y="1172682"/>
                        <a:pt x="1099762" y="1163605"/>
                      </a:cubicBezTo>
                      <a:lnTo>
                        <a:pt x="1099762" y="1163605"/>
                      </a:lnTo>
                      <a:cubicBezTo>
                        <a:pt x="1099762" y="1158159"/>
                        <a:pt x="1085440" y="1150897"/>
                        <a:pt x="1072429" y="1150897"/>
                      </a:cubicBezTo>
                      <a:lnTo>
                        <a:pt x="1072429" y="1150897"/>
                      </a:lnTo>
                      <a:cubicBezTo>
                        <a:pt x="1064562" y="1150796"/>
                        <a:pt x="1058612" y="1153318"/>
                        <a:pt x="1057502" y="1156848"/>
                      </a:cubicBezTo>
                      <a:lnTo>
                        <a:pt x="1057502" y="1156848"/>
                      </a:lnTo>
                      <a:cubicBezTo>
                        <a:pt x="1056998" y="1158260"/>
                        <a:pt x="1056695" y="1159672"/>
                        <a:pt x="1056695" y="1161185"/>
                      </a:cubicBezTo>
                      <a:lnTo>
                        <a:pt x="1056695" y="1161185"/>
                      </a:lnTo>
                      <a:cubicBezTo>
                        <a:pt x="1056191" y="1172279"/>
                        <a:pt x="1072429" y="1187509"/>
                        <a:pt x="1076867" y="1188719"/>
                      </a:cubicBezTo>
                      <a:lnTo>
                        <a:pt x="1076867" y="1188719"/>
                      </a:lnTo>
                      <a:cubicBezTo>
                        <a:pt x="1087457" y="1195779"/>
                        <a:pt x="1075757" y="1208588"/>
                        <a:pt x="1097240" y="1210807"/>
                      </a:cubicBezTo>
                      <a:lnTo>
                        <a:pt x="1097240" y="1210807"/>
                      </a:lnTo>
                      <a:cubicBezTo>
                        <a:pt x="1107024" y="1211715"/>
                        <a:pt x="1122052" y="1213833"/>
                        <a:pt x="1138391" y="1213833"/>
                      </a:cubicBezTo>
                      <a:lnTo>
                        <a:pt x="1138391" y="1213833"/>
                      </a:lnTo>
                      <a:cubicBezTo>
                        <a:pt x="1161185" y="1213833"/>
                        <a:pt x="1186803" y="1209698"/>
                        <a:pt x="1206168" y="1193661"/>
                      </a:cubicBezTo>
                      <a:lnTo>
                        <a:pt x="1206168" y="1193661"/>
                      </a:lnTo>
                      <a:cubicBezTo>
                        <a:pt x="1223414" y="1179339"/>
                        <a:pt x="1231987" y="1174296"/>
                        <a:pt x="1241166" y="1174195"/>
                      </a:cubicBezTo>
                      <a:lnTo>
                        <a:pt x="1241166" y="1174195"/>
                      </a:lnTo>
                      <a:cubicBezTo>
                        <a:pt x="1250344" y="1174296"/>
                        <a:pt x="1258009" y="1178734"/>
                        <a:pt x="1275054" y="1182062"/>
                      </a:cubicBezTo>
                      <a:lnTo>
                        <a:pt x="1275054" y="1182062"/>
                      </a:lnTo>
                      <a:cubicBezTo>
                        <a:pt x="1309447" y="1188719"/>
                        <a:pt x="1316003" y="1188719"/>
                        <a:pt x="1336174" y="1193157"/>
                      </a:cubicBezTo>
                      <a:lnTo>
                        <a:pt x="1336174" y="1193157"/>
                      </a:lnTo>
                      <a:cubicBezTo>
                        <a:pt x="1355539" y="1197191"/>
                        <a:pt x="1365020" y="1200822"/>
                        <a:pt x="1364919" y="1214841"/>
                      </a:cubicBezTo>
                      <a:lnTo>
                        <a:pt x="1364919" y="1214841"/>
                      </a:lnTo>
                      <a:cubicBezTo>
                        <a:pt x="1364516" y="1225532"/>
                        <a:pt x="1353623" y="1237232"/>
                        <a:pt x="1342125" y="1237534"/>
                      </a:cubicBezTo>
                      <a:lnTo>
                        <a:pt x="1342125" y="1237534"/>
                      </a:lnTo>
                      <a:cubicBezTo>
                        <a:pt x="1337586" y="1237534"/>
                        <a:pt x="1333048" y="1235316"/>
                        <a:pt x="1329921" y="1230777"/>
                      </a:cubicBezTo>
                      <a:lnTo>
                        <a:pt x="1329921" y="1230777"/>
                      </a:lnTo>
                      <a:cubicBezTo>
                        <a:pt x="1326593" y="1226037"/>
                        <a:pt x="1319835" y="1223414"/>
                        <a:pt x="1313078" y="1223414"/>
                      </a:cubicBezTo>
                      <a:lnTo>
                        <a:pt x="1313078" y="1223414"/>
                      </a:lnTo>
                      <a:cubicBezTo>
                        <a:pt x="1302891" y="1224019"/>
                        <a:pt x="1294721" y="1228861"/>
                        <a:pt x="1294721" y="1236728"/>
                      </a:cubicBezTo>
                      <a:lnTo>
                        <a:pt x="1294721" y="1236728"/>
                      </a:lnTo>
                      <a:close/>
                      <a:moveTo>
                        <a:pt x="273629" y="626836"/>
                      </a:moveTo>
                      <a:cubicBezTo>
                        <a:pt x="273730" y="626836"/>
                        <a:pt x="273730" y="626836"/>
                        <a:pt x="273629" y="626836"/>
                      </a:cubicBezTo>
                      <a:lnTo>
                        <a:pt x="273629" y="626836"/>
                      </a:lnTo>
                      <a:cubicBezTo>
                        <a:pt x="273730" y="626836"/>
                        <a:pt x="273629" y="626836"/>
                        <a:pt x="273629" y="626836"/>
                      </a:cubicBezTo>
                      <a:lnTo>
                        <a:pt x="273629" y="626836"/>
                      </a:lnTo>
                      <a:close/>
                    </a:path>
                  </a:pathLst>
                </a:custGeom>
                <a:solidFill>
                  <a:srgbClr val="ABDEF6"/>
                </a:solidFill>
                <a:ln w="10085" cap="flat">
                  <a:solidFill>
                    <a:srgbClr val="FFFFFF"/>
                  </a:solidFill>
                  <a:prstDash val="solid"/>
                  <a:miter/>
                </a:ln>
              </p:spPr>
              <p:txBody>
                <a:bodyPr rtlCol="0" anchor="ctr"/>
                <a:lstStyle/>
                <a:p>
                  <a:endParaRPr lang="fr-FR" sz="900"/>
                </a:p>
              </p:txBody>
            </p:sp>
          </p:grpSp>
          <p:grpSp>
            <p:nvGrpSpPr>
              <p:cNvPr id="82" name="Graphique 17">
                <a:extLst>
                  <a:ext uri="{FF2B5EF4-FFF2-40B4-BE49-F238E27FC236}">
                    <a16:creationId xmlns:a16="http://schemas.microsoft.com/office/drawing/2014/main" id="{2EB12A44-ECCE-D6A3-DC76-D3EB77AA8949}"/>
                  </a:ext>
                </a:extLst>
              </p:cNvPr>
              <p:cNvGrpSpPr/>
              <p:nvPr/>
            </p:nvGrpSpPr>
            <p:grpSpPr>
              <a:xfrm>
                <a:off x="3927181" y="6249613"/>
                <a:ext cx="1826549" cy="2287629"/>
                <a:chOff x="3927181" y="6249613"/>
                <a:chExt cx="1826549" cy="2287629"/>
              </a:xfrm>
              <a:solidFill>
                <a:srgbClr val="ABDEF6"/>
              </a:solidFill>
            </p:grpSpPr>
            <p:sp>
              <p:nvSpPr>
                <p:cNvPr id="83" name="Forme libre : forme 82">
                  <a:extLst>
                    <a:ext uri="{FF2B5EF4-FFF2-40B4-BE49-F238E27FC236}">
                      <a16:creationId xmlns:a16="http://schemas.microsoft.com/office/drawing/2014/main" id="{DFC69EC3-FCD2-8173-6C81-79372D0C4B65}"/>
                    </a:ext>
                  </a:extLst>
                </p:cNvPr>
                <p:cNvSpPr/>
                <p:nvPr/>
              </p:nvSpPr>
              <p:spPr>
                <a:xfrm>
                  <a:off x="3930130" y="6252033"/>
                  <a:ext cx="1820273" cy="2283402"/>
                </a:xfrm>
                <a:custGeom>
                  <a:avLst/>
                  <a:gdLst>
                    <a:gd name="connsiteX0" fmla="*/ 1793341 w 1820273"/>
                    <a:gd name="connsiteY0" fmla="*/ 781956 h 2283402"/>
                    <a:gd name="connsiteX1" fmla="*/ 1765303 w 1820273"/>
                    <a:gd name="connsiteY1" fmla="*/ 745244 h 2283402"/>
                    <a:gd name="connsiteX2" fmla="*/ 1715680 w 1820273"/>
                    <a:gd name="connsiteY2" fmla="*/ 700967 h 2283402"/>
                    <a:gd name="connsiteX3" fmla="*/ 1704485 w 1820273"/>
                    <a:gd name="connsiteY3" fmla="*/ 685939 h 2283402"/>
                    <a:gd name="connsiteX4" fmla="*/ 1706502 w 1820273"/>
                    <a:gd name="connsiteY4" fmla="*/ 685536 h 2283402"/>
                    <a:gd name="connsiteX5" fmla="*/ 1655367 w 1820273"/>
                    <a:gd name="connsiteY5" fmla="*/ 697538 h 2283402"/>
                    <a:gd name="connsiteX6" fmla="*/ 1574176 w 1820273"/>
                    <a:gd name="connsiteY6" fmla="*/ 730619 h 2283402"/>
                    <a:gd name="connsiteX7" fmla="*/ 1480982 w 1820273"/>
                    <a:gd name="connsiteY7" fmla="*/ 727594 h 2283402"/>
                    <a:gd name="connsiteX8" fmla="*/ 1450927 w 1820273"/>
                    <a:gd name="connsiteY8" fmla="*/ 679484 h 2283402"/>
                    <a:gd name="connsiteX9" fmla="*/ 1423897 w 1820273"/>
                    <a:gd name="connsiteY9" fmla="*/ 586291 h 2283402"/>
                    <a:gd name="connsiteX10" fmla="*/ 1297621 w 1820273"/>
                    <a:gd name="connsiteY10" fmla="*/ 550284 h 2283402"/>
                    <a:gd name="connsiteX11" fmla="*/ 1216531 w 1820273"/>
                    <a:gd name="connsiteY11" fmla="*/ 583366 h 2283402"/>
                    <a:gd name="connsiteX12" fmla="*/ 1156419 w 1820273"/>
                    <a:gd name="connsiteY12" fmla="*/ 580340 h 2283402"/>
                    <a:gd name="connsiteX13" fmla="*/ 1129288 w 1820273"/>
                    <a:gd name="connsiteY13" fmla="*/ 508226 h 2283402"/>
                    <a:gd name="connsiteX14" fmla="*/ 1084306 w 1820273"/>
                    <a:gd name="connsiteY14" fmla="*/ 442063 h 2283402"/>
                    <a:gd name="connsiteX15" fmla="*/ 1027119 w 1820273"/>
                    <a:gd name="connsiteY15" fmla="*/ 384977 h 2283402"/>
                    <a:gd name="connsiteX16" fmla="*/ 985061 w 1820273"/>
                    <a:gd name="connsiteY16" fmla="*/ 324865 h 2283402"/>
                    <a:gd name="connsiteX17" fmla="*/ 945928 w 1820273"/>
                    <a:gd name="connsiteY17" fmla="*/ 264754 h 2283402"/>
                    <a:gd name="connsiteX18" fmla="*/ 930900 w 1820273"/>
                    <a:gd name="connsiteY18" fmla="*/ 180638 h 2283402"/>
                    <a:gd name="connsiteX19" fmla="*/ 909820 w 1820273"/>
                    <a:gd name="connsiteY19" fmla="*/ 99447 h 2283402"/>
                    <a:gd name="connsiteX20" fmla="*/ 885816 w 1820273"/>
                    <a:gd name="connsiteY20" fmla="*/ 27333 h 2283402"/>
                    <a:gd name="connsiteX21" fmla="*/ 864434 w 1820273"/>
                    <a:gd name="connsiteY21" fmla="*/ 0 h 2283402"/>
                    <a:gd name="connsiteX22" fmla="*/ 856063 w 1820273"/>
                    <a:gd name="connsiteY22" fmla="*/ 28644 h 2283402"/>
                    <a:gd name="connsiteX23" fmla="*/ 822477 w 1820273"/>
                    <a:gd name="connsiteY23" fmla="*/ 78064 h 2283402"/>
                    <a:gd name="connsiteX24" fmla="*/ 781831 w 1820273"/>
                    <a:gd name="connsiteY24" fmla="*/ 138075 h 2283402"/>
                    <a:gd name="connsiteX25" fmla="*/ 716474 w 1820273"/>
                    <a:gd name="connsiteY25" fmla="*/ 168131 h 2283402"/>
                    <a:gd name="connsiteX26" fmla="*/ 631753 w 1820273"/>
                    <a:gd name="connsiteY26" fmla="*/ 161071 h 2283402"/>
                    <a:gd name="connsiteX27" fmla="*/ 561152 w 1820273"/>
                    <a:gd name="connsiteY27" fmla="*/ 203432 h 2283402"/>
                    <a:gd name="connsiteX28" fmla="*/ 499326 w 1820273"/>
                    <a:gd name="connsiteY28" fmla="*/ 222797 h 2283402"/>
                    <a:gd name="connsiteX29" fmla="*/ 470077 w 1820273"/>
                    <a:gd name="connsiteY29" fmla="*/ 233689 h 2283402"/>
                    <a:gd name="connsiteX30" fmla="*/ 510420 w 1820273"/>
                    <a:gd name="connsiteY30" fmla="*/ 315990 h 2283402"/>
                    <a:gd name="connsiteX31" fmla="*/ 546326 w 1820273"/>
                    <a:gd name="connsiteY31" fmla="*/ 477364 h 2283402"/>
                    <a:gd name="connsiteX32" fmla="*/ 461806 w 1820273"/>
                    <a:gd name="connsiteY32" fmla="*/ 523456 h 2283402"/>
                    <a:gd name="connsiteX33" fmla="*/ 456663 w 1820273"/>
                    <a:gd name="connsiteY33" fmla="*/ 574692 h 2283402"/>
                    <a:gd name="connsiteX34" fmla="*/ 477238 w 1820273"/>
                    <a:gd name="connsiteY34" fmla="*/ 623407 h 2283402"/>
                    <a:gd name="connsiteX35" fmla="*/ 477843 w 1820273"/>
                    <a:gd name="connsiteY35" fmla="*/ 665868 h 2283402"/>
                    <a:gd name="connsiteX36" fmla="*/ 469068 w 1820273"/>
                    <a:gd name="connsiteY36" fmla="*/ 760373 h 2283402"/>
                    <a:gd name="connsiteX37" fmla="*/ 482886 w 1820273"/>
                    <a:gd name="connsiteY37" fmla="*/ 805356 h 2283402"/>
                    <a:gd name="connsiteX38" fmla="*/ 469068 w 1820273"/>
                    <a:gd name="connsiteY38" fmla="*/ 895322 h 2283402"/>
                    <a:gd name="connsiteX39" fmla="*/ 432759 w 1820273"/>
                    <a:gd name="connsiteY39" fmla="*/ 933345 h 2283402"/>
                    <a:gd name="connsiteX40" fmla="*/ 422371 w 1820273"/>
                    <a:gd name="connsiteY40" fmla="*/ 995676 h 2283402"/>
                    <a:gd name="connsiteX41" fmla="*/ 366999 w 1820273"/>
                    <a:gd name="connsiteY41" fmla="*/ 1051047 h 2283402"/>
                    <a:gd name="connsiteX42" fmla="*/ 330690 w 1820273"/>
                    <a:gd name="connsiteY42" fmla="*/ 1102888 h 2283402"/>
                    <a:gd name="connsiteX43" fmla="*/ 266645 w 1820273"/>
                    <a:gd name="connsiteY43" fmla="*/ 1134054 h 2283402"/>
                    <a:gd name="connsiteX44" fmla="*/ 209559 w 1820273"/>
                    <a:gd name="connsiteY44" fmla="*/ 1165219 h 2283402"/>
                    <a:gd name="connsiteX45" fmla="*/ 147229 w 1820273"/>
                    <a:gd name="connsiteY45" fmla="*/ 1170363 h 2283402"/>
                    <a:gd name="connsiteX46" fmla="*/ 102246 w 1820273"/>
                    <a:gd name="connsiteY46" fmla="*/ 1204957 h 2283402"/>
                    <a:gd name="connsiteX47" fmla="*/ 88428 w 1820273"/>
                    <a:gd name="connsiteY47" fmla="*/ 1267187 h 2283402"/>
                    <a:gd name="connsiteX48" fmla="*/ 72896 w 1820273"/>
                    <a:gd name="connsiteY48" fmla="*/ 1348479 h 2283402"/>
                    <a:gd name="connsiteX49" fmla="*/ 14095 w 1820273"/>
                    <a:gd name="connsiteY49" fmla="*/ 1433301 h 2283402"/>
                    <a:gd name="connsiteX50" fmla="*/ 278 w 1820273"/>
                    <a:gd name="connsiteY50" fmla="*/ 1557861 h 2283402"/>
                    <a:gd name="connsiteX51" fmla="*/ 10666 w 1820273"/>
                    <a:gd name="connsiteY51" fmla="*/ 1557861 h 2283402"/>
                    <a:gd name="connsiteX52" fmla="*/ 40117 w 1820273"/>
                    <a:gd name="connsiteY52" fmla="*/ 1597700 h 2283402"/>
                    <a:gd name="connsiteX53" fmla="*/ 62608 w 1820273"/>
                    <a:gd name="connsiteY53" fmla="*/ 1618477 h 2283402"/>
                    <a:gd name="connsiteX54" fmla="*/ 116265 w 1820273"/>
                    <a:gd name="connsiteY54" fmla="*/ 1644398 h 2283402"/>
                    <a:gd name="connsiteX55" fmla="*/ 123224 w 1820273"/>
                    <a:gd name="connsiteY55" fmla="*/ 1729220 h 2283402"/>
                    <a:gd name="connsiteX56" fmla="*/ 233967 w 1820273"/>
                    <a:gd name="connsiteY56" fmla="*/ 1772388 h 2283402"/>
                    <a:gd name="connsiteX57" fmla="*/ 282379 w 1820273"/>
                    <a:gd name="connsiteY57" fmla="*/ 1741323 h 2283402"/>
                    <a:gd name="connsiteX58" fmla="*/ 297911 w 1820273"/>
                    <a:gd name="connsiteY58" fmla="*/ 1692911 h 2283402"/>
                    <a:gd name="connsiteX59" fmla="*/ 348139 w 1820273"/>
                    <a:gd name="connsiteY59" fmla="*/ 1727505 h 2283402"/>
                    <a:gd name="connsiteX60" fmla="*/ 391407 w 1820273"/>
                    <a:gd name="connsiteY60" fmla="*/ 1803654 h 2283402"/>
                    <a:gd name="connsiteX61" fmla="*/ 431145 w 1820273"/>
                    <a:gd name="connsiteY61" fmla="*/ 1855596 h 2283402"/>
                    <a:gd name="connsiteX62" fmla="*/ 474414 w 1820273"/>
                    <a:gd name="connsiteY62" fmla="*/ 1926499 h 2283402"/>
                    <a:gd name="connsiteX63" fmla="*/ 474414 w 1820273"/>
                    <a:gd name="connsiteY63" fmla="*/ 2002647 h 2283402"/>
                    <a:gd name="connsiteX64" fmla="*/ 519397 w 1820273"/>
                    <a:gd name="connsiteY64" fmla="*/ 2073551 h 2283402"/>
                    <a:gd name="connsiteX65" fmla="*/ 569523 w 1820273"/>
                    <a:gd name="connsiteY65" fmla="*/ 2120350 h 2283402"/>
                    <a:gd name="connsiteX66" fmla="*/ 623180 w 1820273"/>
                    <a:gd name="connsiteY66" fmla="*/ 2108246 h 2283402"/>
                    <a:gd name="connsiteX67" fmla="*/ 628324 w 1820273"/>
                    <a:gd name="connsiteY67" fmla="*/ 2165332 h 2283402"/>
                    <a:gd name="connsiteX68" fmla="*/ 661204 w 1820273"/>
                    <a:gd name="connsiteY68" fmla="*/ 2205071 h 2283402"/>
                    <a:gd name="connsiteX69" fmla="*/ 649101 w 1820273"/>
                    <a:gd name="connsiteY69" fmla="*/ 2236236 h 2283402"/>
                    <a:gd name="connsiteX70" fmla="*/ 678451 w 1820273"/>
                    <a:gd name="connsiteY70" fmla="*/ 2258728 h 2283402"/>
                    <a:gd name="connsiteX71" fmla="*/ 740781 w 1820273"/>
                    <a:gd name="connsiteY71" fmla="*/ 2241481 h 2283402"/>
                    <a:gd name="connsiteX72" fmla="*/ 785764 w 1820273"/>
                    <a:gd name="connsiteY72" fmla="*/ 2279504 h 2283402"/>
                    <a:gd name="connsiteX73" fmla="*/ 853239 w 1820273"/>
                    <a:gd name="connsiteY73" fmla="*/ 2224133 h 2283402"/>
                    <a:gd name="connsiteX74" fmla="*/ 917284 w 1820273"/>
                    <a:gd name="connsiteY74" fmla="*/ 2236236 h 2283402"/>
                    <a:gd name="connsiteX75" fmla="*/ 944919 w 1820273"/>
                    <a:gd name="connsiteY75" fmla="*/ 2258728 h 2283402"/>
                    <a:gd name="connsiteX76" fmla="*/ 962166 w 1820273"/>
                    <a:gd name="connsiteY76" fmla="*/ 2231092 h 2283402"/>
                    <a:gd name="connsiteX77" fmla="*/ 1000190 w 1820273"/>
                    <a:gd name="connsiteY77" fmla="*/ 2246624 h 2283402"/>
                    <a:gd name="connsiteX78" fmla="*/ 989801 w 1820273"/>
                    <a:gd name="connsiteY78" fmla="*/ 2201642 h 2283402"/>
                    <a:gd name="connsiteX79" fmla="*/ 1019252 w 1820273"/>
                    <a:gd name="connsiteY79" fmla="*/ 2193069 h 2283402"/>
                    <a:gd name="connsiteX80" fmla="*/ 1064235 w 1820273"/>
                    <a:gd name="connsiteY80" fmla="*/ 2203457 h 2283402"/>
                    <a:gd name="connsiteX81" fmla="*/ 1171448 w 1820273"/>
                    <a:gd name="connsiteY81" fmla="*/ 2210316 h 2283402"/>
                    <a:gd name="connsiteX82" fmla="*/ 1299437 w 1820273"/>
                    <a:gd name="connsiteY82" fmla="*/ 2208601 h 2283402"/>
                    <a:gd name="connsiteX83" fmla="*/ 1340991 w 1820273"/>
                    <a:gd name="connsiteY83" fmla="*/ 2161903 h 2283402"/>
                    <a:gd name="connsiteX84" fmla="*/ 1432772 w 1820273"/>
                    <a:gd name="connsiteY84" fmla="*/ 2118635 h 2283402"/>
                    <a:gd name="connsiteX85" fmla="*/ 1514064 w 1820273"/>
                    <a:gd name="connsiteY85" fmla="*/ 2104817 h 2283402"/>
                    <a:gd name="connsiteX86" fmla="*/ 1508819 w 1820273"/>
                    <a:gd name="connsiteY86" fmla="*/ 2021811 h 2283402"/>
                    <a:gd name="connsiteX87" fmla="*/ 1591826 w 1820273"/>
                    <a:gd name="connsiteY87" fmla="*/ 1976828 h 2283402"/>
                    <a:gd name="connsiteX88" fmla="*/ 1657586 w 1820273"/>
                    <a:gd name="connsiteY88" fmla="*/ 1954336 h 2283402"/>
                    <a:gd name="connsiteX89" fmla="*/ 1721631 w 1820273"/>
                    <a:gd name="connsiteY89" fmla="*/ 1895536 h 2283402"/>
                    <a:gd name="connsiteX90" fmla="*/ 1767320 w 1820273"/>
                    <a:gd name="connsiteY90" fmla="*/ 1897856 h 2283402"/>
                    <a:gd name="connsiteX91" fmla="*/ 1777103 w 1820273"/>
                    <a:gd name="connsiteY91" fmla="*/ 1860034 h 2283402"/>
                    <a:gd name="connsiteX92" fmla="*/ 1786886 w 1820273"/>
                    <a:gd name="connsiteY92" fmla="*/ 1794173 h 2283402"/>
                    <a:gd name="connsiteX93" fmla="*/ 1790114 w 1820273"/>
                    <a:gd name="connsiteY93" fmla="*/ 1746669 h 2283402"/>
                    <a:gd name="connsiteX94" fmla="*/ 1780331 w 1820273"/>
                    <a:gd name="connsiteY94" fmla="*/ 1664671 h 2283402"/>
                    <a:gd name="connsiteX95" fmla="*/ 1757637 w 1820273"/>
                    <a:gd name="connsiteY95" fmla="*/ 1592355 h 2283402"/>
                    <a:gd name="connsiteX96" fmla="*/ 1751182 w 1820273"/>
                    <a:gd name="connsiteY96" fmla="*/ 1518930 h 2283402"/>
                    <a:gd name="connsiteX97" fmla="*/ 1731818 w 1820273"/>
                    <a:gd name="connsiteY97" fmla="*/ 1478990 h 2283402"/>
                    <a:gd name="connsiteX98" fmla="*/ 1675639 w 1820273"/>
                    <a:gd name="connsiteY98" fmla="*/ 1425031 h 2283402"/>
                    <a:gd name="connsiteX99" fmla="*/ 1689659 w 1820273"/>
                    <a:gd name="connsiteY99" fmla="*/ 1364515 h 2283402"/>
                    <a:gd name="connsiteX100" fmla="*/ 1698333 w 1820273"/>
                    <a:gd name="connsiteY100" fmla="*/ 1310556 h 2283402"/>
                    <a:gd name="connsiteX101" fmla="*/ 1677858 w 1820273"/>
                    <a:gd name="connsiteY101" fmla="*/ 1237131 h 2283402"/>
                    <a:gd name="connsiteX102" fmla="*/ 1712352 w 1820273"/>
                    <a:gd name="connsiteY102" fmla="*/ 1216657 h 2283402"/>
                    <a:gd name="connsiteX103" fmla="*/ 1703678 w 1820273"/>
                    <a:gd name="connsiteY103" fmla="*/ 1164816 h 2283402"/>
                    <a:gd name="connsiteX104" fmla="*/ 1692886 w 1820273"/>
                    <a:gd name="connsiteY104" fmla="*/ 1119429 h 2283402"/>
                    <a:gd name="connsiteX105" fmla="*/ 1652946 w 1820273"/>
                    <a:gd name="connsiteY105" fmla="*/ 1076262 h 2283402"/>
                    <a:gd name="connsiteX106" fmla="*/ 1682094 w 1820273"/>
                    <a:gd name="connsiteY106" fmla="*/ 1036322 h 2283402"/>
                    <a:gd name="connsiteX107" fmla="*/ 1727481 w 1820273"/>
                    <a:gd name="connsiteY107" fmla="*/ 1023412 h 2283402"/>
                    <a:gd name="connsiteX108" fmla="*/ 1753401 w 1820273"/>
                    <a:gd name="connsiteY108" fmla="*/ 972680 h 2283402"/>
                    <a:gd name="connsiteX109" fmla="*/ 1763084 w 1820273"/>
                    <a:gd name="connsiteY109" fmla="*/ 908937 h 2283402"/>
                    <a:gd name="connsiteX110" fmla="*/ 1786886 w 1820273"/>
                    <a:gd name="connsiteY110" fmla="*/ 868997 h 2283402"/>
                    <a:gd name="connsiteX111" fmla="*/ 1819262 w 1820273"/>
                    <a:gd name="connsiteY111" fmla="*/ 832285 h 2283402"/>
                    <a:gd name="connsiteX112" fmla="*/ 1793341 w 1820273"/>
                    <a:gd name="connsiteY112" fmla="*/ 781956 h 2283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1820273" h="2283402">
                      <a:moveTo>
                        <a:pt x="1793341" y="781956"/>
                      </a:moveTo>
                      <a:cubicBezTo>
                        <a:pt x="1772867" y="778729"/>
                        <a:pt x="1759856" y="771165"/>
                        <a:pt x="1765303" y="745244"/>
                      </a:cubicBezTo>
                      <a:cubicBezTo>
                        <a:pt x="1770648" y="719323"/>
                        <a:pt x="1727481" y="708531"/>
                        <a:pt x="1715680" y="700967"/>
                      </a:cubicBezTo>
                      <a:cubicBezTo>
                        <a:pt x="1712453" y="698950"/>
                        <a:pt x="1708519" y="693201"/>
                        <a:pt x="1704485" y="685939"/>
                      </a:cubicBezTo>
                      <a:cubicBezTo>
                        <a:pt x="1705292" y="685838"/>
                        <a:pt x="1705695" y="685636"/>
                        <a:pt x="1706502" y="685536"/>
                      </a:cubicBezTo>
                      <a:cubicBezTo>
                        <a:pt x="1673421" y="688561"/>
                        <a:pt x="1670395" y="703488"/>
                        <a:pt x="1655367" y="697538"/>
                      </a:cubicBezTo>
                      <a:cubicBezTo>
                        <a:pt x="1640339" y="691486"/>
                        <a:pt x="1607257" y="721643"/>
                        <a:pt x="1574176" y="730619"/>
                      </a:cubicBezTo>
                      <a:cubicBezTo>
                        <a:pt x="1541094" y="739697"/>
                        <a:pt x="1529092" y="706615"/>
                        <a:pt x="1480982" y="727594"/>
                      </a:cubicBezTo>
                      <a:cubicBezTo>
                        <a:pt x="1432873" y="748673"/>
                        <a:pt x="1444875" y="721542"/>
                        <a:pt x="1450927" y="679484"/>
                      </a:cubicBezTo>
                      <a:cubicBezTo>
                        <a:pt x="1456978" y="637426"/>
                        <a:pt x="1441849" y="628450"/>
                        <a:pt x="1423897" y="586291"/>
                      </a:cubicBezTo>
                      <a:cubicBezTo>
                        <a:pt x="1405843" y="544233"/>
                        <a:pt x="1354707" y="559261"/>
                        <a:pt x="1297621" y="550284"/>
                      </a:cubicBezTo>
                      <a:cubicBezTo>
                        <a:pt x="1240535" y="541308"/>
                        <a:pt x="1261615" y="559261"/>
                        <a:pt x="1216531" y="583366"/>
                      </a:cubicBezTo>
                      <a:cubicBezTo>
                        <a:pt x="1171448" y="607471"/>
                        <a:pt x="1162471" y="607370"/>
                        <a:pt x="1156419" y="580340"/>
                      </a:cubicBezTo>
                      <a:cubicBezTo>
                        <a:pt x="1150469" y="553310"/>
                        <a:pt x="1135340" y="535256"/>
                        <a:pt x="1129288" y="508226"/>
                      </a:cubicBezTo>
                      <a:cubicBezTo>
                        <a:pt x="1123338" y="481196"/>
                        <a:pt x="1126263" y="454166"/>
                        <a:pt x="1084306" y="442063"/>
                      </a:cubicBezTo>
                      <a:cubicBezTo>
                        <a:pt x="1042247" y="430061"/>
                        <a:pt x="1027119" y="408981"/>
                        <a:pt x="1027119" y="384977"/>
                      </a:cubicBezTo>
                      <a:cubicBezTo>
                        <a:pt x="1027119" y="360973"/>
                        <a:pt x="1018142" y="351896"/>
                        <a:pt x="985061" y="324865"/>
                      </a:cubicBezTo>
                      <a:cubicBezTo>
                        <a:pt x="951979" y="297835"/>
                        <a:pt x="970033" y="288758"/>
                        <a:pt x="945928" y="264754"/>
                      </a:cubicBezTo>
                      <a:cubicBezTo>
                        <a:pt x="921923" y="240749"/>
                        <a:pt x="942902" y="216644"/>
                        <a:pt x="930900" y="180638"/>
                      </a:cubicBezTo>
                      <a:cubicBezTo>
                        <a:pt x="918898" y="144530"/>
                        <a:pt x="909820" y="123552"/>
                        <a:pt x="909820" y="99447"/>
                      </a:cubicBezTo>
                      <a:cubicBezTo>
                        <a:pt x="909820" y="75341"/>
                        <a:pt x="900844" y="66365"/>
                        <a:pt x="885816" y="27333"/>
                      </a:cubicBezTo>
                      <a:cubicBezTo>
                        <a:pt x="880269" y="12910"/>
                        <a:pt x="872301" y="4639"/>
                        <a:pt x="864434" y="0"/>
                      </a:cubicBezTo>
                      <a:cubicBezTo>
                        <a:pt x="861206" y="7262"/>
                        <a:pt x="857071" y="18054"/>
                        <a:pt x="856063" y="28644"/>
                      </a:cubicBezTo>
                      <a:cubicBezTo>
                        <a:pt x="854247" y="46294"/>
                        <a:pt x="854247" y="63944"/>
                        <a:pt x="822477" y="78064"/>
                      </a:cubicBezTo>
                      <a:cubicBezTo>
                        <a:pt x="790706" y="92185"/>
                        <a:pt x="806642" y="102775"/>
                        <a:pt x="781831" y="138075"/>
                      </a:cubicBezTo>
                      <a:cubicBezTo>
                        <a:pt x="757120" y="173376"/>
                        <a:pt x="734226" y="178721"/>
                        <a:pt x="716474" y="168131"/>
                      </a:cubicBezTo>
                      <a:cubicBezTo>
                        <a:pt x="698824" y="157541"/>
                        <a:pt x="665339" y="152196"/>
                        <a:pt x="631753" y="161071"/>
                      </a:cubicBezTo>
                      <a:cubicBezTo>
                        <a:pt x="598268" y="169947"/>
                        <a:pt x="585862" y="201717"/>
                        <a:pt x="561152" y="203432"/>
                      </a:cubicBezTo>
                      <a:cubicBezTo>
                        <a:pt x="536442" y="205247"/>
                        <a:pt x="531096" y="201616"/>
                        <a:pt x="499326" y="222797"/>
                      </a:cubicBezTo>
                      <a:cubicBezTo>
                        <a:pt x="487425" y="230764"/>
                        <a:pt x="478246" y="233387"/>
                        <a:pt x="470077" y="233689"/>
                      </a:cubicBezTo>
                      <a:cubicBezTo>
                        <a:pt x="460798" y="277865"/>
                        <a:pt x="489543" y="301365"/>
                        <a:pt x="510420" y="315990"/>
                      </a:cubicBezTo>
                      <a:cubicBezTo>
                        <a:pt x="536039" y="333943"/>
                        <a:pt x="582131" y="413318"/>
                        <a:pt x="546326" y="477364"/>
                      </a:cubicBezTo>
                      <a:cubicBezTo>
                        <a:pt x="510420" y="541409"/>
                        <a:pt x="484802" y="523456"/>
                        <a:pt x="461806" y="523456"/>
                      </a:cubicBezTo>
                      <a:cubicBezTo>
                        <a:pt x="438710" y="523456"/>
                        <a:pt x="431045" y="564505"/>
                        <a:pt x="456663" y="574692"/>
                      </a:cubicBezTo>
                      <a:cubicBezTo>
                        <a:pt x="482281" y="584879"/>
                        <a:pt x="469472" y="582357"/>
                        <a:pt x="477238" y="623407"/>
                      </a:cubicBezTo>
                      <a:cubicBezTo>
                        <a:pt x="480869" y="642570"/>
                        <a:pt x="480768" y="656287"/>
                        <a:pt x="477843" y="665868"/>
                      </a:cubicBezTo>
                      <a:cubicBezTo>
                        <a:pt x="491560" y="699454"/>
                        <a:pt x="484500" y="747967"/>
                        <a:pt x="469068" y="760373"/>
                      </a:cubicBezTo>
                      <a:cubicBezTo>
                        <a:pt x="451822" y="774190"/>
                        <a:pt x="465639" y="789723"/>
                        <a:pt x="482886" y="805356"/>
                      </a:cubicBezTo>
                      <a:cubicBezTo>
                        <a:pt x="500234" y="820888"/>
                        <a:pt x="507092" y="890077"/>
                        <a:pt x="469068" y="895322"/>
                      </a:cubicBezTo>
                      <a:cubicBezTo>
                        <a:pt x="431045" y="900566"/>
                        <a:pt x="427515" y="916098"/>
                        <a:pt x="432759" y="933345"/>
                      </a:cubicBezTo>
                      <a:cubicBezTo>
                        <a:pt x="438004" y="950592"/>
                        <a:pt x="432759" y="960980"/>
                        <a:pt x="422371" y="995676"/>
                      </a:cubicBezTo>
                      <a:cubicBezTo>
                        <a:pt x="411982" y="1030270"/>
                        <a:pt x="396450" y="1047517"/>
                        <a:pt x="366999" y="1051047"/>
                      </a:cubicBezTo>
                      <a:cubicBezTo>
                        <a:pt x="337549" y="1054577"/>
                        <a:pt x="339364" y="1068395"/>
                        <a:pt x="330690" y="1102888"/>
                      </a:cubicBezTo>
                      <a:cubicBezTo>
                        <a:pt x="322017" y="1137483"/>
                        <a:pt x="327261" y="1127094"/>
                        <a:pt x="266645" y="1134054"/>
                      </a:cubicBezTo>
                      <a:cubicBezTo>
                        <a:pt x="206029" y="1140912"/>
                        <a:pt x="232051" y="1137483"/>
                        <a:pt x="209559" y="1165219"/>
                      </a:cubicBezTo>
                      <a:cubicBezTo>
                        <a:pt x="187068" y="1192854"/>
                        <a:pt x="169821" y="1180852"/>
                        <a:pt x="147229" y="1170363"/>
                      </a:cubicBezTo>
                      <a:cubicBezTo>
                        <a:pt x="124737" y="1159974"/>
                        <a:pt x="102246" y="1182466"/>
                        <a:pt x="102246" y="1204957"/>
                      </a:cubicBezTo>
                      <a:cubicBezTo>
                        <a:pt x="102246" y="1227449"/>
                        <a:pt x="102246" y="1251655"/>
                        <a:pt x="88428" y="1267187"/>
                      </a:cubicBezTo>
                      <a:cubicBezTo>
                        <a:pt x="74611" y="1282719"/>
                        <a:pt x="72896" y="1291393"/>
                        <a:pt x="72896" y="1348479"/>
                      </a:cubicBezTo>
                      <a:cubicBezTo>
                        <a:pt x="72896" y="1405565"/>
                        <a:pt x="31342" y="1405565"/>
                        <a:pt x="14095" y="1433301"/>
                      </a:cubicBezTo>
                      <a:cubicBezTo>
                        <a:pt x="-3152" y="1461037"/>
                        <a:pt x="278" y="1557861"/>
                        <a:pt x="278" y="1557861"/>
                      </a:cubicBezTo>
                      <a:cubicBezTo>
                        <a:pt x="278" y="1557861"/>
                        <a:pt x="278" y="1557861"/>
                        <a:pt x="10666" y="1557861"/>
                      </a:cubicBezTo>
                      <a:cubicBezTo>
                        <a:pt x="21054" y="1557861"/>
                        <a:pt x="40117" y="1597700"/>
                        <a:pt x="40117" y="1597700"/>
                      </a:cubicBezTo>
                      <a:cubicBezTo>
                        <a:pt x="40117" y="1597700"/>
                        <a:pt x="57364" y="1599415"/>
                        <a:pt x="62608" y="1618477"/>
                      </a:cubicBezTo>
                      <a:cubicBezTo>
                        <a:pt x="67853" y="1637540"/>
                        <a:pt x="93774" y="1640969"/>
                        <a:pt x="116265" y="1644398"/>
                      </a:cubicBezTo>
                      <a:cubicBezTo>
                        <a:pt x="138757" y="1647827"/>
                        <a:pt x="119795" y="1691096"/>
                        <a:pt x="123224" y="1729220"/>
                      </a:cubicBezTo>
                      <a:cubicBezTo>
                        <a:pt x="126653" y="1767244"/>
                        <a:pt x="197658" y="1779347"/>
                        <a:pt x="233967" y="1772388"/>
                      </a:cubicBezTo>
                      <a:cubicBezTo>
                        <a:pt x="270276" y="1765428"/>
                        <a:pt x="263317" y="1748182"/>
                        <a:pt x="282379" y="1741323"/>
                      </a:cubicBezTo>
                      <a:cubicBezTo>
                        <a:pt x="301441" y="1734465"/>
                        <a:pt x="285909" y="1706728"/>
                        <a:pt x="297911" y="1692911"/>
                      </a:cubicBezTo>
                      <a:cubicBezTo>
                        <a:pt x="310014" y="1679093"/>
                        <a:pt x="330791" y="1717117"/>
                        <a:pt x="348139" y="1727505"/>
                      </a:cubicBezTo>
                      <a:cubicBezTo>
                        <a:pt x="365386" y="1737894"/>
                        <a:pt x="379304" y="1774203"/>
                        <a:pt x="391407" y="1803654"/>
                      </a:cubicBezTo>
                      <a:cubicBezTo>
                        <a:pt x="403510" y="1833004"/>
                        <a:pt x="427716" y="1822716"/>
                        <a:pt x="431145" y="1855596"/>
                      </a:cubicBezTo>
                      <a:cubicBezTo>
                        <a:pt x="434575" y="1888476"/>
                        <a:pt x="453637" y="1893619"/>
                        <a:pt x="474414" y="1926499"/>
                      </a:cubicBezTo>
                      <a:cubicBezTo>
                        <a:pt x="495191" y="1959379"/>
                        <a:pt x="488231" y="1976727"/>
                        <a:pt x="474414" y="2002647"/>
                      </a:cubicBezTo>
                      <a:cubicBezTo>
                        <a:pt x="460596" y="2028568"/>
                        <a:pt x="486517" y="2063163"/>
                        <a:pt x="519397" y="2073551"/>
                      </a:cubicBezTo>
                      <a:cubicBezTo>
                        <a:pt x="552277" y="2084040"/>
                        <a:pt x="560951" y="2106431"/>
                        <a:pt x="569523" y="2120350"/>
                      </a:cubicBezTo>
                      <a:cubicBezTo>
                        <a:pt x="578197" y="2134167"/>
                        <a:pt x="605833" y="2113491"/>
                        <a:pt x="623180" y="2108246"/>
                      </a:cubicBezTo>
                      <a:cubicBezTo>
                        <a:pt x="640528" y="2103002"/>
                        <a:pt x="636998" y="2141126"/>
                        <a:pt x="628324" y="2165332"/>
                      </a:cubicBezTo>
                      <a:cubicBezTo>
                        <a:pt x="619650" y="2189538"/>
                        <a:pt x="656060" y="2192968"/>
                        <a:pt x="661204" y="2205071"/>
                      </a:cubicBezTo>
                      <a:cubicBezTo>
                        <a:pt x="666348" y="2217174"/>
                        <a:pt x="649101" y="2236236"/>
                        <a:pt x="649101" y="2236236"/>
                      </a:cubicBezTo>
                      <a:cubicBezTo>
                        <a:pt x="649101" y="2236236"/>
                        <a:pt x="652530" y="2246624"/>
                        <a:pt x="678451" y="2258728"/>
                      </a:cubicBezTo>
                      <a:cubicBezTo>
                        <a:pt x="704371" y="2270831"/>
                        <a:pt x="720004" y="2269116"/>
                        <a:pt x="740781" y="2241481"/>
                      </a:cubicBezTo>
                      <a:cubicBezTo>
                        <a:pt x="761558" y="2213845"/>
                        <a:pt x="771947" y="2260543"/>
                        <a:pt x="785764" y="2279504"/>
                      </a:cubicBezTo>
                      <a:cubicBezTo>
                        <a:pt x="799582" y="2298466"/>
                        <a:pt x="846380" y="2243095"/>
                        <a:pt x="853239" y="2224133"/>
                      </a:cubicBezTo>
                      <a:cubicBezTo>
                        <a:pt x="860097" y="2205071"/>
                        <a:pt x="917284" y="2215459"/>
                        <a:pt x="917284" y="2236236"/>
                      </a:cubicBezTo>
                      <a:cubicBezTo>
                        <a:pt x="917284" y="2257013"/>
                        <a:pt x="924142" y="2262157"/>
                        <a:pt x="944919" y="2258728"/>
                      </a:cubicBezTo>
                      <a:cubicBezTo>
                        <a:pt x="965595" y="2255197"/>
                        <a:pt x="943205" y="2239665"/>
                        <a:pt x="962166" y="2231092"/>
                      </a:cubicBezTo>
                      <a:cubicBezTo>
                        <a:pt x="981228" y="2222418"/>
                        <a:pt x="986473" y="2255298"/>
                        <a:pt x="1000190" y="2246624"/>
                      </a:cubicBezTo>
                      <a:cubicBezTo>
                        <a:pt x="1014007" y="2237951"/>
                        <a:pt x="994945" y="2215459"/>
                        <a:pt x="989801" y="2201642"/>
                      </a:cubicBezTo>
                      <a:cubicBezTo>
                        <a:pt x="984557" y="2187824"/>
                        <a:pt x="1014007" y="2186109"/>
                        <a:pt x="1019252" y="2193069"/>
                      </a:cubicBezTo>
                      <a:cubicBezTo>
                        <a:pt x="1024396" y="2199927"/>
                        <a:pt x="1036499" y="2222519"/>
                        <a:pt x="1064235" y="2203457"/>
                      </a:cubicBezTo>
                      <a:cubicBezTo>
                        <a:pt x="1091870" y="2184395"/>
                        <a:pt x="1131709" y="2187824"/>
                        <a:pt x="1171448" y="2210316"/>
                      </a:cubicBezTo>
                      <a:cubicBezTo>
                        <a:pt x="1211286" y="2232807"/>
                        <a:pt x="1264943" y="2224133"/>
                        <a:pt x="1299437" y="2208601"/>
                      </a:cubicBezTo>
                      <a:cubicBezTo>
                        <a:pt x="1334031" y="2193069"/>
                        <a:pt x="1340991" y="2161903"/>
                        <a:pt x="1340991" y="2161903"/>
                      </a:cubicBezTo>
                      <a:cubicBezTo>
                        <a:pt x="1340991" y="2161903"/>
                        <a:pt x="1403321" y="2099674"/>
                        <a:pt x="1432772" y="2118635"/>
                      </a:cubicBezTo>
                      <a:cubicBezTo>
                        <a:pt x="1462223" y="2137596"/>
                        <a:pt x="1498431" y="2122064"/>
                        <a:pt x="1514064" y="2104817"/>
                      </a:cubicBezTo>
                      <a:cubicBezTo>
                        <a:pt x="1529697" y="2087571"/>
                        <a:pt x="1508819" y="2046017"/>
                        <a:pt x="1508819" y="2021811"/>
                      </a:cubicBezTo>
                      <a:cubicBezTo>
                        <a:pt x="1508819" y="1997605"/>
                        <a:pt x="1550373" y="1973399"/>
                        <a:pt x="1591826" y="1976828"/>
                      </a:cubicBezTo>
                      <a:cubicBezTo>
                        <a:pt x="1633380" y="1980358"/>
                        <a:pt x="1624706" y="1971684"/>
                        <a:pt x="1657586" y="1954336"/>
                      </a:cubicBezTo>
                      <a:cubicBezTo>
                        <a:pt x="1690466" y="1937089"/>
                        <a:pt x="1692180" y="1905924"/>
                        <a:pt x="1721631" y="1895536"/>
                      </a:cubicBezTo>
                      <a:cubicBezTo>
                        <a:pt x="1731818" y="1891905"/>
                        <a:pt x="1749165" y="1893922"/>
                        <a:pt x="1767320" y="1897856"/>
                      </a:cubicBezTo>
                      <a:cubicBezTo>
                        <a:pt x="1764395" y="1883735"/>
                        <a:pt x="1769236" y="1869615"/>
                        <a:pt x="1777103" y="1860034"/>
                      </a:cubicBezTo>
                      <a:cubicBezTo>
                        <a:pt x="1787895" y="1847124"/>
                        <a:pt x="1793341" y="1817875"/>
                        <a:pt x="1786886" y="1794173"/>
                      </a:cubicBezTo>
                      <a:cubicBezTo>
                        <a:pt x="1780431" y="1770370"/>
                        <a:pt x="1778212" y="1761797"/>
                        <a:pt x="1790114" y="1746669"/>
                      </a:cubicBezTo>
                      <a:cubicBezTo>
                        <a:pt x="1802015" y="1731540"/>
                        <a:pt x="1813815" y="1684035"/>
                        <a:pt x="1780331" y="1664671"/>
                      </a:cubicBezTo>
                      <a:cubicBezTo>
                        <a:pt x="1746846" y="1645205"/>
                        <a:pt x="1748963" y="1632295"/>
                        <a:pt x="1757637" y="1592355"/>
                      </a:cubicBezTo>
                      <a:cubicBezTo>
                        <a:pt x="1766311" y="1552415"/>
                        <a:pt x="1766311" y="1528612"/>
                        <a:pt x="1751182" y="1518930"/>
                      </a:cubicBezTo>
                      <a:cubicBezTo>
                        <a:pt x="1736054" y="1509147"/>
                        <a:pt x="1731818" y="1494119"/>
                        <a:pt x="1731818" y="1478990"/>
                      </a:cubicBezTo>
                      <a:cubicBezTo>
                        <a:pt x="1731818" y="1463861"/>
                        <a:pt x="1686431" y="1457406"/>
                        <a:pt x="1675639" y="1425031"/>
                      </a:cubicBezTo>
                      <a:cubicBezTo>
                        <a:pt x="1664847" y="1392655"/>
                        <a:pt x="1676749" y="1385091"/>
                        <a:pt x="1689659" y="1364515"/>
                      </a:cubicBezTo>
                      <a:cubicBezTo>
                        <a:pt x="1702568" y="1344041"/>
                        <a:pt x="1712352" y="1339704"/>
                        <a:pt x="1698333" y="1310556"/>
                      </a:cubicBezTo>
                      <a:cubicBezTo>
                        <a:pt x="1684313" y="1281408"/>
                        <a:pt x="1672412" y="1243586"/>
                        <a:pt x="1677858" y="1237131"/>
                      </a:cubicBezTo>
                      <a:cubicBezTo>
                        <a:pt x="1683204" y="1230676"/>
                        <a:pt x="1699442" y="1238241"/>
                        <a:pt x="1712352" y="1216657"/>
                      </a:cubicBezTo>
                      <a:cubicBezTo>
                        <a:pt x="1725262" y="1195073"/>
                        <a:pt x="1712352" y="1177726"/>
                        <a:pt x="1703678" y="1164816"/>
                      </a:cubicBezTo>
                      <a:cubicBezTo>
                        <a:pt x="1695004" y="1151805"/>
                        <a:pt x="1705897" y="1134558"/>
                        <a:pt x="1692886" y="1119429"/>
                      </a:cubicBezTo>
                      <a:cubicBezTo>
                        <a:pt x="1679875" y="1104300"/>
                        <a:pt x="1652946" y="1104300"/>
                        <a:pt x="1652946" y="1076262"/>
                      </a:cubicBezTo>
                      <a:cubicBezTo>
                        <a:pt x="1652946" y="1048223"/>
                        <a:pt x="1665856" y="1037330"/>
                        <a:pt x="1682094" y="1036322"/>
                      </a:cubicBezTo>
                      <a:cubicBezTo>
                        <a:pt x="1698333" y="1035313"/>
                        <a:pt x="1708015" y="1040659"/>
                        <a:pt x="1727481" y="1023412"/>
                      </a:cubicBezTo>
                      <a:cubicBezTo>
                        <a:pt x="1746846" y="1006165"/>
                        <a:pt x="1753401" y="994264"/>
                        <a:pt x="1753401" y="972680"/>
                      </a:cubicBezTo>
                      <a:cubicBezTo>
                        <a:pt x="1753401" y="951096"/>
                        <a:pt x="1744728" y="916502"/>
                        <a:pt x="1763084" y="908937"/>
                      </a:cubicBezTo>
                      <a:cubicBezTo>
                        <a:pt x="1781440" y="901373"/>
                        <a:pt x="1779322" y="885135"/>
                        <a:pt x="1786886" y="868997"/>
                      </a:cubicBezTo>
                      <a:cubicBezTo>
                        <a:pt x="1794451" y="852860"/>
                        <a:pt x="1814925" y="857096"/>
                        <a:pt x="1819262" y="832285"/>
                      </a:cubicBezTo>
                      <a:cubicBezTo>
                        <a:pt x="1823599" y="806768"/>
                        <a:pt x="1813815" y="785184"/>
                        <a:pt x="1793341" y="781956"/>
                      </a:cubicBezTo>
                      <a:close/>
                    </a:path>
                  </a:pathLst>
                </a:custGeom>
                <a:solidFill>
                  <a:schemeClr val="bg1">
                    <a:lumMod val="75000"/>
                  </a:schemeClr>
                </a:solidFill>
                <a:ln w="10085" cap="flat">
                  <a:solidFill>
                    <a:srgbClr val="FFFFFF"/>
                  </a:solidFill>
                  <a:prstDash val="solid"/>
                  <a:miter/>
                </a:ln>
              </p:spPr>
              <p:txBody>
                <a:bodyPr rtlCol="0" anchor="ctr"/>
                <a:lstStyle/>
                <a:p>
                  <a:endParaRPr lang="fr-FR" sz="900"/>
                </a:p>
              </p:txBody>
            </p:sp>
            <p:sp>
              <p:nvSpPr>
                <p:cNvPr id="84" name="Forme libre : forme 83">
                  <a:extLst>
                    <a:ext uri="{FF2B5EF4-FFF2-40B4-BE49-F238E27FC236}">
                      <a16:creationId xmlns:a16="http://schemas.microsoft.com/office/drawing/2014/main" id="{310E25D9-BDBD-C101-D640-F905710B13D7}"/>
                    </a:ext>
                  </a:extLst>
                </p:cNvPr>
                <p:cNvSpPr/>
                <p:nvPr/>
              </p:nvSpPr>
              <p:spPr>
                <a:xfrm>
                  <a:off x="3927181" y="6249613"/>
                  <a:ext cx="1826549" cy="2287629"/>
                </a:xfrm>
                <a:custGeom>
                  <a:avLst/>
                  <a:gdLst>
                    <a:gd name="connsiteX0" fmla="*/ 786293 w 1826549"/>
                    <a:gd name="connsiteY0" fmla="*/ 2283337 h 2287629"/>
                    <a:gd name="connsiteX1" fmla="*/ 755935 w 1826549"/>
                    <a:gd name="connsiteY1" fmla="*/ 2237749 h 2287629"/>
                    <a:gd name="connsiteX2" fmla="*/ 755935 w 1826549"/>
                    <a:gd name="connsiteY2" fmla="*/ 2237749 h 2287629"/>
                    <a:gd name="connsiteX3" fmla="*/ 745748 w 1826549"/>
                    <a:gd name="connsiteY3" fmla="*/ 2245313 h 2287629"/>
                    <a:gd name="connsiteX4" fmla="*/ 745748 w 1826549"/>
                    <a:gd name="connsiteY4" fmla="*/ 2245313 h 2287629"/>
                    <a:gd name="connsiteX5" fmla="*/ 707018 w 1826549"/>
                    <a:gd name="connsiteY5" fmla="*/ 2270730 h 2287629"/>
                    <a:gd name="connsiteX6" fmla="*/ 707018 w 1826549"/>
                    <a:gd name="connsiteY6" fmla="*/ 2270730 h 2287629"/>
                    <a:gd name="connsiteX7" fmla="*/ 680190 w 1826549"/>
                    <a:gd name="connsiteY7" fmla="*/ 2263468 h 2287629"/>
                    <a:gd name="connsiteX8" fmla="*/ 680190 w 1826549"/>
                    <a:gd name="connsiteY8" fmla="*/ 2263468 h 2287629"/>
                    <a:gd name="connsiteX9" fmla="*/ 649933 w 1826549"/>
                    <a:gd name="connsiteY9" fmla="*/ 2236640 h 2287629"/>
                    <a:gd name="connsiteX10" fmla="*/ 649933 w 1826549"/>
                    <a:gd name="connsiteY10" fmla="*/ 2236640 h 2287629"/>
                    <a:gd name="connsiteX11" fmla="*/ 662237 w 1826549"/>
                    <a:gd name="connsiteY11" fmla="*/ 2212333 h 2287629"/>
                    <a:gd name="connsiteX12" fmla="*/ 662237 w 1826549"/>
                    <a:gd name="connsiteY12" fmla="*/ 2212333 h 2287629"/>
                    <a:gd name="connsiteX13" fmla="*/ 661531 w 1826549"/>
                    <a:gd name="connsiteY13" fmla="*/ 2208399 h 2287629"/>
                    <a:gd name="connsiteX14" fmla="*/ 661531 w 1826549"/>
                    <a:gd name="connsiteY14" fmla="*/ 2208399 h 2287629"/>
                    <a:gd name="connsiteX15" fmla="*/ 627038 w 1826549"/>
                    <a:gd name="connsiteY15" fmla="*/ 2174511 h 2287629"/>
                    <a:gd name="connsiteX16" fmla="*/ 627038 w 1826549"/>
                    <a:gd name="connsiteY16" fmla="*/ 2174511 h 2287629"/>
                    <a:gd name="connsiteX17" fmla="*/ 628550 w 1826549"/>
                    <a:gd name="connsiteY17" fmla="*/ 2166644 h 2287629"/>
                    <a:gd name="connsiteX18" fmla="*/ 628550 w 1826549"/>
                    <a:gd name="connsiteY18" fmla="*/ 2166644 h 2287629"/>
                    <a:gd name="connsiteX19" fmla="*/ 635510 w 1826549"/>
                    <a:gd name="connsiteY19" fmla="*/ 2129023 h 2287629"/>
                    <a:gd name="connsiteX20" fmla="*/ 635510 w 1826549"/>
                    <a:gd name="connsiteY20" fmla="*/ 2129023 h 2287629"/>
                    <a:gd name="connsiteX21" fmla="*/ 629055 w 1826549"/>
                    <a:gd name="connsiteY21" fmla="*/ 2112684 h 2287629"/>
                    <a:gd name="connsiteX22" fmla="*/ 629055 w 1826549"/>
                    <a:gd name="connsiteY22" fmla="*/ 2112684 h 2287629"/>
                    <a:gd name="connsiteX23" fmla="*/ 626836 w 1826549"/>
                    <a:gd name="connsiteY23" fmla="*/ 2113189 h 2287629"/>
                    <a:gd name="connsiteX24" fmla="*/ 626836 w 1826549"/>
                    <a:gd name="connsiteY24" fmla="*/ 2113189 h 2287629"/>
                    <a:gd name="connsiteX25" fmla="*/ 581551 w 1826549"/>
                    <a:gd name="connsiteY25" fmla="*/ 2130133 h 2287629"/>
                    <a:gd name="connsiteX26" fmla="*/ 581551 w 1826549"/>
                    <a:gd name="connsiteY26" fmla="*/ 2130133 h 2287629"/>
                    <a:gd name="connsiteX27" fmla="*/ 569952 w 1826549"/>
                    <a:gd name="connsiteY27" fmla="*/ 2124182 h 2287629"/>
                    <a:gd name="connsiteX28" fmla="*/ 569952 w 1826549"/>
                    <a:gd name="connsiteY28" fmla="*/ 2124182 h 2287629"/>
                    <a:gd name="connsiteX29" fmla="*/ 521338 w 1826549"/>
                    <a:gd name="connsiteY29" fmla="*/ 2078594 h 2287629"/>
                    <a:gd name="connsiteX30" fmla="*/ 521338 w 1826549"/>
                    <a:gd name="connsiteY30" fmla="*/ 2078594 h 2287629"/>
                    <a:gd name="connsiteX31" fmla="*/ 470606 w 1826549"/>
                    <a:gd name="connsiteY31" fmla="*/ 2020298 h 2287629"/>
                    <a:gd name="connsiteX32" fmla="*/ 470606 w 1826549"/>
                    <a:gd name="connsiteY32" fmla="*/ 2020298 h 2287629"/>
                    <a:gd name="connsiteX33" fmla="*/ 474741 w 1826549"/>
                    <a:gd name="connsiteY33" fmla="*/ 2003757 h 2287629"/>
                    <a:gd name="connsiteX34" fmla="*/ 474741 w 1826549"/>
                    <a:gd name="connsiteY34" fmla="*/ 2003757 h 2287629"/>
                    <a:gd name="connsiteX35" fmla="*/ 487449 w 1826549"/>
                    <a:gd name="connsiteY35" fmla="*/ 1966137 h 2287629"/>
                    <a:gd name="connsiteX36" fmla="*/ 487449 w 1826549"/>
                    <a:gd name="connsiteY36" fmla="*/ 1966137 h 2287629"/>
                    <a:gd name="connsiteX37" fmla="*/ 474842 w 1826549"/>
                    <a:gd name="connsiteY37" fmla="*/ 1930332 h 2287629"/>
                    <a:gd name="connsiteX38" fmla="*/ 474842 w 1826549"/>
                    <a:gd name="connsiteY38" fmla="*/ 1930332 h 2287629"/>
                    <a:gd name="connsiteX39" fmla="*/ 431170 w 1826549"/>
                    <a:gd name="connsiteY39" fmla="*/ 1858319 h 2287629"/>
                    <a:gd name="connsiteX40" fmla="*/ 431170 w 1826549"/>
                    <a:gd name="connsiteY40" fmla="*/ 1858319 h 2287629"/>
                    <a:gd name="connsiteX41" fmla="*/ 391634 w 1826549"/>
                    <a:gd name="connsiteY41" fmla="*/ 1807083 h 2287629"/>
                    <a:gd name="connsiteX42" fmla="*/ 391634 w 1826549"/>
                    <a:gd name="connsiteY42" fmla="*/ 1807083 h 2287629"/>
                    <a:gd name="connsiteX43" fmla="*/ 349475 w 1826549"/>
                    <a:gd name="connsiteY43" fmla="*/ 1732347 h 2287629"/>
                    <a:gd name="connsiteX44" fmla="*/ 349475 w 1826549"/>
                    <a:gd name="connsiteY44" fmla="*/ 1732347 h 2287629"/>
                    <a:gd name="connsiteX45" fmla="*/ 306711 w 1826549"/>
                    <a:gd name="connsiteY45" fmla="*/ 1695130 h 2287629"/>
                    <a:gd name="connsiteX46" fmla="*/ 306711 w 1826549"/>
                    <a:gd name="connsiteY46" fmla="*/ 1695130 h 2287629"/>
                    <a:gd name="connsiteX47" fmla="*/ 302777 w 1826549"/>
                    <a:gd name="connsiteY47" fmla="*/ 1697248 h 2287629"/>
                    <a:gd name="connsiteX48" fmla="*/ 302777 w 1826549"/>
                    <a:gd name="connsiteY48" fmla="*/ 1697248 h 2287629"/>
                    <a:gd name="connsiteX49" fmla="*/ 298138 w 1826549"/>
                    <a:gd name="connsiteY49" fmla="*/ 1715806 h 2287629"/>
                    <a:gd name="connsiteX50" fmla="*/ 298138 w 1826549"/>
                    <a:gd name="connsiteY50" fmla="*/ 1715806 h 2287629"/>
                    <a:gd name="connsiteX51" fmla="*/ 298239 w 1826549"/>
                    <a:gd name="connsiteY51" fmla="*/ 1722059 h 2287629"/>
                    <a:gd name="connsiteX52" fmla="*/ 298239 w 1826549"/>
                    <a:gd name="connsiteY52" fmla="*/ 1722059 h 2287629"/>
                    <a:gd name="connsiteX53" fmla="*/ 286035 w 1826549"/>
                    <a:gd name="connsiteY53" fmla="*/ 1746366 h 2287629"/>
                    <a:gd name="connsiteX54" fmla="*/ 286035 w 1826549"/>
                    <a:gd name="connsiteY54" fmla="*/ 1746366 h 2287629"/>
                    <a:gd name="connsiteX55" fmla="*/ 237118 w 1826549"/>
                    <a:gd name="connsiteY55" fmla="*/ 1777531 h 2287629"/>
                    <a:gd name="connsiteX56" fmla="*/ 237118 w 1826549"/>
                    <a:gd name="connsiteY56" fmla="*/ 1777531 h 2287629"/>
                    <a:gd name="connsiteX57" fmla="*/ 214728 w 1826549"/>
                    <a:gd name="connsiteY57" fmla="*/ 1779448 h 2287629"/>
                    <a:gd name="connsiteX58" fmla="*/ 214728 w 1826549"/>
                    <a:gd name="connsiteY58" fmla="*/ 1779448 h 2287629"/>
                    <a:gd name="connsiteX59" fmla="*/ 123148 w 1826549"/>
                    <a:gd name="connsiteY59" fmla="*/ 1731842 h 2287629"/>
                    <a:gd name="connsiteX60" fmla="*/ 123148 w 1826549"/>
                    <a:gd name="connsiteY60" fmla="*/ 1731842 h 2287629"/>
                    <a:gd name="connsiteX61" fmla="*/ 122543 w 1826549"/>
                    <a:gd name="connsiteY61" fmla="*/ 1721353 h 2287629"/>
                    <a:gd name="connsiteX62" fmla="*/ 122543 w 1826549"/>
                    <a:gd name="connsiteY62" fmla="*/ 1721353 h 2287629"/>
                    <a:gd name="connsiteX63" fmla="*/ 127283 w 1826549"/>
                    <a:gd name="connsiteY63" fmla="*/ 1665881 h 2287629"/>
                    <a:gd name="connsiteX64" fmla="*/ 127283 w 1826549"/>
                    <a:gd name="connsiteY64" fmla="*/ 1665881 h 2287629"/>
                    <a:gd name="connsiteX65" fmla="*/ 118509 w 1826549"/>
                    <a:gd name="connsiteY65" fmla="*/ 1649542 h 2287629"/>
                    <a:gd name="connsiteX66" fmla="*/ 118509 w 1826549"/>
                    <a:gd name="connsiteY66" fmla="*/ 1649542 h 2287629"/>
                    <a:gd name="connsiteX67" fmla="*/ 62633 w 1826549"/>
                    <a:gd name="connsiteY67" fmla="*/ 1621503 h 2287629"/>
                    <a:gd name="connsiteX68" fmla="*/ 62633 w 1826549"/>
                    <a:gd name="connsiteY68" fmla="*/ 1621503 h 2287629"/>
                    <a:gd name="connsiteX69" fmla="*/ 40343 w 1826549"/>
                    <a:gd name="connsiteY69" fmla="*/ 1601231 h 2287629"/>
                    <a:gd name="connsiteX70" fmla="*/ 40343 w 1826549"/>
                    <a:gd name="connsiteY70" fmla="*/ 1601231 h 2287629"/>
                    <a:gd name="connsiteX71" fmla="*/ 13515 w 1826549"/>
                    <a:gd name="connsiteY71" fmla="*/ 1562904 h 2287629"/>
                    <a:gd name="connsiteX72" fmla="*/ 13515 w 1826549"/>
                    <a:gd name="connsiteY72" fmla="*/ 1562904 h 2287629"/>
                    <a:gd name="connsiteX73" fmla="*/ 202 w 1826549"/>
                    <a:gd name="connsiteY73" fmla="*/ 1560282 h 2287629"/>
                    <a:gd name="connsiteX74" fmla="*/ 202 w 1826549"/>
                    <a:gd name="connsiteY74" fmla="*/ 1560282 h 2287629"/>
                    <a:gd name="connsiteX75" fmla="*/ 0 w 1826549"/>
                    <a:gd name="connsiteY75" fmla="*/ 1540716 h 2287629"/>
                    <a:gd name="connsiteX76" fmla="*/ 0 w 1826549"/>
                    <a:gd name="connsiteY76" fmla="*/ 1540716 h 2287629"/>
                    <a:gd name="connsiteX77" fmla="*/ 14524 w 1826549"/>
                    <a:gd name="connsiteY77" fmla="*/ 1434007 h 2287629"/>
                    <a:gd name="connsiteX78" fmla="*/ 14524 w 1826549"/>
                    <a:gd name="connsiteY78" fmla="*/ 1434007 h 2287629"/>
                    <a:gd name="connsiteX79" fmla="*/ 72921 w 1826549"/>
                    <a:gd name="connsiteY79" fmla="*/ 1350799 h 2287629"/>
                    <a:gd name="connsiteX80" fmla="*/ 72921 w 1826549"/>
                    <a:gd name="connsiteY80" fmla="*/ 1350799 h 2287629"/>
                    <a:gd name="connsiteX81" fmla="*/ 89159 w 1826549"/>
                    <a:gd name="connsiteY81" fmla="*/ 1267590 h 2287629"/>
                    <a:gd name="connsiteX82" fmla="*/ 89159 w 1826549"/>
                    <a:gd name="connsiteY82" fmla="*/ 1267590 h 2287629"/>
                    <a:gd name="connsiteX83" fmla="*/ 102270 w 1826549"/>
                    <a:gd name="connsiteY83" fmla="*/ 1207176 h 2287629"/>
                    <a:gd name="connsiteX84" fmla="*/ 102270 w 1826549"/>
                    <a:gd name="connsiteY84" fmla="*/ 1207176 h 2287629"/>
                    <a:gd name="connsiteX85" fmla="*/ 138479 w 1826549"/>
                    <a:gd name="connsiteY85" fmla="*/ 1167034 h 2287629"/>
                    <a:gd name="connsiteX86" fmla="*/ 138479 w 1826549"/>
                    <a:gd name="connsiteY86" fmla="*/ 1167034 h 2287629"/>
                    <a:gd name="connsiteX87" fmla="*/ 151187 w 1826549"/>
                    <a:gd name="connsiteY87" fmla="*/ 1170060 h 2287629"/>
                    <a:gd name="connsiteX88" fmla="*/ 151187 w 1826549"/>
                    <a:gd name="connsiteY88" fmla="*/ 1170060 h 2287629"/>
                    <a:gd name="connsiteX89" fmla="*/ 183764 w 1826549"/>
                    <a:gd name="connsiteY89" fmla="*/ 1181558 h 2287629"/>
                    <a:gd name="connsiteX90" fmla="*/ 183764 w 1826549"/>
                    <a:gd name="connsiteY90" fmla="*/ 1181558 h 2287629"/>
                    <a:gd name="connsiteX91" fmla="*/ 210189 w 1826549"/>
                    <a:gd name="connsiteY91" fmla="*/ 1165522 h 2287629"/>
                    <a:gd name="connsiteX92" fmla="*/ 210189 w 1826549"/>
                    <a:gd name="connsiteY92" fmla="*/ 1165522 h 2287629"/>
                    <a:gd name="connsiteX93" fmla="*/ 269091 w 1826549"/>
                    <a:gd name="connsiteY93" fmla="*/ 1133348 h 2287629"/>
                    <a:gd name="connsiteX94" fmla="*/ 269091 w 1826549"/>
                    <a:gd name="connsiteY94" fmla="*/ 1133348 h 2287629"/>
                    <a:gd name="connsiteX95" fmla="*/ 330715 w 1826549"/>
                    <a:gd name="connsiteY95" fmla="*/ 1104300 h 2287629"/>
                    <a:gd name="connsiteX96" fmla="*/ 330715 w 1826549"/>
                    <a:gd name="connsiteY96" fmla="*/ 1104300 h 2287629"/>
                    <a:gd name="connsiteX97" fmla="*/ 369445 w 1826549"/>
                    <a:gd name="connsiteY97" fmla="*/ 1050341 h 2287629"/>
                    <a:gd name="connsiteX98" fmla="*/ 369445 w 1826549"/>
                    <a:gd name="connsiteY98" fmla="*/ 1050341 h 2287629"/>
                    <a:gd name="connsiteX99" fmla="*/ 422496 w 1826549"/>
                    <a:gd name="connsiteY99" fmla="*/ 996886 h 2287629"/>
                    <a:gd name="connsiteX100" fmla="*/ 422496 w 1826549"/>
                    <a:gd name="connsiteY100" fmla="*/ 996886 h 2287629"/>
                    <a:gd name="connsiteX101" fmla="*/ 434700 w 1826549"/>
                    <a:gd name="connsiteY101" fmla="*/ 948272 h 2287629"/>
                    <a:gd name="connsiteX102" fmla="*/ 434700 w 1826549"/>
                    <a:gd name="connsiteY102" fmla="*/ 948272 h 2287629"/>
                    <a:gd name="connsiteX103" fmla="*/ 432885 w 1826549"/>
                    <a:gd name="connsiteY103" fmla="*/ 936169 h 2287629"/>
                    <a:gd name="connsiteX104" fmla="*/ 432885 w 1826549"/>
                    <a:gd name="connsiteY104" fmla="*/ 936169 h 2287629"/>
                    <a:gd name="connsiteX105" fmla="*/ 430868 w 1826549"/>
                    <a:gd name="connsiteY105" fmla="*/ 924066 h 2287629"/>
                    <a:gd name="connsiteX106" fmla="*/ 430868 w 1826549"/>
                    <a:gd name="connsiteY106" fmla="*/ 924066 h 2287629"/>
                    <a:gd name="connsiteX107" fmla="*/ 471413 w 1826549"/>
                    <a:gd name="connsiteY107" fmla="*/ 894616 h 2287629"/>
                    <a:gd name="connsiteX108" fmla="*/ 471413 w 1826549"/>
                    <a:gd name="connsiteY108" fmla="*/ 894616 h 2287629"/>
                    <a:gd name="connsiteX109" fmla="*/ 496829 w 1826549"/>
                    <a:gd name="connsiteY109" fmla="*/ 852456 h 2287629"/>
                    <a:gd name="connsiteX110" fmla="*/ 496829 w 1826549"/>
                    <a:gd name="connsiteY110" fmla="*/ 852456 h 2287629"/>
                    <a:gd name="connsiteX111" fmla="*/ 483919 w 1826549"/>
                    <a:gd name="connsiteY111" fmla="*/ 809491 h 2287629"/>
                    <a:gd name="connsiteX112" fmla="*/ 483919 w 1826549"/>
                    <a:gd name="connsiteY112" fmla="*/ 809491 h 2287629"/>
                    <a:gd name="connsiteX113" fmla="*/ 461226 w 1826549"/>
                    <a:gd name="connsiteY113" fmla="*/ 776308 h 2287629"/>
                    <a:gd name="connsiteX114" fmla="*/ 461226 w 1826549"/>
                    <a:gd name="connsiteY114" fmla="*/ 776308 h 2287629"/>
                    <a:gd name="connsiteX115" fmla="*/ 470102 w 1826549"/>
                    <a:gd name="connsiteY115" fmla="*/ 760272 h 2287629"/>
                    <a:gd name="connsiteX116" fmla="*/ 470102 w 1826549"/>
                    <a:gd name="connsiteY116" fmla="*/ 760272 h 2287629"/>
                    <a:gd name="connsiteX117" fmla="*/ 485230 w 1826549"/>
                    <a:gd name="connsiteY117" fmla="*/ 708834 h 2287629"/>
                    <a:gd name="connsiteX118" fmla="*/ 485230 w 1826549"/>
                    <a:gd name="connsiteY118" fmla="*/ 708834 h 2287629"/>
                    <a:gd name="connsiteX119" fmla="*/ 478070 w 1826549"/>
                    <a:gd name="connsiteY119" fmla="*/ 667079 h 2287629"/>
                    <a:gd name="connsiteX120" fmla="*/ 478070 w 1826549"/>
                    <a:gd name="connsiteY120" fmla="*/ 667079 h 2287629"/>
                    <a:gd name="connsiteX121" fmla="*/ 480087 w 1826549"/>
                    <a:gd name="connsiteY121" fmla="*/ 651244 h 2287629"/>
                    <a:gd name="connsiteX122" fmla="*/ 480087 w 1826549"/>
                    <a:gd name="connsiteY122" fmla="*/ 651244 h 2287629"/>
                    <a:gd name="connsiteX123" fmla="*/ 477363 w 1826549"/>
                    <a:gd name="connsiteY123" fmla="*/ 625928 h 2287629"/>
                    <a:gd name="connsiteX124" fmla="*/ 477363 w 1826549"/>
                    <a:gd name="connsiteY124" fmla="*/ 625928 h 2287629"/>
                    <a:gd name="connsiteX125" fmla="*/ 458604 w 1826549"/>
                    <a:gd name="connsiteY125" fmla="*/ 579332 h 2287629"/>
                    <a:gd name="connsiteX126" fmla="*/ 458604 w 1826549"/>
                    <a:gd name="connsiteY126" fmla="*/ 579332 h 2287629"/>
                    <a:gd name="connsiteX127" fmla="*/ 440752 w 1826549"/>
                    <a:gd name="connsiteY127" fmla="*/ 551797 h 2287629"/>
                    <a:gd name="connsiteX128" fmla="*/ 440752 w 1826549"/>
                    <a:gd name="connsiteY128" fmla="*/ 551797 h 2287629"/>
                    <a:gd name="connsiteX129" fmla="*/ 464756 w 1826549"/>
                    <a:gd name="connsiteY129" fmla="*/ 522750 h 2287629"/>
                    <a:gd name="connsiteX130" fmla="*/ 464756 w 1826549"/>
                    <a:gd name="connsiteY130" fmla="*/ 522750 h 2287629"/>
                    <a:gd name="connsiteX131" fmla="*/ 490878 w 1826549"/>
                    <a:gd name="connsiteY131" fmla="*/ 525070 h 2287629"/>
                    <a:gd name="connsiteX132" fmla="*/ 490878 w 1826549"/>
                    <a:gd name="connsiteY132" fmla="*/ 525070 h 2287629"/>
                    <a:gd name="connsiteX133" fmla="*/ 546855 w 1826549"/>
                    <a:gd name="connsiteY133" fmla="*/ 478170 h 2287629"/>
                    <a:gd name="connsiteX134" fmla="*/ 546855 w 1826549"/>
                    <a:gd name="connsiteY134" fmla="*/ 478170 h 2287629"/>
                    <a:gd name="connsiteX135" fmla="*/ 559563 w 1826549"/>
                    <a:gd name="connsiteY135" fmla="*/ 427539 h 2287629"/>
                    <a:gd name="connsiteX136" fmla="*/ 559563 w 1826549"/>
                    <a:gd name="connsiteY136" fmla="*/ 427539 h 2287629"/>
                    <a:gd name="connsiteX137" fmla="*/ 511756 w 1826549"/>
                    <a:gd name="connsiteY137" fmla="*/ 320428 h 2287629"/>
                    <a:gd name="connsiteX138" fmla="*/ 511756 w 1826549"/>
                    <a:gd name="connsiteY138" fmla="*/ 320428 h 2287629"/>
                    <a:gd name="connsiteX139" fmla="*/ 468488 w 1826549"/>
                    <a:gd name="connsiteY139" fmla="*/ 252449 h 2287629"/>
                    <a:gd name="connsiteX140" fmla="*/ 468488 w 1826549"/>
                    <a:gd name="connsiteY140" fmla="*/ 252449 h 2287629"/>
                    <a:gd name="connsiteX141" fmla="*/ 473027 w 1826549"/>
                    <a:gd name="connsiteY141" fmla="*/ 233084 h 2287629"/>
                    <a:gd name="connsiteX142" fmla="*/ 473027 w 1826549"/>
                    <a:gd name="connsiteY142" fmla="*/ 233084 h 2287629"/>
                    <a:gd name="connsiteX143" fmla="*/ 500763 w 1826549"/>
                    <a:gd name="connsiteY143" fmla="*/ 222696 h 2287629"/>
                    <a:gd name="connsiteX144" fmla="*/ 500763 w 1826549"/>
                    <a:gd name="connsiteY144" fmla="*/ 222696 h 2287629"/>
                    <a:gd name="connsiteX145" fmla="*/ 563900 w 1826549"/>
                    <a:gd name="connsiteY145" fmla="*/ 202927 h 2287629"/>
                    <a:gd name="connsiteX146" fmla="*/ 563900 w 1826549"/>
                    <a:gd name="connsiteY146" fmla="*/ 202927 h 2287629"/>
                    <a:gd name="connsiteX147" fmla="*/ 633997 w 1826549"/>
                    <a:gd name="connsiteY147" fmla="*/ 160668 h 2287629"/>
                    <a:gd name="connsiteX148" fmla="*/ 633997 w 1826549"/>
                    <a:gd name="connsiteY148" fmla="*/ 160668 h 2287629"/>
                    <a:gd name="connsiteX149" fmla="*/ 669297 w 1826549"/>
                    <a:gd name="connsiteY149" fmla="*/ 156028 h 2287629"/>
                    <a:gd name="connsiteX150" fmla="*/ 669297 w 1826549"/>
                    <a:gd name="connsiteY150" fmla="*/ 156028 h 2287629"/>
                    <a:gd name="connsiteX151" fmla="*/ 720836 w 1826549"/>
                    <a:gd name="connsiteY151" fmla="*/ 168030 h 2287629"/>
                    <a:gd name="connsiteX152" fmla="*/ 720836 w 1826549"/>
                    <a:gd name="connsiteY152" fmla="*/ 168030 h 2287629"/>
                    <a:gd name="connsiteX153" fmla="*/ 736368 w 1826549"/>
                    <a:gd name="connsiteY153" fmla="*/ 172468 h 2287629"/>
                    <a:gd name="connsiteX154" fmla="*/ 736368 w 1826549"/>
                    <a:gd name="connsiteY154" fmla="*/ 172468 h 2287629"/>
                    <a:gd name="connsiteX155" fmla="*/ 782461 w 1826549"/>
                    <a:gd name="connsiteY155" fmla="*/ 138882 h 2287629"/>
                    <a:gd name="connsiteX156" fmla="*/ 782461 w 1826549"/>
                    <a:gd name="connsiteY156" fmla="*/ 138882 h 2287629"/>
                    <a:gd name="connsiteX157" fmla="*/ 824317 w 1826549"/>
                    <a:gd name="connsiteY157" fmla="*/ 77863 h 2287629"/>
                    <a:gd name="connsiteX158" fmla="*/ 824317 w 1826549"/>
                    <a:gd name="connsiteY158" fmla="*/ 77863 h 2287629"/>
                    <a:gd name="connsiteX159" fmla="*/ 856188 w 1826549"/>
                    <a:gd name="connsiteY159" fmla="*/ 30762 h 2287629"/>
                    <a:gd name="connsiteX160" fmla="*/ 856188 w 1826549"/>
                    <a:gd name="connsiteY160" fmla="*/ 30762 h 2287629"/>
                    <a:gd name="connsiteX161" fmla="*/ 864761 w 1826549"/>
                    <a:gd name="connsiteY161" fmla="*/ 1210 h 2287629"/>
                    <a:gd name="connsiteX162" fmla="*/ 864761 w 1826549"/>
                    <a:gd name="connsiteY162" fmla="*/ 1210 h 2287629"/>
                    <a:gd name="connsiteX163" fmla="*/ 868796 w 1826549"/>
                    <a:gd name="connsiteY163" fmla="*/ 0 h 2287629"/>
                    <a:gd name="connsiteX164" fmla="*/ 891388 w 1826549"/>
                    <a:gd name="connsiteY164" fmla="*/ 28644 h 2287629"/>
                    <a:gd name="connsiteX165" fmla="*/ 891388 w 1826549"/>
                    <a:gd name="connsiteY165" fmla="*/ 28644 h 2287629"/>
                    <a:gd name="connsiteX166" fmla="*/ 915594 w 1826549"/>
                    <a:gd name="connsiteY166" fmla="*/ 101766 h 2287629"/>
                    <a:gd name="connsiteX167" fmla="*/ 915594 w 1826549"/>
                    <a:gd name="connsiteY167" fmla="*/ 101766 h 2287629"/>
                    <a:gd name="connsiteX168" fmla="*/ 936472 w 1826549"/>
                    <a:gd name="connsiteY168" fmla="*/ 182050 h 2287629"/>
                    <a:gd name="connsiteX169" fmla="*/ 936472 w 1826549"/>
                    <a:gd name="connsiteY169" fmla="*/ 182050 h 2287629"/>
                    <a:gd name="connsiteX170" fmla="*/ 940607 w 1826549"/>
                    <a:gd name="connsiteY170" fmla="*/ 209282 h 2287629"/>
                    <a:gd name="connsiteX171" fmla="*/ 940607 w 1826549"/>
                    <a:gd name="connsiteY171" fmla="*/ 209282 h 2287629"/>
                    <a:gd name="connsiteX172" fmla="*/ 939497 w 1826549"/>
                    <a:gd name="connsiteY172" fmla="*/ 236110 h 2287629"/>
                    <a:gd name="connsiteX173" fmla="*/ 939497 w 1826549"/>
                    <a:gd name="connsiteY173" fmla="*/ 236110 h 2287629"/>
                    <a:gd name="connsiteX174" fmla="*/ 950895 w 1826549"/>
                    <a:gd name="connsiteY174" fmla="*/ 265157 h 2287629"/>
                    <a:gd name="connsiteX175" fmla="*/ 950895 w 1826549"/>
                    <a:gd name="connsiteY175" fmla="*/ 265157 h 2287629"/>
                    <a:gd name="connsiteX176" fmla="*/ 989725 w 1826549"/>
                    <a:gd name="connsiteY176" fmla="*/ 325067 h 2287629"/>
                    <a:gd name="connsiteX177" fmla="*/ 989725 w 1826549"/>
                    <a:gd name="connsiteY177" fmla="*/ 325067 h 2287629"/>
                    <a:gd name="connsiteX178" fmla="*/ 1032893 w 1826549"/>
                    <a:gd name="connsiteY178" fmla="*/ 387398 h 2287629"/>
                    <a:gd name="connsiteX179" fmla="*/ 1032893 w 1826549"/>
                    <a:gd name="connsiteY179" fmla="*/ 387398 h 2287629"/>
                    <a:gd name="connsiteX180" fmla="*/ 1087961 w 1826549"/>
                    <a:gd name="connsiteY180" fmla="*/ 441761 h 2287629"/>
                    <a:gd name="connsiteX181" fmla="*/ 1087961 w 1826549"/>
                    <a:gd name="connsiteY181" fmla="*/ 441761 h 2287629"/>
                    <a:gd name="connsiteX182" fmla="*/ 1134961 w 1826549"/>
                    <a:gd name="connsiteY182" fmla="*/ 510042 h 2287629"/>
                    <a:gd name="connsiteX183" fmla="*/ 1134961 w 1826549"/>
                    <a:gd name="connsiteY183" fmla="*/ 510042 h 2287629"/>
                    <a:gd name="connsiteX184" fmla="*/ 1162092 w 1826549"/>
                    <a:gd name="connsiteY184" fmla="*/ 582156 h 2287629"/>
                    <a:gd name="connsiteX185" fmla="*/ 1162092 w 1826549"/>
                    <a:gd name="connsiteY185" fmla="*/ 582156 h 2287629"/>
                    <a:gd name="connsiteX186" fmla="*/ 1175607 w 1826549"/>
                    <a:gd name="connsiteY186" fmla="*/ 600613 h 2287629"/>
                    <a:gd name="connsiteX187" fmla="*/ 1175607 w 1826549"/>
                    <a:gd name="connsiteY187" fmla="*/ 600613 h 2287629"/>
                    <a:gd name="connsiteX188" fmla="*/ 1218270 w 1826549"/>
                    <a:gd name="connsiteY188" fmla="*/ 583366 h 2287629"/>
                    <a:gd name="connsiteX189" fmla="*/ 1218270 w 1826549"/>
                    <a:gd name="connsiteY189" fmla="*/ 583366 h 2287629"/>
                    <a:gd name="connsiteX190" fmla="*/ 1276668 w 1826549"/>
                    <a:gd name="connsiteY190" fmla="*/ 547561 h 2287629"/>
                    <a:gd name="connsiteX191" fmla="*/ 1276668 w 1826549"/>
                    <a:gd name="connsiteY191" fmla="*/ 547561 h 2287629"/>
                    <a:gd name="connsiteX192" fmla="*/ 1301176 w 1826549"/>
                    <a:gd name="connsiteY192" fmla="*/ 549982 h 2287629"/>
                    <a:gd name="connsiteX193" fmla="*/ 1301176 w 1826549"/>
                    <a:gd name="connsiteY193" fmla="*/ 549982 h 2287629"/>
                    <a:gd name="connsiteX194" fmla="*/ 1429569 w 1826549"/>
                    <a:gd name="connsiteY194" fmla="*/ 587703 h 2287629"/>
                    <a:gd name="connsiteX195" fmla="*/ 1429569 w 1826549"/>
                    <a:gd name="connsiteY195" fmla="*/ 587703 h 2287629"/>
                    <a:gd name="connsiteX196" fmla="*/ 1458112 w 1826549"/>
                    <a:gd name="connsiteY196" fmla="*/ 664759 h 2287629"/>
                    <a:gd name="connsiteX197" fmla="*/ 1458112 w 1826549"/>
                    <a:gd name="connsiteY197" fmla="*/ 664759 h 2287629"/>
                    <a:gd name="connsiteX198" fmla="*/ 1456801 w 1826549"/>
                    <a:gd name="connsiteY198" fmla="*/ 682409 h 2287629"/>
                    <a:gd name="connsiteX199" fmla="*/ 1456801 w 1826549"/>
                    <a:gd name="connsiteY199" fmla="*/ 682409 h 2287629"/>
                    <a:gd name="connsiteX200" fmla="*/ 1450850 w 1826549"/>
                    <a:gd name="connsiteY200" fmla="*/ 723559 h 2287629"/>
                    <a:gd name="connsiteX201" fmla="*/ 1450850 w 1826549"/>
                    <a:gd name="connsiteY201" fmla="*/ 723559 h 2287629"/>
                    <a:gd name="connsiteX202" fmla="*/ 1459121 w 1826549"/>
                    <a:gd name="connsiteY202" fmla="*/ 734654 h 2287629"/>
                    <a:gd name="connsiteX203" fmla="*/ 1459121 w 1826549"/>
                    <a:gd name="connsiteY203" fmla="*/ 734654 h 2287629"/>
                    <a:gd name="connsiteX204" fmla="*/ 1483024 w 1826549"/>
                    <a:gd name="connsiteY204" fmla="*/ 727594 h 2287629"/>
                    <a:gd name="connsiteX205" fmla="*/ 1483024 w 1826549"/>
                    <a:gd name="connsiteY205" fmla="*/ 727594 h 2287629"/>
                    <a:gd name="connsiteX206" fmla="*/ 1514391 w 1826549"/>
                    <a:gd name="connsiteY206" fmla="*/ 720130 h 2287629"/>
                    <a:gd name="connsiteX207" fmla="*/ 1514391 w 1826549"/>
                    <a:gd name="connsiteY207" fmla="*/ 720130 h 2287629"/>
                    <a:gd name="connsiteX208" fmla="*/ 1565829 w 1826549"/>
                    <a:gd name="connsiteY208" fmla="*/ 731931 h 2287629"/>
                    <a:gd name="connsiteX209" fmla="*/ 1565829 w 1826549"/>
                    <a:gd name="connsiteY209" fmla="*/ 731931 h 2287629"/>
                    <a:gd name="connsiteX210" fmla="*/ 1576722 w 1826549"/>
                    <a:gd name="connsiteY210" fmla="*/ 730418 h 2287629"/>
                    <a:gd name="connsiteX211" fmla="*/ 1576722 w 1826549"/>
                    <a:gd name="connsiteY211" fmla="*/ 730418 h 2287629"/>
                    <a:gd name="connsiteX212" fmla="*/ 1654181 w 1826549"/>
                    <a:gd name="connsiteY212" fmla="*/ 696428 h 2287629"/>
                    <a:gd name="connsiteX213" fmla="*/ 1654181 w 1826549"/>
                    <a:gd name="connsiteY213" fmla="*/ 696428 h 2287629"/>
                    <a:gd name="connsiteX214" fmla="*/ 1659628 w 1826549"/>
                    <a:gd name="connsiteY214" fmla="*/ 697437 h 2287629"/>
                    <a:gd name="connsiteX215" fmla="*/ 1659628 w 1826549"/>
                    <a:gd name="connsiteY215" fmla="*/ 697437 h 2287629"/>
                    <a:gd name="connsiteX216" fmla="*/ 1665276 w 1826549"/>
                    <a:gd name="connsiteY216" fmla="*/ 698547 h 2287629"/>
                    <a:gd name="connsiteX217" fmla="*/ 1665276 w 1826549"/>
                    <a:gd name="connsiteY217" fmla="*/ 698547 h 2287629"/>
                    <a:gd name="connsiteX218" fmla="*/ 1708948 w 1826549"/>
                    <a:gd name="connsiteY218" fmla="*/ 685334 h 2287629"/>
                    <a:gd name="connsiteX219" fmla="*/ 1708948 w 1826549"/>
                    <a:gd name="connsiteY219" fmla="*/ 685334 h 2287629"/>
                    <a:gd name="connsiteX220" fmla="*/ 1709250 w 1826549"/>
                    <a:gd name="connsiteY220" fmla="*/ 685334 h 2287629"/>
                    <a:gd name="connsiteX221" fmla="*/ 1709250 w 1826549"/>
                    <a:gd name="connsiteY221" fmla="*/ 685334 h 2287629"/>
                    <a:gd name="connsiteX222" fmla="*/ 1709452 w 1826549"/>
                    <a:gd name="connsiteY222" fmla="*/ 685334 h 2287629"/>
                    <a:gd name="connsiteX223" fmla="*/ 1709452 w 1826549"/>
                    <a:gd name="connsiteY223" fmla="*/ 685334 h 2287629"/>
                    <a:gd name="connsiteX224" fmla="*/ 1712578 w 1826549"/>
                    <a:gd name="connsiteY224" fmla="*/ 687654 h 2287629"/>
                    <a:gd name="connsiteX225" fmla="*/ 1712578 w 1826549"/>
                    <a:gd name="connsiteY225" fmla="*/ 687654 h 2287629"/>
                    <a:gd name="connsiteX226" fmla="*/ 1711772 w 1826549"/>
                    <a:gd name="connsiteY226" fmla="*/ 689973 h 2287629"/>
                    <a:gd name="connsiteX227" fmla="*/ 1711772 w 1826549"/>
                    <a:gd name="connsiteY227" fmla="*/ 689973 h 2287629"/>
                    <a:gd name="connsiteX228" fmla="*/ 1720344 w 1826549"/>
                    <a:gd name="connsiteY228" fmla="*/ 701169 h 2287629"/>
                    <a:gd name="connsiteX229" fmla="*/ 1720344 w 1826549"/>
                    <a:gd name="connsiteY229" fmla="*/ 701169 h 2287629"/>
                    <a:gd name="connsiteX230" fmla="*/ 1771782 w 1826549"/>
                    <a:gd name="connsiteY230" fmla="*/ 743328 h 2287629"/>
                    <a:gd name="connsiteX231" fmla="*/ 1771782 w 1826549"/>
                    <a:gd name="connsiteY231" fmla="*/ 743328 h 2287629"/>
                    <a:gd name="connsiteX232" fmla="*/ 1771177 w 1826549"/>
                    <a:gd name="connsiteY232" fmla="*/ 748371 h 2287629"/>
                    <a:gd name="connsiteX233" fmla="*/ 1771177 w 1826549"/>
                    <a:gd name="connsiteY233" fmla="*/ 748371 h 2287629"/>
                    <a:gd name="connsiteX234" fmla="*/ 1770068 w 1826549"/>
                    <a:gd name="connsiteY234" fmla="*/ 758457 h 2287629"/>
                    <a:gd name="connsiteX235" fmla="*/ 1770068 w 1826549"/>
                    <a:gd name="connsiteY235" fmla="*/ 758457 h 2287629"/>
                    <a:gd name="connsiteX236" fmla="*/ 1796997 w 1826549"/>
                    <a:gd name="connsiteY236" fmla="*/ 781755 h 2287629"/>
                    <a:gd name="connsiteX237" fmla="*/ 1796997 w 1826549"/>
                    <a:gd name="connsiteY237" fmla="*/ 781755 h 2287629"/>
                    <a:gd name="connsiteX238" fmla="*/ 1796493 w 1826549"/>
                    <a:gd name="connsiteY238" fmla="*/ 784478 h 2287629"/>
                    <a:gd name="connsiteX239" fmla="*/ 1796190 w 1826549"/>
                    <a:gd name="connsiteY239" fmla="*/ 787201 h 2287629"/>
                    <a:gd name="connsiteX240" fmla="*/ 1764420 w 1826549"/>
                    <a:gd name="connsiteY240" fmla="*/ 758356 h 2287629"/>
                    <a:gd name="connsiteX241" fmla="*/ 1764420 w 1826549"/>
                    <a:gd name="connsiteY241" fmla="*/ 758356 h 2287629"/>
                    <a:gd name="connsiteX242" fmla="*/ 1765832 w 1826549"/>
                    <a:gd name="connsiteY242" fmla="*/ 747160 h 2287629"/>
                    <a:gd name="connsiteX243" fmla="*/ 1765832 w 1826549"/>
                    <a:gd name="connsiteY243" fmla="*/ 747160 h 2287629"/>
                    <a:gd name="connsiteX244" fmla="*/ 1766134 w 1826549"/>
                    <a:gd name="connsiteY244" fmla="*/ 743227 h 2287629"/>
                    <a:gd name="connsiteX245" fmla="*/ 1766134 w 1826549"/>
                    <a:gd name="connsiteY245" fmla="*/ 743227 h 2287629"/>
                    <a:gd name="connsiteX246" fmla="*/ 1717319 w 1826549"/>
                    <a:gd name="connsiteY246" fmla="*/ 705707 h 2287629"/>
                    <a:gd name="connsiteX247" fmla="*/ 1717319 w 1826549"/>
                    <a:gd name="connsiteY247" fmla="*/ 705707 h 2287629"/>
                    <a:gd name="connsiteX248" fmla="*/ 1706124 w 1826549"/>
                    <a:gd name="connsiteY248" fmla="*/ 691083 h 2287629"/>
                    <a:gd name="connsiteX249" fmla="*/ 1706124 w 1826549"/>
                    <a:gd name="connsiteY249" fmla="*/ 691083 h 2287629"/>
                    <a:gd name="connsiteX250" fmla="*/ 1665175 w 1826549"/>
                    <a:gd name="connsiteY250" fmla="*/ 704094 h 2287629"/>
                    <a:gd name="connsiteX251" fmla="*/ 1665175 w 1826549"/>
                    <a:gd name="connsiteY251" fmla="*/ 704094 h 2287629"/>
                    <a:gd name="connsiteX252" fmla="*/ 1657510 w 1826549"/>
                    <a:gd name="connsiteY252" fmla="*/ 702480 h 2287629"/>
                    <a:gd name="connsiteX253" fmla="*/ 1657510 w 1826549"/>
                    <a:gd name="connsiteY253" fmla="*/ 702480 h 2287629"/>
                    <a:gd name="connsiteX254" fmla="*/ 1654081 w 1826549"/>
                    <a:gd name="connsiteY254" fmla="*/ 701875 h 2287629"/>
                    <a:gd name="connsiteX255" fmla="*/ 1654081 w 1826549"/>
                    <a:gd name="connsiteY255" fmla="*/ 701875 h 2287629"/>
                    <a:gd name="connsiteX256" fmla="*/ 1578033 w 1826549"/>
                    <a:gd name="connsiteY256" fmla="*/ 735561 h 2287629"/>
                    <a:gd name="connsiteX257" fmla="*/ 1578033 w 1826549"/>
                    <a:gd name="connsiteY257" fmla="*/ 735561 h 2287629"/>
                    <a:gd name="connsiteX258" fmla="*/ 1565829 w 1826549"/>
                    <a:gd name="connsiteY258" fmla="*/ 737276 h 2287629"/>
                    <a:gd name="connsiteX259" fmla="*/ 1565829 w 1826549"/>
                    <a:gd name="connsiteY259" fmla="*/ 737276 h 2287629"/>
                    <a:gd name="connsiteX260" fmla="*/ 1514391 w 1826549"/>
                    <a:gd name="connsiteY260" fmla="*/ 725476 h 2287629"/>
                    <a:gd name="connsiteX261" fmla="*/ 1514391 w 1826549"/>
                    <a:gd name="connsiteY261" fmla="*/ 725476 h 2287629"/>
                    <a:gd name="connsiteX262" fmla="*/ 1485344 w 1826549"/>
                    <a:gd name="connsiteY262" fmla="*/ 732435 h 2287629"/>
                    <a:gd name="connsiteX263" fmla="*/ 1485344 w 1826549"/>
                    <a:gd name="connsiteY263" fmla="*/ 732435 h 2287629"/>
                    <a:gd name="connsiteX264" fmla="*/ 1459121 w 1826549"/>
                    <a:gd name="connsiteY264" fmla="*/ 739999 h 2287629"/>
                    <a:gd name="connsiteX265" fmla="*/ 1459121 w 1826549"/>
                    <a:gd name="connsiteY265" fmla="*/ 739999 h 2287629"/>
                    <a:gd name="connsiteX266" fmla="*/ 1445404 w 1826549"/>
                    <a:gd name="connsiteY266" fmla="*/ 723257 h 2287629"/>
                    <a:gd name="connsiteX267" fmla="*/ 1445404 w 1826549"/>
                    <a:gd name="connsiteY267" fmla="*/ 723257 h 2287629"/>
                    <a:gd name="connsiteX268" fmla="*/ 1451355 w 1826549"/>
                    <a:gd name="connsiteY268" fmla="*/ 681299 h 2287629"/>
                    <a:gd name="connsiteX269" fmla="*/ 1451355 w 1826549"/>
                    <a:gd name="connsiteY269" fmla="*/ 681299 h 2287629"/>
                    <a:gd name="connsiteX270" fmla="*/ 1452565 w 1826549"/>
                    <a:gd name="connsiteY270" fmla="*/ 664456 h 2287629"/>
                    <a:gd name="connsiteX271" fmla="*/ 1452565 w 1826549"/>
                    <a:gd name="connsiteY271" fmla="*/ 664456 h 2287629"/>
                    <a:gd name="connsiteX272" fmla="*/ 1424425 w 1826549"/>
                    <a:gd name="connsiteY272" fmla="*/ 589619 h 2287629"/>
                    <a:gd name="connsiteX273" fmla="*/ 1424425 w 1826549"/>
                    <a:gd name="connsiteY273" fmla="*/ 589619 h 2287629"/>
                    <a:gd name="connsiteX274" fmla="*/ 1300268 w 1826549"/>
                    <a:gd name="connsiteY274" fmla="*/ 555327 h 2287629"/>
                    <a:gd name="connsiteX275" fmla="*/ 1300268 w 1826549"/>
                    <a:gd name="connsiteY275" fmla="*/ 555327 h 2287629"/>
                    <a:gd name="connsiteX276" fmla="*/ 1276769 w 1826549"/>
                    <a:gd name="connsiteY276" fmla="*/ 552907 h 2287629"/>
                    <a:gd name="connsiteX277" fmla="*/ 1276769 w 1826549"/>
                    <a:gd name="connsiteY277" fmla="*/ 552907 h 2287629"/>
                    <a:gd name="connsiteX278" fmla="*/ 1220994 w 1826549"/>
                    <a:gd name="connsiteY278" fmla="*/ 588005 h 2287629"/>
                    <a:gd name="connsiteX279" fmla="*/ 1220994 w 1826549"/>
                    <a:gd name="connsiteY279" fmla="*/ 588005 h 2287629"/>
                    <a:gd name="connsiteX280" fmla="*/ 1175708 w 1826549"/>
                    <a:gd name="connsiteY280" fmla="*/ 605958 h 2287629"/>
                    <a:gd name="connsiteX281" fmla="*/ 1175708 w 1826549"/>
                    <a:gd name="connsiteY281" fmla="*/ 605958 h 2287629"/>
                    <a:gd name="connsiteX282" fmla="*/ 1156848 w 1826549"/>
                    <a:gd name="connsiteY282" fmla="*/ 583063 h 2287629"/>
                    <a:gd name="connsiteX283" fmla="*/ 1156848 w 1826549"/>
                    <a:gd name="connsiteY283" fmla="*/ 583063 h 2287629"/>
                    <a:gd name="connsiteX284" fmla="*/ 1129717 w 1826549"/>
                    <a:gd name="connsiteY284" fmla="*/ 510950 h 2287629"/>
                    <a:gd name="connsiteX285" fmla="*/ 1129717 w 1826549"/>
                    <a:gd name="connsiteY285" fmla="*/ 510950 h 2287629"/>
                    <a:gd name="connsiteX286" fmla="*/ 1086650 w 1826549"/>
                    <a:gd name="connsiteY286" fmla="*/ 446904 h 2287629"/>
                    <a:gd name="connsiteX287" fmla="*/ 1086650 w 1826549"/>
                    <a:gd name="connsiteY287" fmla="*/ 446904 h 2287629"/>
                    <a:gd name="connsiteX288" fmla="*/ 1027446 w 1826549"/>
                    <a:gd name="connsiteY288" fmla="*/ 387095 h 2287629"/>
                    <a:gd name="connsiteX289" fmla="*/ 1027446 w 1826549"/>
                    <a:gd name="connsiteY289" fmla="*/ 387095 h 2287629"/>
                    <a:gd name="connsiteX290" fmla="*/ 986397 w 1826549"/>
                    <a:gd name="connsiteY290" fmla="*/ 329102 h 2287629"/>
                    <a:gd name="connsiteX291" fmla="*/ 986397 w 1826549"/>
                    <a:gd name="connsiteY291" fmla="*/ 329102 h 2287629"/>
                    <a:gd name="connsiteX292" fmla="*/ 947062 w 1826549"/>
                    <a:gd name="connsiteY292" fmla="*/ 268788 h 2287629"/>
                    <a:gd name="connsiteX293" fmla="*/ 947062 w 1826549"/>
                    <a:gd name="connsiteY293" fmla="*/ 268788 h 2287629"/>
                    <a:gd name="connsiteX294" fmla="*/ 934051 w 1826549"/>
                    <a:gd name="connsiteY294" fmla="*/ 235807 h 2287629"/>
                    <a:gd name="connsiteX295" fmla="*/ 934051 w 1826549"/>
                    <a:gd name="connsiteY295" fmla="*/ 235807 h 2287629"/>
                    <a:gd name="connsiteX296" fmla="*/ 935161 w 1826549"/>
                    <a:gd name="connsiteY296" fmla="*/ 208979 h 2287629"/>
                    <a:gd name="connsiteX297" fmla="*/ 935161 w 1826549"/>
                    <a:gd name="connsiteY297" fmla="*/ 208979 h 2287629"/>
                    <a:gd name="connsiteX298" fmla="*/ 931328 w 1826549"/>
                    <a:gd name="connsiteY298" fmla="*/ 183563 h 2287629"/>
                    <a:gd name="connsiteX299" fmla="*/ 931328 w 1826549"/>
                    <a:gd name="connsiteY299" fmla="*/ 183563 h 2287629"/>
                    <a:gd name="connsiteX300" fmla="*/ 910148 w 1826549"/>
                    <a:gd name="connsiteY300" fmla="*/ 101464 h 2287629"/>
                    <a:gd name="connsiteX301" fmla="*/ 910148 w 1826549"/>
                    <a:gd name="connsiteY301" fmla="*/ 101464 h 2287629"/>
                    <a:gd name="connsiteX302" fmla="*/ 886244 w 1826549"/>
                    <a:gd name="connsiteY302" fmla="*/ 30358 h 2287629"/>
                    <a:gd name="connsiteX303" fmla="*/ 886244 w 1826549"/>
                    <a:gd name="connsiteY303" fmla="*/ 30358 h 2287629"/>
                    <a:gd name="connsiteX304" fmla="*/ 868695 w 1826549"/>
                    <a:gd name="connsiteY304" fmla="*/ 6052 h 2287629"/>
                    <a:gd name="connsiteX305" fmla="*/ 868695 w 1826549"/>
                    <a:gd name="connsiteY305" fmla="*/ 6052 h 2287629"/>
                    <a:gd name="connsiteX306" fmla="*/ 861836 w 1826549"/>
                    <a:gd name="connsiteY306" fmla="*/ 30762 h 2287629"/>
                    <a:gd name="connsiteX307" fmla="*/ 861836 w 1826549"/>
                    <a:gd name="connsiteY307" fmla="*/ 30762 h 2287629"/>
                    <a:gd name="connsiteX308" fmla="*/ 826637 w 1826549"/>
                    <a:gd name="connsiteY308" fmla="*/ 82502 h 2287629"/>
                    <a:gd name="connsiteX309" fmla="*/ 826637 w 1826549"/>
                    <a:gd name="connsiteY309" fmla="*/ 82502 h 2287629"/>
                    <a:gd name="connsiteX310" fmla="*/ 787201 w 1826549"/>
                    <a:gd name="connsiteY310" fmla="*/ 141505 h 2287629"/>
                    <a:gd name="connsiteX311" fmla="*/ 787201 w 1826549"/>
                    <a:gd name="connsiteY311" fmla="*/ 141505 h 2287629"/>
                    <a:gd name="connsiteX312" fmla="*/ 736570 w 1826549"/>
                    <a:gd name="connsiteY312" fmla="*/ 177612 h 2287629"/>
                    <a:gd name="connsiteX313" fmla="*/ 736570 w 1826549"/>
                    <a:gd name="connsiteY313" fmla="*/ 177612 h 2287629"/>
                    <a:gd name="connsiteX314" fmla="*/ 718113 w 1826549"/>
                    <a:gd name="connsiteY314" fmla="*/ 172367 h 2287629"/>
                    <a:gd name="connsiteX315" fmla="*/ 718113 w 1826549"/>
                    <a:gd name="connsiteY315" fmla="*/ 172367 h 2287629"/>
                    <a:gd name="connsiteX316" fmla="*/ 669398 w 1826549"/>
                    <a:gd name="connsiteY316" fmla="*/ 161172 h 2287629"/>
                    <a:gd name="connsiteX317" fmla="*/ 669398 w 1826549"/>
                    <a:gd name="connsiteY317" fmla="*/ 161172 h 2287629"/>
                    <a:gd name="connsiteX318" fmla="*/ 635510 w 1826549"/>
                    <a:gd name="connsiteY318" fmla="*/ 165610 h 2287629"/>
                    <a:gd name="connsiteX319" fmla="*/ 635510 w 1826549"/>
                    <a:gd name="connsiteY319" fmla="*/ 165610 h 2287629"/>
                    <a:gd name="connsiteX320" fmla="*/ 564404 w 1826549"/>
                    <a:gd name="connsiteY320" fmla="*/ 208071 h 2287629"/>
                    <a:gd name="connsiteX321" fmla="*/ 564404 w 1826549"/>
                    <a:gd name="connsiteY321" fmla="*/ 208071 h 2287629"/>
                    <a:gd name="connsiteX322" fmla="*/ 503889 w 1826549"/>
                    <a:gd name="connsiteY322" fmla="*/ 227033 h 2287629"/>
                    <a:gd name="connsiteX323" fmla="*/ 503889 w 1826549"/>
                    <a:gd name="connsiteY323" fmla="*/ 227033 h 2287629"/>
                    <a:gd name="connsiteX324" fmla="*/ 475750 w 1826549"/>
                    <a:gd name="connsiteY324" fmla="*/ 236211 h 2287629"/>
                    <a:gd name="connsiteX325" fmla="*/ 475750 w 1826549"/>
                    <a:gd name="connsiteY325" fmla="*/ 236211 h 2287629"/>
                    <a:gd name="connsiteX326" fmla="*/ 474035 w 1826549"/>
                    <a:gd name="connsiteY326" fmla="*/ 252146 h 2287629"/>
                    <a:gd name="connsiteX327" fmla="*/ 474035 w 1826549"/>
                    <a:gd name="connsiteY327" fmla="*/ 252146 h 2287629"/>
                    <a:gd name="connsiteX328" fmla="*/ 514984 w 1826549"/>
                    <a:gd name="connsiteY328" fmla="*/ 315586 h 2287629"/>
                    <a:gd name="connsiteX329" fmla="*/ 514984 w 1826549"/>
                    <a:gd name="connsiteY329" fmla="*/ 315586 h 2287629"/>
                    <a:gd name="connsiteX330" fmla="*/ 565211 w 1826549"/>
                    <a:gd name="connsiteY330" fmla="*/ 427237 h 2287629"/>
                    <a:gd name="connsiteX331" fmla="*/ 565211 w 1826549"/>
                    <a:gd name="connsiteY331" fmla="*/ 427237 h 2287629"/>
                    <a:gd name="connsiteX332" fmla="*/ 551696 w 1826549"/>
                    <a:gd name="connsiteY332" fmla="*/ 480490 h 2287629"/>
                    <a:gd name="connsiteX333" fmla="*/ 551696 w 1826549"/>
                    <a:gd name="connsiteY333" fmla="*/ 480490 h 2287629"/>
                    <a:gd name="connsiteX334" fmla="*/ 490878 w 1826549"/>
                    <a:gd name="connsiteY334" fmla="*/ 530314 h 2287629"/>
                    <a:gd name="connsiteX335" fmla="*/ 490878 w 1826549"/>
                    <a:gd name="connsiteY335" fmla="*/ 530314 h 2287629"/>
                    <a:gd name="connsiteX336" fmla="*/ 464756 w 1826549"/>
                    <a:gd name="connsiteY336" fmla="*/ 527995 h 2287629"/>
                    <a:gd name="connsiteX337" fmla="*/ 464756 w 1826549"/>
                    <a:gd name="connsiteY337" fmla="*/ 527995 h 2287629"/>
                    <a:gd name="connsiteX338" fmla="*/ 446400 w 1826549"/>
                    <a:gd name="connsiteY338" fmla="*/ 551394 h 2287629"/>
                    <a:gd name="connsiteX339" fmla="*/ 446400 w 1826549"/>
                    <a:gd name="connsiteY339" fmla="*/ 551394 h 2287629"/>
                    <a:gd name="connsiteX340" fmla="*/ 460722 w 1826549"/>
                    <a:gd name="connsiteY340" fmla="*/ 573784 h 2287629"/>
                    <a:gd name="connsiteX341" fmla="*/ 460722 w 1826549"/>
                    <a:gd name="connsiteY341" fmla="*/ 573784 h 2287629"/>
                    <a:gd name="connsiteX342" fmla="*/ 482911 w 1826549"/>
                    <a:gd name="connsiteY342" fmla="*/ 624516 h 2287629"/>
                    <a:gd name="connsiteX343" fmla="*/ 482911 w 1826549"/>
                    <a:gd name="connsiteY343" fmla="*/ 624516 h 2287629"/>
                    <a:gd name="connsiteX344" fmla="*/ 485836 w 1826549"/>
                    <a:gd name="connsiteY344" fmla="*/ 650840 h 2287629"/>
                    <a:gd name="connsiteX345" fmla="*/ 485836 w 1826549"/>
                    <a:gd name="connsiteY345" fmla="*/ 650840 h 2287629"/>
                    <a:gd name="connsiteX346" fmla="*/ 483415 w 1826549"/>
                    <a:gd name="connsiteY346" fmla="*/ 666473 h 2287629"/>
                    <a:gd name="connsiteX347" fmla="*/ 483415 w 1826549"/>
                    <a:gd name="connsiteY347" fmla="*/ 666473 h 2287629"/>
                    <a:gd name="connsiteX348" fmla="*/ 490979 w 1826549"/>
                    <a:gd name="connsiteY348" fmla="*/ 708430 h 2287629"/>
                    <a:gd name="connsiteX349" fmla="*/ 490979 w 1826549"/>
                    <a:gd name="connsiteY349" fmla="*/ 708430 h 2287629"/>
                    <a:gd name="connsiteX350" fmla="*/ 473833 w 1826549"/>
                    <a:gd name="connsiteY350" fmla="*/ 764205 h 2287629"/>
                    <a:gd name="connsiteX351" fmla="*/ 473833 w 1826549"/>
                    <a:gd name="connsiteY351" fmla="*/ 764205 h 2287629"/>
                    <a:gd name="connsiteX352" fmla="*/ 466874 w 1826549"/>
                    <a:gd name="connsiteY352" fmla="*/ 775905 h 2287629"/>
                    <a:gd name="connsiteX353" fmla="*/ 466874 w 1826549"/>
                    <a:gd name="connsiteY353" fmla="*/ 775905 h 2287629"/>
                    <a:gd name="connsiteX354" fmla="*/ 487752 w 1826549"/>
                    <a:gd name="connsiteY354" fmla="*/ 804952 h 2287629"/>
                    <a:gd name="connsiteX355" fmla="*/ 487752 w 1826549"/>
                    <a:gd name="connsiteY355" fmla="*/ 804952 h 2287629"/>
                    <a:gd name="connsiteX356" fmla="*/ 502578 w 1826549"/>
                    <a:gd name="connsiteY356" fmla="*/ 852053 h 2287629"/>
                    <a:gd name="connsiteX357" fmla="*/ 502578 w 1826549"/>
                    <a:gd name="connsiteY357" fmla="*/ 852053 h 2287629"/>
                    <a:gd name="connsiteX358" fmla="*/ 472421 w 1826549"/>
                    <a:gd name="connsiteY358" fmla="*/ 899759 h 2287629"/>
                    <a:gd name="connsiteX359" fmla="*/ 472421 w 1826549"/>
                    <a:gd name="connsiteY359" fmla="*/ 899759 h 2287629"/>
                    <a:gd name="connsiteX360" fmla="*/ 436516 w 1826549"/>
                    <a:gd name="connsiteY360" fmla="*/ 923764 h 2287629"/>
                    <a:gd name="connsiteX361" fmla="*/ 436516 w 1826549"/>
                    <a:gd name="connsiteY361" fmla="*/ 923764 h 2287629"/>
                    <a:gd name="connsiteX362" fmla="*/ 438331 w 1826549"/>
                    <a:gd name="connsiteY362" fmla="*/ 934253 h 2287629"/>
                    <a:gd name="connsiteX363" fmla="*/ 438331 w 1826549"/>
                    <a:gd name="connsiteY363" fmla="*/ 934253 h 2287629"/>
                    <a:gd name="connsiteX364" fmla="*/ 440550 w 1826549"/>
                    <a:gd name="connsiteY364" fmla="*/ 947970 h 2287629"/>
                    <a:gd name="connsiteX365" fmla="*/ 440550 w 1826549"/>
                    <a:gd name="connsiteY365" fmla="*/ 947970 h 2287629"/>
                    <a:gd name="connsiteX366" fmla="*/ 428044 w 1826549"/>
                    <a:gd name="connsiteY366" fmla="*/ 998096 h 2287629"/>
                    <a:gd name="connsiteX367" fmla="*/ 428044 w 1826549"/>
                    <a:gd name="connsiteY367" fmla="*/ 998096 h 2287629"/>
                    <a:gd name="connsiteX368" fmla="*/ 370353 w 1826549"/>
                    <a:gd name="connsiteY368" fmla="*/ 1055384 h 2287629"/>
                    <a:gd name="connsiteX369" fmla="*/ 370353 w 1826549"/>
                    <a:gd name="connsiteY369" fmla="*/ 1055384 h 2287629"/>
                    <a:gd name="connsiteX370" fmla="*/ 336363 w 1826549"/>
                    <a:gd name="connsiteY370" fmla="*/ 1105107 h 2287629"/>
                    <a:gd name="connsiteX371" fmla="*/ 336363 w 1826549"/>
                    <a:gd name="connsiteY371" fmla="*/ 1105107 h 2287629"/>
                    <a:gd name="connsiteX372" fmla="*/ 269998 w 1826549"/>
                    <a:gd name="connsiteY372" fmla="*/ 1138391 h 2287629"/>
                    <a:gd name="connsiteX373" fmla="*/ 269998 w 1826549"/>
                    <a:gd name="connsiteY373" fmla="*/ 1138391 h 2287629"/>
                    <a:gd name="connsiteX374" fmla="*/ 214728 w 1826549"/>
                    <a:gd name="connsiteY374" fmla="*/ 1168547 h 2287629"/>
                    <a:gd name="connsiteX375" fmla="*/ 214728 w 1826549"/>
                    <a:gd name="connsiteY375" fmla="*/ 1168547 h 2287629"/>
                    <a:gd name="connsiteX376" fmla="*/ 183966 w 1826549"/>
                    <a:gd name="connsiteY376" fmla="*/ 1186500 h 2287629"/>
                    <a:gd name="connsiteX377" fmla="*/ 183966 w 1826549"/>
                    <a:gd name="connsiteY377" fmla="*/ 1186500 h 2287629"/>
                    <a:gd name="connsiteX378" fmla="*/ 148968 w 1826549"/>
                    <a:gd name="connsiteY378" fmla="*/ 1174498 h 2287629"/>
                    <a:gd name="connsiteX379" fmla="*/ 148968 w 1826549"/>
                    <a:gd name="connsiteY379" fmla="*/ 1174498 h 2287629"/>
                    <a:gd name="connsiteX380" fmla="*/ 138681 w 1826549"/>
                    <a:gd name="connsiteY380" fmla="*/ 1172077 h 2287629"/>
                    <a:gd name="connsiteX381" fmla="*/ 138681 w 1826549"/>
                    <a:gd name="connsiteY381" fmla="*/ 1172077 h 2287629"/>
                    <a:gd name="connsiteX382" fmla="*/ 108019 w 1826549"/>
                    <a:gd name="connsiteY382" fmla="*/ 1206571 h 2287629"/>
                    <a:gd name="connsiteX383" fmla="*/ 108019 w 1826549"/>
                    <a:gd name="connsiteY383" fmla="*/ 1206571 h 2287629"/>
                    <a:gd name="connsiteX384" fmla="*/ 93496 w 1826549"/>
                    <a:gd name="connsiteY384" fmla="*/ 1270717 h 2287629"/>
                    <a:gd name="connsiteX385" fmla="*/ 93496 w 1826549"/>
                    <a:gd name="connsiteY385" fmla="*/ 1270717 h 2287629"/>
                    <a:gd name="connsiteX386" fmla="*/ 78670 w 1826549"/>
                    <a:gd name="connsiteY386" fmla="*/ 1350194 h 2287629"/>
                    <a:gd name="connsiteX387" fmla="*/ 78670 w 1826549"/>
                    <a:gd name="connsiteY387" fmla="*/ 1350194 h 2287629"/>
                    <a:gd name="connsiteX388" fmla="*/ 19365 w 1826549"/>
                    <a:gd name="connsiteY388" fmla="*/ 1436428 h 2287629"/>
                    <a:gd name="connsiteX389" fmla="*/ 19365 w 1826549"/>
                    <a:gd name="connsiteY389" fmla="*/ 1436428 h 2287629"/>
                    <a:gd name="connsiteX390" fmla="*/ 5648 w 1826549"/>
                    <a:gd name="connsiteY390" fmla="*/ 1540110 h 2287629"/>
                    <a:gd name="connsiteX391" fmla="*/ 5648 w 1826549"/>
                    <a:gd name="connsiteY391" fmla="*/ 1540110 h 2287629"/>
                    <a:gd name="connsiteX392" fmla="*/ 4841 w 1826549"/>
                    <a:gd name="connsiteY392" fmla="*/ 1556651 h 2287629"/>
                    <a:gd name="connsiteX393" fmla="*/ 4841 w 1826549"/>
                    <a:gd name="connsiteY393" fmla="*/ 1556651 h 2287629"/>
                    <a:gd name="connsiteX394" fmla="*/ 13616 w 1826549"/>
                    <a:gd name="connsiteY394" fmla="*/ 1556651 h 2287629"/>
                    <a:gd name="connsiteX395" fmla="*/ 13616 w 1826549"/>
                    <a:gd name="connsiteY395" fmla="*/ 1556651 h 2287629"/>
                    <a:gd name="connsiteX396" fmla="*/ 43268 w 1826549"/>
                    <a:gd name="connsiteY396" fmla="*/ 1596591 h 2287629"/>
                    <a:gd name="connsiteX397" fmla="*/ 43268 w 1826549"/>
                    <a:gd name="connsiteY397" fmla="*/ 1596591 h 2287629"/>
                    <a:gd name="connsiteX398" fmla="*/ 68080 w 1826549"/>
                    <a:gd name="connsiteY398" fmla="*/ 1619385 h 2287629"/>
                    <a:gd name="connsiteX399" fmla="*/ 68080 w 1826549"/>
                    <a:gd name="connsiteY399" fmla="*/ 1619385 h 2287629"/>
                    <a:gd name="connsiteX400" fmla="*/ 119417 w 1826549"/>
                    <a:gd name="connsiteY400" fmla="*/ 1643289 h 2287629"/>
                    <a:gd name="connsiteX401" fmla="*/ 119417 w 1826549"/>
                    <a:gd name="connsiteY401" fmla="*/ 1643289 h 2287629"/>
                    <a:gd name="connsiteX402" fmla="*/ 132932 w 1826549"/>
                    <a:gd name="connsiteY402" fmla="*/ 1665276 h 2287629"/>
                    <a:gd name="connsiteX403" fmla="*/ 132932 w 1826549"/>
                    <a:gd name="connsiteY403" fmla="*/ 1665276 h 2287629"/>
                    <a:gd name="connsiteX404" fmla="*/ 128292 w 1826549"/>
                    <a:gd name="connsiteY404" fmla="*/ 1720748 h 2287629"/>
                    <a:gd name="connsiteX405" fmla="*/ 128292 w 1826549"/>
                    <a:gd name="connsiteY405" fmla="*/ 1720748 h 2287629"/>
                    <a:gd name="connsiteX406" fmla="*/ 128897 w 1826549"/>
                    <a:gd name="connsiteY406" fmla="*/ 1730733 h 2287629"/>
                    <a:gd name="connsiteX407" fmla="*/ 128897 w 1826549"/>
                    <a:gd name="connsiteY407" fmla="*/ 1730733 h 2287629"/>
                    <a:gd name="connsiteX408" fmla="*/ 214829 w 1826549"/>
                    <a:gd name="connsiteY408" fmla="*/ 1773295 h 2287629"/>
                    <a:gd name="connsiteX409" fmla="*/ 214829 w 1826549"/>
                    <a:gd name="connsiteY409" fmla="*/ 1773295 h 2287629"/>
                    <a:gd name="connsiteX410" fmla="*/ 236211 w 1826549"/>
                    <a:gd name="connsiteY410" fmla="*/ 1771581 h 2287629"/>
                    <a:gd name="connsiteX411" fmla="*/ 236211 w 1826549"/>
                    <a:gd name="connsiteY411" fmla="*/ 1771581 h 2287629"/>
                    <a:gd name="connsiteX412" fmla="*/ 284219 w 1826549"/>
                    <a:gd name="connsiteY412" fmla="*/ 1740516 h 2287629"/>
                    <a:gd name="connsiteX413" fmla="*/ 284219 w 1826549"/>
                    <a:gd name="connsiteY413" fmla="*/ 1740516 h 2287629"/>
                    <a:gd name="connsiteX414" fmla="*/ 292792 w 1826549"/>
                    <a:gd name="connsiteY414" fmla="*/ 1721454 h 2287629"/>
                    <a:gd name="connsiteX415" fmla="*/ 292792 w 1826549"/>
                    <a:gd name="connsiteY415" fmla="*/ 1721454 h 2287629"/>
                    <a:gd name="connsiteX416" fmla="*/ 292691 w 1826549"/>
                    <a:gd name="connsiteY416" fmla="*/ 1715201 h 2287629"/>
                    <a:gd name="connsiteX417" fmla="*/ 292691 w 1826549"/>
                    <a:gd name="connsiteY417" fmla="*/ 1715201 h 2287629"/>
                    <a:gd name="connsiteX418" fmla="*/ 298642 w 1826549"/>
                    <a:gd name="connsiteY418" fmla="*/ 1692911 h 2287629"/>
                    <a:gd name="connsiteX419" fmla="*/ 298642 w 1826549"/>
                    <a:gd name="connsiteY419" fmla="*/ 1692911 h 2287629"/>
                    <a:gd name="connsiteX420" fmla="*/ 306812 w 1826549"/>
                    <a:gd name="connsiteY420" fmla="*/ 1688877 h 2287629"/>
                    <a:gd name="connsiteX421" fmla="*/ 306812 w 1826549"/>
                    <a:gd name="connsiteY421" fmla="*/ 1688877 h 2287629"/>
                    <a:gd name="connsiteX422" fmla="*/ 352400 w 1826549"/>
                    <a:gd name="connsiteY422" fmla="*/ 1726900 h 2287629"/>
                    <a:gd name="connsiteX423" fmla="*/ 352400 w 1826549"/>
                    <a:gd name="connsiteY423" fmla="*/ 1726900 h 2287629"/>
                    <a:gd name="connsiteX424" fmla="*/ 396878 w 1826549"/>
                    <a:gd name="connsiteY424" fmla="*/ 1804360 h 2287629"/>
                    <a:gd name="connsiteX425" fmla="*/ 396878 w 1826549"/>
                    <a:gd name="connsiteY425" fmla="*/ 1804360 h 2287629"/>
                    <a:gd name="connsiteX426" fmla="*/ 436717 w 1826549"/>
                    <a:gd name="connsiteY426" fmla="*/ 1857008 h 2287629"/>
                    <a:gd name="connsiteX427" fmla="*/ 436717 w 1826549"/>
                    <a:gd name="connsiteY427" fmla="*/ 1857008 h 2287629"/>
                    <a:gd name="connsiteX428" fmla="*/ 479582 w 1826549"/>
                    <a:gd name="connsiteY428" fmla="*/ 1926600 h 2287629"/>
                    <a:gd name="connsiteX429" fmla="*/ 479582 w 1826549"/>
                    <a:gd name="connsiteY429" fmla="*/ 1926600 h 2287629"/>
                    <a:gd name="connsiteX430" fmla="*/ 493097 w 1826549"/>
                    <a:gd name="connsiteY430" fmla="*/ 1965330 h 2287629"/>
                    <a:gd name="connsiteX431" fmla="*/ 493097 w 1826549"/>
                    <a:gd name="connsiteY431" fmla="*/ 1965330 h 2287629"/>
                    <a:gd name="connsiteX432" fmla="*/ 479683 w 1826549"/>
                    <a:gd name="connsiteY432" fmla="*/ 2005573 h 2287629"/>
                    <a:gd name="connsiteX433" fmla="*/ 479683 w 1826549"/>
                    <a:gd name="connsiteY433" fmla="*/ 2005573 h 2287629"/>
                    <a:gd name="connsiteX434" fmla="*/ 476153 w 1826549"/>
                    <a:gd name="connsiteY434" fmla="*/ 2019491 h 2287629"/>
                    <a:gd name="connsiteX435" fmla="*/ 476153 w 1826549"/>
                    <a:gd name="connsiteY435" fmla="*/ 2019491 h 2287629"/>
                    <a:gd name="connsiteX436" fmla="*/ 523153 w 1826549"/>
                    <a:gd name="connsiteY436" fmla="*/ 2072442 h 2287629"/>
                    <a:gd name="connsiteX437" fmla="*/ 523153 w 1826549"/>
                    <a:gd name="connsiteY437" fmla="*/ 2072442 h 2287629"/>
                    <a:gd name="connsiteX438" fmla="*/ 574692 w 1826549"/>
                    <a:gd name="connsiteY438" fmla="*/ 2120450 h 2287629"/>
                    <a:gd name="connsiteX439" fmla="*/ 574692 w 1826549"/>
                    <a:gd name="connsiteY439" fmla="*/ 2120450 h 2287629"/>
                    <a:gd name="connsiteX440" fmla="*/ 581551 w 1826549"/>
                    <a:gd name="connsiteY440" fmla="*/ 2123779 h 2287629"/>
                    <a:gd name="connsiteX441" fmla="*/ 581551 w 1826549"/>
                    <a:gd name="connsiteY441" fmla="*/ 2123779 h 2287629"/>
                    <a:gd name="connsiteX442" fmla="*/ 625222 w 1826549"/>
                    <a:gd name="connsiteY442" fmla="*/ 2107036 h 2287629"/>
                    <a:gd name="connsiteX443" fmla="*/ 625222 w 1826549"/>
                    <a:gd name="connsiteY443" fmla="*/ 2107036 h 2287629"/>
                    <a:gd name="connsiteX444" fmla="*/ 629055 w 1826549"/>
                    <a:gd name="connsiteY444" fmla="*/ 2106431 h 2287629"/>
                    <a:gd name="connsiteX445" fmla="*/ 629055 w 1826549"/>
                    <a:gd name="connsiteY445" fmla="*/ 2106431 h 2287629"/>
                    <a:gd name="connsiteX446" fmla="*/ 641158 w 1826549"/>
                    <a:gd name="connsiteY446" fmla="*/ 2128217 h 2287629"/>
                    <a:gd name="connsiteX447" fmla="*/ 641158 w 1826549"/>
                    <a:gd name="connsiteY447" fmla="*/ 2128217 h 2287629"/>
                    <a:gd name="connsiteX448" fmla="*/ 633795 w 1826549"/>
                    <a:gd name="connsiteY448" fmla="*/ 2167652 h 2287629"/>
                    <a:gd name="connsiteX449" fmla="*/ 633795 w 1826549"/>
                    <a:gd name="connsiteY449" fmla="*/ 2167652 h 2287629"/>
                    <a:gd name="connsiteX450" fmla="*/ 632686 w 1826549"/>
                    <a:gd name="connsiteY450" fmla="*/ 2173704 h 2287629"/>
                    <a:gd name="connsiteX451" fmla="*/ 632686 w 1826549"/>
                    <a:gd name="connsiteY451" fmla="*/ 2173704 h 2287629"/>
                    <a:gd name="connsiteX452" fmla="*/ 666776 w 1826549"/>
                    <a:gd name="connsiteY452" fmla="*/ 2205373 h 2287629"/>
                    <a:gd name="connsiteX453" fmla="*/ 666776 w 1826549"/>
                    <a:gd name="connsiteY453" fmla="*/ 2205373 h 2287629"/>
                    <a:gd name="connsiteX454" fmla="*/ 667885 w 1826549"/>
                    <a:gd name="connsiteY454" fmla="*/ 2211526 h 2287629"/>
                    <a:gd name="connsiteX455" fmla="*/ 667885 w 1826549"/>
                    <a:gd name="connsiteY455" fmla="*/ 2211526 h 2287629"/>
                    <a:gd name="connsiteX456" fmla="*/ 654875 w 1826549"/>
                    <a:gd name="connsiteY456" fmla="*/ 2237043 h 2287629"/>
                    <a:gd name="connsiteX457" fmla="*/ 654875 w 1826549"/>
                    <a:gd name="connsiteY457" fmla="*/ 2237043 h 2287629"/>
                    <a:gd name="connsiteX458" fmla="*/ 682712 w 1826549"/>
                    <a:gd name="connsiteY458" fmla="*/ 2257618 h 2287629"/>
                    <a:gd name="connsiteX459" fmla="*/ 682712 w 1826549"/>
                    <a:gd name="connsiteY459" fmla="*/ 2257618 h 2287629"/>
                    <a:gd name="connsiteX460" fmla="*/ 707220 w 1826549"/>
                    <a:gd name="connsiteY460" fmla="*/ 2264476 h 2287629"/>
                    <a:gd name="connsiteX461" fmla="*/ 707220 w 1826549"/>
                    <a:gd name="connsiteY461" fmla="*/ 2264476 h 2287629"/>
                    <a:gd name="connsiteX462" fmla="*/ 741613 w 1826549"/>
                    <a:gd name="connsiteY462" fmla="*/ 2241279 h 2287629"/>
                    <a:gd name="connsiteX463" fmla="*/ 741613 w 1826549"/>
                    <a:gd name="connsiteY463" fmla="*/ 2241279 h 2287629"/>
                    <a:gd name="connsiteX464" fmla="*/ 756137 w 1826549"/>
                    <a:gd name="connsiteY464" fmla="*/ 2231496 h 2287629"/>
                    <a:gd name="connsiteX465" fmla="*/ 756137 w 1826549"/>
                    <a:gd name="connsiteY465" fmla="*/ 2231496 h 2287629"/>
                    <a:gd name="connsiteX466" fmla="*/ 791034 w 1826549"/>
                    <a:gd name="connsiteY466" fmla="*/ 2279303 h 2287629"/>
                    <a:gd name="connsiteX467" fmla="*/ 791034 w 1826549"/>
                    <a:gd name="connsiteY467" fmla="*/ 2279303 h 2287629"/>
                    <a:gd name="connsiteX468" fmla="*/ 796480 w 1826549"/>
                    <a:gd name="connsiteY468" fmla="*/ 2282026 h 2287629"/>
                    <a:gd name="connsiteX469" fmla="*/ 796480 w 1826549"/>
                    <a:gd name="connsiteY469" fmla="*/ 2282026 h 2287629"/>
                    <a:gd name="connsiteX470" fmla="*/ 853667 w 1826549"/>
                    <a:gd name="connsiteY470" fmla="*/ 2224537 h 2287629"/>
                    <a:gd name="connsiteX471" fmla="*/ 853667 w 1826549"/>
                    <a:gd name="connsiteY471" fmla="*/ 2224537 h 2287629"/>
                    <a:gd name="connsiteX472" fmla="*/ 878780 w 1826549"/>
                    <a:gd name="connsiteY472" fmla="*/ 2212635 h 2287629"/>
                    <a:gd name="connsiteX473" fmla="*/ 878780 w 1826549"/>
                    <a:gd name="connsiteY473" fmla="*/ 2212635 h 2287629"/>
                    <a:gd name="connsiteX474" fmla="*/ 923057 w 1826549"/>
                    <a:gd name="connsiteY474" fmla="*/ 2237648 h 2287629"/>
                    <a:gd name="connsiteX475" fmla="*/ 923057 w 1826549"/>
                    <a:gd name="connsiteY475" fmla="*/ 2237648 h 2287629"/>
                    <a:gd name="connsiteX476" fmla="*/ 937682 w 1826549"/>
                    <a:gd name="connsiteY476" fmla="*/ 2258223 h 2287629"/>
                    <a:gd name="connsiteX477" fmla="*/ 937682 w 1826549"/>
                    <a:gd name="connsiteY477" fmla="*/ 2258223 h 2287629"/>
                    <a:gd name="connsiteX478" fmla="*/ 947566 w 1826549"/>
                    <a:gd name="connsiteY478" fmla="*/ 2257316 h 2287629"/>
                    <a:gd name="connsiteX479" fmla="*/ 947566 w 1826549"/>
                    <a:gd name="connsiteY479" fmla="*/ 2257316 h 2287629"/>
                    <a:gd name="connsiteX480" fmla="*/ 954727 w 1826549"/>
                    <a:gd name="connsiteY480" fmla="*/ 2251667 h 2287629"/>
                    <a:gd name="connsiteX481" fmla="*/ 954727 w 1826549"/>
                    <a:gd name="connsiteY481" fmla="*/ 2251667 h 2287629"/>
                    <a:gd name="connsiteX482" fmla="*/ 954021 w 1826549"/>
                    <a:gd name="connsiteY482" fmla="*/ 2243599 h 2287629"/>
                    <a:gd name="connsiteX483" fmla="*/ 954021 w 1826549"/>
                    <a:gd name="connsiteY483" fmla="*/ 2243599 h 2287629"/>
                    <a:gd name="connsiteX484" fmla="*/ 964107 w 1826549"/>
                    <a:gd name="connsiteY484" fmla="*/ 2229882 h 2287629"/>
                    <a:gd name="connsiteX485" fmla="*/ 964107 w 1826549"/>
                    <a:gd name="connsiteY485" fmla="*/ 2229882 h 2287629"/>
                    <a:gd name="connsiteX486" fmla="*/ 971469 w 1826549"/>
                    <a:gd name="connsiteY486" fmla="*/ 2228168 h 2287629"/>
                    <a:gd name="connsiteX487" fmla="*/ 971469 w 1826549"/>
                    <a:gd name="connsiteY487" fmla="*/ 2228168 h 2287629"/>
                    <a:gd name="connsiteX488" fmla="*/ 998802 w 1826549"/>
                    <a:gd name="connsiteY488" fmla="*/ 2246625 h 2287629"/>
                    <a:gd name="connsiteX489" fmla="*/ 998802 w 1826549"/>
                    <a:gd name="connsiteY489" fmla="*/ 2246625 h 2287629"/>
                    <a:gd name="connsiteX490" fmla="*/ 1001929 w 1826549"/>
                    <a:gd name="connsiteY490" fmla="*/ 2245717 h 2287629"/>
                    <a:gd name="connsiteX491" fmla="*/ 1001929 w 1826549"/>
                    <a:gd name="connsiteY491" fmla="*/ 2245717 h 2287629"/>
                    <a:gd name="connsiteX492" fmla="*/ 1005560 w 1826549"/>
                    <a:gd name="connsiteY492" fmla="*/ 2238959 h 2287629"/>
                    <a:gd name="connsiteX493" fmla="*/ 1005560 w 1826549"/>
                    <a:gd name="connsiteY493" fmla="*/ 2238959 h 2287629"/>
                    <a:gd name="connsiteX494" fmla="*/ 990431 w 1826549"/>
                    <a:gd name="connsiteY494" fmla="*/ 2203961 h 2287629"/>
                    <a:gd name="connsiteX495" fmla="*/ 990431 w 1826549"/>
                    <a:gd name="connsiteY495" fmla="*/ 2203961 h 2287629"/>
                    <a:gd name="connsiteX496" fmla="*/ 989523 w 1826549"/>
                    <a:gd name="connsiteY496" fmla="*/ 2199826 h 2287629"/>
                    <a:gd name="connsiteX497" fmla="*/ 989523 w 1826549"/>
                    <a:gd name="connsiteY497" fmla="*/ 2199826 h 2287629"/>
                    <a:gd name="connsiteX498" fmla="*/ 1009392 w 1826549"/>
                    <a:gd name="connsiteY498" fmla="*/ 2187522 h 2287629"/>
                    <a:gd name="connsiteX499" fmla="*/ 1009392 w 1826549"/>
                    <a:gd name="connsiteY499" fmla="*/ 2187522 h 2287629"/>
                    <a:gd name="connsiteX500" fmla="*/ 1024622 w 1826549"/>
                    <a:gd name="connsiteY500" fmla="*/ 2192766 h 2287629"/>
                    <a:gd name="connsiteX501" fmla="*/ 1024622 w 1826549"/>
                    <a:gd name="connsiteY501" fmla="*/ 2192766 h 2287629"/>
                    <a:gd name="connsiteX502" fmla="*/ 1047315 w 1826549"/>
                    <a:gd name="connsiteY502" fmla="*/ 2209509 h 2287629"/>
                    <a:gd name="connsiteX503" fmla="*/ 1047315 w 1826549"/>
                    <a:gd name="connsiteY503" fmla="*/ 2209509 h 2287629"/>
                    <a:gd name="connsiteX504" fmla="*/ 1065873 w 1826549"/>
                    <a:gd name="connsiteY504" fmla="*/ 2202549 h 2287629"/>
                    <a:gd name="connsiteX505" fmla="*/ 1065873 w 1826549"/>
                    <a:gd name="connsiteY505" fmla="*/ 2202549 h 2287629"/>
                    <a:gd name="connsiteX506" fmla="*/ 1109747 w 1826549"/>
                    <a:gd name="connsiteY506" fmla="*/ 2189640 h 2287629"/>
                    <a:gd name="connsiteX507" fmla="*/ 1109747 w 1826549"/>
                    <a:gd name="connsiteY507" fmla="*/ 2189640 h 2287629"/>
                    <a:gd name="connsiteX508" fmla="*/ 1176112 w 1826549"/>
                    <a:gd name="connsiteY508" fmla="*/ 2209307 h 2287629"/>
                    <a:gd name="connsiteX509" fmla="*/ 1176112 w 1826549"/>
                    <a:gd name="connsiteY509" fmla="*/ 2209307 h 2287629"/>
                    <a:gd name="connsiteX510" fmla="*/ 1231785 w 1826549"/>
                    <a:gd name="connsiteY510" fmla="*/ 2222620 h 2287629"/>
                    <a:gd name="connsiteX511" fmla="*/ 1231785 w 1826549"/>
                    <a:gd name="connsiteY511" fmla="*/ 2222620 h 2287629"/>
                    <a:gd name="connsiteX512" fmla="*/ 1301681 w 1826549"/>
                    <a:gd name="connsiteY512" fmla="*/ 2207491 h 2287629"/>
                    <a:gd name="connsiteX513" fmla="*/ 1301681 w 1826549"/>
                    <a:gd name="connsiteY513" fmla="*/ 2207491 h 2287629"/>
                    <a:gd name="connsiteX514" fmla="*/ 1342427 w 1826549"/>
                    <a:gd name="connsiteY514" fmla="*/ 2161298 h 2287629"/>
                    <a:gd name="connsiteX515" fmla="*/ 1342427 w 1826549"/>
                    <a:gd name="connsiteY515" fmla="*/ 2161298 h 2287629"/>
                    <a:gd name="connsiteX516" fmla="*/ 1422913 w 1826549"/>
                    <a:gd name="connsiteY516" fmla="*/ 2113592 h 2287629"/>
                    <a:gd name="connsiteX517" fmla="*/ 1422913 w 1826549"/>
                    <a:gd name="connsiteY517" fmla="*/ 2113592 h 2287629"/>
                    <a:gd name="connsiteX518" fmla="*/ 1437638 w 1826549"/>
                    <a:gd name="connsiteY518" fmla="*/ 2117727 h 2287629"/>
                    <a:gd name="connsiteX519" fmla="*/ 1437638 w 1826549"/>
                    <a:gd name="connsiteY519" fmla="*/ 2117727 h 2287629"/>
                    <a:gd name="connsiteX520" fmla="*/ 1465979 w 1826549"/>
                    <a:gd name="connsiteY520" fmla="*/ 2125897 h 2287629"/>
                    <a:gd name="connsiteX521" fmla="*/ 1465979 w 1826549"/>
                    <a:gd name="connsiteY521" fmla="*/ 2125897 h 2287629"/>
                    <a:gd name="connsiteX522" fmla="*/ 1515400 w 1826549"/>
                    <a:gd name="connsiteY522" fmla="*/ 2104313 h 2287629"/>
                    <a:gd name="connsiteX523" fmla="*/ 1515400 w 1826549"/>
                    <a:gd name="connsiteY523" fmla="*/ 2104313 h 2287629"/>
                    <a:gd name="connsiteX524" fmla="*/ 1520443 w 1826549"/>
                    <a:gd name="connsiteY524" fmla="*/ 2087369 h 2287629"/>
                    <a:gd name="connsiteX525" fmla="*/ 1520443 w 1826549"/>
                    <a:gd name="connsiteY525" fmla="*/ 2087369 h 2287629"/>
                    <a:gd name="connsiteX526" fmla="*/ 1509449 w 1826549"/>
                    <a:gd name="connsiteY526" fmla="*/ 2023122 h 2287629"/>
                    <a:gd name="connsiteX527" fmla="*/ 1509449 w 1826549"/>
                    <a:gd name="connsiteY527" fmla="*/ 2023122 h 2287629"/>
                    <a:gd name="connsiteX528" fmla="*/ 1587211 w 1826549"/>
                    <a:gd name="connsiteY528" fmla="*/ 1975012 h 2287629"/>
                    <a:gd name="connsiteX529" fmla="*/ 1587211 w 1826549"/>
                    <a:gd name="connsiteY529" fmla="*/ 1975012 h 2287629"/>
                    <a:gd name="connsiteX530" fmla="*/ 1595582 w 1826549"/>
                    <a:gd name="connsiteY530" fmla="*/ 1975315 h 2287629"/>
                    <a:gd name="connsiteX531" fmla="*/ 1595582 w 1826549"/>
                    <a:gd name="connsiteY531" fmla="*/ 1975315 h 2287629"/>
                    <a:gd name="connsiteX532" fmla="*/ 1610610 w 1826549"/>
                    <a:gd name="connsiteY532" fmla="*/ 1976021 h 2287629"/>
                    <a:gd name="connsiteX533" fmla="*/ 1610610 w 1826549"/>
                    <a:gd name="connsiteY533" fmla="*/ 1976021 h 2287629"/>
                    <a:gd name="connsiteX534" fmla="*/ 1659729 w 1826549"/>
                    <a:gd name="connsiteY534" fmla="*/ 1953227 h 2287629"/>
                    <a:gd name="connsiteX535" fmla="*/ 1659729 w 1826549"/>
                    <a:gd name="connsiteY535" fmla="*/ 1953227 h 2287629"/>
                    <a:gd name="connsiteX536" fmla="*/ 1724076 w 1826549"/>
                    <a:gd name="connsiteY536" fmla="*/ 1894225 h 2287629"/>
                    <a:gd name="connsiteX537" fmla="*/ 1724076 w 1826549"/>
                    <a:gd name="connsiteY537" fmla="*/ 1894225 h 2287629"/>
                    <a:gd name="connsiteX538" fmla="*/ 1738701 w 1826549"/>
                    <a:gd name="connsiteY538" fmla="*/ 1892207 h 2287629"/>
                    <a:gd name="connsiteX539" fmla="*/ 1738701 w 1826549"/>
                    <a:gd name="connsiteY539" fmla="*/ 1892207 h 2287629"/>
                    <a:gd name="connsiteX540" fmla="*/ 1767950 w 1826549"/>
                    <a:gd name="connsiteY540" fmla="*/ 1899772 h 2287629"/>
                    <a:gd name="connsiteX541" fmla="*/ 1767950 w 1826549"/>
                    <a:gd name="connsiteY541" fmla="*/ 1899772 h 2287629"/>
                    <a:gd name="connsiteX542" fmla="*/ 1766941 w 1826549"/>
                    <a:gd name="connsiteY542" fmla="*/ 1890796 h 2287629"/>
                    <a:gd name="connsiteX543" fmla="*/ 1766941 w 1826549"/>
                    <a:gd name="connsiteY543" fmla="*/ 1890796 h 2287629"/>
                    <a:gd name="connsiteX544" fmla="*/ 1778338 w 1826549"/>
                    <a:gd name="connsiteY544" fmla="*/ 1859731 h 2287629"/>
                    <a:gd name="connsiteX545" fmla="*/ 1778338 w 1826549"/>
                    <a:gd name="connsiteY545" fmla="*/ 1859731 h 2287629"/>
                    <a:gd name="connsiteX546" fmla="*/ 1790139 w 1826549"/>
                    <a:gd name="connsiteY546" fmla="*/ 1817673 h 2287629"/>
                    <a:gd name="connsiteX547" fmla="*/ 1790139 w 1826549"/>
                    <a:gd name="connsiteY547" fmla="*/ 1817673 h 2287629"/>
                    <a:gd name="connsiteX548" fmla="*/ 1787516 w 1826549"/>
                    <a:gd name="connsiteY548" fmla="*/ 1796392 h 2287629"/>
                    <a:gd name="connsiteX549" fmla="*/ 1787516 w 1826549"/>
                    <a:gd name="connsiteY549" fmla="*/ 1796392 h 2287629"/>
                    <a:gd name="connsiteX550" fmla="*/ 1782171 w 1826549"/>
                    <a:gd name="connsiteY550" fmla="*/ 1769362 h 2287629"/>
                    <a:gd name="connsiteX551" fmla="*/ 1782171 w 1826549"/>
                    <a:gd name="connsiteY551" fmla="*/ 1769362 h 2287629"/>
                    <a:gd name="connsiteX552" fmla="*/ 1791349 w 1826549"/>
                    <a:gd name="connsiteY552" fmla="*/ 1746467 h 2287629"/>
                    <a:gd name="connsiteX553" fmla="*/ 1791349 w 1826549"/>
                    <a:gd name="connsiteY553" fmla="*/ 1746467 h 2287629"/>
                    <a:gd name="connsiteX554" fmla="*/ 1802847 w 1826549"/>
                    <a:gd name="connsiteY554" fmla="*/ 1707535 h 2287629"/>
                    <a:gd name="connsiteX555" fmla="*/ 1802847 w 1826549"/>
                    <a:gd name="connsiteY555" fmla="*/ 1707535 h 2287629"/>
                    <a:gd name="connsiteX556" fmla="*/ 1782373 w 1826549"/>
                    <a:gd name="connsiteY556" fmla="*/ 1668403 h 2287629"/>
                    <a:gd name="connsiteX557" fmla="*/ 1782373 w 1826549"/>
                    <a:gd name="connsiteY557" fmla="*/ 1668403 h 2287629"/>
                    <a:gd name="connsiteX558" fmla="*/ 1752720 w 1826549"/>
                    <a:gd name="connsiteY558" fmla="*/ 1628261 h 2287629"/>
                    <a:gd name="connsiteX559" fmla="*/ 1752720 w 1826549"/>
                    <a:gd name="connsiteY559" fmla="*/ 1628261 h 2287629"/>
                    <a:gd name="connsiteX560" fmla="*/ 1758368 w 1826549"/>
                    <a:gd name="connsiteY560" fmla="*/ 1593061 h 2287629"/>
                    <a:gd name="connsiteX561" fmla="*/ 1758368 w 1826549"/>
                    <a:gd name="connsiteY561" fmla="*/ 1593061 h 2287629"/>
                    <a:gd name="connsiteX562" fmla="*/ 1764117 w 1826549"/>
                    <a:gd name="connsiteY562" fmla="*/ 1550902 h 2287629"/>
                    <a:gd name="connsiteX563" fmla="*/ 1764117 w 1826549"/>
                    <a:gd name="connsiteY563" fmla="*/ 1550902 h 2287629"/>
                    <a:gd name="connsiteX564" fmla="*/ 1753123 w 1826549"/>
                    <a:gd name="connsiteY564" fmla="*/ 1522662 h 2287629"/>
                    <a:gd name="connsiteX565" fmla="*/ 1753123 w 1826549"/>
                    <a:gd name="connsiteY565" fmla="*/ 1522662 h 2287629"/>
                    <a:gd name="connsiteX566" fmla="*/ 1732447 w 1826549"/>
                    <a:gd name="connsiteY566" fmla="*/ 1480301 h 2287629"/>
                    <a:gd name="connsiteX567" fmla="*/ 1732447 w 1826549"/>
                    <a:gd name="connsiteY567" fmla="*/ 1480301 h 2287629"/>
                    <a:gd name="connsiteX568" fmla="*/ 1676471 w 1826549"/>
                    <a:gd name="connsiteY568" fmla="*/ 1427149 h 2287629"/>
                    <a:gd name="connsiteX569" fmla="*/ 1676471 w 1826549"/>
                    <a:gd name="connsiteY569" fmla="*/ 1427149 h 2287629"/>
                    <a:gd name="connsiteX570" fmla="*/ 1672033 w 1826549"/>
                    <a:gd name="connsiteY570" fmla="*/ 1404556 h 2287629"/>
                    <a:gd name="connsiteX571" fmla="*/ 1672033 w 1826549"/>
                    <a:gd name="connsiteY571" fmla="*/ 1404556 h 2287629"/>
                    <a:gd name="connsiteX572" fmla="*/ 1690793 w 1826549"/>
                    <a:gd name="connsiteY572" fmla="*/ 1364314 h 2287629"/>
                    <a:gd name="connsiteX573" fmla="*/ 1690793 w 1826549"/>
                    <a:gd name="connsiteY573" fmla="*/ 1364314 h 2287629"/>
                    <a:gd name="connsiteX574" fmla="*/ 1705720 w 1826549"/>
                    <a:gd name="connsiteY574" fmla="*/ 1334964 h 2287629"/>
                    <a:gd name="connsiteX575" fmla="*/ 1705720 w 1826549"/>
                    <a:gd name="connsiteY575" fmla="*/ 1334964 h 2287629"/>
                    <a:gd name="connsiteX576" fmla="*/ 1699265 w 1826549"/>
                    <a:gd name="connsiteY576" fmla="*/ 1313179 h 2287629"/>
                    <a:gd name="connsiteX577" fmla="*/ 1699265 w 1826549"/>
                    <a:gd name="connsiteY577" fmla="*/ 1313179 h 2287629"/>
                    <a:gd name="connsiteX578" fmla="*/ 1677076 w 1826549"/>
                    <a:gd name="connsiteY578" fmla="*/ 1244292 h 2287629"/>
                    <a:gd name="connsiteX579" fmla="*/ 1677076 w 1826549"/>
                    <a:gd name="connsiteY579" fmla="*/ 1244292 h 2287629"/>
                    <a:gd name="connsiteX580" fmla="*/ 1679093 w 1826549"/>
                    <a:gd name="connsiteY580" fmla="*/ 1236728 h 2287629"/>
                    <a:gd name="connsiteX581" fmla="*/ 1679093 w 1826549"/>
                    <a:gd name="connsiteY581" fmla="*/ 1236728 h 2287629"/>
                    <a:gd name="connsiteX582" fmla="*/ 1713385 w 1826549"/>
                    <a:gd name="connsiteY582" fmla="*/ 1216657 h 2287629"/>
                    <a:gd name="connsiteX583" fmla="*/ 1713385 w 1826549"/>
                    <a:gd name="connsiteY583" fmla="*/ 1216657 h 2287629"/>
                    <a:gd name="connsiteX584" fmla="*/ 1718428 w 1826549"/>
                    <a:gd name="connsiteY584" fmla="*/ 1199612 h 2287629"/>
                    <a:gd name="connsiteX585" fmla="*/ 1718428 w 1826549"/>
                    <a:gd name="connsiteY585" fmla="*/ 1199612 h 2287629"/>
                    <a:gd name="connsiteX586" fmla="*/ 1704812 w 1826549"/>
                    <a:gd name="connsiteY586" fmla="*/ 1167841 h 2287629"/>
                    <a:gd name="connsiteX587" fmla="*/ 1704812 w 1826549"/>
                    <a:gd name="connsiteY587" fmla="*/ 1167841 h 2287629"/>
                    <a:gd name="connsiteX588" fmla="*/ 1700475 w 1826549"/>
                    <a:gd name="connsiteY588" fmla="*/ 1149082 h 2287629"/>
                    <a:gd name="connsiteX589" fmla="*/ 1700475 w 1826549"/>
                    <a:gd name="connsiteY589" fmla="*/ 1149082 h 2287629"/>
                    <a:gd name="connsiteX590" fmla="*/ 1700475 w 1826549"/>
                    <a:gd name="connsiteY590" fmla="*/ 1144140 h 2287629"/>
                    <a:gd name="connsiteX591" fmla="*/ 1700475 w 1826549"/>
                    <a:gd name="connsiteY591" fmla="*/ 1144140 h 2287629"/>
                    <a:gd name="connsiteX592" fmla="*/ 1694323 w 1826549"/>
                    <a:gd name="connsiteY592" fmla="*/ 1122657 h 2287629"/>
                    <a:gd name="connsiteX593" fmla="*/ 1694323 w 1826549"/>
                    <a:gd name="connsiteY593" fmla="*/ 1122657 h 2287629"/>
                    <a:gd name="connsiteX594" fmla="*/ 1653576 w 1826549"/>
                    <a:gd name="connsiteY594" fmla="*/ 1077674 h 2287629"/>
                    <a:gd name="connsiteX595" fmla="*/ 1653576 w 1826549"/>
                    <a:gd name="connsiteY595" fmla="*/ 1077674 h 2287629"/>
                    <a:gd name="connsiteX596" fmla="*/ 1685346 w 1826549"/>
                    <a:gd name="connsiteY596" fmla="*/ 1034910 h 2287629"/>
                    <a:gd name="connsiteX597" fmla="*/ 1685346 w 1826549"/>
                    <a:gd name="connsiteY597" fmla="*/ 1034910 h 2287629"/>
                    <a:gd name="connsiteX598" fmla="*/ 1690591 w 1826549"/>
                    <a:gd name="connsiteY598" fmla="*/ 1034708 h 2287629"/>
                    <a:gd name="connsiteX599" fmla="*/ 1690591 w 1826549"/>
                    <a:gd name="connsiteY599" fmla="*/ 1034708 h 2287629"/>
                    <a:gd name="connsiteX600" fmla="*/ 1700072 w 1826549"/>
                    <a:gd name="connsiteY600" fmla="*/ 1034809 h 2287629"/>
                    <a:gd name="connsiteX601" fmla="*/ 1700072 w 1826549"/>
                    <a:gd name="connsiteY601" fmla="*/ 1034809 h 2287629"/>
                    <a:gd name="connsiteX602" fmla="*/ 1729018 w 1826549"/>
                    <a:gd name="connsiteY602" fmla="*/ 1022706 h 2287629"/>
                    <a:gd name="connsiteX603" fmla="*/ 1729018 w 1826549"/>
                    <a:gd name="connsiteY603" fmla="*/ 1022706 h 2287629"/>
                    <a:gd name="connsiteX604" fmla="*/ 1754031 w 1826549"/>
                    <a:gd name="connsiteY604" fmla="*/ 973991 h 2287629"/>
                    <a:gd name="connsiteX605" fmla="*/ 1754031 w 1826549"/>
                    <a:gd name="connsiteY605" fmla="*/ 973991 h 2287629"/>
                    <a:gd name="connsiteX606" fmla="*/ 1752014 w 1826549"/>
                    <a:gd name="connsiteY606" fmla="*/ 937884 h 2287629"/>
                    <a:gd name="connsiteX607" fmla="*/ 1752014 w 1826549"/>
                    <a:gd name="connsiteY607" fmla="*/ 937884 h 2287629"/>
                    <a:gd name="connsiteX608" fmla="*/ 1765529 w 1826549"/>
                    <a:gd name="connsiteY608" fmla="*/ 907727 h 2287629"/>
                    <a:gd name="connsiteX609" fmla="*/ 1765529 w 1826549"/>
                    <a:gd name="connsiteY609" fmla="*/ 907727 h 2287629"/>
                    <a:gd name="connsiteX610" fmla="*/ 1787819 w 1826549"/>
                    <a:gd name="connsiteY610" fmla="*/ 869199 h 2287629"/>
                    <a:gd name="connsiteX611" fmla="*/ 1787819 w 1826549"/>
                    <a:gd name="connsiteY611" fmla="*/ 869199 h 2287629"/>
                    <a:gd name="connsiteX612" fmla="*/ 1819993 w 1826549"/>
                    <a:gd name="connsiteY612" fmla="*/ 833192 h 2287629"/>
                    <a:gd name="connsiteX613" fmla="*/ 1819993 w 1826549"/>
                    <a:gd name="connsiteY613" fmla="*/ 833192 h 2287629"/>
                    <a:gd name="connsiteX614" fmla="*/ 1820900 w 1826549"/>
                    <a:gd name="connsiteY614" fmla="*/ 822300 h 2287629"/>
                    <a:gd name="connsiteX615" fmla="*/ 1820900 w 1826549"/>
                    <a:gd name="connsiteY615" fmla="*/ 822300 h 2287629"/>
                    <a:gd name="connsiteX616" fmla="*/ 1796493 w 1826549"/>
                    <a:gd name="connsiteY616" fmla="*/ 786697 h 2287629"/>
                    <a:gd name="connsiteX617" fmla="*/ 1796493 w 1826549"/>
                    <a:gd name="connsiteY617" fmla="*/ 786697 h 2287629"/>
                    <a:gd name="connsiteX618" fmla="*/ 1796795 w 1826549"/>
                    <a:gd name="connsiteY618" fmla="*/ 783974 h 2287629"/>
                    <a:gd name="connsiteX619" fmla="*/ 1797299 w 1826549"/>
                    <a:gd name="connsiteY619" fmla="*/ 781250 h 2287629"/>
                    <a:gd name="connsiteX620" fmla="*/ 1826548 w 1826549"/>
                    <a:gd name="connsiteY620" fmla="*/ 822300 h 2287629"/>
                    <a:gd name="connsiteX621" fmla="*/ 1826548 w 1826549"/>
                    <a:gd name="connsiteY621" fmla="*/ 822300 h 2287629"/>
                    <a:gd name="connsiteX622" fmla="*/ 1825540 w 1826549"/>
                    <a:gd name="connsiteY622" fmla="*/ 834100 h 2287629"/>
                    <a:gd name="connsiteX623" fmla="*/ 1825540 w 1826549"/>
                    <a:gd name="connsiteY623" fmla="*/ 834100 h 2287629"/>
                    <a:gd name="connsiteX624" fmla="*/ 1792963 w 1826549"/>
                    <a:gd name="connsiteY624" fmla="*/ 871519 h 2287629"/>
                    <a:gd name="connsiteX625" fmla="*/ 1792963 w 1826549"/>
                    <a:gd name="connsiteY625" fmla="*/ 871519 h 2287629"/>
                    <a:gd name="connsiteX626" fmla="*/ 1767748 w 1826549"/>
                    <a:gd name="connsiteY626" fmla="*/ 912871 h 2287629"/>
                    <a:gd name="connsiteX627" fmla="*/ 1767748 w 1826549"/>
                    <a:gd name="connsiteY627" fmla="*/ 912871 h 2287629"/>
                    <a:gd name="connsiteX628" fmla="*/ 1757662 w 1826549"/>
                    <a:gd name="connsiteY628" fmla="*/ 937884 h 2287629"/>
                    <a:gd name="connsiteX629" fmla="*/ 1757662 w 1826549"/>
                    <a:gd name="connsiteY629" fmla="*/ 937884 h 2287629"/>
                    <a:gd name="connsiteX630" fmla="*/ 1759679 w 1826549"/>
                    <a:gd name="connsiteY630" fmla="*/ 973991 h 2287629"/>
                    <a:gd name="connsiteX631" fmla="*/ 1759679 w 1826549"/>
                    <a:gd name="connsiteY631" fmla="*/ 973991 h 2287629"/>
                    <a:gd name="connsiteX632" fmla="*/ 1732851 w 1826549"/>
                    <a:gd name="connsiteY632" fmla="*/ 1026841 h 2287629"/>
                    <a:gd name="connsiteX633" fmla="*/ 1732851 w 1826549"/>
                    <a:gd name="connsiteY633" fmla="*/ 1026841 h 2287629"/>
                    <a:gd name="connsiteX634" fmla="*/ 1700274 w 1826549"/>
                    <a:gd name="connsiteY634" fmla="*/ 1040457 h 2287629"/>
                    <a:gd name="connsiteX635" fmla="*/ 1700274 w 1826549"/>
                    <a:gd name="connsiteY635" fmla="*/ 1040457 h 2287629"/>
                    <a:gd name="connsiteX636" fmla="*/ 1690793 w 1826549"/>
                    <a:gd name="connsiteY636" fmla="*/ 1040356 h 2287629"/>
                    <a:gd name="connsiteX637" fmla="*/ 1690793 w 1826549"/>
                    <a:gd name="connsiteY637" fmla="*/ 1040356 h 2287629"/>
                    <a:gd name="connsiteX638" fmla="*/ 1685851 w 1826549"/>
                    <a:gd name="connsiteY638" fmla="*/ 1040457 h 2287629"/>
                    <a:gd name="connsiteX639" fmla="*/ 1685851 w 1826549"/>
                    <a:gd name="connsiteY639" fmla="*/ 1040457 h 2287629"/>
                    <a:gd name="connsiteX640" fmla="*/ 1659325 w 1826549"/>
                    <a:gd name="connsiteY640" fmla="*/ 1077674 h 2287629"/>
                    <a:gd name="connsiteX641" fmla="*/ 1659325 w 1826549"/>
                    <a:gd name="connsiteY641" fmla="*/ 1077674 h 2287629"/>
                    <a:gd name="connsiteX642" fmla="*/ 1698559 w 1826549"/>
                    <a:gd name="connsiteY642" fmla="*/ 1119026 h 2287629"/>
                    <a:gd name="connsiteX643" fmla="*/ 1698559 w 1826549"/>
                    <a:gd name="connsiteY643" fmla="*/ 1119026 h 2287629"/>
                    <a:gd name="connsiteX644" fmla="*/ 1706224 w 1826549"/>
                    <a:gd name="connsiteY644" fmla="*/ 1144039 h 2287629"/>
                    <a:gd name="connsiteX645" fmla="*/ 1706224 w 1826549"/>
                    <a:gd name="connsiteY645" fmla="*/ 1144039 h 2287629"/>
                    <a:gd name="connsiteX646" fmla="*/ 1706224 w 1826549"/>
                    <a:gd name="connsiteY646" fmla="*/ 1148981 h 2287629"/>
                    <a:gd name="connsiteX647" fmla="*/ 1706224 w 1826549"/>
                    <a:gd name="connsiteY647" fmla="*/ 1148981 h 2287629"/>
                    <a:gd name="connsiteX648" fmla="*/ 1709653 w 1826549"/>
                    <a:gd name="connsiteY648" fmla="*/ 1164614 h 2287629"/>
                    <a:gd name="connsiteX649" fmla="*/ 1709653 w 1826549"/>
                    <a:gd name="connsiteY649" fmla="*/ 1164614 h 2287629"/>
                    <a:gd name="connsiteX650" fmla="*/ 1724177 w 1826549"/>
                    <a:gd name="connsiteY650" fmla="*/ 1199511 h 2287629"/>
                    <a:gd name="connsiteX651" fmla="*/ 1724177 w 1826549"/>
                    <a:gd name="connsiteY651" fmla="*/ 1199511 h 2287629"/>
                    <a:gd name="connsiteX652" fmla="*/ 1718327 w 1826549"/>
                    <a:gd name="connsiteY652" fmla="*/ 1219380 h 2287629"/>
                    <a:gd name="connsiteX653" fmla="*/ 1718327 w 1826549"/>
                    <a:gd name="connsiteY653" fmla="*/ 1219380 h 2287629"/>
                    <a:gd name="connsiteX654" fmla="*/ 1683329 w 1826549"/>
                    <a:gd name="connsiteY654" fmla="*/ 1240359 h 2287629"/>
                    <a:gd name="connsiteX655" fmla="*/ 1683329 w 1826549"/>
                    <a:gd name="connsiteY655" fmla="*/ 1240359 h 2287629"/>
                    <a:gd name="connsiteX656" fmla="*/ 1682724 w 1826549"/>
                    <a:gd name="connsiteY656" fmla="*/ 1244090 h 2287629"/>
                    <a:gd name="connsiteX657" fmla="*/ 1682724 w 1826549"/>
                    <a:gd name="connsiteY657" fmla="*/ 1244090 h 2287629"/>
                    <a:gd name="connsiteX658" fmla="*/ 1704308 w 1826549"/>
                    <a:gd name="connsiteY658" fmla="*/ 1310657 h 2287629"/>
                    <a:gd name="connsiteX659" fmla="*/ 1704308 w 1826549"/>
                    <a:gd name="connsiteY659" fmla="*/ 1310657 h 2287629"/>
                    <a:gd name="connsiteX660" fmla="*/ 1711368 w 1826549"/>
                    <a:gd name="connsiteY660" fmla="*/ 1334863 h 2287629"/>
                    <a:gd name="connsiteX661" fmla="*/ 1711368 w 1826549"/>
                    <a:gd name="connsiteY661" fmla="*/ 1334863 h 2287629"/>
                    <a:gd name="connsiteX662" fmla="*/ 1695432 w 1826549"/>
                    <a:gd name="connsiteY662" fmla="*/ 1367340 h 2287629"/>
                    <a:gd name="connsiteX663" fmla="*/ 1695432 w 1826549"/>
                    <a:gd name="connsiteY663" fmla="*/ 1367340 h 2287629"/>
                    <a:gd name="connsiteX664" fmla="*/ 1677580 w 1826549"/>
                    <a:gd name="connsiteY664" fmla="*/ 1404556 h 2287629"/>
                    <a:gd name="connsiteX665" fmla="*/ 1677580 w 1826549"/>
                    <a:gd name="connsiteY665" fmla="*/ 1404556 h 2287629"/>
                    <a:gd name="connsiteX666" fmla="*/ 1681716 w 1826549"/>
                    <a:gd name="connsiteY666" fmla="*/ 1425434 h 2287629"/>
                    <a:gd name="connsiteX667" fmla="*/ 1681716 w 1826549"/>
                    <a:gd name="connsiteY667" fmla="*/ 1425434 h 2287629"/>
                    <a:gd name="connsiteX668" fmla="*/ 1738096 w 1826549"/>
                    <a:gd name="connsiteY668" fmla="*/ 1480301 h 2287629"/>
                    <a:gd name="connsiteX669" fmla="*/ 1738096 w 1826549"/>
                    <a:gd name="connsiteY669" fmla="*/ 1480301 h 2287629"/>
                    <a:gd name="connsiteX670" fmla="*/ 1756149 w 1826549"/>
                    <a:gd name="connsiteY670" fmla="*/ 1517921 h 2287629"/>
                    <a:gd name="connsiteX671" fmla="*/ 1756149 w 1826549"/>
                    <a:gd name="connsiteY671" fmla="*/ 1517921 h 2287629"/>
                    <a:gd name="connsiteX672" fmla="*/ 1769765 w 1826549"/>
                    <a:gd name="connsiteY672" fmla="*/ 1550801 h 2287629"/>
                    <a:gd name="connsiteX673" fmla="*/ 1769765 w 1826549"/>
                    <a:gd name="connsiteY673" fmla="*/ 1550801 h 2287629"/>
                    <a:gd name="connsiteX674" fmla="*/ 1763814 w 1826549"/>
                    <a:gd name="connsiteY674" fmla="*/ 1594271 h 2287629"/>
                    <a:gd name="connsiteX675" fmla="*/ 1763814 w 1826549"/>
                    <a:gd name="connsiteY675" fmla="*/ 1594271 h 2287629"/>
                    <a:gd name="connsiteX676" fmla="*/ 1758469 w 1826549"/>
                    <a:gd name="connsiteY676" fmla="*/ 1628261 h 2287629"/>
                    <a:gd name="connsiteX677" fmla="*/ 1758469 w 1826549"/>
                    <a:gd name="connsiteY677" fmla="*/ 1628261 h 2287629"/>
                    <a:gd name="connsiteX678" fmla="*/ 1785197 w 1826549"/>
                    <a:gd name="connsiteY678" fmla="*/ 1663561 h 2287629"/>
                    <a:gd name="connsiteX679" fmla="*/ 1785197 w 1826549"/>
                    <a:gd name="connsiteY679" fmla="*/ 1663561 h 2287629"/>
                    <a:gd name="connsiteX680" fmla="*/ 1808394 w 1826549"/>
                    <a:gd name="connsiteY680" fmla="*/ 1707435 h 2287629"/>
                    <a:gd name="connsiteX681" fmla="*/ 1808394 w 1826549"/>
                    <a:gd name="connsiteY681" fmla="*/ 1707435 h 2287629"/>
                    <a:gd name="connsiteX682" fmla="*/ 1795686 w 1826549"/>
                    <a:gd name="connsiteY682" fmla="*/ 1749795 h 2287629"/>
                    <a:gd name="connsiteX683" fmla="*/ 1795686 w 1826549"/>
                    <a:gd name="connsiteY683" fmla="*/ 1749795 h 2287629"/>
                    <a:gd name="connsiteX684" fmla="*/ 1787819 w 1826549"/>
                    <a:gd name="connsiteY684" fmla="*/ 1769261 h 2287629"/>
                    <a:gd name="connsiteX685" fmla="*/ 1787819 w 1826549"/>
                    <a:gd name="connsiteY685" fmla="*/ 1769261 h 2287629"/>
                    <a:gd name="connsiteX686" fmla="*/ 1792963 w 1826549"/>
                    <a:gd name="connsiteY686" fmla="*/ 1794879 h 2287629"/>
                    <a:gd name="connsiteX687" fmla="*/ 1792963 w 1826549"/>
                    <a:gd name="connsiteY687" fmla="*/ 1794879 h 2287629"/>
                    <a:gd name="connsiteX688" fmla="*/ 1795888 w 1826549"/>
                    <a:gd name="connsiteY688" fmla="*/ 1817673 h 2287629"/>
                    <a:gd name="connsiteX689" fmla="*/ 1795888 w 1826549"/>
                    <a:gd name="connsiteY689" fmla="*/ 1817673 h 2287629"/>
                    <a:gd name="connsiteX690" fmla="*/ 1782776 w 1826549"/>
                    <a:gd name="connsiteY690" fmla="*/ 1863261 h 2287629"/>
                    <a:gd name="connsiteX691" fmla="*/ 1782776 w 1826549"/>
                    <a:gd name="connsiteY691" fmla="*/ 1863261 h 2287629"/>
                    <a:gd name="connsiteX692" fmla="*/ 1772690 w 1826549"/>
                    <a:gd name="connsiteY692" fmla="*/ 1890796 h 2287629"/>
                    <a:gd name="connsiteX693" fmla="*/ 1772690 w 1826549"/>
                    <a:gd name="connsiteY693" fmla="*/ 1890796 h 2287629"/>
                    <a:gd name="connsiteX694" fmla="*/ 1770269 w 1826549"/>
                    <a:gd name="connsiteY694" fmla="*/ 1901991 h 2287629"/>
                    <a:gd name="connsiteX695" fmla="*/ 1770269 w 1826549"/>
                    <a:gd name="connsiteY695" fmla="*/ 1901991 h 2287629"/>
                    <a:gd name="connsiteX696" fmla="*/ 1738802 w 1826549"/>
                    <a:gd name="connsiteY696" fmla="*/ 1897856 h 2287629"/>
                    <a:gd name="connsiteX697" fmla="*/ 1738802 w 1826549"/>
                    <a:gd name="connsiteY697" fmla="*/ 1897856 h 2287629"/>
                    <a:gd name="connsiteX698" fmla="*/ 1725992 w 1826549"/>
                    <a:gd name="connsiteY698" fmla="*/ 1899570 h 2287629"/>
                    <a:gd name="connsiteX699" fmla="*/ 1725992 w 1826549"/>
                    <a:gd name="connsiteY699" fmla="*/ 1899570 h 2287629"/>
                    <a:gd name="connsiteX700" fmla="*/ 1662351 w 1826549"/>
                    <a:gd name="connsiteY700" fmla="*/ 1958169 h 2287629"/>
                    <a:gd name="connsiteX701" fmla="*/ 1662351 w 1826549"/>
                    <a:gd name="connsiteY701" fmla="*/ 1958169 h 2287629"/>
                    <a:gd name="connsiteX702" fmla="*/ 1610711 w 1826549"/>
                    <a:gd name="connsiteY702" fmla="*/ 1981770 h 2287629"/>
                    <a:gd name="connsiteX703" fmla="*/ 1610711 w 1826549"/>
                    <a:gd name="connsiteY703" fmla="*/ 1981770 h 2287629"/>
                    <a:gd name="connsiteX704" fmla="*/ 1595078 w 1826549"/>
                    <a:gd name="connsiteY704" fmla="*/ 1981064 h 2287629"/>
                    <a:gd name="connsiteX705" fmla="*/ 1595078 w 1826549"/>
                    <a:gd name="connsiteY705" fmla="*/ 1981064 h 2287629"/>
                    <a:gd name="connsiteX706" fmla="*/ 1587312 w 1826549"/>
                    <a:gd name="connsiteY706" fmla="*/ 1980560 h 2287629"/>
                    <a:gd name="connsiteX707" fmla="*/ 1587312 w 1826549"/>
                    <a:gd name="connsiteY707" fmla="*/ 1980560 h 2287629"/>
                    <a:gd name="connsiteX708" fmla="*/ 1515198 w 1826549"/>
                    <a:gd name="connsiteY708" fmla="*/ 2023223 h 2287629"/>
                    <a:gd name="connsiteX709" fmla="*/ 1515198 w 1826549"/>
                    <a:gd name="connsiteY709" fmla="*/ 2023223 h 2287629"/>
                    <a:gd name="connsiteX710" fmla="*/ 1526192 w 1826549"/>
                    <a:gd name="connsiteY710" fmla="*/ 2087470 h 2287629"/>
                    <a:gd name="connsiteX711" fmla="*/ 1526192 w 1826549"/>
                    <a:gd name="connsiteY711" fmla="*/ 2087470 h 2287629"/>
                    <a:gd name="connsiteX712" fmla="*/ 1519737 w 1826549"/>
                    <a:gd name="connsiteY712" fmla="*/ 2108146 h 2287629"/>
                    <a:gd name="connsiteX713" fmla="*/ 1519737 w 1826549"/>
                    <a:gd name="connsiteY713" fmla="*/ 2108146 h 2287629"/>
                    <a:gd name="connsiteX714" fmla="*/ 1466181 w 1826549"/>
                    <a:gd name="connsiteY714" fmla="*/ 2131545 h 2287629"/>
                    <a:gd name="connsiteX715" fmla="*/ 1466181 w 1826549"/>
                    <a:gd name="connsiteY715" fmla="*/ 2131545 h 2287629"/>
                    <a:gd name="connsiteX716" fmla="*/ 1434814 w 1826549"/>
                    <a:gd name="connsiteY716" fmla="*/ 2122367 h 2287629"/>
                    <a:gd name="connsiteX717" fmla="*/ 1434814 w 1826549"/>
                    <a:gd name="connsiteY717" fmla="*/ 2122367 h 2287629"/>
                    <a:gd name="connsiteX718" fmla="*/ 1423013 w 1826549"/>
                    <a:gd name="connsiteY718" fmla="*/ 2119139 h 2287629"/>
                    <a:gd name="connsiteX719" fmla="*/ 1423013 w 1826549"/>
                    <a:gd name="connsiteY719" fmla="*/ 2119139 h 2287629"/>
                    <a:gd name="connsiteX720" fmla="*/ 1374097 w 1826549"/>
                    <a:gd name="connsiteY720" fmla="*/ 2141429 h 2287629"/>
                    <a:gd name="connsiteX721" fmla="*/ 1374097 w 1826549"/>
                    <a:gd name="connsiteY721" fmla="*/ 2141429 h 2287629"/>
                    <a:gd name="connsiteX722" fmla="*/ 1347269 w 1826549"/>
                    <a:gd name="connsiteY722" fmla="*/ 2163820 h 2287629"/>
                    <a:gd name="connsiteX723" fmla="*/ 1347269 w 1826549"/>
                    <a:gd name="connsiteY723" fmla="*/ 2163820 h 2287629"/>
                    <a:gd name="connsiteX724" fmla="*/ 1304202 w 1826549"/>
                    <a:gd name="connsiteY724" fmla="*/ 2212534 h 2287629"/>
                    <a:gd name="connsiteX725" fmla="*/ 1304202 w 1826549"/>
                    <a:gd name="connsiteY725" fmla="*/ 2212534 h 2287629"/>
                    <a:gd name="connsiteX726" fmla="*/ 1232088 w 1826549"/>
                    <a:gd name="connsiteY726" fmla="*/ 2228067 h 2287629"/>
                    <a:gd name="connsiteX727" fmla="*/ 1232088 w 1826549"/>
                    <a:gd name="connsiteY727" fmla="*/ 2228067 h 2287629"/>
                    <a:gd name="connsiteX728" fmla="*/ 1173691 w 1826549"/>
                    <a:gd name="connsiteY728" fmla="*/ 2214148 h 2287629"/>
                    <a:gd name="connsiteX729" fmla="*/ 1173691 w 1826549"/>
                    <a:gd name="connsiteY729" fmla="*/ 2214148 h 2287629"/>
                    <a:gd name="connsiteX730" fmla="*/ 1110150 w 1826549"/>
                    <a:gd name="connsiteY730" fmla="*/ 2195187 h 2287629"/>
                    <a:gd name="connsiteX731" fmla="*/ 1110150 w 1826549"/>
                    <a:gd name="connsiteY731" fmla="*/ 2195187 h 2287629"/>
                    <a:gd name="connsiteX732" fmla="*/ 1069504 w 1826549"/>
                    <a:gd name="connsiteY732" fmla="*/ 2207088 h 2287629"/>
                    <a:gd name="connsiteX733" fmla="*/ 1069504 w 1826549"/>
                    <a:gd name="connsiteY733" fmla="*/ 2207088 h 2287629"/>
                    <a:gd name="connsiteX734" fmla="*/ 1047819 w 1826549"/>
                    <a:gd name="connsiteY734" fmla="*/ 2214955 h 2287629"/>
                    <a:gd name="connsiteX735" fmla="*/ 1047819 w 1826549"/>
                    <a:gd name="connsiteY735" fmla="*/ 2214955 h 2287629"/>
                    <a:gd name="connsiteX736" fmla="*/ 1020689 w 1826549"/>
                    <a:gd name="connsiteY736" fmla="*/ 2196094 h 2287629"/>
                    <a:gd name="connsiteX737" fmla="*/ 1020689 w 1826549"/>
                    <a:gd name="connsiteY737" fmla="*/ 2196094 h 2287629"/>
                    <a:gd name="connsiteX738" fmla="*/ 1009897 w 1826549"/>
                    <a:gd name="connsiteY738" fmla="*/ 2193170 h 2287629"/>
                    <a:gd name="connsiteX739" fmla="*/ 1009897 w 1826549"/>
                    <a:gd name="connsiteY739" fmla="*/ 2193170 h 2287629"/>
                    <a:gd name="connsiteX740" fmla="*/ 995575 w 1826549"/>
                    <a:gd name="connsiteY740" fmla="*/ 2199927 h 2287629"/>
                    <a:gd name="connsiteX741" fmla="*/ 995575 w 1826549"/>
                    <a:gd name="connsiteY741" fmla="*/ 2199927 h 2287629"/>
                    <a:gd name="connsiteX742" fmla="*/ 996079 w 1826549"/>
                    <a:gd name="connsiteY742" fmla="*/ 2202045 h 2287629"/>
                    <a:gd name="connsiteX743" fmla="*/ 996079 w 1826549"/>
                    <a:gd name="connsiteY743" fmla="*/ 2202045 h 2287629"/>
                    <a:gd name="connsiteX744" fmla="*/ 1011510 w 1826549"/>
                    <a:gd name="connsiteY744" fmla="*/ 2238959 h 2287629"/>
                    <a:gd name="connsiteX745" fmla="*/ 1011510 w 1826549"/>
                    <a:gd name="connsiteY745" fmla="*/ 2238959 h 2287629"/>
                    <a:gd name="connsiteX746" fmla="*/ 1005257 w 1826549"/>
                    <a:gd name="connsiteY746" fmla="*/ 2250558 h 2287629"/>
                    <a:gd name="connsiteX747" fmla="*/ 1005257 w 1826549"/>
                    <a:gd name="connsiteY747" fmla="*/ 2250558 h 2287629"/>
                    <a:gd name="connsiteX748" fmla="*/ 999307 w 1826549"/>
                    <a:gd name="connsiteY748" fmla="*/ 2252273 h 2287629"/>
                    <a:gd name="connsiteX749" fmla="*/ 999307 w 1826549"/>
                    <a:gd name="connsiteY749" fmla="*/ 2252273 h 2287629"/>
                    <a:gd name="connsiteX750" fmla="*/ 971974 w 1826549"/>
                    <a:gd name="connsiteY750" fmla="*/ 2233715 h 2287629"/>
                    <a:gd name="connsiteX751" fmla="*/ 971974 w 1826549"/>
                    <a:gd name="connsiteY751" fmla="*/ 2233715 h 2287629"/>
                    <a:gd name="connsiteX752" fmla="*/ 966931 w 1826549"/>
                    <a:gd name="connsiteY752" fmla="*/ 2235127 h 2287629"/>
                    <a:gd name="connsiteX753" fmla="*/ 966931 w 1826549"/>
                    <a:gd name="connsiteY753" fmla="*/ 2235127 h 2287629"/>
                    <a:gd name="connsiteX754" fmla="*/ 960173 w 1826549"/>
                    <a:gd name="connsiteY754" fmla="*/ 2243700 h 2287629"/>
                    <a:gd name="connsiteX755" fmla="*/ 960173 w 1826549"/>
                    <a:gd name="connsiteY755" fmla="*/ 2243700 h 2287629"/>
                    <a:gd name="connsiteX756" fmla="*/ 960879 w 1826549"/>
                    <a:gd name="connsiteY756" fmla="*/ 2251768 h 2287629"/>
                    <a:gd name="connsiteX757" fmla="*/ 960879 w 1826549"/>
                    <a:gd name="connsiteY757" fmla="*/ 2251768 h 2287629"/>
                    <a:gd name="connsiteX758" fmla="*/ 948978 w 1826549"/>
                    <a:gd name="connsiteY758" fmla="*/ 2262863 h 2287629"/>
                    <a:gd name="connsiteX759" fmla="*/ 948978 w 1826549"/>
                    <a:gd name="connsiteY759" fmla="*/ 2262863 h 2287629"/>
                    <a:gd name="connsiteX760" fmla="*/ 938287 w 1826549"/>
                    <a:gd name="connsiteY760" fmla="*/ 2263871 h 2287629"/>
                    <a:gd name="connsiteX761" fmla="*/ 938287 w 1826549"/>
                    <a:gd name="connsiteY761" fmla="*/ 2263871 h 2287629"/>
                    <a:gd name="connsiteX762" fmla="*/ 918015 w 1826549"/>
                    <a:gd name="connsiteY762" fmla="*/ 2237648 h 2287629"/>
                    <a:gd name="connsiteX763" fmla="*/ 918015 w 1826549"/>
                    <a:gd name="connsiteY763" fmla="*/ 2237648 h 2287629"/>
                    <a:gd name="connsiteX764" fmla="*/ 879386 w 1826549"/>
                    <a:gd name="connsiteY764" fmla="*/ 2218283 h 2287629"/>
                    <a:gd name="connsiteX765" fmla="*/ 879386 w 1826549"/>
                    <a:gd name="connsiteY765" fmla="*/ 2218283 h 2287629"/>
                    <a:gd name="connsiteX766" fmla="*/ 859517 w 1826549"/>
                    <a:gd name="connsiteY766" fmla="*/ 2226453 h 2287629"/>
                    <a:gd name="connsiteX767" fmla="*/ 859517 w 1826549"/>
                    <a:gd name="connsiteY767" fmla="*/ 2226453 h 2287629"/>
                    <a:gd name="connsiteX768" fmla="*/ 797085 w 1826549"/>
                    <a:gd name="connsiteY768" fmla="*/ 2287472 h 2287629"/>
                    <a:gd name="connsiteX769" fmla="*/ 797085 w 1826549"/>
                    <a:gd name="connsiteY769" fmla="*/ 2287472 h 2287629"/>
                    <a:gd name="connsiteX770" fmla="*/ 796682 w 1826549"/>
                    <a:gd name="connsiteY770" fmla="*/ 2287472 h 2287629"/>
                    <a:gd name="connsiteX771" fmla="*/ 796682 w 1826549"/>
                    <a:gd name="connsiteY771" fmla="*/ 2287472 h 2287629"/>
                    <a:gd name="connsiteX772" fmla="*/ 786293 w 1826549"/>
                    <a:gd name="connsiteY772" fmla="*/ 2283337 h 2287629"/>
                    <a:gd name="connsiteX773" fmla="*/ 786293 w 1826549"/>
                    <a:gd name="connsiteY773" fmla="*/ 2283337 h 2287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Lst>
                  <a:rect l="l" t="t" r="r" b="b"/>
                  <a:pathLst>
                    <a:path w="1826549" h="2287629">
                      <a:moveTo>
                        <a:pt x="786293" y="2283337"/>
                      </a:moveTo>
                      <a:cubicBezTo>
                        <a:pt x="775602" y="2267401"/>
                        <a:pt x="765012" y="2236337"/>
                        <a:pt x="755935" y="2237749"/>
                      </a:cubicBezTo>
                      <a:lnTo>
                        <a:pt x="755935" y="2237749"/>
                      </a:lnTo>
                      <a:cubicBezTo>
                        <a:pt x="753514" y="2237749"/>
                        <a:pt x="750186" y="2239464"/>
                        <a:pt x="745748" y="2245313"/>
                      </a:cubicBezTo>
                      <a:lnTo>
                        <a:pt x="745748" y="2245313"/>
                      </a:lnTo>
                      <a:cubicBezTo>
                        <a:pt x="732737" y="2262661"/>
                        <a:pt x="720836" y="2270831"/>
                        <a:pt x="707018" y="2270730"/>
                      </a:cubicBezTo>
                      <a:lnTo>
                        <a:pt x="707018" y="2270730"/>
                      </a:lnTo>
                      <a:cubicBezTo>
                        <a:pt x="698647" y="2270730"/>
                        <a:pt x="690074" y="2268007"/>
                        <a:pt x="680190" y="2263468"/>
                      </a:cubicBezTo>
                      <a:lnTo>
                        <a:pt x="680190" y="2263468"/>
                      </a:lnTo>
                      <a:cubicBezTo>
                        <a:pt x="653765" y="2251264"/>
                        <a:pt x="649731" y="2240270"/>
                        <a:pt x="649933" y="2236640"/>
                      </a:cubicBezTo>
                      <a:lnTo>
                        <a:pt x="649933" y="2236640"/>
                      </a:lnTo>
                      <a:cubicBezTo>
                        <a:pt x="649933" y="2236640"/>
                        <a:pt x="662540" y="2222217"/>
                        <a:pt x="662237" y="2212333"/>
                      </a:cubicBezTo>
                      <a:lnTo>
                        <a:pt x="662237" y="2212333"/>
                      </a:lnTo>
                      <a:cubicBezTo>
                        <a:pt x="662237" y="2210820"/>
                        <a:pt x="662035" y="2209609"/>
                        <a:pt x="661531" y="2208399"/>
                      </a:cubicBezTo>
                      <a:lnTo>
                        <a:pt x="661531" y="2208399"/>
                      </a:lnTo>
                      <a:cubicBezTo>
                        <a:pt x="659110" y="2199725"/>
                        <a:pt x="627945" y="2195590"/>
                        <a:pt x="627038" y="2174511"/>
                      </a:cubicBezTo>
                      <a:lnTo>
                        <a:pt x="627038" y="2174511"/>
                      </a:lnTo>
                      <a:cubicBezTo>
                        <a:pt x="627038" y="2171989"/>
                        <a:pt x="627643" y="2169367"/>
                        <a:pt x="628550" y="2166644"/>
                      </a:cubicBezTo>
                      <a:lnTo>
                        <a:pt x="628550" y="2166644"/>
                      </a:lnTo>
                      <a:cubicBezTo>
                        <a:pt x="632686" y="2155247"/>
                        <a:pt x="635510" y="2140320"/>
                        <a:pt x="635510" y="2129023"/>
                      </a:cubicBezTo>
                      <a:lnTo>
                        <a:pt x="635510" y="2129023"/>
                      </a:lnTo>
                      <a:cubicBezTo>
                        <a:pt x="635510" y="2118030"/>
                        <a:pt x="632686" y="2112785"/>
                        <a:pt x="629055" y="2112684"/>
                      </a:cubicBezTo>
                      <a:lnTo>
                        <a:pt x="629055" y="2112684"/>
                      </a:lnTo>
                      <a:cubicBezTo>
                        <a:pt x="628550" y="2112684"/>
                        <a:pt x="627945" y="2112785"/>
                        <a:pt x="626836" y="2113189"/>
                      </a:cubicBezTo>
                      <a:lnTo>
                        <a:pt x="626836" y="2113189"/>
                      </a:lnTo>
                      <a:cubicBezTo>
                        <a:pt x="614229" y="2116719"/>
                        <a:pt x="595368" y="2129931"/>
                        <a:pt x="581551" y="2130133"/>
                      </a:cubicBezTo>
                      <a:lnTo>
                        <a:pt x="581551" y="2130133"/>
                      </a:lnTo>
                      <a:cubicBezTo>
                        <a:pt x="577113" y="2130234"/>
                        <a:pt x="572675" y="2128418"/>
                        <a:pt x="569952" y="2124182"/>
                      </a:cubicBezTo>
                      <a:lnTo>
                        <a:pt x="569952" y="2124182"/>
                      </a:lnTo>
                      <a:cubicBezTo>
                        <a:pt x="561076" y="2109860"/>
                        <a:pt x="553108" y="2088680"/>
                        <a:pt x="521338" y="2078594"/>
                      </a:cubicBezTo>
                      <a:lnTo>
                        <a:pt x="521338" y="2078594"/>
                      </a:lnTo>
                      <a:cubicBezTo>
                        <a:pt x="493702" y="2069718"/>
                        <a:pt x="470707" y="2044907"/>
                        <a:pt x="470606" y="2020298"/>
                      </a:cubicBezTo>
                      <a:lnTo>
                        <a:pt x="470606" y="2020298"/>
                      </a:lnTo>
                      <a:cubicBezTo>
                        <a:pt x="470606" y="2014751"/>
                        <a:pt x="471816" y="2009002"/>
                        <a:pt x="474741" y="2003757"/>
                      </a:cubicBezTo>
                      <a:lnTo>
                        <a:pt x="474741" y="2003757"/>
                      </a:lnTo>
                      <a:cubicBezTo>
                        <a:pt x="482305" y="1989435"/>
                        <a:pt x="487550" y="1978240"/>
                        <a:pt x="487449" y="1966137"/>
                      </a:cubicBezTo>
                      <a:lnTo>
                        <a:pt x="487449" y="1966137"/>
                      </a:lnTo>
                      <a:cubicBezTo>
                        <a:pt x="487449" y="1956051"/>
                        <a:pt x="484020" y="1944957"/>
                        <a:pt x="474842" y="1930332"/>
                      </a:cubicBezTo>
                      <a:lnTo>
                        <a:pt x="474842" y="1930332"/>
                      </a:lnTo>
                      <a:cubicBezTo>
                        <a:pt x="454771" y="1898360"/>
                        <a:pt x="434902" y="1892611"/>
                        <a:pt x="431170" y="1858319"/>
                      </a:cubicBezTo>
                      <a:lnTo>
                        <a:pt x="431170" y="1858319"/>
                      </a:lnTo>
                      <a:cubicBezTo>
                        <a:pt x="428548" y="1827658"/>
                        <a:pt x="405351" y="1838551"/>
                        <a:pt x="391634" y="1807083"/>
                      </a:cubicBezTo>
                      <a:lnTo>
                        <a:pt x="391634" y="1807083"/>
                      </a:lnTo>
                      <a:cubicBezTo>
                        <a:pt x="379631" y="1777733"/>
                        <a:pt x="365209" y="1741424"/>
                        <a:pt x="349475" y="1732347"/>
                      </a:cubicBezTo>
                      <a:lnTo>
                        <a:pt x="349475" y="1732347"/>
                      </a:lnTo>
                      <a:cubicBezTo>
                        <a:pt x="334144" y="1722664"/>
                        <a:pt x="315788" y="1694121"/>
                        <a:pt x="306711" y="1695130"/>
                      </a:cubicBezTo>
                      <a:lnTo>
                        <a:pt x="306711" y="1695130"/>
                      </a:lnTo>
                      <a:cubicBezTo>
                        <a:pt x="305400" y="1695130"/>
                        <a:pt x="304290" y="1695533"/>
                        <a:pt x="302777" y="1697248"/>
                      </a:cubicBezTo>
                      <a:lnTo>
                        <a:pt x="302777" y="1697248"/>
                      </a:lnTo>
                      <a:cubicBezTo>
                        <a:pt x="298743" y="1701484"/>
                        <a:pt x="298037" y="1708241"/>
                        <a:pt x="298138" y="1715806"/>
                      </a:cubicBezTo>
                      <a:lnTo>
                        <a:pt x="298138" y="1715806"/>
                      </a:lnTo>
                      <a:cubicBezTo>
                        <a:pt x="298138" y="1717722"/>
                        <a:pt x="298239" y="1719941"/>
                        <a:pt x="298239" y="1722059"/>
                      </a:cubicBezTo>
                      <a:lnTo>
                        <a:pt x="298239" y="1722059"/>
                      </a:lnTo>
                      <a:cubicBezTo>
                        <a:pt x="298239" y="1731439"/>
                        <a:pt x="297331" y="1742332"/>
                        <a:pt x="286035" y="1746366"/>
                      </a:cubicBezTo>
                      <a:lnTo>
                        <a:pt x="286035" y="1746366"/>
                      </a:lnTo>
                      <a:cubicBezTo>
                        <a:pt x="269292" y="1751611"/>
                        <a:pt x="274739" y="1770370"/>
                        <a:pt x="237118" y="1777531"/>
                      </a:cubicBezTo>
                      <a:lnTo>
                        <a:pt x="237118" y="1777531"/>
                      </a:lnTo>
                      <a:cubicBezTo>
                        <a:pt x="230462" y="1778741"/>
                        <a:pt x="222797" y="1779448"/>
                        <a:pt x="214728" y="1779448"/>
                      </a:cubicBezTo>
                      <a:lnTo>
                        <a:pt x="214728" y="1779448"/>
                      </a:lnTo>
                      <a:cubicBezTo>
                        <a:pt x="177007" y="1779246"/>
                        <a:pt x="126880" y="1766134"/>
                        <a:pt x="123148" y="1731842"/>
                      </a:cubicBezTo>
                      <a:lnTo>
                        <a:pt x="123148" y="1731842"/>
                      </a:lnTo>
                      <a:cubicBezTo>
                        <a:pt x="122644" y="1728312"/>
                        <a:pt x="122543" y="1724883"/>
                        <a:pt x="122543" y="1721353"/>
                      </a:cubicBezTo>
                      <a:lnTo>
                        <a:pt x="122543" y="1721353"/>
                      </a:lnTo>
                      <a:cubicBezTo>
                        <a:pt x="122543" y="1700677"/>
                        <a:pt x="127283" y="1679900"/>
                        <a:pt x="127283" y="1665881"/>
                      </a:cubicBezTo>
                      <a:lnTo>
                        <a:pt x="127283" y="1665881"/>
                      </a:lnTo>
                      <a:cubicBezTo>
                        <a:pt x="127082" y="1655392"/>
                        <a:pt x="125266" y="1650550"/>
                        <a:pt x="118509" y="1649542"/>
                      </a:cubicBezTo>
                      <a:lnTo>
                        <a:pt x="118509" y="1649542"/>
                      </a:lnTo>
                      <a:cubicBezTo>
                        <a:pt x="96320" y="1646012"/>
                        <a:pt x="68987" y="1643087"/>
                        <a:pt x="62633" y="1621503"/>
                      </a:cubicBezTo>
                      <a:lnTo>
                        <a:pt x="62633" y="1621503"/>
                      </a:lnTo>
                      <a:cubicBezTo>
                        <a:pt x="57994" y="1604256"/>
                        <a:pt x="42663" y="1602844"/>
                        <a:pt x="40343" y="1601231"/>
                      </a:cubicBezTo>
                      <a:lnTo>
                        <a:pt x="40343" y="1601231"/>
                      </a:lnTo>
                      <a:cubicBezTo>
                        <a:pt x="40242" y="1601231"/>
                        <a:pt x="19567" y="1561190"/>
                        <a:pt x="13515" y="1562904"/>
                      </a:cubicBezTo>
                      <a:lnTo>
                        <a:pt x="13515" y="1562904"/>
                      </a:lnTo>
                      <a:cubicBezTo>
                        <a:pt x="3127" y="1562904"/>
                        <a:pt x="3127" y="1562904"/>
                        <a:pt x="202" y="1560282"/>
                      </a:cubicBezTo>
                      <a:lnTo>
                        <a:pt x="202" y="1560282"/>
                      </a:lnTo>
                      <a:cubicBezTo>
                        <a:pt x="202" y="1560181"/>
                        <a:pt x="0" y="1552415"/>
                        <a:pt x="0" y="1540716"/>
                      </a:cubicBezTo>
                      <a:lnTo>
                        <a:pt x="0" y="1540716"/>
                      </a:lnTo>
                      <a:cubicBezTo>
                        <a:pt x="101" y="1510660"/>
                        <a:pt x="1513" y="1455591"/>
                        <a:pt x="14524" y="1434007"/>
                      </a:cubicBezTo>
                      <a:lnTo>
                        <a:pt x="14524" y="1434007"/>
                      </a:lnTo>
                      <a:cubicBezTo>
                        <a:pt x="33586" y="1404657"/>
                        <a:pt x="72921" y="1405968"/>
                        <a:pt x="72921" y="1350799"/>
                      </a:cubicBezTo>
                      <a:lnTo>
                        <a:pt x="72921" y="1350799"/>
                      </a:lnTo>
                      <a:cubicBezTo>
                        <a:pt x="72820" y="1294015"/>
                        <a:pt x="74736" y="1283728"/>
                        <a:pt x="89159" y="1267590"/>
                      </a:cubicBezTo>
                      <a:lnTo>
                        <a:pt x="89159" y="1267590"/>
                      </a:lnTo>
                      <a:cubicBezTo>
                        <a:pt x="102069" y="1253269"/>
                        <a:pt x="102472" y="1229768"/>
                        <a:pt x="102270" y="1207176"/>
                      </a:cubicBezTo>
                      <a:lnTo>
                        <a:pt x="102270" y="1207176"/>
                      </a:lnTo>
                      <a:cubicBezTo>
                        <a:pt x="102371" y="1187105"/>
                        <a:pt x="118408" y="1167236"/>
                        <a:pt x="138479" y="1167034"/>
                      </a:cubicBezTo>
                      <a:lnTo>
                        <a:pt x="138479" y="1167034"/>
                      </a:lnTo>
                      <a:cubicBezTo>
                        <a:pt x="142614" y="1167034"/>
                        <a:pt x="146951" y="1168043"/>
                        <a:pt x="151187" y="1170060"/>
                      </a:cubicBezTo>
                      <a:lnTo>
                        <a:pt x="151187" y="1170060"/>
                      </a:lnTo>
                      <a:cubicBezTo>
                        <a:pt x="163391" y="1175809"/>
                        <a:pt x="173880" y="1181558"/>
                        <a:pt x="183764" y="1181558"/>
                      </a:cubicBezTo>
                      <a:lnTo>
                        <a:pt x="183764" y="1181558"/>
                      </a:lnTo>
                      <a:cubicBezTo>
                        <a:pt x="191934" y="1181457"/>
                        <a:pt x="200103" y="1177826"/>
                        <a:pt x="210189" y="1165522"/>
                      </a:cubicBezTo>
                      <a:lnTo>
                        <a:pt x="210189" y="1165522"/>
                      </a:lnTo>
                      <a:cubicBezTo>
                        <a:pt x="230663" y="1139903"/>
                        <a:pt x="209282" y="1139198"/>
                        <a:pt x="269091" y="1133348"/>
                      </a:cubicBezTo>
                      <a:lnTo>
                        <a:pt x="269091" y="1133348"/>
                      </a:lnTo>
                      <a:cubicBezTo>
                        <a:pt x="331421" y="1125380"/>
                        <a:pt x="321335" y="1138492"/>
                        <a:pt x="330715" y="1104300"/>
                      </a:cubicBezTo>
                      <a:lnTo>
                        <a:pt x="330715" y="1104300"/>
                      </a:lnTo>
                      <a:cubicBezTo>
                        <a:pt x="338885" y="1070715"/>
                        <a:pt x="338380" y="1053669"/>
                        <a:pt x="369445" y="1050341"/>
                      </a:cubicBezTo>
                      <a:lnTo>
                        <a:pt x="369445" y="1050341"/>
                      </a:lnTo>
                      <a:cubicBezTo>
                        <a:pt x="397685" y="1046811"/>
                        <a:pt x="412007" y="1031178"/>
                        <a:pt x="422496" y="996886"/>
                      </a:cubicBezTo>
                      <a:lnTo>
                        <a:pt x="422496" y="996886"/>
                      </a:lnTo>
                      <a:cubicBezTo>
                        <a:pt x="430061" y="971369"/>
                        <a:pt x="434700" y="959064"/>
                        <a:pt x="434700" y="948272"/>
                      </a:cubicBezTo>
                      <a:lnTo>
                        <a:pt x="434700" y="948272"/>
                      </a:lnTo>
                      <a:cubicBezTo>
                        <a:pt x="434700" y="944238"/>
                        <a:pt x="434095" y="940506"/>
                        <a:pt x="432885" y="936169"/>
                      </a:cubicBezTo>
                      <a:lnTo>
                        <a:pt x="432885" y="936169"/>
                      </a:lnTo>
                      <a:cubicBezTo>
                        <a:pt x="431574" y="932034"/>
                        <a:pt x="430868" y="927899"/>
                        <a:pt x="430868" y="924066"/>
                      </a:cubicBezTo>
                      <a:lnTo>
                        <a:pt x="430868" y="924066"/>
                      </a:lnTo>
                      <a:cubicBezTo>
                        <a:pt x="430767" y="909744"/>
                        <a:pt x="441559" y="898347"/>
                        <a:pt x="471413" y="894616"/>
                      </a:cubicBezTo>
                      <a:lnTo>
                        <a:pt x="471413" y="894616"/>
                      </a:lnTo>
                      <a:cubicBezTo>
                        <a:pt x="489467" y="892195"/>
                        <a:pt x="496728" y="873233"/>
                        <a:pt x="496829" y="852456"/>
                      </a:cubicBezTo>
                      <a:lnTo>
                        <a:pt x="496829" y="852456"/>
                      </a:lnTo>
                      <a:cubicBezTo>
                        <a:pt x="496930" y="834302"/>
                        <a:pt x="490878" y="815542"/>
                        <a:pt x="483919" y="809491"/>
                      </a:cubicBezTo>
                      <a:lnTo>
                        <a:pt x="483919" y="809491"/>
                      </a:lnTo>
                      <a:cubicBezTo>
                        <a:pt x="472119" y="798800"/>
                        <a:pt x="461428" y="788210"/>
                        <a:pt x="461226" y="776308"/>
                      </a:cubicBezTo>
                      <a:lnTo>
                        <a:pt x="461226" y="776308"/>
                      </a:lnTo>
                      <a:cubicBezTo>
                        <a:pt x="461125" y="770559"/>
                        <a:pt x="464151" y="765012"/>
                        <a:pt x="470102" y="760272"/>
                      </a:cubicBezTo>
                      <a:lnTo>
                        <a:pt x="470102" y="760272"/>
                      </a:lnTo>
                      <a:cubicBezTo>
                        <a:pt x="478574" y="753615"/>
                        <a:pt x="485331" y="731931"/>
                        <a:pt x="485230" y="708834"/>
                      </a:cubicBezTo>
                      <a:lnTo>
                        <a:pt x="485230" y="708834"/>
                      </a:lnTo>
                      <a:cubicBezTo>
                        <a:pt x="485230" y="695218"/>
                        <a:pt x="483012" y="680997"/>
                        <a:pt x="478070" y="667079"/>
                      </a:cubicBezTo>
                      <a:lnTo>
                        <a:pt x="478070" y="667079"/>
                      </a:lnTo>
                      <a:cubicBezTo>
                        <a:pt x="479280" y="662742"/>
                        <a:pt x="480087" y="657497"/>
                        <a:pt x="480087" y="651244"/>
                      </a:cubicBezTo>
                      <a:lnTo>
                        <a:pt x="480087" y="651244"/>
                      </a:lnTo>
                      <a:cubicBezTo>
                        <a:pt x="480087" y="644184"/>
                        <a:pt x="479179" y="635913"/>
                        <a:pt x="477363" y="625928"/>
                      </a:cubicBezTo>
                      <a:lnTo>
                        <a:pt x="477363" y="625928"/>
                      </a:lnTo>
                      <a:cubicBezTo>
                        <a:pt x="468992" y="582862"/>
                        <a:pt x="483213" y="589720"/>
                        <a:pt x="458604" y="579332"/>
                      </a:cubicBezTo>
                      <a:lnTo>
                        <a:pt x="458604" y="579332"/>
                      </a:lnTo>
                      <a:cubicBezTo>
                        <a:pt x="446198" y="574390"/>
                        <a:pt x="440752" y="562892"/>
                        <a:pt x="440752" y="551797"/>
                      </a:cubicBezTo>
                      <a:lnTo>
                        <a:pt x="440752" y="551797"/>
                      </a:lnTo>
                      <a:cubicBezTo>
                        <a:pt x="440752" y="537576"/>
                        <a:pt x="449526" y="522952"/>
                        <a:pt x="464756" y="522750"/>
                      </a:cubicBezTo>
                      <a:lnTo>
                        <a:pt x="464756" y="522750"/>
                      </a:lnTo>
                      <a:cubicBezTo>
                        <a:pt x="473430" y="522750"/>
                        <a:pt x="482003" y="525070"/>
                        <a:pt x="490878" y="525070"/>
                      </a:cubicBezTo>
                      <a:lnTo>
                        <a:pt x="490878" y="525070"/>
                      </a:lnTo>
                      <a:cubicBezTo>
                        <a:pt x="506411" y="524969"/>
                        <a:pt x="523960" y="518816"/>
                        <a:pt x="546855" y="478170"/>
                      </a:cubicBezTo>
                      <a:lnTo>
                        <a:pt x="546855" y="478170"/>
                      </a:lnTo>
                      <a:cubicBezTo>
                        <a:pt x="555932" y="461831"/>
                        <a:pt x="559563" y="444585"/>
                        <a:pt x="559563" y="427539"/>
                      </a:cubicBezTo>
                      <a:lnTo>
                        <a:pt x="559563" y="427539"/>
                      </a:lnTo>
                      <a:cubicBezTo>
                        <a:pt x="559765" y="379228"/>
                        <a:pt x="529709" y="332732"/>
                        <a:pt x="511756" y="320428"/>
                      </a:cubicBezTo>
                      <a:lnTo>
                        <a:pt x="511756" y="320428"/>
                      </a:lnTo>
                      <a:cubicBezTo>
                        <a:pt x="493602" y="307619"/>
                        <a:pt x="468488" y="287649"/>
                        <a:pt x="468488" y="252449"/>
                      </a:cubicBezTo>
                      <a:lnTo>
                        <a:pt x="468488" y="252449"/>
                      </a:lnTo>
                      <a:cubicBezTo>
                        <a:pt x="468488" y="247103"/>
                        <a:pt x="469093" y="241354"/>
                        <a:pt x="473027" y="233084"/>
                      </a:cubicBezTo>
                      <a:lnTo>
                        <a:pt x="473027" y="233084"/>
                      </a:lnTo>
                      <a:cubicBezTo>
                        <a:pt x="480591" y="232882"/>
                        <a:pt x="489164" y="230462"/>
                        <a:pt x="500763" y="222696"/>
                      </a:cubicBezTo>
                      <a:lnTo>
                        <a:pt x="500763" y="222696"/>
                      </a:lnTo>
                      <a:cubicBezTo>
                        <a:pt x="532533" y="201314"/>
                        <a:pt x="539795" y="204541"/>
                        <a:pt x="563900" y="202927"/>
                      </a:cubicBezTo>
                      <a:lnTo>
                        <a:pt x="563900" y="202927"/>
                      </a:lnTo>
                      <a:cubicBezTo>
                        <a:pt x="586190" y="201919"/>
                        <a:pt x="599100" y="170249"/>
                        <a:pt x="633997" y="160668"/>
                      </a:cubicBezTo>
                      <a:lnTo>
                        <a:pt x="633997" y="160668"/>
                      </a:lnTo>
                      <a:cubicBezTo>
                        <a:pt x="645999" y="157339"/>
                        <a:pt x="658001" y="156028"/>
                        <a:pt x="669297" y="156028"/>
                      </a:cubicBezTo>
                      <a:lnTo>
                        <a:pt x="669297" y="156028"/>
                      </a:lnTo>
                      <a:cubicBezTo>
                        <a:pt x="690175" y="156129"/>
                        <a:pt x="708733" y="160869"/>
                        <a:pt x="720836" y="168030"/>
                      </a:cubicBezTo>
                      <a:lnTo>
                        <a:pt x="720836" y="168030"/>
                      </a:lnTo>
                      <a:cubicBezTo>
                        <a:pt x="725577" y="170854"/>
                        <a:pt x="730821" y="172468"/>
                        <a:pt x="736368" y="172468"/>
                      </a:cubicBezTo>
                      <a:lnTo>
                        <a:pt x="736368" y="172468"/>
                      </a:lnTo>
                      <a:cubicBezTo>
                        <a:pt x="749379" y="172468"/>
                        <a:pt x="765315" y="163492"/>
                        <a:pt x="782461" y="138882"/>
                      </a:cubicBezTo>
                      <a:lnTo>
                        <a:pt x="782461" y="138882"/>
                      </a:lnTo>
                      <a:cubicBezTo>
                        <a:pt x="806465" y="105195"/>
                        <a:pt x="790933" y="92790"/>
                        <a:pt x="824317" y="77863"/>
                      </a:cubicBezTo>
                      <a:lnTo>
                        <a:pt x="824317" y="77863"/>
                      </a:lnTo>
                      <a:cubicBezTo>
                        <a:pt x="854978" y="63944"/>
                        <a:pt x="854171" y="48715"/>
                        <a:pt x="856188" y="30762"/>
                      </a:cubicBezTo>
                      <a:lnTo>
                        <a:pt x="856188" y="30762"/>
                      </a:lnTo>
                      <a:cubicBezTo>
                        <a:pt x="857197" y="19567"/>
                        <a:pt x="861534" y="8573"/>
                        <a:pt x="864761" y="1210"/>
                      </a:cubicBezTo>
                      <a:lnTo>
                        <a:pt x="864761" y="1210"/>
                      </a:lnTo>
                      <a:lnTo>
                        <a:pt x="868796" y="0"/>
                      </a:lnTo>
                      <a:cubicBezTo>
                        <a:pt x="877167" y="5043"/>
                        <a:pt x="885740" y="13717"/>
                        <a:pt x="891388" y="28644"/>
                      </a:cubicBezTo>
                      <a:lnTo>
                        <a:pt x="891388" y="28644"/>
                      </a:lnTo>
                      <a:cubicBezTo>
                        <a:pt x="906214" y="67273"/>
                        <a:pt x="915594" y="76753"/>
                        <a:pt x="915594" y="101766"/>
                      </a:cubicBezTo>
                      <a:lnTo>
                        <a:pt x="915594" y="101766"/>
                      </a:lnTo>
                      <a:cubicBezTo>
                        <a:pt x="915594" y="125065"/>
                        <a:pt x="924369" y="145942"/>
                        <a:pt x="936472" y="182050"/>
                      </a:cubicBezTo>
                      <a:lnTo>
                        <a:pt x="936472" y="182050"/>
                      </a:lnTo>
                      <a:cubicBezTo>
                        <a:pt x="939800" y="191833"/>
                        <a:pt x="940607" y="201011"/>
                        <a:pt x="940607" y="209282"/>
                      </a:cubicBezTo>
                      <a:lnTo>
                        <a:pt x="940607" y="209282"/>
                      </a:lnTo>
                      <a:cubicBezTo>
                        <a:pt x="940607" y="219267"/>
                        <a:pt x="939497" y="228041"/>
                        <a:pt x="939497" y="236110"/>
                      </a:cubicBezTo>
                      <a:lnTo>
                        <a:pt x="939497" y="236110"/>
                      </a:lnTo>
                      <a:cubicBezTo>
                        <a:pt x="939497" y="246599"/>
                        <a:pt x="941414" y="255576"/>
                        <a:pt x="950895" y="265157"/>
                      </a:cubicBezTo>
                      <a:lnTo>
                        <a:pt x="950895" y="265157"/>
                      </a:lnTo>
                      <a:cubicBezTo>
                        <a:pt x="976008" y="290977"/>
                        <a:pt x="957652" y="299147"/>
                        <a:pt x="989725" y="325067"/>
                      </a:cubicBezTo>
                      <a:lnTo>
                        <a:pt x="989725" y="325067"/>
                      </a:lnTo>
                      <a:cubicBezTo>
                        <a:pt x="1022605" y="351795"/>
                        <a:pt x="1032993" y="362385"/>
                        <a:pt x="1032893" y="387398"/>
                      </a:cubicBezTo>
                      <a:lnTo>
                        <a:pt x="1032893" y="387398"/>
                      </a:lnTo>
                      <a:cubicBezTo>
                        <a:pt x="1032993" y="409990"/>
                        <a:pt x="1046508" y="429758"/>
                        <a:pt x="1087961" y="441761"/>
                      </a:cubicBezTo>
                      <a:lnTo>
                        <a:pt x="1087961" y="441761"/>
                      </a:lnTo>
                      <a:cubicBezTo>
                        <a:pt x="1131633" y="453964"/>
                        <a:pt x="1129313" y="483919"/>
                        <a:pt x="1134961" y="510042"/>
                      </a:cubicBezTo>
                      <a:lnTo>
                        <a:pt x="1134961" y="510042"/>
                      </a:lnTo>
                      <a:cubicBezTo>
                        <a:pt x="1140811" y="536366"/>
                        <a:pt x="1155839" y="554319"/>
                        <a:pt x="1162092" y="582156"/>
                      </a:cubicBezTo>
                      <a:lnTo>
                        <a:pt x="1162092" y="582156"/>
                      </a:lnTo>
                      <a:cubicBezTo>
                        <a:pt x="1165421" y="595973"/>
                        <a:pt x="1168245" y="600613"/>
                        <a:pt x="1175607" y="600613"/>
                      </a:cubicBezTo>
                      <a:lnTo>
                        <a:pt x="1175607" y="600613"/>
                      </a:lnTo>
                      <a:cubicBezTo>
                        <a:pt x="1183071" y="600714"/>
                        <a:pt x="1196485" y="594965"/>
                        <a:pt x="1218270" y="583366"/>
                      </a:cubicBezTo>
                      <a:lnTo>
                        <a:pt x="1218270" y="583366"/>
                      </a:lnTo>
                      <a:cubicBezTo>
                        <a:pt x="1254075" y="564606"/>
                        <a:pt x="1246914" y="547965"/>
                        <a:pt x="1276668" y="547561"/>
                      </a:cubicBezTo>
                      <a:lnTo>
                        <a:pt x="1276668" y="547561"/>
                      </a:lnTo>
                      <a:cubicBezTo>
                        <a:pt x="1282921" y="547561"/>
                        <a:pt x="1290889" y="548368"/>
                        <a:pt x="1301176" y="549982"/>
                      </a:cubicBezTo>
                      <a:lnTo>
                        <a:pt x="1301176" y="549982"/>
                      </a:lnTo>
                      <a:cubicBezTo>
                        <a:pt x="1357153" y="559261"/>
                        <a:pt x="1409801" y="543123"/>
                        <a:pt x="1429569" y="587703"/>
                      </a:cubicBezTo>
                      <a:lnTo>
                        <a:pt x="1429569" y="587703"/>
                      </a:lnTo>
                      <a:cubicBezTo>
                        <a:pt x="1444395" y="622802"/>
                        <a:pt x="1458011" y="635106"/>
                        <a:pt x="1458112" y="664759"/>
                      </a:cubicBezTo>
                      <a:lnTo>
                        <a:pt x="1458112" y="664759"/>
                      </a:lnTo>
                      <a:cubicBezTo>
                        <a:pt x="1458112" y="670003"/>
                        <a:pt x="1457709" y="675853"/>
                        <a:pt x="1456801" y="682409"/>
                      </a:cubicBezTo>
                      <a:lnTo>
                        <a:pt x="1456801" y="682409"/>
                      </a:lnTo>
                      <a:cubicBezTo>
                        <a:pt x="1454280" y="699555"/>
                        <a:pt x="1450850" y="714280"/>
                        <a:pt x="1450850" y="723559"/>
                      </a:cubicBezTo>
                      <a:lnTo>
                        <a:pt x="1450850" y="723559"/>
                      </a:lnTo>
                      <a:cubicBezTo>
                        <a:pt x="1451456" y="732031"/>
                        <a:pt x="1452363" y="734351"/>
                        <a:pt x="1459121" y="734654"/>
                      </a:cubicBezTo>
                      <a:lnTo>
                        <a:pt x="1459121" y="734654"/>
                      </a:lnTo>
                      <a:cubicBezTo>
                        <a:pt x="1463962" y="734654"/>
                        <a:pt x="1471829" y="732637"/>
                        <a:pt x="1483024" y="727594"/>
                      </a:cubicBezTo>
                      <a:lnTo>
                        <a:pt x="1483024" y="727594"/>
                      </a:lnTo>
                      <a:cubicBezTo>
                        <a:pt x="1495228" y="722248"/>
                        <a:pt x="1505516" y="720130"/>
                        <a:pt x="1514391" y="720130"/>
                      </a:cubicBezTo>
                      <a:lnTo>
                        <a:pt x="1514391" y="720130"/>
                      </a:lnTo>
                      <a:cubicBezTo>
                        <a:pt x="1536580" y="720231"/>
                        <a:pt x="1549288" y="732132"/>
                        <a:pt x="1565829" y="731931"/>
                      </a:cubicBezTo>
                      <a:lnTo>
                        <a:pt x="1565829" y="731931"/>
                      </a:lnTo>
                      <a:cubicBezTo>
                        <a:pt x="1569157" y="731931"/>
                        <a:pt x="1572789" y="731527"/>
                        <a:pt x="1576722" y="730418"/>
                      </a:cubicBezTo>
                      <a:lnTo>
                        <a:pt x="1576722" y="730418"/>
                      </a:lnTo>
                      <a:cubicBezTo>
                        <a:pt x="1606072" y="722551"/>
                        <a:pt x="1635422" y="696933"/>
                        <a:pt x="1654181" y="696428"/>
                      </a:cubicBezTo>
                      <a:lnTo>
                        <a:pt x="1654181" y="696428"/>
                      </a:lnTo>
                      <a:cubicBezTo>
                        <a:pt x="1656097" y="696428"/>
                        <a:pt x="1658014" y="696731"/>
                        <a:pt x="1659628" y="697437"/>
                      </a:cubicBezTo>
                      <a:lnTo>
                        <a:pt x="1659628" y="697437"/>
                      </a:lnTo>
                      <a:cubicBezTo>
                        <a:pt x="1661846" y="698244"/>
                        <a:pt x="1663662" y="698547"/>
                        <a:pt x="1665276" y="698547"/>
                      </a:cubicBezTo>
                      <a:lnTo>
                        <a:pt x="1665276" y="698547"/>
                      </a:lnTo>
                      <a:cubicBezTo>
                        <a:pt x="1673143" y="699051"/>
                        <a:pt x="1681211" y="687956"/>
                        <a:pt x="1708948" y="685334"/>
                      </a:cubicBezTo>
                      <a:lnTo>
                        <a:pt x="1708948" y="685334"/>
                      </a:lnTo>
                      <a:lnTo>
                        <a:pt x="1709250" y="685334"/>
                      </a:lnTo>
                      <a:lnTo>
                        <a:pt x="1709250" y="685334"/>
                      </a:lnTo>
                      <a:cubicBezTo>
                        <a:pt x="1709351" y="685334"/>
                        <a:pt x="1709452" y="685334"/>
                        <a:pt x="1709452" y="685334"/>
                      </a:cubicBezTo>
                      <a:lnTo>
                        <a:pt x="1709452" y="685334"/>
                      </a:lnTo>
                      <a:cubicBezTo>
                        <a:pt x="1710965" y="685132"/>
                        <a:pt x="1712377" y="686141"/>
                        <a:pt x="1712578" y="687654"/>
                      </a:cubicBezTo>
                      <a:lnTo>
                        <a:pt x="1712578" y="687654"/>
                      </a:lnTo>
                      <a:cubicBezTo>
                        <a:pt x="1712679" y="688561"/>
                        <a:pt x="1712377" y="689368"/>
                        <a:pt x="1711772" y="689973"/>
                      </a:cubicBezTo>
                      <a:lnTo>
                        <a:pt x="1711772" y="689973"/>
                      </a:lnTo>
                      <a:cubicBezTo>
                        <a:pt x="1715100" y="695622"/>
                        <a:pt x="1718428" y="699958"/>
                        <a:pt x="1720344" y="701169"/>
                      </a:cubicBezTo>
                      <a:lnTo>
                        <a:pt x="1720344" y="701169"/>
                      </a:lnTo>
                      <a:cubicBezTo>
                        <a:pt x="1730330" y="708027"/>
                        <a:pt x="1770976" y="717205"/>
                        <a:pt x="1771782" y="743328"/>
                      </a:cubicBezTo>
                      <a:lnTo>
                        <a:pt x="1771782" y="743328"/>
                      </a:lnTo>
                      <a:cubicBezTo>
                        <a:pt x="1771782" y="744941"/>
                        <a:pt x="1771581" y="746555"/>
                        <a:pt x="1771177" y="748371"/>
                      </a:cubicBezTo>
                      <a:lnTo>
                        <a:pt x="1771177" y="748371"/>
                      </a:lnTo>
                      <a:cubicBezTo>
                        <a:pt x="1770370" y="752203"/>
                        <a:pt x="1770068" y="755431"/>
                        <a:pt x="1770068" y="758457"/>
                      </a:cubicBezTo>
                      <a:lnTo>
                        <a:pt x="1770068" y="758457"/>
                      </a:lnTo>
                      <a:cubicBezTo>
                        <a:pt x="1770168" y="774089"/>
                        <a:pt x="1779750" y="778729"/>
                        <a:pt x="1796997" y="781755"/>
                      </a:cubicBezTo>
                      <a:lnTo>
                        <a:pt x="1796997" y="781755"/>
                      </a:lnTo>
                      <a:lnTo>
                        <a:pt x="1796493" y="784478"/>
                      </a:lnTo>
                      <a:lnTo>
                        <a:pt x="1796190" y="787201"/>
                      </a:lnTo>
                      <a:cubicBezTo>
                        <a:pt x="1778540" y="784680"/>
                        <a:pt x="1764319" y="777620"/>
                        <a:pt x="1764420" y="758356"/>
                      </a:cubicBezTo>
                      <a:lnTo>
                        <a:pt x="1764420" y="758356"/>
                      </a:lnTo>
                      <a:cubicBezTo>
                        <a:pt x="1764420" y="754926"/>
                        <a:pt x="1764924" y="751195"/>
                        <a:pt x="1765832" y="747160"/>
                      </a:cubicBezTo>
                      <a:lnTo>
                        <a:pt x="1765832" y="747160"/>
                      </a:lnTo>
                      <a:cubicBezTo>
                        <a:pt x="1766033" y="745748"/>
                        <a:pt x="1766134" y="744538"/>
                        <a:pt x="1766134" y="743227"/>
                      </a:cubicBezTo>
                      <a:lnTo>
                        <a:pt x="1766134" y="743227"/>
                      </a:lnTo>
                      <a:cubicBezTo>
                        <a:pt x="1766941" y="723761"/>
                        <a:pt x="1729523" y="712768"/>
                        <a:pt x="1717319" y="705707"/>
                      </a:cubicBezTo>
                      <a:lnTo>
                        <a:pt x="1717319" y="705707"/>
                      </a:lnTo>
                      <a:cubicBezTo>
                        <a:pt x="1713486" y="703186"/>
                        <a:pt x="1709956" y="697840"/>
                        <a:pt x="1706124" y="691083"/>
                      </a:cubicBezTo>
                      <a:lnTo>
                        <a:pt x="1706124" y="691083"/>
                      </a:lnTo>
                      <a:cubicBezTo>
                        <a:pt x="1682321" y="694109"/>
                        <a:pt x="1677076" y="703589"/>
                        <a:pt x="1665175" y="704094"/>
                      </a:cubicBezTo>
                      <a:lnTo>
                        <a:pt x="1665175" y="704094"/>
                      </a:lnTo>
                      <a:cubicBezTo>
                        <a:pt x="1662754" y="704094"/>
                        <a:pt x="1660233" y="703488"/>
                        <a:pt x="1657510" y="702480"/>
                      </a:cubicBezTo>
                      <a:lnTo>
                        <a:pt x="1657510" y="702480"/>
                      </a:lnTo>
                      <a:cubicBezTo>
                        <a:pt x="1656501" y="702177"/>
                        <a:pt x="1655291" y="701875"/>
                        <a:pt x="1654081" y="701875"/>
                      </a:cubicBezTo>
                      <a:lnTo>
                        <a:pt x="1654081" y="701875"/>
                      </a:lnTo>
                      <a:cubicBezTo>
                        <a:pt x="1639758" y="701371"/>
                        <a:pt x="1608694" y="726988"/>
                        <a:pt x="1578033" y="735561"/>
                      </a:cubicBezTo>
                      <a:lnTo>
                        <a:pt x="1578033" y="735561"/>
                      </a:lnTo>
                      <a:cubicBezTo>
                        <a:pt x="1573696" y="736873"/>
                        <a:pt x="1569561" y="737276"/>
                        <a:pt x="1565829" y="737276"/>
                      </a:cubicBezTo>
                      <a:lnTo>
                        <a:pt x="1565829" y="737276"/>
                      </a:lnTo>
                      <a:cubicBezTo>
                        <a:pt x="1546464" y="737074"/>
                        <a:pt x="1534160" y="725274"/>
                        <a:pt x="1514391" y="725476"/>
                      </a:cubicBezTo>
                      <a:lnTo>
                        <a:pt x="1514391" y="725476"/>
                      </a:lnTo>
                      <a:cubicBezTo>
                        <a:pt x="1506423" y="725476"/>
                        <a:pt x="1497044" y="727291"/>
                        <a:pt x="1485344" y="732435"/>
                      </a:cubicBezTo>
                      <a:lnTo>
                        <a:pt x="1485344" y="732435"/>
                      </a:lnTo>
                      <a:cubicBezTo>
                        <a:pt x="1473644" y="737478"/>
                        <a:pt x="1465475" y="739898"/>
                        <a:pt x="1459121" y="739999"/>
                      </a:cubicBezTo>
                      <a:lnTo>
                        <a:pt x="1459121" y="739999"/>
                      </a:lnTo>
                      <a:cubicBezTo>
                        <a:pt x="1449337" y="739898"/>
                        <a:pt x="1445404" y="732334"/>
                        <a:pt x="1445404" y="723257"/>
                      </a:cubicBezTo>
                      <a:lnTo>
                        <a:pt x="1445404" y="723257"/>
                      </a:lnTo>
                      <a:cubicBezTo>
                        <a:pt x="1445404" y="712768"/>
                        <a:pt x="1448833" y="698244"/>
                        <a:pt x="1451355" y="681299"/>
                      </a:cubicBezTo>
                      <a:lnTo>
                        <a:pt x="1451355" y="681299"/>
                      </a:lnTo>
                      <a:cubicBezTo>
                        <a:pt x="1452262" y="675046"/>
                        <a:pt x="1452565" y="669398"/>
                        <a:pt x="1452565" y="664456"/>
                      </a:cubicBezTo>
                      <a:lnTo>
                        <a:pt x="1452565" y="664456"/>
                      </a:lnTo>
                      <a:cubicBezTo>
                        <a:pt x="1452666" y="637124"/>
                        <a:pt x="1439857" y="625726"/>
                        <a:pt x="1424425" y="589619"/>
                      </a:cubicBezTo>
                      <a:lnTo>
                        <a:pt x="1424425" y="589619"/>
                      </a:lnTo>
                      <a:cubicBezTo>
                        <a:pt x="1408187" y="550083"/>
                        <a:pt x="1358565" y="564102"/>
                        <a:pt x="1300268" y="555327"/>
                      </a:cubicBezTo>
                      <a:lnTo>
                        <a:pt x="1300268" y="555327"/>
                      </a:lnTo>
                      <a:cubicBezTo>
                        <a:pt x="1290082" y="553613"/>
                        <a:pt x="1282618" y="552907"/>
                        <a:pt x="1276769" y="552907"/>
                      </a:cubicBezTo>
                      <a:lnTo>
                        <a:pt x="1276769" y="552907"/>
                      </a:lnTo>
                      <a:cubicBezTo>
                        <a:pt x="1251150" y="552402"/>
                        <a:pt x="1259017" y="567229"/>
                        <a:pt x="1220994" y="588005"/>
                      </a:cubicBezTo>
                      <a:lnTo>
                        <a:pt x="1220994" y="588005"/>
                      </a:lnTo>
                      <a:cubicBezTo>
                        <a:pt x="1199006" y="599705"/>
                        <a:pt x="1185693" y="605857"/>
                        <a:pt x="1175708" y="605958"/>
                      </a:cubicBezTo>
                      <a:lnTo>
                        <a:pt x="1175708" y="605958"/>
                      </a:lnTo>
                      <a:cubicBezTo>
                        <a:pt x="1164513" y="606059"/>
                        <a:pt x="1159571" y="596881"/>
                        <a:pt x="1156848" y="583063"/>
                      </a:cubicBezTo>
                      <a:lnTo>
                        <a:pt x="1156848" y="583063"/>
                      </a:lnTo>
                      <a:cubicBezTo>
                        <a:pt x="1150998" y="556739"/>
                        <a:pt x="1136071" y="538786"/>
                        <a:pt x="1129717" y="510950"/>
                      </a:cubicBezTo>
                      <a:lnTo>
                        <a:pt x="1129717" y="510950"/>
                      </a:lnTo>
                      <a:cubicBezTo>
                        <a:pt x="1123362" y="482911"/>
                        <a:pt x="1127095" y="458705"/>
                        <a:pt x="1086650" y="446904"/>
                      </a:cubicBezTo>
                      <a:lnTo>
                        <a:pt x="1086650" y="446904"/>
                      </a:lnTo>
                      <a:cubicBezTo>
                        <a:pt x="1043987" y="434902"/>
                        <a:pt x="1027345" y="412511"/>
                        <a:pt x="1027446" y="387095"/>
                      </a:cubicBezTo>
                      <a:lnTo>
                        <a:pt x="1027446" y="387095"/>
                      </a:lnTo>
                      <a:cubicBezTo>
                        <a:pt x="1027345" y="364099"/>
                        <a:pt x="1019680" y="356434"/>
                        <a:pt x="986397" y="329102"/>
                      </a:cubicBezTo>
                      <a:lnTo>
                        <a:pt x="986397" y="329102"/>
                      </a:lnTo>
                      <a:cubicBezTo>
                        <a:pt x="952407" y="300962"/>
                        <a:pt x="970058" y="291078"/>
                        <a:pt x="947062" y="268788"/>
                      </a:cubicBezTo>
                      <a:lnTo>
                        <a:pt x="947062" y="268788"/>
                      </a:lnTo>
                      <a:cubicBezTo>
                        <a:pt x="936472" y="258299"/>
                        <a:pt x="933849" y="247103"/>
                        <a:pt x="934051" y="235807"/>
                      </a:cubicBezTo>
                      <a:lnTo>
                        <a:pt x="934051" y="235807"/>
                      </a:lnTo>
                      <a:cubicBezTo>
                        <a:pt x="934051" y="227134"/>
                        <a:pt x="935161" y="218460"/>
                        <a:pt x="935161" y="208979"/>
                      </a:cubicBezTo>
                      <a:lnTo>
                        <a:pt x="935161" y="208979"/>
                      </a:lnTo>
                      <a:cubicBezTo>
                        <a:pt x="935161" y="201112"/>
                        <a:pt x="934354" y="192741"/>
                        <a:pt x="931328" y="183563"/>
                      </a:cubicBezTo>
                      <a:lnTo>
                        <a:pt x="931328" y="183563"/>
                      </a:lnTo>
                      <a:cubicBezTo>
                        <a:pt x="919326" y="147556"/>
                        <a:pt x="910148" y="126275"/>
                        <a:pt x="910148" y="101464"/>
                      </a:cubicBezTo>
                      <a:lnTo>
                        <a:pt x="910148" y="101464"/>
                      </a:lnTo>
                      <a:cubicBezTo>
                        <a:pt x="910148" y="78367"/>
                        <a:pt x="901474" y="69794"/>
                        <a:pt x="886244" y="30358"/>
                      </a:cubicBezTo>
                      <a:lnTo>
                        <a:pt x="886244" y="30358"/>
                      </a:lnTo>
                      <a:cubicBezTo>
                        <a:pt x="881504" y="18155"/>
                        <a:pt x="875150" y="10691"/>
                        <a:pt x="868695" y="6052"/>
                      </a:cubicBezTo>
                      <a:lnTo>
                        <a:pt x="868695" y="6052"/>
                      </a:lnTo>
                      <a:cubicBezTo>
                        <a:pt x="865770" y="13011"/>
                        <a:pt x="862643" y="22088"/>
                        <a:pt x="861836" y="30762"/>
                      </a:cubicBezTo>
                      <a:lnTo>
                        <a:pt x="861836" y="30762"/>
                      </a:lnTo>
                      <a:cubicBezTo>
                        <a:pt x="860323" y="48110"/>
                        <a:pt x="859416" y="68281"/>
                        <a:pt x="826637" y="82502"/>
                      </a:cubicBezTo>
                      <a:lnTo>
                        <a:pt x="826637" y="82502"/>
                      </a:lnTo>
                      <a:cubicBezTo>
                        <a:pt x="796480" y="95614"/>
                        <a:pt x="812718" y="104590"/>
                        <a:pt x="787201" y="141505"/>
                      </a:cubicBezTo>
                      <a:lnTo>
                        <a:pt x="787201" y="141505"/>
                      </a:lnTo>
                      <a:cubicBezTo>
                        <a:pt x="769450" y="166820"/>
                        <a:pt x="752304" y="177511"/>
                        <a:pt x="736570" y="177612"/>
                      </a:cubicBezTo>
                      <a:lnTo>
                        <a:pt x="736570" y="177612"/>
                      </a:lnTo>
                      <a:cubicBezTo>
                        <a:pt x="729913" y="177612"/>
                        <a:pt x="723761" y="175595"/>
                        <a:pt x="718113" y="172367"/>
                      </a:cubicBezTo>
                      <a:lnTo>
                        <a:pt x="718113" y="172367"/>
                      </a:lnTo>
                      <a:cubicBezTo>
                        <a:pt x="707220" y="165812"/>
                        <a:pt x="689570" y="161172"/>
                        <a:pt x="669398" y="161172"/>
                      </a:cubicBezTo>
                      <a:lnTo>
                        <a:pt x="669398" y="161172"/>
                      </a:lnTo>
                      <a:cubicBezTo>
                        <a:pt x="658505" y="161172"/>
                        <a:pt x="647008" y="162584"/>
                        <a:pt x="635510" y="165610"/>
                      </a:cubicBezTo>
                      <a:lnTo>
                        <a:pt x="635510" y="165610"/>
                      </a:lnTo>
                      <a:cubicBezTo>
                        <a:pt x="603336" y="173578"/>
                        <a:pt x="591535" y="205348"/>
                        <a:pt x="564404" y="208071"/>
                      </a:cubicBezTo>
                      <a:lnTo>
                        <a:pt x="564404" y="208071"/>
                      </a:lnTo>
                      <a:cubicBezTo>
                        <a:pt x="539190" y="209988"/>
                        <a:pt x="535559" y="206155"/>
                        <a:pt x="503889" y="227033"/>
                      </a:cubicBezTo>
                      <a:lnTo>
                        <a:pt x="503889" y="227033"/>
                      </a:lnTo>
                      <a:cubicBezTo>
                        <a:pt x="491686" y="235101"/>
                        <a:pt x="481902" y="238127"/>
                        <a:pt x="475750" y="236211"/>
                      </a:cubicBezTo>
                      <a:lnTo>
                        <a:pt x="475750" y="236211"/>
                      </a:lnTo>
                      <a:cubicBezTo>
                        <a:pt x="474640" y="241859"/>
                        <a:pt x="474035" y="247103"/>
                        <a:pt x="474035" y="252146"/>
                      </a:cubicBezTo>
                      <a:lnTo>
                        <a:pt x="474035" y="252146"/>
                      </a:lnTo>
                      <a:cubicBezTo>
                        <a:pt x="474035" y="284219"/>
                        <a:pt x="496930" y="302878"/>
                        <a:pt x="514984" y="315586"/>
                      </a:cubicBezTo>
                      <a:lnTo>
                        <a:pt x="514984" y="315586"/>
                      </a:lnTo>
                      <a:cubicBezTo>
                        <a:pt x="534853" y="329606"/>
                        <a:pt x="565010" y="376606"/>
                        <a:pt x="565211" y="427237"/>
                      </a:cubicBezTo>
                      <a:lnTo>
                        <a:pt x="565211" y="427237"/>
                      </a:lnTo>
                      <a:cubicBezTo>
                        <a:pt x="565211" y="445089"/>
                        <a:pt x="561278" y="463344"/>
                        <a:pt x="551696" y="480490"/>
                      </a:cubicBezTo>
                      <a:lnTo>
                        <a:pt x="551696" y="480490"/>
                      </a:lnTo>
                      <a:cubicBezTo>
                        <a:pt x="528700" y="521842"/>
                        <a:pt x="508630" y="530415"/>
                        <a:pt x="490878" y="530314"/>
                      </a:cubicBezTo>
                      <a:lnTo>
                        <a:pt x="490878" y="530314"/>
                      </a:lnTo>
                      <a:cubicBezTo>
                        <a:pt x="481095" y="530314"/>
                        <a:pt x="472421" y="527995"/>
                        <a:pt x="464756" y="527995"/>
                      </a:cubicBezTo>
                      <a:lnTo>
                        <a:pt x="464756" y="527995"/>
                      </a:lnTo>
                      <a:cubicBezTo>
                        <a:pt x="453864" y="527995"/>
                        <a:pt x="446400" y="539190"/>
                        <a:pt x="446400" y="551394"/>
                      </a:cubicBezTo>
                      <a:lnTo>
                        <a:pt x="446400" y="551394"/>
                      </a:lnTo>
                      <a:cubicBezTo>
                        <a:pt x="446400" y="560774"/>
                        <a:pt x="450636" y="569750"/>
                        <a:pt x="460722" y="573784"/>
                      </a:cubicBezTo>
                      <a:lnTo>
                        <a:pt x="460722" y="573784"/>
                      </a:lnTo>
                      <a:cubicBezTo>
                        <a:pt x="487348" y="583971"/>
                        <a:pt x="475952" y="585686"/>
                        <a:pt x="482911" y="624516"/>
                      </a:cubicBezTo>
                      <a:lnTo>
                        <a:pt x="482911" y="624516"/>
                      </a:lnTo>
                      <a:cubicBezTo>
                        <a:pt x="484827" y="634703"/>
                        <a:pt x="485836" y="643276"/>
                        <a:pt x="485836" y="650840"/>
                      </a:cubicBezTo>
                      <a:lnTo>
                        <a:pt x="485836" y="650840"/>
                      </a:lnTo>
                      <a:cubicBezTo>
                        <a:pt x="485836" y="657598"/>
                        <a:pt x="484928" y="663246"/>
                        <a:pt x="483415" y="666473"/>
                      </a:cubicBezTo>
                      <a:lnTo>
                        <a:pt x="483415" y="666473"/>
                      </a:lnTo>
                      <a:cubicBezTo>
                        <a:pt x="488660" y="679383"/>
                        <a:pt x="490979" y="694310"/>
                        <a:pt x="490979" y="708430"/>
                      </a:cubicBezTo>
                      <a:lnTo>
                        <a:pt x="490979" y="708430"/>
                      </a:lnTo>
                      <a:cubicBezTo>
                        <a:pt x="490878" y="732637"/>
                        <a:pt x="484827" y="755027"/>
                        <a:pt x="473833" y="764205"/>
                      </a:cubicBezTo>
                      <a:lnTo>
                        <a:pt x="473833" y="764205"/>
                      </a:lnTo>
                      <a:cubicBezTo>
                        <a:pt x="468589" y="768340"/>
                        <a:pt x="466975" y="772072"/>
                        <a:pt x="466874" y="775905"/>
                      </a:cubicBezTo>
                      <a:lnTo>
                        <a:pt x="466874" y="775905"/>
                      </a:lnTo>
                      <a:cubicBezTo>
                        <a:pt x="466672" y="783873"/>
                        <a:pt x="476052" y="794463"/>
                        <a:pt x="487752" y="804952"/>
                      </a:cubicBezTo>
                      <a:lnTo>
                        <a:pt x="487752" y="804952"/>
                      </a:lnTo>
                      <a:cubicBezTo>
                        <a:pt x="496930" y="813424"/>
                        <a:pt x="502477" y="832789"/>
                        <a:pt x="502578" y="852053"/>
                      </a:cubicBezTo>
                      <a:lnTo>
                        <a:pt x="502578" y="852053"/>
                      </a:lnTo>
                      <a:cubicBezTo>
                        <a:pt x="502578" y="873637"/>
                        <a:pt x="494812" y="896431"/>
                        <a:pt x="472421" y="899759"/>
                      </a:cubicBezTo>
                      <a:lnTo>
                        <a:pt x="472421" y="899759"/>
                      </a:lnTo>
                      <a:cubicBezTo>
                        <a:pt x="443273" y="903995"/>
                        <a:pt x="436717" y="913073"/>
                        <a:pt x="436516" y="923764"/>
                      </a:cubicBezTo>
                      <a:lnTo>
                        <a:pt x="436516" y="923764"/>
                      </a:lnTo>
                      <a:cubicBezTo>
                        <a:pt x="436516" y="926991"/>
                        <a:pt x="437222" y="930420"/>
                        <a:pt x="438331" y="934253"/>
                      </a:cubicBezTo>
                      <a:lnTo>
                        <a:pt x="438331" y="934253"/>
                      </a:lnTo>
                      <a:cubicBezTo>
                        <a:pt x="439844" y="939094"/>
                        <a:pt x="440550" y="943532"/>
                        <a:pt x="440550" y="947970"/>
                      </a:cubicBezTo>
                      <a:lnTo>
                        <a:pt x="440550" y="947970"/>
                      </a:lnTo>
                      <a:cubicBezTo>
                        <a:pt x="440449" y="960476"/>
                        <a:pt x="435507" y="972781"/>
                        <a:pt x="428044" y="998096"/>
                      </a:cubicBezTo>
                      <a:lnTo>
                        <a:pt x="428044" y="998096"/>
                      </a:lnTo>
                      <a:cubicBezTo>
                        <a:pt x="417655" y="1033094"/>
                        <a:pt x="400812" y="1051955"/>
                        <a:pt x="370353" y="1055384"/>
                      </a:cubicBezTo>
                      <a:lnTo>
                        <a:pt x="370353" y="1055384"/>
                      </a:lnTo>
                      <a:cubicBezTo>
                        <a:pt x="342415" y="1058914"/>
                        <a:pt x="345541" y="1069706"/>
                        <a:pt x="336363" y="1105107"/>
                      </a:cubicBezTo>
                      <a:lnTo>
                        <a:pt x="336363" y="1105107"/>
                      </a:lnTo>
                      <a:cubicBezTo>
                        <a:pt x="328496" y="1140206"/>
                        <a:pt x="328799" y="1132541"/>
                        <a:pt x="269998" y="1138391"/>
                      </a:cubicBezTo>
                      <a:lnTo>
                        <a:pt x="269998" y="1138391"/>
                      </a:lnTo>
                      <a:cubicBezTo>
                        <a:pt x="208575" y="1146560"/>
                        <a:pt x="239237" y="1138996"/>
                        <a:pt x="214728" y="1168547"/>
                      </a:cubicBezTo>
                      <a:lnTo>
                        <a:pt x="214728" y="1168547"/>
                      </a:lnTo>
                      <a:cubicBezTo>
                        <a:pt x="204239" y="1181558"/>
                        <a:pt x="194052" y="1186601"/>
                        <a:pt x="183966" y="1186500"/>
                      </a:cubicBezTo>
                      <a:lnTo>
                        <a:pt x="183966" y="1186500"/>
                      </a:lnTo>
                      <a:cubicBezTo>
                        <a:pt x="171964" y="1186500"/>
                        <a:pt x="161071" y="1179944"/>
                        <a:pt x="148968" y="1174498"/>
                      </a:cubicBezTo>
                      <a:lnTo>
                        <a:pt x="148968" y="1174498"/>
                      </a:lnTo>
                      <a:cubicBezTo>
                        <a:pt x="145539" y="1172783"/>
                        <a:pt x="142009" y="1172077"/>
                        <a:pt x="138681" y="1172077"/>
                      </a:cubicBezTo>
                      <a:lnTo>
                        <a:pt x="138681" y="1172077"/>
                      </a:lnTo>
                      <a:cubicBezTo>
                        <a:pt x="122543" y="1172077"/>
                        <a:pt x="108019" y="1189324"/>
                        <a:pt x="108019" y="1206571"/>
                      </a:cubicBezTo>
                      <a:lnTo>
                        <a:pt x="108019" y="1206571"/>
                      </a:lnTo>
                      <a:cubicBezTo>
                        <a:pt x="107918" y="1228962"/>
                        <a:pt x="108221" y="1253874"/>
                        <a:pt x="93496" y="1270717"/>
                      </a:cubicBezTo>
                      <a:lnTo>
                        <a:pt x="93496" y="1270717"/>
                      </a:lnTo>
                      <a:cubicBezTo>
                        <a:pt x="80283" y="1285644"/>
                        <a:pt x="78771" y="1292805"/>
                        <a:pt x="78670" y="1350194"/>
                      </a:cubicBezTo>
                      <a:lnTo>
                        <a:pt x="78670" y="1350194"/>
                      </a:lnTo>
                      <a:cubicBezTo>
                        <a:pt x="78569" y="1409095"/>
                        <a:pt x="34897" y="1410507"/>
                        <a:pt x="19365" y="1436428"/>
                      </a:cubicBezTo>
                      <a:lnTo>
                        <a:pt x="19365" y="1436428"/>
                      </a:lnTo>
                      <a:cubicBezTo>
                        <a:pt x="7665" y="1454885"/>
                        <a:pt x="5547" y="1510559"/>
                        <a:pt x="5648" y="1540110"/>
                      </a:cubicBezTo>
                      <a:lnTo>
                        <a:pt x="5648" y="1540110"/>
                      </a:lnTo>
                      <a:cubicBezTo>
                        <a:pt x="5648" y="1548482"/>
                        <a:pt x="5850" y="1554836"/>
                        <a:pt x="4841" y="1556651"/>
                      </a:cubicBezTo>
                      <a:lnTo>
                        <a:pt x="4841" y="1556651"/>
                      </a:lnTo>
                      <a:cubicBezTo>
                        <a:pt x="6253" y="1556651"/>
                        <a:pt x="8875" y="1556651"/>
                        <a:pt x="13616" y="1556651"/>
                      </a:cubicBezTo>
                      <a:lnTo>
                        <a:pt x="13616" y="1556651"/>
                      </a:lnTo>
                      <a:cubicBezTo>
                        <a:pt x="27635" y="1558265"/>
                        <a:pt x="43672" y="1595381"/>
                        <a:pt x="43268" y="1596591"/>
                      </a:cubicBezTo>
                      <a:lnTo>
                        <a:pt x="43268" y="1596591"/>
                      </a:lnTo>
                      <a:cubicBezTo>
                        <a:pt x="44680" y="1596793"/>
                        <a:pt x="62532" y="1599314"/>
                        <a:pt x="68080" y="1619385"/>
                      </a:cubicBezTo>
                      <a:lnTo>
                        <a:pt x="68080" y="1619385"/>
                      </a:lnTo>
                      <a:cubicBezTo>
                        <a:pt x="72215" y="1635926"/>
                        <a:pt x="96723" y="1640061"/>
                        <a:pt x="119417" y="1643289"/>
                      </a:cubicBezTo>
                      <a:lnTo>
                        <a:pt x="119417" y="1643289"/>
                      </a:lnTo>
                      <a:cubicBezTo>
                        <a:pt x="130007" y="1644902"/>
                        <a:pt x="133133" y="1654484"/>
                        <a:pt x="132932" y="1665276"/>
                      </a:cubicBezTo>
                      <a:lnTo>
                        <a:pt x="132932" y="1665276"/>
                      </a:lnTo>
                      <a:cubicBezTo>
                        <a:pt x="132932" y="1680203"/>
                        <a:pt x="128292" y="1700778"/>
                        <a:pt x="128292" y="1720748"/>
                      </a:cubicBezTo>
                      <a:lnTo>
                        <a:pt x="128292" y="1720748"/>
                      </a:lnTo>
                      <a:cubicBezTo>
                        <a:pt x="128292" y="1724076"/>
                        <a:pt x="128393" y="1727405"/>
                        <a:pt x="128897" y="1730733"/>
                      </a:cubicBezTo>
                      <a:lnTo>
                        <a:pt x="128897" y="1730733"/>
                      </a:lnTo>
                      <a:cubicBezTo>
                        <a:pt x="130612" y="1758973"/>
                        <a:pt x="177813" y="1773497"/>
                        <a:pt x="214829" y="1773295"/>
                      </a:cubicBezTo>
                      <a:lnTo>
                        <a:pt x="214829" y="1773295"/>
                      </a:lnTo>
                      <a:cubicBezTo>
                        <a:pt x="222595" y="1773295"/>
                        <a:pt x="229957" y="1772690"/>
                        <a:pt x="236211" y="1771581"/>
                      </a:cubicBezTo>
                      <a:lnTo>
                        <a:pt x="236211" y="1771581"/>
                      </a:lnTo>
                      <a:cubicBezTo>
                        <a:pt x="271410" y="1764924"/>
                        <a:pt x="262837" y="1749190"/>
                        <a:pt x="284219" y="1740516"/>
                      </a:cubicBezTo>
                      <a:lnTo>
                        <a:pt x="284219" y="1740516"/>
                      </a:lnTo>
                      <a:cubicBezTo>
                        <a:pt x="291985" y="1737793"/>
                        <a:pt x="292691" y="1731137"/>
                        <a:pt x="292792" y="1721454"/>
                      </a:cubicBezTo>
                      <a:lnTo>
                        <a:pt x="292792" y="1721454"/>
                      </a:lnTo>
                      <a:cubicBezTo>
                        <a:pt x="292792" y="1719538"/>
                        <a:pt x="292691" y="1717319"/>
                        <a:pt x="292691" y="1715201"/>
                      </a:cubicBezTo>
                      <a:lnTo>
                        <a:pt x="292691" y="1715201"/>
                      </a:lnTo>
                      <a:cubicBezTo>
                        <a:pt x="292691" y="1707535"/>
                        <a:pt x="293196" y="1699164"/>
                        <a:pt x="298642" y="1692911"/>
                      </a:cubicBezTo>
                      <a:lnTo>
                        <a:pt x="298642" y="1692911"/>
                      </a:lnTo>
                      <a:cubicBezTo>
                        <a:pt x="300861" y="1690390"/>
                        <a:pt x="303786" y="1688877"/>
                        <a:pt x="306812" y="1688877"/>
                      </a:cubicBezTo>
                      <a:lnTo>
                        <a:pt x="306812" y="1688877"/>
                      </a:lnTo>
                      <a:cubicBezTo>
                        <a:pt x="322344" y="1689885"/>
                        <a:pt x="338279" y="1718932"/>
                        <a:pt x="352400" y="1726900"/>
                      </a:cubicBezTo>
                      <a:lnTo>
                        <a:pt x="352400" y="1726900"/>
                      </a:lnTo>
                      <a:cubicBezTo>
                        <a:pt x="371260" y="1738499"/>
                        <a:pt x="384473" y="1775010"/>
                        <a:pt x="396878" y="1804360"/>
                      </a:cubicBezTo>
                      <a:lnTo>
                        <a:pt x="396878" y="1804360"/>
                      </a:lnTo>
                      <a:cubicBezTo>
                        <a:pt x="407267" y="1831793"/>
                        <a:pt x="432381" y="1821808"/>
                        <a:pt x="436717" y="1857008"/>
                      </a:cubicBezTo>
                      <a:lnTo>
                        <a:pt x="436717" y="1857008"/>
                      </a:lnTo>
                      <a:cubicBezTo>
                        <a:pt x="439945" y="1888476"/>
                        <a:pt x="458099" y="1893014"/>
                        <a:pt x="479582" y="1926600"/>
                      </a:cubicBezTo>
                      <a:lnTo>
                        <a:pt x="479582" y="1926600"/>
                      </a:lnTo>
                      <a:cubicBezTo>
                        <a:pt x="489063" y="1941729"/>
                        <a:pt x="493097" y="1953933"/>
                        <a:pt x="493097" y="1965330"/>
                      </a:cubicBezTo>
                      <a:lnTo>
                        <a:pt x="493097" y="1965330"/>
                      </a:lnTo>
                      <a:cubicBezTo>
                        <a:pt x="493097" y="1979148"/>
                        <a:pt x="487248" y="1991150"/>
                        <a:pt x="479683" y="2005573"/>
                      </a:cubicBezTo>
                      <a:lnTo>
                        <a:pt x="479683" y="2005573"/>
                      </a:lnTo>
                      <a:cubicBezTo>
                        <a:pt x="477263" y="2010010"/>
                        <a:pt x="476153" y="2014751"/>
                        <a:pt x="476153" y="2019491"/>
                      </a:cubicBezTo>
                      <a:lnTo>
                        <a:pt x="476153" y="2019491"/>
                      </a:lnTo>
                      <a:cubicBezTo>
                        <a:pt x="476052" y="2040369"/>
                        <a:pt x="497334" y="2064272"/>
                        <a:pt x="523153" y="2072442"/>
                      </a:cubicBezTo>
                      <a:lnTo>
                        <a:pt x="523153" y="2072442"/>
                      </a:lnTo>
                      <a:cubicBezTo>
                        <a:pt x="557042" y="2083133"/>
                        <a:pt x="566422" y="2106935"/>
                        <a:pt x="574692" y="2120450"/>
                      </a:cubicBezTo>
                      <a:lnTo>
                        <a:pt x="574692" y="2120450"/>
                      </a:lnTo>
                      <a:cubicBezTo>
                        <a:pt x="576407" y="2122871"/>
                        <a:pt x="578222" y="2123678"/>
                        <a:pt x="581551" y="2123779"/>
                      </a:cubicBezTo>
                      <a:lnTo>
                        <a:pt x="581551" y="2123779"/>
                      </a:lnTo>
                      <a:cubicBezTo>
                        <a:pt x="592141" y="2123981"/>
                        <a:pt x="611505" y="2111373"/>
                        <a:pt x="625222" y="2107036"/>
                      </a:cubicBezTo>
                      <a:lnTo>
                        <a:pt x="625222" y="2107036"/>
                      </a:lnTo>
                      <a:cubicBezTo>
                        <a:pt x="626432" y="2106734"/>
                        <a:pt x="627744" y="2106431"/>
                        <a:pt x="629055" y="2106431"/>
                      </a:cubicBezTo>
                      <a:lnTo>
                        <a:pt x="629055" y="2106431"/>
                      </a:lnTo>
                      <a:cubicBezTo>
                        <a:pt x="638838" y="2106935"/>
                        <a:pt x="641158" y="2117324"/>
                        <a:pt x="641158" y="2128217"/>
                      </a:cubicBezTo>
                      <a:lnTo>
                        <a:pt x="641158" y="2128217"/>
                      </a:lnTo>
                      <a:cubicBezTo>
                        <a:pt x="641158" y="2140421"/>
                        <a:pt x="638132" y="2155549"/>
                        <a:pt x="633795" y="2167652"/>
                      </a:cubicBezTo>
                      <a:lnTo>
                        <a:pt x="633795" y="2167652"/>
                      </a:lnTo>
                      <a:cubicBezTo>
                        <a:pt x="632988" y="2170073"/>
                        <a:pt x="632686" y="2171989"/>
                        <a:pt x="632686" y="2173704"/>
                      </a:cubicBezTo>
                      <a:lnTo>
                        <a:pt x="632686" y="2173704"/>
                      </a:lnTo>
                      <a:cubicBezTo>
                        <a:pt x="631778" y="2188732"/>
                        <a:pt x="659615" y="2192363"/>
                        <a:pt x="666776" y="2205373"/>
                      </a:cubicBezTo>
                      <a:lnTo>
                        <a:pt x="666776" y="2205373"/>
                      </a:lnTo>
                      <a:cubicBezTo>
                        <a:pt x="667583" y="2207390"/>
                        <a:pt x="667885" y="2209509"/>
                        <a:pt x="667885" y="2211526"/>
                      </a:cubicBezTo>
                      <a:lnTo>
                        <a:pt x="667885" y="2211526"/>
                      </a:lnTo>
                      <a:cubicBezTo>
                        <a:pt x="667583" y="2223830"/>
                        <a:pt x="656488" y="2236640"/>
                        <a:pt x="654875" y="2237043"/>
                      </a:cubicBezTo>
                      <a:lnTo>
                        <a:pt x="654875" y="2237043"/>
                      </a:lnTo>
                      <a:cubicBezTo>
                        <a:pt x="655782" y="2238556"/>
                        <a:pt x="659716" y="2246927"/>
                        <a:pt x="682712" y="2257618"/>
                      </a:cubicBezTo>
                      <a:lnTo>
                        <a:pt x="682712" y="2257618"/>
                      </a:lnTo>
                      <a:cubicBezTo>
                        <a:pt x="692192" y="2262056"/>
                        <a:pt x="700059" y="2264476"/>
                        <a:pt x="707220" y="2264476"/>
                      </a:cubicBezTo>
                      <a:lnTo>
                        <a:pt x="707220" y="2264476"/>
                      </a:lnTo>
                      <a:cubicBezTo>
                        <a:pt x="718718" y="2264376"/>
                        <a:pt x="728703" y="2258223"/>
                        <a:pt x="741613" y="2241279"/>
                      </a:cubicBezTo>
                      <a:lnTo>
                        <a:pt x="741613" y="2241279"/>
                      </a:lnTo>
                      <a:cubicBezTo>
                        <a:pt x="746252" y="2234824"/>
                        <a:pt x="750993" y="2231496"/>
                        <a:pt x="756137" y="2231496"/>
                      </a:cubicBezTo>
                      <a:lnTo>
                        <a:pt x="756137" y="2231496"/>
                      </a:lnTo>
                      <a:cubicBezTo>
                        <a:pt x="773182" y="2232908"/>
                        <a:pt x="780040" y="2265183"/>
                        <a:pt x="791034" y="2279303"/>
                      </a:cubicBezTo>
                      <a:lnTo>
                        <a:pt x="791034" y="2279303"/>
                      </a:lnTo>
                      <a:cubicBezTo>
                        <a:pt x="792546" y="2281219"/>
                        <a:pt x="794059" y="2281925"/>
                        <a:pt x="796480" y="2282026"/>
                      </a:cubicBezTo>
                      <a:lnTo>
                        <a:pt x="796480" y="2282026"/>
                      </a:lnTo>
                      <a:cubicBezTo>
                        <a:pt x="811911" y="2282934"/>
                        <a:pt x="848624" y="2239564"/>
                        <a:pt x="853667" y="2224537"/>
                      </a:cubicBezTo>
                      <a:lnTo>
                        <a:pt x="853667" y="2224537"/>
                      </a:lnTo>
                      <a:cubicBezTo>
                        <a:pt x="857096" y="2215661"/>
                        <a:pt x="867686" y="2212736"/>
                        <a:pt x="878780" y="2212635"/>
                      </a:cubicBezTo>
                      <a:lnTo>
                        <a:pt x="878780" y="2212635"/>
                      </a:lnTo>
                      <a:cubicBezTo>
                        <a:pt x="897843" y="2213039"/>
                        <a:pt x="922049" y="2221006"/>
                        <a:pt x="923057" y="2237648"/>
                      </a:cubicBezTo>
                      <a:lnTo>
                        <a:pt x="923057" y="2237648"/>
                      </a:lnTo>
                      <a:cubicBezTo>
                        <a:pt x="923663" y="2254189"/>
                        <a:pt x="926083" y="2257820"/>
                        <a:pt x="937682" y="2258223"/>
                      </a:cubicBezTo>
                      <a:lnTo>
                        <a:pt x="937682" y="2258223"/>
                      </a:lnTo>
                      <a:cubicBezTo>
                        <a:pt x="940405" y="2258223"/>
                        <a:pt x="943633" y="2257820"/>
                        <a:pt x="947566" y="2257316"/>
                      </a:cubicBezTo>
                      <a:lnTo>
                        <a:pt x="947566" y="2257316"/>
                      </a:lnTo>
                      <a:cubicBezTo>
                        <a:pt x="955030" y="2255601"/>
                        <a:pt x="954424" y="2254592"/>
                        <a:pt x="954727" y="2251667"/>
                      </a:cubicBezTo>
                      <a:lnTo>
                        <a:pt x="954727" y="2251667"/>
                      </a:lnTo>
                      <a:cubicBezTo>
                        <a:pt x="954727" y="2249650"/>
                        <a:pt x="954021" y="2246927"/>
                        <a:pt x="954021" y="2243599"/>
                      </a:cubicBezTo>
                      <a:lnTo>
                        <a:pt x="954021" y="2243599"/>
                      </a:lnTo>
                      <a:cubicBezTo>
                        <a:pt x="953819" y="2238859"/>
                        <a:pt x="956341" y="2233110"/>
                        <a:pt x="964107" y="2229882"/>
                      </a:cubicBezTo>
                      <a:lnTo>
                        <a:pt x="964107" y="2229882"/>
                      </a:lnTo>
                      <a:cubicBezTo>
                        <a:pt x="966628" y="2228773"/>
                        <a:pt x="969049" y="2228168"/>
                        <a:pt x="971469" y="2228168"/>
                      </a:cubicBezTo>
                      <a:lnTo>
                        <a:pt x="971469" y="2228168"/>
                      </a:lnTo>
                      <a:cubicBezTo>
                        <a:pt x="986296" y="2228974"/>
                        <a:pt x="992852" y="2247936"/>
                        <a:pt x="998802" y="2246625"/>
                      </a:cubicBezTo>
                      <a:lnTo>
                        <a:pt x="998802" y="2246625"/>
                      </a:lnTo>
                      <a:cubicBezTo>
                        <a:pt x="999609" y="2246625"/>
                        <a:pt x="1000618" y="2246423"/>
                        <a:pt x="1001929" y="2245717"/>
                      </a:cubicBezTo>
                      <a:lnTo>
                        <a:pt x="1001929" y="2245717"/>
                      </a:lnTo>
                      <a:cubicBezTo>
                        <a:pt x="1004652" y="2243901"/>
                        <a:pt x="1005459" y="2241884"/>
                        <a:pt x="1005560" y="2238959"/>
                      </a:cubicBezTo>
                      <a:lnTo>
                        <a:pt x="1005560" y="2238959"/>
                      </a:lnTo>
                      <a:cubicBezTo>
                        <a:pt x="1005661" y="2230084"/>
                        <a:pt x="994465" y="2214753"/>
                        <a:pt x="990431" y="2203961"/>
                      </a:cubicBezTo>
                      <a:lnTo>
                        <a:pt x="990431" y="2203961"/>
                      </a:lnTo>
                      <a:cubicBezTo>
                        <a:pt x="989826" y="2202650"/>
                        <a:pt x="989523" y="2201238"/>
                        <a:pt x="989523" y="2199826"/>
                      </a:cubicBezTo>
                      <a:lnTo>
                        <a:pt x="989523" y="2199826"/>
                      </a:lnTo>
                      <a:cubicBezTo>
                        <a:pt x="990128" y="2190245"/>
                        <a:pt x="1000819" y="2187622"/>
                        <a:pt x="1009392" y="2187522"/>
                      </a:cubicBezTo>
                      <a:lnTo>
                        <a:pt x="1009392" y="2187522"/>
                      </a:lnTo>
                      <a:cubicBezTo>
                        <a:pt x="1015545" y="2187622"/>
                        <a:pt x="1021294" y="2188732"/>
                        <a:pt x="1024622" y="2192766"/>
                      </a:cubicBezTo>
                      <a:lnTo>
                        <a:pt x="1024622" y="2192766"/>
                      </a:lnTo>
                      <a:cubicBezTo>
                        <a:pt x="1028555" y="2198112"/>
                        <a:pt x="1035212" y="2209609"/>
                        <a:pt x="1047315" y="2209509"/>
                      </a:cubicBezTo>
                      <a:lnTo>
                        <a:pt x="1047315" y="2209509"/>
                      </a:lnTo>
                      <a:cubicBezTo>
                        <a:pt x="1052056" y="2209509"/>
                        <a:pt x="1058309" y="2207693"/>
                        <a:pt x="1065873" y="2202549"/>
                      </a:cubicBezTo>
                      <a:lnTo>
                        <a:pt x="1065873" y="2202549"/>
                      </a:lnTo>
                      <a:cubicBezTo>
                        <a:pt x="1078582" y="2193875"/>
                        <a:pt x="1093508" y="2189640"/>
                        <a:pt x="1109747" y="2189640"/>
                      </a:cubicBezTo>
                      <a:lnTo>
                        <a:pt x="1109747" y="2189640"/>
                      </a:lnTo>
                      <a:cubicBezTo>
                        <a:pt x="1130624" y="2189640"/>
                        <a:pt x="1153418" y="2196498"/>
                        <a:pt x="1176112" y="2209307"/>
                      </a:cubicBezTo>
                      <a:lnTo>
                        <a:pt x="1176112" y="2209307"/>
                      </a:lnTo>
                      <a:cubicBezTo>
                        <a:pt x="1192854" y="2218788"/>
                        <a:pt x="1212219" y="2222620"/>
                        <a:pt x="1231785" y="2222620"/>
                      </a:cubicBezTo>
                      <a:lnTo>
                        <a:pt x="1231785" y="2222620"/>
                      </a:lnTo>
                      <a:cubicBezTo>
                        <a:pt x="1257101" y="2222620"/>
                        <a:pt x="1282316" y="2216064"/>
                        <a:pt x="1301681" y="2207491"/>
                      </a:cubicBezTo>
                      <a:lnTo>
                        <a:pt x="1301681" y="2207491"/>
                      </a:lnTo>
                      <a:cubicBezTo>
                        <a:pt x="1335065" y="2192464"/>
                        <a:pt x="1341621" y="2162811"/>
                        <a:pt x="1342427" y="2161298"/>
                      </a:cubicBezTo>
                      <a:lnTo>
                        <a:pt x="1342427" y="2161298"/>
                      </a:lnTo>
                      <a:cubicBezTo>
                        <a:pt x="1342730" y="2161298"/>
                        <a:pt x="1389024" y="2114096"/>
                        <a:pt x="1422913" y="2113592"/>
                      </a:cubicBezTo>
                      <a:lnTo>
                        <a:pt x="1422913" y="2113592"/>
                      </a:lnTo>
                      <a:cubicBezTo>
                        <a:pt x="1428157" y="2113592"/>
                        <a:pt x="1433200" y="2114903"/>
                        <a:pt x="1437638" y="2117727"/>
                      </a:cubicBezTo>
                      <a:lnTo>
                        <a:pt x="1437638" y="2117727"/>
                      </a:lnTo>
                      <a:cubicBezTo>
                        <a:pt x="1446715" y="2123577"/>
                        <a:pt x="1456398" y="2125897"/>
                        <a:pt x="1465979" y="2125897"/>
                      </a:cubicBezTo>
                      <a:lnTo>
                        <a:pt x="1465979" y="2125897"/>
                      </a:lnTo>
                      <a:cubicBezTo>
                        <a:pt x="1485848" y="2125897"/>
                        <a:pt x="1505314" y="2115307"/>
                        <a:pt x="1515400" y="2104313"/>
                      </a:cubicBezTo>
                      <a:lnTo>
                        <a:pt x="1515400" y="2104313"/>
                      </a:lnTo>
                      <a:cubicBezTo>
                        <a:pt x="1518930" y="2100279"/>
                        <a:pt x="1520443" y="2094530"/>
                        <a:pt x="1520443" y="2087369"/>
                      </a:cubicBezTo>
                      <a:lnTo>
                        <a:pt x="1520443" y="2087369"/>
                      </a:lnTo>
                      <a:cubicBezTo>
                        <a:pt x="1520544" y="2068307"/>
                        <a:pt x="1509550" y="2041478"/>
                        <a:pt x="1509449" y="2023122"/>
                      </a:cubicBezTo>
                      <a:lnTo>
                        <a:pt x="1509449" y="2023122"/>
                      </a:lnTo>
                      <a:cubicBezTo>
                        <a:pt x="1510054" y="1997504"/>
                        <a:pt x="1547675" y="1975214"/>
                        <a:pt x="1587211" y="1975012"/>
                      </a:cubicBezTo>
                      <a:lnTo>
                        <a:pt x="1587211" y="1975012"/>
                      </a:lnTo>
                      <a:cubicBezTo>
                        <a:pt x="1589934" y="1975012"/>
                        <a:pt x="1592658" y="1975012"/>
                        <a:pt x="1595582" y="1975315"/>
                      </a:cubicBezTo>
                      <a:lnTo>
                        <a:pt x="1595582" y="1975315"/>
                      </a:lnTo>
                      <a:cubicBezTo>
                        <a:pt x="1601533" y="1975819"/>
                        <a:pt x="1606475" y="1976021"/>
                        <a:pt x="1610610" y="1976021"/>
                      </a:cubicBezTo>
                      <a:lnTo>
                        <a:pt x="1610610" y="1976021"/>
                      </a:lnTo>
                      <a:cubicBezTo>
                        <a:pt x="1634009" y="1976122"/>
                        <a:pt x="1630681" y="1968457"/>
                        <a:pt x="1659729" y="1953227"/>
                      </a:cubicBezTo>
                      <a:lnTo>
                        <a:pt x="1659729" y="1953227"/>
                      </a:lnTo>
                      <a:cubicBezTo>
                        <a:pt x="1691297" y="1936989"/>
                        <a:pt x="1692911" y="1905823"/>
                        <a:pt x="1724076" y="1894225"/>
                      </a:cubicBezTo>
                      <a:lnTo>
                        <a:pt x="1724076" y="1894225"/>
                      </a:lnTo>
                      <a:cubicBezTo>
                        <a:pt x="1728211" y="1892712"/>
                        <a:pt x="1733254" y="1892207"/>
                        <a:pt x="1738701" y="1892207"/>
                      </a:cubicBezTo>
                      <a:lnTo>
                        <a:pt x="1738701" y="1892207"/>
                      </a:lnTo>
                      <a:cubicBezTo>
                        <a:pt x="1748282" y="1892207"/>
                        <a:pt x="1759578" y="1893922"/>
                        <a:pt x="1767950" y="1899772"/>
                      </a:cubicBezTo>
                      <a:lnTo>
                        <a:pt x="1767950" y="1899772"/>
                      </a:lnTo>
                      <a:cubicBezTo>
                        <a:pt x="1767244" y="1896847"/>
                        <a:pt x="1766941" y="1893720"/>
                        <a:pt x="1766941" y="1890796"/>
                      </a:cubicBezTo>
                      <a:lnTo>
                        <a:pt x="1766941" y="1890796"/>
                      </a:lnTo>
                      <a:cubicBezTo>
                        <a:pt x="1767042" y="1878894"/>
                        <a:pt x="1771581" y="1867699"/>
                        <a:pt x="1778338" y="1859731"/>
                      </a:cubicBezTo>
                      <a:lnTo>
                        <a:pt x="1778338" y="1859731"/>
                      </a:lnTo>
                      <a:cubicBezTo>
                        <a:pt x="1785197" y="1851561"/>
                        <a:pt x="1790240" y="1834718"/>
                        <a:pt x="1790139" y="1817673"/>
                      </a:cubicBezTo>
                      <a:lnTo>
                        <a:pt x="1790139" y="1817673"/>
                      </a:lnTo>
                      <a:cubicBezTo>
                        <a:pt x="1790139" y="1810512"/>
                        <a:pt x="1789332" y="1803149"/>
                        <a:pt x="1787516" y="1796392"/>
                      </a:cubicBezTo>
                      <a:lnTo>
                        <a:pt x="1787516" y="1796392"/>
                      </a:lnTo>
                      <a:cubicBezTo>
                        <a:pt x="1784390" y="1784793"/>
                        <a:pt x="1782171" y="1776725"/>
                        <a:pt x="1782171" y="1769362"/>
                      </a:cubicBezTo>
                      <a:lnTo>
                        <a:pt x="1782171" y="1769362"/>
                      </a:lnTo>
                      <a:cubicBezTo>
                        <a:pt x="1782171" y="1761293"/>
                        <a:pt x="1784894" y="1754334"/>
                        <a:pt x="1791349" y="1746467"/>
                      </a:cubicBezTo>
                      <a:lnTo>
                        <a:pt x="1791349" y="1746467"/>
                      </a:lnTo>
                      <a:cubicBezTo>
                        <a:pt x="1796997" y="1739508"/>
                        <a:pt x="1802847" y="1723471"/>
                        <a:pt x="1802847" y="1707535"/>
                      </a:cubicBezTo>
                      <a:lnTo>
                        <a:pt x="1802847" y="1707535"/>
                      </a:lnTo>
                      <a:cubicBezTo>
                        <a:pt x="1802746" y="1692306"/>
                        <a:pt x="1797602" y="1677379"/>
                        <a:pt x="1782373" y="1668403"/>
                      </a:cubicBezTo>
                      <a:lnTo>
                        <a:pt x="1782373" y="1668403"/>
                      </a:lnTo>
                      <a:cubicBezTo>
                        <a:pt x="1760890" y="1656198"/>
                        <a:pt x="1752619" y="1645003"/>
                        <a:pt x="1752720" y="1628261"/>
                      </a:cubicBezTo>
                      <a:lnTo>
                        <a:pt x="1752720" y="1628261"/>
                      </a:lnTo>
                      <a:cubicBezTo>
                        <a:pt x="1752720" y="1618780"/>
                        <a:pt x="1755141" y="1607585"/>
                        <a:pt x="1758368" y="1593061"/>
                      </a:cubicBezTo>
                      <a:lnTo>
                        <a:pt x="1758368" y="1593061"/>
                      </a:lnTo>
                      <a:cubicBezTo>
                        <a:pt x="1761999" y="1576016"/>
                        <a:pt x="1764117" y="1561896"/>
                        <a:pt x="1764117" y="1550902"/>
                      </a:cubicBezTo>
                      <a:lnTo>
                        <a:pt x="1764117" y="1550902"/>
                      </a:lnTo>
                      <a:cubicBezTo>
                        <a:pt x="1764117" y="1536177"/>
                        <a:pt x="1760587" y="1527402"/>
                        <a:pt x="1753123" y="1522662"/>
                      </a:cubicBezTo>
                      <a:lnTo>
                        <a:pt x="1753123" y="1522662"/>
                      </a:lnTo>
                      <a:cubicBezTo>
                        <a:pt x="1736986" y="1512273"/>
                        <a:pt x="1732347" y="1495934"/>
                        <a:pt x="1732447" y="1480301"/>
                      </a:cubicBezTo>
                      <a:lnTo>
                        <a:pt x="1732447" y="1480301"/>
                      </a:lnTo>
                      <a:cubicBezTo>
                        <a:pt x="1734666" y="1469509"/>
                        <a:pt x="1688271" y="1460936"/>
                        <a:pt x="1676471" y="1427149"/>
                      </a:cubicBezTo>
                      <a:lnTo>
                        <a:pt x="1676471" y="1427149"/>
                      </a:lnTo>
                      <a:cubicBezTo>
                        <a:pt x="1673445" y="1418172"/>
                        <a:pt x="1672033" y="1410810"/>
                        <a:pt x="1672033" y="1404556"/>
                      </a:cubicBezTo>
                      <a:lnTo>
                        <a:pt x="1672033" y="1404556"/>
                      </a:lnTo>
                      <a:cubicBezTo>
                        <a:pt x="1672134" y="1387511"/>
                        <a:pt x="1681615" y="1378837"/>
                        <a:pt x="1690793" y="1364314"/>
                      </a:cubicBezTo>
                      <a:lnTo>
                        <a:pt x="1690793" y="1364314"/>
                      </a:lnTo>
                      <a:cubicBezTo>
                        <a:pt x="1699467" y="1350597"/>
                        <a:pt x="1705922" y="1344546"/>
                        <a:pt x="1705720" y="1334964"/>
                      </a:cubicBezTo>
                      <a:lnTo>
                        <a:pt x="1705720" y="1334964"/>
                      </a:lnTo>
                      <a:cubicBezTo>
                        <a:pt x="1705720" y="1329719"/>
                        <a:pt x="1704005" y="1322962"/>
                        <a:pt x="1699265" y="1313179"/>
                      </a:cubicBezTo>
                      <a:lnTo>
                        <a:pt x="1699265" y="1313179"/>
                      </a:lnTo>
                      <a:cubicBezTo>
                        <a:pt x="1687465" y="1288569"/>
                        <a:pt x="1677177" y="1258614"/>
                        <a:pt x="1677076" y="1244292"/>
                      </a:cubicBezTo>
                      <a:lnTo>
                        <a:pt x="1677076" y="1244292"/>
                      </a:lnTo>
                      <a:cubicBezTo>
                        <a:pt x="1677177" y="1241367"/>
                        <a:pt x="1677278" y="1238846"/>
                        <a:pt x="1679093" y="1236728"/>
                      </a:cubicBezTo>
                      <a:lnTo>
                        <a:pt x="1679093" y="1236728"/>
                      </a:lnTo>
                      <a:cubicBezTo>
                        <a:pt x="1687969" y="1228256"/>
                        <a:pt x="1701081" y="1237030"/>
                        <a:pt x="1713385" y="1216657"/>
                      </a:cubicBezTo>
                      <a:lnTo>
                        <a:pt x="1713385" y="1216657"/>
                      </a:lnTo>
                      <a:cubicBezTo>
                        <a:pt x="1717016" y="1210504"/>
                        <a:pt x="1718428" y="1204856"/>
                        <a:pt x="1718428" y="1199612"/>
                      </a:cubicBezTo>
                      <a:lnTo>
                        <a:pt x="1718428" y="1199612"/>
                      </a:lnTo>
                      <a:cubicBezTo>
                        <a:pt x="1718529" y="1187509"/>
                        <a:pt x="1710864" y="1176818"/>
                        <a:pt x="1704812" y="1167841"/>
                      </a:cubicBezTo>
                      <a:lnTo>
                        <a:pt x="1704812" y="1167841"/>
                      </a:lnTo>
                      <a:cubicBezTo>
                        <a:pt x="1700778" y="1161891"/>
                        <a:pt x="1700475" y="1155234"/>
                        <a:pt x="1700475" y="1149082"/>
                      </a:cubicBezTo>
                      <a:lnTo>
                        <a:pt x="1700475" y="1149082"/>
                      </a:lnTo>
                      <a:cubicBezTo>
                        <a:pt x="1700475" y="1147468"/>
                        <a:pt x="1700475" y="1145854"/>
                        <a:pt x="1700475" y="1144140"/>
                      </a:cubicBezTo>
                      <a:lnTo>
                        <a:pt x="1700475" y="1144140"/>
                      </a:lnTo>
                      <a:cubicBezTo>
                        <a:pt x="1700475" y="1136474"/>
                        <a:pt x="1699971" y="1129414"/>
                        <a:pt x="1694323" y="1122657"/>
                      </a:cubicBezTo>
                      <a:lnTo>
                        <a:pt x="1694323" y="1122657"/>
                      </a:lnTo>
                      <a:cubicBezTo>
                        <a:pt x="1683228" y="1108839"/>
                        <a:pt x="1653980" y="1108234"/>
                        <a:pt x="1653576" y="1077674"/>
                      </a:cubicBezTo>
                      <a:lnTo>
                        <a:pt x="1653576" y="1077674"/>
                      </a:lnTo>
                      <a:cubicBezTo>
                        <a:pt x="1653273" y="1048727"/>
                        <a:pt x="1667797" y="1035818"/>
                        <a:pt x="1685346" y="1034910"/>
                      </a:cubicBezTo>
                      <a:lnTo>
                        <a:pt x="1685346" y="1034910"/>
                      </a:lnTo>
                      <a:cubicBezTo>
                        <a:pt x="1687162" y="1034708"/>
                        <a:pt x="1688877" y="1034708"/>
                        <a:pt x="1690591" y="1034708"/>
                      </a:cubicBezTo>
                      <a:lnTo>
                        <a:pt x="1690591" y="1034708"/>
                      </a:lnTo>
                      <a:cubicBezTo>
                        <a:pt x="1693919" y="1034708"/>
                        <a:pt x="1697046" y="1034809"/>
                        <a:pt x="1700072" y="1034809"/>
                      </a:cubicBezTo>
                      <a:lnTo>
                        <a:pt x="1700072" y="1034809"/>
                      </a:lnTo>
                      <a:cubicBezTo>
                        <a:pt x="1708847" y="1034708"/>
                        <a:pt x="1716310" y="1033699"/>
                        <a:pt x="1729018" y="1022706"/>
                      </a:cubicBezTo>
                      <a:lnTo>
                        <a:pt x="1729018" y="1022706"/>
                      </a:lnTo>
                      <a:cubicBezTo>
                        <a:pt x="1748282" y="1005459"/>
                        <a:pt x="1753829" y="995071"/>
                        <a:pt x="1754031" y="973991"/>
                      </a:cubicBezTo>
                      <a:lnTo>
                        <a:pt x="1754031" y="973991"/>
                      </a:lnTo>
                      <a:cubicBezTo>
                        <a:pt x="1754031" y="963804"/>
                        <a:pt x="1752014" y="950188"/>
                        <a:pt x="1752014" y="937884"/>
                      </a:cubicBezTo>
                      <a:lnTo>
                        <a:pt x="1752014" y="937884"/>
                      </a:lnTo>
                      <a:cubicBezTo>
                        <a:pt x="1752014" y="925075"/>
                        <a:pt x="1754031" y="912467"/>
                        <a:pt x="1765529" y="907727"/>
                      </a:cubicBezTo>
                      <a:lnTo>
                        <a:pt x="1765529" y="907727"/>
                      </a:lnTo>
                      <a:cubicBezTo>
                        <a:pt x="1782070" y="901171"/>
                        <a:pt x="1779851" y="886648"/>
                        <a:pt x="1787819" y="869199"/>
                      </a:cubicBezTo>
                      <a:lnTo>
                        <a:pt x="1787819" y="869199"/>
                      </a:lnTo>
                      <a:cubicBezTo>
                        <a:pt x="1797299" y="850944"/>
                        <a:pt x="1816362" y="856088"/>
                        <a:pt x="1819993" y="833192"/>
                      </a:cubicBezTo>
                      <a:lnTo>
                        <a:pt x="1819993" y="833192"/>
                      </a:lnTo>
                      <a:cubicBezTo>
                        <a:pt x="1820699" y="829461"/>
                        <a:pt x="1820900" y="825729"/>
                        <a:pt x="1820900" y="822300"/>
                      </a:cubicBezTo>
                      <a:lnTo>
                        <a:pt x="1820900" y="822300"/>
                      </a:lnTo>
                      <a:cubicBezTo>
                        <a:pt x="1820800" y="803238"/>
                        <a:pt x="1811924" y="789117"/>
                        <a:pt x="1796493" y="786697"/>
                      </a:cubicBezTo>
                      <a:lnTo>
                        <a:pt x="1796493" y="786697"/>
                      </a:lnTo>
                      <a:lnTo>
                        <a:pt x="1796795" y="783974"/>
                      </a:lnTo>
                      <a:lnTo>
                        <a:pt x="1797299" y="781250"/>
                      </a:lnTo>
                      <a:cubicBezTo>
                        <a:pt x="1816160" y="784175"/>
                        <a:pt x="1826649" y="801725"/>
                        <a:pt x="1826548" y="822300"/>
                      </a:cubicBezTo>
                      <a:lnTo>
                        <a:pt x="1826548" y="822300"/>
                      </a:lnTo>
                      <a:cubicBezTo>
                        <a:pt x="1826548" y="826032"/>
                        <a:pt x="1826246" y="830066"/>
                        <a:pt x="1825540" y="834100"/>
                      </a:cubicBezTo>
                      <a:lnTo>
                        <a:pt x="1825540" y="834100"/>
                      </a:lnTo>
                      <a:cubicBezTo>
                        <a:pt x="1820396" y="860929"/>
                        <a:pt x="1798409" y="857399"/>
                        <a:pt x="1792963" y="871519"/>
                      </a:cubicBezTo>
                      <a:lnTo>
                        <a:pt x="1792963" y="871519"/>
                      </a:lnTo>
                      <a:cubicBezTo>
                        <a:pt x="1785802" y="886446"/>
                        <a:pt x="1787819" y="904399"/>
                        <a:pt x="1767748" y="912871"/>
                      </a:cubicBezTo>
                      <a:lnTo>
                        <a:pt x="1767748" y="912871"/>
                      </a:lnTo>
                      <a:cubicBezTo>
                        <a:pt x="1760083" y="915796"/>
                        <a:pt x="1757662" y="925276"/>
                        <a:pt x="1757662" y="937884"/>
                      </a:cubicBezTo>
                      <a:lnTo>
                        <a:pt x="1757662" y="937884"/>
                      </a:lnTo>
                      <a:cubicBezTo>
                        <a:pt x="1757662" y="949684"/>
                        <a:pt x="1759679" y="963199"/>
                        <a:pt x="1759679" y="973991"/>
                      </a:cubicBezTo>
                      <a:lnTo>
                        <a:pt x="1759679" y="973991"/>
                      </a:lnTo>
                      <a:cubicBezTo>
                        <a:pt x="1759881" y="996180"/>
                        <a:pt x="1752518" y="1009594"/>
                        <a:pt x="1732851" y="1026841"/>
                      </a:cubicBezTo>
                      <a:lnTo>
                        <a:pt x="1732851" y="1026841"/>
                      </a:lnTo>
                      <a:cubicBezTo>
                        <a:pt x="1719538" y="1038642"/>
                        <a:pt x="1709754" y="1040457"/>
                        <a:pt x="1700274" y="1040457"/>
                      </a:cubicBezTo>
                      <a:lnTo>
                        <a:pt x="1700274" y="1040457"/>
                      </a:lnTo>
                      <a:cubicBezTo>
                        <a:pt x="1697248" y="1040457"/>
                        <a:pt x="1694020" y="1040356"/>
                        <a:pt x="1690793" y="1040356"/>
                      </a:cubicBezTo>
                      <a:lnTo>
                        <a:pt x="1690793" y="1040356"/>
                      </a:lnTo>
                      <a:cubicBezTo>
                        <a:pt x="1689179" y="1040356"/>
                        <a:pt x="1687565" y="1040356"/>
                        <a:pt x="1685851" y="1040457"/>
                      </a:cubicBezTo>
                      <a:lnTo>
                        <a:pt x="1685851" y="1040457"/>
                      </a:lnTo>
                      <a:cubicBezTo>
                        <a:pt x="1671025" y="1041667"/>
                        <a:pt x="1659628" y="1050341"/>
                        <a:pt x="1659325" y="1077674"/>
                      </a:cubicBezTo>
                      <a:lnTo>
                        <a:pt x="1659325" y="1077674"/>
                      </a:lnTo>
                      <a:cubicBezTo>
                        <a:pt x="1659022" y="1103191"/>
                        <a:pt x="1683733" y="1102586"/>
                        <a:pt x="1698559" y="1119026"/>
                      </a:cubicBezTo>
                      <a:lnTo>
                        <a:pt x="1698559" y="1119026"/>
                      </a:lnTo>
                      <a:cubicBezTo>
                        <a:pt x="1705619" y="1127195"/>
                        <a:pt x="1706224" y="1136273"/>
                        <a:pt x="1706224" y="1144039"/>
                      </a:cubicBezTo>
                      <a:lnTo>
                        <a:pt x="1706224" y="1144039"/>
                      </a:lnTo>
                      <a:cubicBezTo>
                        <a:pt x="1706224" y="1145652"/>
                        <a:pt x="1706224" y="1147367"/>
                        <a:pt x="1706224" y="1148981"/>
                      </a:cubicBezTo>
                      <a:lnTo>
                        <a:pt x="1706224" y="1148981"/>
                      </a:lnTo>
                      <a:cubicBezTo>
                        <a:pt x="1706224" y="1155032"/>
                        <a:pt x="1706729" y="1160176"/>
                        <a:pt x="1709653" y="1164614"/>
                      </a:cubicBezTo>
                      <a:lnTo>
                        <a:pt x="1709653" y="1164614"/>
                      </a:lnTo>
                      <a:cubicBezTo>
                        <a:pt x="1715503" y="1173389"/>
                        <a:pt x="1724076" y="1185088"/>
                        <a:pt x="1724177" y="1199511"/>
                      </a:cubicBezTo>
                      <a:lnTo>
                        <a:pt x="1724177" y="1199511"/>
                      </a:lnTo>
                      <a:cubicBezTo>
                        <a:pt x="1724177" y="1205663"/>
                        <a:pt x="1722463" y="1212421"/>
                        <a:pt x="1718327" y="1219380"/>
                      </a:cubicBezTo>
                      <a:lnTo>
                        <a:pt x="1718327" y="1219380"/>
                      </a:lnTo>
                      <a:cubicBezTo>
                        <a:pt x="1704711" y="1241973"/>
                        <a:pt x="1685447" y="1235719"/>
                        <a:pt x="1683329" y="1240359"/>
                      </a:cubicBezTo>
                      <a:lnTo>
                        <a:pt x="1683329" y="1240359"/>
                      </a:lnTo>
                      <a:cubicBezTo>
                        <a:pt x="1683329" y="1240359"/>
                        <a:pt x="1682623" y="1241670"/>
                        <a:pt x="1682724" y="1244090"/>
                      </a:cubicBezTo>
                      <a:lnTo>
                        <a:pt x="1682724" y="1244090"/>
                      </a:lnTo>
                      <a:cubicBezTo>
                        <a:pt x="1682623" y="1256294"/>
                        <a:pt x="1692810" y="1286753"/>
                        <a:pt x="1704308" y="1310657"/>
                      </a:cubicBezTo>
                      <a:lnTo>
                        <a:pt x="1704308" y="1310657"/>
                      </a:lnTo>
                      <a:cubicBezTo>
                        <a:pt x="1709250" y="1320844"/>
                        <a:pt x="1711368" y="1328408"/>
                        <a:pt x="1711368" y="1334863"/>
                      </a:cubicBezTo>
                      <a:lnTo>
                        <a:pt x="1711368" y="1334863"/>
                      </a:lnTo>
                      <a:cubicBezTo>
                        <a:pt x="1711267" y="1347370"/>
                        <a:pt x="1703602" y="1354228"/>
                        <a:pt x="1695432" y="1367340"/>
                      </a:cubicBezTo>
                      <a:lnTo>
                        <a:pt x="1695432" y="1367340"/>
                      </a:lnTo>
                      <a:cubicBezTo>
                        <a:pt x="1685649" y="1382569"/>
                        <a:pt x="1677479" y="1390033"/>
                        <a:pt x="1677580" y="1404556"/>
                      </a:cubicBezTo>
                      <a:lnTo>
                        <a:pt x="1677580" y="1404556"/>
                      </a:lnTo>
                      <a:cubicBezTo>
                        <a:pt x="1677580" y="1410003"/>
                        <a:pt x="1678791" y="1416760"/>
                        <a:pt x="1681716" y="1425434"/>
                      </a:cubicBezTo>
                      <a:lnTo>
                        <a:pt x="1681716" y="1425434"/>
                      </a:lnTo>
                      <a:cubicBezTo>
                        <a:pt x="1691398" y="1456398"/>
                        <a:pt x="1735776" y="1460734"/>
                        <a:pt x="1738096" y="1480301"/>
                      </a:cubicBezTo>
                      <a:lnTo>
                        <a:pt x="1738096" y="1480301"/>
                      </a:lnTo>
                      <a:cubicBezTo>
                        <a:pt x="1738096" y="1494926"/>
                        <a:pt x="1742130" y="1508743"/>
                        <a:pt x="1756149" y="1517921"/>
                      </a:cubicBezTo>
                      <a:lnTo>
                        <a:pt x="1756149" y="1517921"/>
                      </a:lnTo>
                      <a:cubicBezTo>
                        <a:pt x="1765832" y="1524074"/>
                        <a:pt x="1769765" y="1535471"/>
                        <a:pt x="1769765" y="1550801"/>
                      </a:cubicBezTo>
                      <a:lnTo>
                        <a:pt x="1769765" y="1550801"/>
                      </a:lnTo>
                      <a:cubicBezTo>
                        <a:pt x="1769765" y="1562501"/>
                        <a:pt x="1767546" y="1576924"/>
                        <a:pt x="1763814" y="1594271"/>
                      </a:cubicBezTo>
                      <a:lnTo>
                        <a:pt x="1763814" y="1594271"/>
                      </a:lnTo>
                      <a:cubicBezTo>
                        <a:pt x="1760587" y="1608795"/>
                        <a:pt x="1758469" y="1619688"/>
                        <a:pt x="1758469" y="1628261"/>
                      </a:cubicBezTo>
                      <a:lnTo>
                        <a:pt x="1758469" y="1628261"/>
                      </a:lnTo>
                      <a:cubicBezTo>
                        <a:pt x="1758570" y="1642885"/>
                        <a:pt x="1764218" y="1651155"/>
                        <a:pt x="1785197" y="1663561"/>
                      </a:cubicBezTo>
                      <a:lnTo>
                        <a:pt x="1785197" y="1663561"/>
                      </a:lnTo>
                      <a:cubicBezTo>
                        <a:pt x="1802544" y="1673647"/>
                        <a:pt x="1808495" y="1690995"/>
                        <a:pt x="1808394" y="1707435"/>
                      </a:cubicBezTo>
                      <a:lnTo>
                        <a:pt x="1808394" y="1707435"/>
                      </a:lnTo>
                      <a:cubicBezTo>
                        <a:pt x="1808394" y="1724681"/>
                        <a:pt x="1802342" y="1741323"/>
                        <a:pt x="1795686" y="1749795"/>
                      </a:cubicBezTo>
                      <a:lnTo>
                        <a:pt x="1795686" y="1749795"/>
                      </a:lnTo>
                      <a:cubicBezTo>
                        <a:pt x="1789735" y="1757360"/>
                        <a:pt x="1787819" y="1762503"/>
                        <a:pt x="1787819" y="1769261"/>
                      </a:cubicBezTo>
                      <a:lnTo>
                        <a:pt x="1787819" y="1769261"/>
                      </a:lnTo>
                      <a:cubicBezTo>
                        <a:pt x="1787718" y="1775514"/>
                        <a:pt x="1789735" y="1783280"/>
                        <a:pt x="1792963" y="1794879"/>
                      </a:cubicBezTo>
                      <a:lnTo>
                        <a:pt x="1792963" y="1794879"/>
                      </a:lnTo>
                      <a:cubicBezTo>
                        <a:pt x="1794879" y="1802141"/>
                        <a:pt x="1795888" y="1810008"/>
                        <a:pt x="1795888" y="1817673"/>
                      </a:cubicBezTo>
                      <a:lnTo>
                        <a:pt x="1795888" y="1817673"/>
                      </a:lnTo>
                      <a:cubicBezTo>
                        <a:pt x="1795888" y="1835827"/>
                        <a:pt x="1790945" y="1853377"/>
                        <a:pt x="1782776" y="1863261"/>
                      </a:cubicBezTo>
                      <a:lnTo>
                        <a:pt x="1782776" y="1863261"/>
                      </a:lnTo>
                      <a:cubicBezTo>
                        <a:pt x="1776825" y="1870321"/>
                        <a:pt x="1772690" y="1880407"/>
                        <a:pt x="1772690" y="1890796"/>
                      </a:cubicBezTo>
                      <a:lnTo>
                        <a:pt x="1772690" y="1890796"/>
                      </a:lnTo>
                      <a:cubicBezTo>
                        <a:pt x="1772690" y="1893418"/>
                        <a:pt x="1772993" y="1896040"/>
                        <a:pt x="1770269" y="1901991"/>
                      </a:cubicBezTo>
                      <a:lnTo>
                        <a:pt x="1770269" y="1901991"/>
                      </a:lnTo>
                      <a:cubicBezTo>
                        <a:pt x="1758671" y="1899469"/>
                        <a:pt x="1747677" y="1897856"/>
                        <a:pt x="1738802" y="1897856"/>
                      </a:cubicBezTo>
                      <a:lnTo>
                        <a:pt x="1738802" y="1897856"/>
                      </a:lnTo>
                      <a:cubicBezTo>
                        <a:pt x="1733759" y="1897856"/>
                        <a:pt x="1729321" y="1898461"/>
                        <a:pt x="1725992" y="1899570"/>
                      </a:cubicBezTo>
                      <a:lnTo>
                        <a:pt x="1725992" y="1899570"/>
                      </a:lnTo>
                      <a:cubicBezTo>
                        <a:pt x="1698458" y="1908849"/>
                        <a:pt x="1696340" y="1939813"/>
                        <a:pt x="1662351" y="1958169"/>
                      </a:cubicBezTo>
                      <a:lnTo>
                        <a:pt x="1662351" y="1958169"/>
                      </a:lnTo>
                      <a:cubicBezTo>
                        <a:pt x="1635220" y="1972390"/>
                        <a:pt x="1636228" y="1981770"/>
                        <a:pt x="1610711" y="1981770"/>
                      </a:cubicBezTo>
                      <a:lnTo>
                        <a:pt x="1610711" y="1981770"/>
                      </a:lnTo>
                      <a:cubicBezTo>
                        <a:pt x="1606374" y="1981770"/>
                        <a:pt x="1601230" y="1981568"/>
                        <a:pt x="1595078" y="1981064"/>
                      </a:cubicBezTo>
                      <a:lnTo>
                        <a:pt x="1595078" y="1981064"/>
                      </a:lnTo>
                      <a:cubicBezTo>
                        <a:pt x="1592456" y="1980761"/>
                        <a:pt x="1589934" y="1980560"/>
                        <a:pt x="1587312" y="1980560"/>
                      </a:cubicBezTo>
                      <a:lnTo>
                        <a:pt x="1587312" y="1980560"/>
                      </a:lnTo>
                      <a:cubicBezTo>
                        <a:pt x="1549591" y="1980661"/>
                        <a:pt x="1515198" y="2003555"/>
                        <a:pt x="1515198" y="2023223"/>
                      </a:cubicBezTo>
                      <a:lnTo>
                        <a:pt x="1515198" y="2023223"/>
                      </a:lnTo>
                      <a:cubicBezTo>
                        <a:pt x="1515097" y="2039763"/>
                        <a:pt x="1526091" y="2066693"/>
                        <a:pt x="1526192" y="2087470"/>
                      </a:cubicBezTo>
                      <a:lnTo>
                        <a:pt x="1526192" y="2087470"/>
                      </a:lnTo>
                      <a:cubicBezTo>
                        <a:pt x="1526192" y="2095337"/>
                        <a:pt x="1524578" y="2102498"/>
                        <a:pt x="1519737" y="2108146"/>
                      </a:cubicBezTo>
                      <a:lnTo>
                        <a:pt x="1519737" y="2108146"/>
                      </a:lnTo>
                      <a:cubicBezTo>
                        <a:pt x="1508541" y="2120249"/>
                        <a:pt x="1488067" y="2131444"/>
                        <a:pt x="1466181" y="2131545"/>
                      </a:cubicBezTo>
                      <a:lnTo>
                        <a:pt x="1466181" y="2131545"/>
                      </a:lnTo>
                      <a:cubicBezTo>
                        <a:pt x="1455692" y="2131545"/>
                        <a:pt x="1444799" y="2128822"/>
                        <a:pt x="1434814" y="2122367"/>
                      </a:cubicBezTo>
                      <a:lnTo>
                        <a:pt x="1434814" y="2122367"/>
                      </a:lnTo>
                      <a:cubicBezTo>
                        <a:pt x="1431284" y="2120047"/>
                        <a:pt x="1427552" y="2119139"/>
                        <a:pt x="1423013" y="2119139"/>
                      </a:cubicBezTo>
                      <a:lnTo>
                        <a:pt x="1423013" y="2119139"/>
                      </a:lnTo>
                      <a:cubicBezTo>
                        <a:pt x="1408389" y="2118938"/>
                        <a:pt x="1389427" y="2130133"/>
                        <a:pt x="1374097" y="2141429"/>
                      </a:cubicBezTo>
                      <a:lnTo>
                        <a:pt x="1374097" y="2141429"/>
                      </a:lnTo>
                      <a:cubicBezTo>
                        <a:pt x="1358666" y="2152927"/>
                        <a:pt x="1346865" y="2164425"/>
                        <a:pt x="1347269" y="2163820"/>
                      </a:cubicBezTo>
                      <a:lnTo>
                        <a:pt x="1347269" y="2163820"/>
                      </a:lnTo>
                      <a:cubicBezTo>
                        <a:pt x="1347168" y="2164122"/>
                        <a:pt x="1339906" y="2196296"/>
                        <a:pt x="1304202" y="2212534"/>
                      </a:cubicBezTo>
                      <a:lnTo>
                        <a:pt x="1304202" y="2212534"/>
                      </a:lnTo>
                      <a:cubicBezTo>
                        <a:pt x="1284232" y="2221309"/>
                        <a:pt x="1258211" y="2228067"/>
                        <a:pt x="1232088" y="2228067"/>
                      </a:cubicBezTo>
                      <a:lnTo>
                        <a:pt x="1232088" y="2228067"/>
                      </a:lnTo>
                      <a:cubicBezTo>
                        <a:pt x="1211816" y="2228067"/>
                        <a:pt x="1191543" y="2224133"/>
                        <a:pt x="1173691" y="2214148"/>
                      </a:cubicBezTo>
                      <a:lnTo>
                        <a:pt x="1173691" y="2214148"/>
                      </a:lnTo>
                      <a:cubicBezTo>
                        <a:pt x="1151603" y="2201541"/>
                        <a:pt x="1129818" y="2195187"/>
                        <a:pt x="1110150" y="2195187"/>
                      </a:cubicBezTo>
                      <a:lnTo>
                        <a:pt x="1110150" y="2195187"/>
                      </a:lnTo>
                      <a:cubicBezTo>
                        <a:pt x="1094921" y="2195187"/>
                        <a:pt x="1081103" y="2199120"/>
                        <a:pt x="1069504" y="2207088"/>
                      </a:cubicBezTo>
                      <a:lnTo>
                        <a:pt x="1069504" y="2207088"/>
                      </a:lnTo>
                      <a:cubicBezTo>
                        <a:pt x="1061133" y="2212736"/>
                        <a:pt x="1054073" y="2214955"/>
                        <a:pt x="1047819" y="2214955"/>
                      </a:cubicBezTo>
                      <a:lnTo>
                        <a:pt x="1047819" y="2214955"/>
                      </a:lnTo>
                      <a:cubicBezTo>
                        <a:pt x="1031884" y="2214955"/>
                        <a:pt x="1024118" y="2200532"/>
                        <a:pt x="1020689" y="2196094"/>
                      </a:cubicBezTo>
                      <a:lnTo>
                        <a:pt x="1020689" y="2196094"/>
                      </a:lnTo>
                      <a:cubicBezTo>
                        <a:pt x="1019982" y="2194682"/>
                        <a:pt x="1015040" y="2192968"/>
                        <a:pt x="1009897" y="2193170"/>
                      </a:cubicBezTo>
                      <a:lnTo>
                        <a:pt x="1009897" y="2193170"/>
                      </a:lnTo>
                      <a:cubicBezTo>
                        <a:pt x="1002030" y="2193170"/>
                        <a:pt x="995575" y="2196498"/>
                        <a:pt x="995575" y="2199927"/>
                      </a:cubicBezTo>
                      <a:lnTo>
                        <a:pt x="995575" y="2199927"/>
                      </a:lnTo>
                      <a:cubicBezTo>
                        <a:pt x="995575" y="2200331"/>
                        <a:pt x="995676" y="2201137"/>
                        <a:pt x="996079" y="2202045"/>
                      </a:cubicBezTo>
                      <a:lnTo>
                        <a:pt x="996079" y="2202045"/>
                      </a:lnTo>
                      <a:cubicBezTo>
                        <a:pt x="999508" y="2211627"/>
                        <a:pt x="1011309" y="2226654"/>
                        <a:pt x="1011510" y="2238959"/>
                      </a:cubicBezTo>
                      <a:lnTo>
                        <a:pt x="1011510" y="2238959"/>
                      </a:lnTo>
                      <a:cubicBezTo>
                        <a:pt x="1011611" y="2243296"/>
                        <a:pt x="1009695" y="2247734"/>
                        <a:pt x="1005257" y="2250558"/>
                      </a:cubicBezTo>
                      <a:lnTo>
                        <a:pt x="1005257" y="2250558"/>
                      </a:lnTo>
                      <a:cubicBezTo>
                        <a:pt x="1003341" y="2251567"/>
                        <a:pt x="1001223" y="2252273"/>
                        <a:pt x="999307" y="2252273"/>
                      </a:cubicBezTo>
                      <a:lnTo>
                        <a:pt x="999307" y="2252273"/>
                      </a:lnTo>
                      <a:cubicBezTo>
                        <a:pt x="986699" y="2250961"/>
                        <a:pt x="981757" y="2232807"/>
                        <a:pt x="971974" y="2233715"/>
                      </a:cubicBezTo>
                      <a:lnTo>
                        <a:pt x="971974" y="2233715"/>
                      </a:lnTo>
                      <a:cubicBezTo>
                        <a:pt x="970663" y="2233715"/>
                        <a:pt x="968948" y="2234017"/>
                        <a:pt x="966931" y="2235127"/>
                      </a:cubicBezTo>
                      <a:lnTo>
                        <a:pt x="966931" y="2235127"/>
                      </a:lnTo>
                      <a:cubicBezTo>
                        <a:pt x="960678" y="2237951"/>
                        <a:pt x="960274" y="2240371"/>
                        <a:pt x="960173" y="2243700"/>
                      </a:cubicBezTo>
                      <a:lnTo>
                        <a:pt x="960173" y="2243700"/>
                      </a:lnTo>
                      <a:cubicBezTo>
                        <a:pt x="960073" y="2246120"/>
                        <a:pt x="960879" y="2248843"/>
                        <a:pt x="960879" y="2251768"/>
                      </a:cubicBezTo>
                      <a:lnTo>
                        <a:pt x="960879" y="2251768"/>
                      </a:lnTo>
                      <a:cubicBezTo>
                        <a:pt x="961182" y="2256609"/>
                        <a:pt x="957551" y="2261854"/>
                        <a:pt x="948978" y="2262863"/>
                      </a:cubicBezTo>
                      <a:lnTo>
                        <a:pt x="948978" y="2262863"/>
                      </a:lnTo>
                      <a:cubicBezTo>
                        <a:pt x="944843" y="2263569"/>
                        <a:pt x="941414" y="2263871"/>
                        <a:pt x="938287" y="2263871"/>
                      </a:cubicBezTo>
                      <a:lnTo>
                        <a:pt x="938287" y="2263871"/>
                      </a:lnTo>
                      <a:cubicBezTo>
                        <a:pt x="923965" y="2263871"/>
                        <a:pt x="918216" y="2254693"/>
                        <a:pt x="918015" y="2237648"/>
                      </a:cubicBezTo>
                      <a:lnTo>
                        <a:pt x="918015" y="2237648"/>
                      </a:lnTo>
                      <a:cubicBezTo>
                        <a:pt x="918015" y="2227865"/>
                        <a:pt x="897339" y="2218283"/>
                        <a:pt x="879386" y="2218283"/>
                      </a:cubicBezTo>
                      <a:lnTo>
                        <a:pt x="879386" y="2218283"/>
                      </a:lnTo>
                      <a:cubicBezTo>
                        <a:pt x="868997" y="2218283"/>
                        <a:pt x="861130" y="2221511"/>
                        <a:pt x="859517" y="2226453"/>
                      </a:cubicBezTo>
                      <a:lnTo>
                        <a:pt x="859517" y="2226453"/>
                      </a:lnTo>
                      <a:cubicBezTo>
                        <a:pt x="852557" y="2243801"/>
                        <a:pt x="818871" y="2286564"/>
                        <a:pt x="797085" y="2287472"/>
                      </a:cubicBezTo>
                      <a:lnTo>
                        <a:pt x="797085" y="2287472"/>
                      </a:lnTo>
                      <a:cubicBezTo>
                        <a:pt x="796984" y="2287472"/>
                        <a:pt x="796883" y="2287472"/>
                        <a:pt x="796682" y="2287472"/>
                      </a:cubicBezTo>
                      <a:lnTo>
                        <a:pt x="796682" y="2287472"/>
                      </a:lnTo>
                      <a:cubicBezTo>
                        <a:pt x="792244" y="2288178"/>
                        <a:pt x="788613" y="2286464"/>
                        <a:pt x="786293" y="2283337"/>
                      </a:cubicBezTo>
                      <a:lnTo>
                        <a:pt x="786293" y="2283337"/>
                      </a:lnTo>
                      <a:close/>
                    </a:path>
                  </a:pathLst>
                </a:custGeom>
                <a:solidFill>
                  <a:srgbClr val="ABDEF6"/>
                </a:solidFill>
                <a:ln w="10085" cap="flat">
                  <a:solidFill>
                    <a:srgbClr val="FFFFFF"/>
                  </a:solidFill>
                  <a:prstDash val="solid"/>
                  <a:miter/>
                </a:ln>
              </p:spPr>
              <p:txBody>
                <a:bodyPr rtlCol="0" anchor="ctr"/>
                <a:lstStyle/>
                <a:p>
                  <a:endParaRPr lang="fr-FR" sz="900"/>
                </a:p>
              </p:txBody>
            </p:sp>
          </p:grpSp>
          <p:sp>
            <p:nvSpPr>
              <p:cNvPr id="85" name="Forme libre : forme 84">
                <a:extLst>
                  <a:ext uri="{FF2B5EF4-FFF2-40B4-BE49-F238E27FC236}">
                    <a16:creationId xmlns:a16="http://schemas.microsoft.com/office/drawing/2014/main" id="{F4E7F6DD-BD62-7B2D-697B-21F99C499654}"/>
                  </a:ext>
                </a:extLst>
              </p:cNvPr>
              <p:cNvSpPr/>
              <p:nvPr/>
            </p:nvSpPr>
            <p:spPr>
              <a:xfrm>
                <a:off x="1964005" y="7488749"/>
                <a:ext cx="109540" cy="107377"/>
              </a:xfrm>
              <a:custGeom>
                <a:avLst/>
                <a:gdLst>
                  <a:gd name="connsiteX0" fmla="*/ 49990 w 109540"/>
                  <a:gd name="connsiteY0" fmla="*/ 47617 h 107377"/>
                  <a:gd name="connsiteX1" fmla="*/ 35063 w 109540"/>
                  <a:gd name="connsiteY1" fmla="*/ 2836 h 107377"/>
                  <a:gd name="connsiteX2" fmla="*/ 266 w 109540"/>
                  <a:gd name="connsiteY2" fmla="*/ 24016 h 107377"/>
                  <a:gd name="connsiteX3" fmla="*/ 12773 w 109540"/>
                  <a:gd name="connsiteY3" fmla="*/ 63855 h 107377"/>
                  <a:gd name="connsiteX4" fmla="*/ 22758 w 109540"/>
                  <a:gd name="connsiteY4" fmla="*/ 96231 h 107377"/>
                  <a:gd name="connsiteX5" fmla="*/ 60076 w 109540"/>
                  <a:gd name="connsiteY5" fmla="*/ 93709 h 107377"/>
                  <a:gd name="connsiteX6" fmla="*/ 106067 w 109540"/>
                  <a:gd name="connsiteY6" fmla="*/ 98752 h 107377"/>
                  <a:gd name="connsiteX7" fmla="*/ 94872 w 109540"/>
                  <a:gd name="connsiteY7" fmla="*/ 65167 h 107377"/>
                  <a:gd name="connsiteX8" fmla="*/ 49990 w 109540"/>
                  <a:gd name="connsiteY8" fmla="*/ 47617 h 107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540" h="107377">
                    <a:moveTo>
                      <a:pt x="49990" y="47617"/>
                    </a:moveTo>
                    <a:cubicBezTo>
                      <a:pt x="49990" y="47617"/>
                      <a:pt x="53721" y="11510"/>
                      <a:pt x="35063" y="2836"/>
                    </a:cubicBezTo>
                    <a:cubicBezTo>
                      <a:pt x="16404" y="-5838"/>
                      <a:pt x="2687" y="6568"/>
                      <a:pt x="266" y="24016"/>
                    </a:cubicBezTo>
                    <a:cubicBezTo>
                      <a:pt x="-2255" y="41465"/>
                      <a:pt x="13983" y="51349"/>
                      <a:pt x="12773" y="63855"/>
                    </a:cubicBezTo>
                    <a:cubicBezTo>
                      <a:pt x="11563" y="76261"/>
                      <a:pt x="9041" y="96231"/>
                      <a:pt x="22758" y="96231"/>
                    </a:cubicBezTo>
                    <a:cubicBezTo>
                      <a:pt x="36475" y="96231"/>
                      <a:pt x="40206" y="79993"/>
                      <a:pt x="60076" y="93709"/>
                    </a:cubicBezTo>
                    <a:cubicBezTo>
                      <a:pt x="79945" y="107426"/>
                      <a:pt x="98604" y="113680"/>
                      <a:pt x="106067" y="98752"/>
                    </a:cubicBezTo>
                    <a:cubicBezTo>
                      <a:pt x="113531" y="83826"/>
                      <a:pt x="108588" y="72630"/>
                      <a:pt x="94872" y="65167"/>
                    </a:cubicBezTo>
                    <a:cubicBezTo>
                      <a:pt x="81155" y="57602"/>
                      <a:pt x="49990" y="47617"/>
                      <a:pt x="49990" y="47617"/>
                    </a:cubicBezTo>
                    <a:close/>
                  </a:path>
                </a:pathLst>
              </a:custGeom>
              <a:solidFill>
                <a:srgbClr val="ABDEF6"/>
              </a:solidFill>
              <a:ln w="10085" cap="flat">
                <a:solidFill>
                  <a:srgbClr val="FFFFFF"/>
                </a:solidFill>
                <a:prstDash val="solid"/>
                <a:miter/>
              </a:ln>
            </p:spPr>
            <p:txBody>
              <a:bodyPr rtlCol="0" anchor="ctr"/>
              <a:lstStyle/>
              <a:p>
                <a:endParaRPr lang="fr-FR" sz="900"/>
              </a:p>
            </p:txBody>
          </p:sp>
          <p:sp>
            <p:nvSpPr>
              <p:cNvPr id="86" name="Forme libre : forme 85">
                <a:extLst>
                  <a:ext uri="{FF2B5EF4-FFF2-40B4-BE49-F238E27FC236}">
                    <a16:creationId xmlns:a16="http://schemas.microsoft.com/office/drawing/2014/main" id="{FD212B20-E190-A1CA-01E3-A63BC126809A}"/>
                  </a:ext>
                </a:extLst>
              </p:cNvPr>
              <p:cNvSpPr/>
              <p:nvPr/>
            </p:nvSpPr>
            <p:spPr>
              <a:xfrm>
                <a:off x="2527064" y="7844885"/>
                <a:ext cx="51397" cy="62640"/>
              </a:xfrm>
              <a:custGeom>
                <a:avLst/>
                <a:gdLst>
                  <a:gd name="connsiteX0" fmla="*/ 17648 w 51397"/>
                  <a:gd name="connsiteY0" fmla="*/ 62641 h 62640"/>
                  <a:gd name="connsiteX1" fmla="*/ 37114 w 51397"/>
                  <a:gd name="connsiteY1" fmla="*/ 52958 h 62640"/>
                  <a:gd name="connsiteX2" fmla="*/ 49015 w 51397"/>
                  <a:gd name="connsiteY2" fmla="*/ 16246 h 62640"/>
                  <a:gd name="connsiteX3" fmla="*/ 23095 w 51397"/>
                  <a:gd name="connsiteY3" fmla="*/ 108 h 62640"/>
                  <a:gd name="connsiteX4" fmla="*/ 401 w 51397"/>
                  <a:gd name="connsiteY4" fmla="*/ 21692 h 62640"/>
                  <a:gd name="connsiteX5" fmla="*/ 4738 w 51397"/>
                  <a:gd name="connsiteY5" fmla="*/ 53059 h 62640"/>
                  <a:gd name="connsiteX6" fmla="*/ 17648 w 51397"/>
                  <a:gd name="connsiteY6" fmla="*/ 62641 h 62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397" h="62640">
                    <a:moveTo>
                      <a:pt x="17648" y="62641"/>
                    </a:moveTo>
                    <a:cubicBezTo>
                      <a:pt x="17648" y="62641"/>
                      <a:pt x="26322" y="61531"/>
                      <a:pt x="37114" y="52958"/>
                    </a:cubicBezTo>
                    <a:cubicBezTo>
                      <a:pt x="47906" y="44284"/>
                      <a:pt x="55470" y="25928"/>
                      <a:pt x="49015" y="16246"/>
                    </a:cubicBezTo>
                    <a:cubicBezTo>
                      <a:pt x="42560" y="6563"/>
                      <a:pt x="36106" y="-1001"/>
                      <a:pt x="23095" y="108"/>
                    </a:cubicBezTo>
                    <a:cubicBezTo>
                      <a:pt x="10185" y="1117"/>
                      <a:pt x="1511" y="7673"/>
                      <a:pt x="401" y="21692"/>
                    </a:cubicBezTo>
                    <a:cubicBezTo>
                      <a:pt x="-708" y="35711"/>
                      <a:pt x="401" y="47613"/>
                      <a:pt x="4738" y="53059"/>
                    </a:cubicBezTo>
                    <a:cubicBezTo>
                      <a:pt x="8975" y="58304"/>
                      <a:pt x="17648" y="62641"/>
                      <a:pt x="17648" y="62641"/>
                    </a:cubicBezTo>
                    <a:close/>
                  </a:path>
                </a:pathLst>
              </a:custGeom>
              <a:solidFill>
                <a:srgbClr val="ABDEF6"/>
              </a:solidFill>
              <a:ln w="10085" cap="flat">
                <a:solidFill>
                  <a:srgbClr val="FFFFFF"/>
                </a:solidFill>
                <a:prstDash val="solid"/>
                <a:miter/>
              </a:ln>
            </p:spPr>
            <p:txBody>
              <a:bodyPr rtlCol="0" anchor="ctr"/>
              <a:lstStyle/>
              <a:p>
                <a:endParaRPr lang="fr-FR" sz="900"/>
              </a:p>
            </p:txBody>
          </p:sp>
          <p:sp>
            <p:nvSpPr>
              <p:cNvPr id="87" name="Forme libre : forme 86">
                <a:extLst>
                  <a:ext uri="{FF2B5EF4-FFF2-40B4-BE49-F238E27FC236}">
                    <a16:creationId xmlns:a16="http://schemas.microsoft.com/office/drawing/2014/main" id="{F50100D7-D94D-C794-417B-76CE2296084B}"/>
                  </a:ext>
                </a:extLst>
              </p:cNvPr>
              <p:cNvSpPr/>
              <p:nvPr/>
            </p:nvSpPr>
            <p:spPr>
              <a:xfrm>
                <a:off x="2569162" y="7908793"/>
                <a:ext cx="39330" cy="49306"/>
              </a:xfrm>
              <a:custGeom>
                <a:avLst/>
                <a:gdLst>
                  <a:gd name="connsiteX0" fmla="*/ 12263 w 39330"/>
                  <a:gd name="connsiteY0" fmla="*/ 23544 h 49306"/>
                  <a:gd name="connsiteX1" fmla="*/ 16600 w 39330"/>
                  <a:gd name="connsiteY1" fmla="*/ 48355 h 49306"/>
                  <a:gd name="connsiteX2" fmla="*/ 39293 w 39330"/>
                  <a:gd name="connsiteY2" fmla="*/ 22435 h 49306"/>
                  <a:gd name="connsiteX3" fmla="*/ 13372 w 39330"/>
                  <a:gd name="connsiteY3" fmla="*/ 851 h 49306"/>
                  <a:gd name="connsiteX4" fmla="*/ 361 w 39330"/>
                  <a:gd name="connsiteY4" fmla="*/ 14870 h 49306"/>
                  <a:gd name="connsiteX5" fmla="*/ 12263 w 39330"/>
                  <a:gd name="connsiteY5" fmla="*/ 23544 h 49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30" h="49306">
                    <a:moveTo>
                      <a:pt x="12263" y="23544"/>
                    </a:moveTo>
                    <a:cubicBezTo>
                      <a:pt x="12263" y="23544"/>
                      <a:pt x="6816" y="43010"/>
                      <a:pt x="16600" y="48355"/>
                    </a:cubicBezTo>
                    <a:cubicBezTo>
                      <a:pt x="26282" y="53701"/>
                      <a:pt x="38183" y="35345"/>
                      <a:pt x="39293" y="22435"/>
                    </a:cubicBezTo>
                    <a:cubicBezTo>
                      <a:pt x="40301" y="9525"/>
                      <a:pt x="20937" y="-3486"/>
                      <a:pt x="13372" y="851"/>
                    </a:cubicBezTo>
                    <a:cubicBezTo>
                      <a:pt x="5808" y="5188"/>
                      <a:pt x="-1757" y="10634"/>
                      <a:pt x="361" y="14870"/>
                    </a:cubicBezTo>
                    <a:cubicBezTo>
                      <a:pt x="2479" y="19207"/>
                      <a:pt x="12263" y="23544"/>
                      <a:pt x="12263" y="23544"/>
                    </a:cubicBezTo>
                    <a:close/>
                  </a:path>
                </a:pathLst>
              </a:custGeom>
              <a:solidFill>
                <a:srgbClr val="ABDEF6"/>
              </a:solidFill>
              <a:ln w="10085" cap="flat">
                <a:solidFill>
                  <a:srgbClr val="FFFFFF"/>
                </a:solidFill>
                <a:prstDash val="solid"/>
                <a:miter/>
              </a:ln>
            </p:spPr>
            <p:txBody>
              <a:bodyPr rtlCol="0" anchor="ctr"/>
              <a:lstStyle/>
              <a:p>
                <a:endParaRPr lang="fr-FR" sz="900"/>
              </a:p>
            </p:txBody>
          </p:sp>
          <p:sp>
            <p:nvSpPr>
              <p:cNvPr id="88" name="Forme libre : forme 87">
                <a:extLst>
                  <a:ext uri="{FF2B5EF4-FFF2-40B4-BE49-F238E27FC236}">
                    <a16:creationId xmlns:a16="http://schemas.microsoft.com/office/drawing/2014/main" id="{862D797A-1457-4E76-B52E-517DD67D0FFF}"/>
                  </a:ext>
                </a:extLst>
              </p:cNvPr>
              <p:cNvSpPr/>
              <p:nvPr/>
            </p:nvSpPr>
            <p:spPr>
              <a:xfrm>
                <a:off x="2436390" y="8097145"/>
                <a:ext cx="77749" cy="51648"/>
              </a:xfrm>
              <a:custGeom>
                <a:avLst/>
                <a:gdLst>
                  <a:gd name="connsiteX0" fmla="*/ 76955 w 77749"/>
                  <a:gd name="connsiteY0" fmla="*/ 30656 h 51648"/>
                  <a:gd name="connsiteX1" fmla="*/ 57489 w 77749"/>
                  <a:gd name="connsiteY1" fmla="*/ 16637 h 51648"/>
                  <a:gd name="connsiteX2" fmla="*/ 32678 w 77749"/>
                  <a:gd name="connsiteY2" fmla="*/ 399 h 51648"/>
                  <a:gd name="connsiteX3" fmla="*/ 14322 w 77749"/>
                  <a:gd name="connsiteY3" fmla="*/ 19764 h 51648"/>
                  <a:gd name="connsiteX4" fmla="*/ 2421 w 77749"/>
                  <a:gd name="connsiteY4" fmla="*/ 45684 h 51648"/>
                  <a:gd name="connsiteX5" fmla="*/ 25114 w 77749"/>
                  <a:gd name="connsiteY5" fmla="*/ 46794 h 51648"/>
                  <a:gd name="connsiteX6" fmla="*/ 49925 w 77749"/>
                  <a:gd name="connsiteY6" fmla="*/ 42457 h 51648"/>
                  <a:gd name="connsiteX7" fmla="*/ 73627 w 77749"/>
                  <a:gd name="connsiteY7" fmla="*/ 46794 h 51648"/>
                  <a:gd name="connsiteX8" fmla="*/ 76955 w 77749"/>
                  <a:gd name="connsiteY8" fmla="*/ 30656 h 51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7749" h="51648">
                    <a:moveTo>
                      <a:pt x="76955" y="30656"/>
                    </a:moveTo>
                    <a:cubicBezTo>
                      <a:pt x="76955" y="30656"/>
                      <a:pt x="61826" y="28437"/>
                      <a:pt x="57489" y="16637"/>
                    </a:cubicBezTo>
                    <a:cubicBezTo>
                      <a:pt x="53153" y="4735"/>
                      <a:pt x="39133" y="-1719"/>
                      <a:pt x="32678" y="399"/>
                    </a:cubicBezTo>
                    <a:cubicBezTo>
                      <a:pt x="26223" y="2617"/>
                      <a:pt x="21886" y="14418"/>
                      <a:pt x="14322" y="19764"/>
                    </a:cubicBezTo>
                    <a:cubicBezTo>
                      <a:pt x="6758" y="25210"/>
                      <a:pt x="-5144" y="40338"/>
                      <a:pt x="2421" y="45684"/>
                    </a:cubicBezTo>
                    <a:cubicBezTo>
                      <a:pt x="9985" y="51029"/>
                      <a:pt x="18659" y="55367"/>
                      <a:pt x="25114" y="46794"/>
                    </a:cubicBezTo>
                    <a:cubicBezTo>
                      <a:pt x="31569" y="38120"/>
                      <a:pt x="45689" y="34892"/>
                      <a:pt x="49925" y="42457"/>
                    </a:cubicBezTo>
                    <a:cubicBezTo>
                      <a:pt x="54262" y="50021"/>
                      <a:pt x="67172" y="54358"/>
                      <a:pt x="73627" y="46794"/>
                    </a:cubicBezTo>
                    <a:cubicBezTo>
                      <a:pt x="80183" y="39330"/>
                      <a:pt x="76955" y="30656"/>
                      <a:pt x="76955" y="30656"/>
                    </a:cubicBezTo>
                    <a:close/>
                  </a:path>
                </a:pathLst>
              </a:custGeom>
              <a:solidFill>
                <a:srgbClr val="ABDEF6"/>
              </a:solidFill>
              <a:ln w="10085" cap="flat">
                <a:solidFill>
                  <a:srgbClr val="FFFFFF"/>
                </a:solidFill>
                <a:prstDash val="solid"/>
                <a:miter/>
              </a:ln>
            </p:spPr>
            <p:txBody>
              <a:bodyPr rtlCol="0" anchor="ctr"/>
              <a:lstStyle/>
              <a:p>
                <a:endParaRPr lang="fr-FR" sz="900"/>
              </a:p>
            </p:txBody>
          </p:sp>
          <p:grpSp>
            <p:nvGrpSpPr>
              <p:cNvPr id="89" name="Graphique 17">
                <a:extLst>
                  <a:ext uri="{FF2B5EF4-FFF2-40B4-BE49-F238E27FC236}">
                    <a16:creationId xmlns:a16="http://schemas.microsoft.com/office/drawing/2014/main" id="{73FD76BD-91AB-1B86-4B72-BFD04A40A89C}"/>
                  </a:ext>
                </a:extLst>
              </p:cNvPr>
              <p:cNvGrpSpPr/>
              <p:nvPr/>
            </p:nvGrpSpPr>
            <p:grpSpPr>
              <a:xfrm>
                <a:off x="6097455" y="8326666"/>
                <a:ext cx="2139009" cy="2116645"/>
                <a:chOff x="6097455" y="8326666"/>
                <a:chExt cx="2139009" cy="2116645"/>
              </a:xfrm>
            </p:grpSpPr>
            <p:sp>
              <p:nvSpPr>
                <p:cNvPr id="90" name="Forme libre : forme 89">
                  <a:extLst>
                    <a:ext uri="{FF2B5EF4-FFF2-40B4-BE49-F238E27FC236}">
                      <a16:creationId xmlns:a16="http://schemas.microsoft.com/office/drawing/2014/main" id="{C13F1035-2E6B-AA64-05A9-FE8D66CFDEBE}"/>
                    </a:ext>
                  </a:extLst>
                </p:cNvPr>
                <p:cNvSpPr/>
                <p:nvPr/>
              </p:nvSpPr>
              <p:spPr>
                <a:xfrm>
                  <a:off x="6100009" y="8329417"/>
                  <a:ext cx="2134374" cy="2110719"/>
                </a:xfrm>
                <a:custGeom>
                  <a:avLst/>
                  <a:gdLst>
                    <a:gd name="connsiteX0" fmla="*/ 106978 w 2134374"/>
                    <a:gd name="connsiteY0" fmla="*/ 81897 h 2110719"/>
                    <a:gd name="connsiteX1" fmla="*/ 161644 w 2134374"/>
                    <a:gd name="connsiteY1" fmla="*/ 88352 h 2110719"/>
                    <a:gd name="connsiteX2" fmla="*/ 106978 w 2134374"/>
                    <a:gd name="connsiteY2" fmla="*/ 81897 h 2110719"/>
                    <a:gd name="connsiteX3" fmla="*/ 1017429 w 2134374"/>
                    <a:gd name="connsiteY3" fmla="*/ 0 h 2110719"/>
                    <a:gd name="connsiteX4" fmla="*/ 1026002 w 2134374"/>
                    <a:gd name="connsiteY4" fmla="*/ 21382 h 2110719"/>
                    <a:gd name="connsiteX5" fmla="*/ 1017429 w 2134374"/>
                    <a:gd name="connsiteY5" fmla="*/ 0 h 2110719"/>
                    <a:gd name="connsiteX6" fmla="*/ 2096111 w 2134374"/>
                    <a:gd name="connsiteY6" fmla="*/ 885135 h 2110719"/>
                    <a:gd name="connsiteX7" fmla="*/ 2018047 w 2134374"/>
                    <a:gd name="connsiteY7" fmla="*/ 751901 h 2110719"/>
                    <a:gd name="connsiteX8" fmla="*/ 1917289 w 2134374"/>
                    <a:gd name="connsiteY8" fmla="*/ 696630 h 2110719"/>
                    <a:gd name="connsiteX9" fmla="*/ 1907505 w 2134374"/>
                    <a:gd name="connsiteY9" fmla="*/ 566624 h 2110719"/>
                    <a:gd name="connsiteX10" fmla="*/ 2011491 w 2134374"/>
                    <a:gd name="connsiteY10" fmla="*/ 508125 h 2110719"/>
                    <a:gd name="connsiteX11" fmla="*/ 1959549 w 2134374"/>
                    <a:gd name="connsiteY11" fmla="*/ 394357 h 2110719"/>
                    <a:gd name="connsiteX12" fmla="*/ 1868473 w 2134374"/>
                    <a:gd name="connsiteY12" fmla="*/ 280589 h 2110719"/>
                    <a:gd name="connsiteX13" fmla="*/ 1858690 w 2134374"/>
                    <a:gd name="connsiteY13" fmla="*/ 59506 h 2110719"/>
                    <a:gd name="connsiteX14" fmla="*/ 1556417 w 2134374"/>
                    <a:gd name="connsiteY14" fmla="*/ 98539 h 2110719"/>
                    <a:gd name="connsiteX15" fmla="*/ 1517385 w 2134374"/>
                    <a:gd name="connsiteY15" fmla="*/ 290271 h 2110719"/>
                    <a:gd name="connsiteX16" fmla="*/ 1393833 w 2134374"/>
                    <a:gd name="connsiteY16" fmla="*/ 293498 h 2110719"/>
                    <a:gd name="connsiteX17" fmla="*/ 1439421 w 2134374"/>
                    <a:gd name="connsiteY17" fmla="*/ 241556 h 2110719"/>
                    <a:gd name="connsiteX18" fmla="*/ 1420964 w 2134374"/>
                    <a:gd name="connsiteY18" fmla="*/ 76249 h 2110719"/>
                    <a:gd name="connsiteX19" fmla="*/ 1421368 w 2134374"/>
                    <a:gd name="connsiteY19" fmla="*/ 133436 h 2110719"/>
                    <a:gd name="connsiteX20" fmla="*/ 1368417 w 2134374"/>
                    <a:gd name="connsiteY20" fmla="*/ 186387 h 2110719"/>
                    <a:gd name="connsiteX21" fmla="*/ 1296807 w 2134374"/>
                    <a:gd name="connsiteY21" fmla="*/ 245591 h 2110719"/>
                    <a:gd name="connsiteX22" fmla="*/ 1215818 w 2134374"/>
                    <a:gd name="connsiteY22" fmla="*/ 208172 h 2110719"/>
                    <a:gd name="connsiteX23" fmla="*/ 1159740 w 2134374"/>
                    <a:gd name="connsiteY23" fmla="*/ 195767 h 2110719"/>
                    <a:gd name="connsiteX24" fmla="*/ 1094283 w 2134374"/>
                    <a:gd name="connsiteY24" fmla="*/ 239337 h 2110719"/>
                    <a:gd name="connsiteX25" fmla="*/ 1035079 w 2134374"/>
                    <a:gd name="connsiteY25" fmla="*/ 173880 h 2110719"/>
                    <a:gd name="connsiteX26" fmla="*/ 982128 w 2134374"/>
                    <a:gd name="connsiteY26" fmla="*/ 108524 h 2110719"/>
                    <a:gd name="connsiteX27" fmla="*/ 983036 w 2134374"/>
                    <a:gd name="connsiteY27" fmla="*/ 89361 h 2110719"/>
                    <a:gd name="connsiteX28" fmla="*/ 982935 w 2134374"/>
                    <a:gd name="connsiteY28" fmla="*/ 89562 h 2110719"/>
                    <a:gd name="connsiteX29" fmla="*/ 921513 w 2134374"/>
                    <a:gd name="connsiteY29" fmla="*/ 70298 h 2110719"/>
                    <a:gd name="connsiteX30" fmla="*/ 846877 w 2134374"/>
                    <a:gd name="connsiteY30" fmla="*/ 51740 h 2110719"/>
                    <a:gd name="connsiteX31" fmla="*/ 794027 w 2134374"/>
                    <a:gd name="connsiteY31" fmla="*/ 51740 h 2110719"/>
                    <a:gd name="connsiteX32" fmla="*/ 725544 w 2134374"/>
                    <a:gd name="connsiteY32" fmla="*/ 67273 h 2110719"/>
                    <a:gd name="connsiteX33" fmla="*/ 728771 w 2134374"/>
                    <a:gd name="connsiteY33" fmla="*/ 157440 h 2110719"/>
                    <a:gd name="connsiteX34" fmla="*/ 679048 w 2134374"/>
                    <a:gd name="connsiteY34" fmla="*/ 287951 h 2110719"/>
                    <a:gd name="connsiteX35" fmla="*/ 675922 w 2134374"/>
                    <a:gd name="connsiteY35" fmla="*/ 362587 h 2110719"/>
                    <a:gd name="connsiteX36" fmla="*/ 635477 w 2134374"/>
                    <a:gd name="connsiteY36" fmla="*/ 325269 h 2110719"/>
                    <a:gd name="connsiteX37" fmla="*/ 495586 w 2134374"/>
                    <a:gd name="connsiteY37" fmla="*/ 235101 h 2110719"/>
                    <a:gd name="connsiteX38" fmla="*/ 421052 w 2134374"/>
                    <a:gd name="connsiteY38" fmla="*/ 294205 h 2110719"/>
                    <a:gd name="connsiteX39" fmla="*/ 374455 w 2134374"/>
                    <a:gd name="connsiteY39" fmla="*/ 350080 h 2110719"/>
                    <a:gd name="connsiteX40" fmla="*/ 253224 w 2134374"/>
                    <a:gd name="connsiteY40" fmla="*/ 334548 h 2110719"/>
                    <a:gd name="connsiteX41" fmla="*/ 206526 w 2134374"/>
                    <a:gd name="connsiteY41" fmla="*/ 362587 h 2110719"/>
                    <a:gd name="connsiteX42" fmla="*/ 175461 w 2134374"/>
                    <a:gd name="connsiteY42" fmla="*/ 328395 h 2110719"/>
                    <a:gd name="connsiteX43" fmla="*/ 110206 w 2134374"/>
                    <a:gd name="connsiteY43" fmla="*/ 278672 h 2110719"/>
                    <a:gd name="connsiteX44" fmla="*/ 110307 w 2134374"/>
                    <a:gd name="connsiteY44" fmla="*/ 266872 h 2110719"/>
                    <a:gd name="connsiteX45" fmla="*/ 55440 w 2134374"/>
                    <a:gd name="connsiteY45" fmla="*/ 287649 h 2110719"/>
                    <a:gd name="connsiteX46" fmla="*/ 55440 w 2134374"/>
                    <a:gd name="connsiteY46" fmla="*/ 452956 h 2110719"/>
                    <a:gd name="connsiteX47" fmla="*/ 75813 w 2134374"/>
                    <a:gd name="connsiteY47" fmla="*/ 506411 h 2110719"/>
                    <a:gd name="connsiteX48" fmla="*/ 45354 w 2134374"/>
                    <a:gd name="connsiteY48" fmla="*/ 526683 h 2110719"/>
                    <a:gd name="connsiteX49" fmla="*/ 2086 w 2134374"/>
                    <a:gd name="connsiteY49" fmla="*/ 557244 h 2110719"/>
                    <a:gd name="connsiteX50" fmla="*/ 30124 w 2134374"/>
                    <a:gd name="connsiteY50" fmla="*/ 625828 h 2110719"/>
                    <a:gd name="connsiteX51" fmla="*/ 17416 w 2134374"/>
                    <a:gd name="connsiteY51" fmla="*/ 676660 h 2110719"/>
                    <a:gd name="connsiteX52" fmla="*/ 17416 w 2134374"/>
                    <a:gd name="connsiteY52" fmla="*/ 719928 h 2110719"/>
                    <a:gd name="connsiteX53" fmla="*/ 83579 w 2134374"/>
                    <a:gd name="connsiteY53" fmla="*/ 816551 h 2110719"/>
                    <a:gd name="connsiteX54" fmla="*/ 144498 w 2134374"/>
                    <a:gd name="connsiteY54" fmla="*/ 864862 h 2110719"/>
                    <a:gd name="connsiteX55" fmla="*/ 157307 w 2134374"/>
                    <a:gd name="connsiteY55" fmla="*/ 918216 h 2110719"/>
                    <a:gd name="connsiteX56" fmla="*/ 170015 w 2134374"/>
                    <a:gd name="connsiteY56" fmla="*/ 992045 h 2110719"/>
                    <a:gd name="connsiteX57" fmla="*/ 147221 w 2134374"/>
                    <a:gd name="connsiteY57" fmla="*/ 1065773 h 2110719"/>
                    <a:gd name="connsiteX58" fmla="*/ 236279 w 2134374"/>
                    <a:gd name="connsiteY58" fmla="*/ 1068395 h 2110719"/>
                    <a:gd name="connsiteX59" fmla="*/ 297198 w 2134374"/>
                    <a:gd name="connsiteY59" fmla="*/ 1055687 h 2110719"/>
                    <a:gd name="connsiteX60" fmla="*/ 355696 w 2134374"/>
                    <a:gd name="connsiteY60" fmla="*/ 1037936 h 2110719"/>
                    <a:gd name="connsiteX61" fmla="*/ 388677 w 2134374"/>
                    <a:gd name="connsiteY61" fmla="*/ 1037936 h 2110719"/>
                    <a:gd name="connsiteX62" fmla="*/ 431945 w 2134374"/>
                    <a:gd name="connsiteY62" fmla="*/ 1065874 h 2110719"/>
                    <a:gd name="connsiteX63" fmla="*/ 442131 w 2134374"/>
                    <a:gd name="connsiteY63" fmla="*/ 1134457 h 2110719"/>
                    <a:gd name="connsiteX64" fmla="*/ 485299 w 2134374"/>
                    <a:gd name="connsiteY64" fmla="*/ 1218473 h 2110719"/>
                    <a:gd name="connsiteX65" fmla="*/ 383634 w 2134374"/>
                    <a:gd name="connsiteY65" fmla="*/ 1376115 h 2110719"/>
                    <a:gd name="connsiteX66" fmla="*/ 292054 w 2134374"/>
                    <a:gd name="connsiteY66" fmla="*/ 1477881 h 2110719"/>
                    <a:gd name="connsiteX67" fmla="*/ 236078 w 2134374"/>
                    <a:gd name="connsiteY67" fmla="*/ 1500776 h 2110719"/>
                    <a:gd name="connsiteX68" fmla="*/ 200474 w 2134374"/>
                    <a:gd name="connsiteY68" fmla="*/ 1528714 h 2110719"/>
                    <a:gd name="connsiteX69" fmla="*/ 131890 w 2134374"/>
                    <a:gd name="connsiteY69" fmla="*/ 1589834 h 2110719"/>
                    <a:gd name="connsiteX70" fmla="*/ 125234 w 2134374"/>
                    <a:gd name="connsiteY70" fmla="*/ 1592860 h 2110719"/>
                    <a:gd name="connsiteX71" fmla="*/ 138951 w 2134374"/>
                    <a:gd name="connsiteY71" fmla="*/ 1749896 h 2110719"/>
                    <a:gd name="connsiteX72" fmla="*/ 197449 w 2134374"/>
                    <a:gd name="connsiteY72" fmla="*/ 1788929 h 2110719"/>
                    <a:gd name="connsiteX73" fmla="*/ 233253 w 2134374"/>
                    <a:gd name="connsiteY73" fmla="*/ 1876676 h 2110719"/>
                    <a:gd name="connsiteX74" fmla="*/ 246264 w 2134374"/>
                    <a:gd name="connsiteY74" fmla="*/ 1954740 h 2110719"/>
                    <a:gd name="connsiteX75" fmla="*/ 298206 w 2134374"/>
                    <a:gd name="connsiteY75" fmla="*/ 1964523 h 2110719"/>
                    <a:gd name="connsiteX76" fmla="*/ 330683 w 2134374"/>
                    <a:gd name="connsiteY76" fmla="*/ 1983989 h 2110719"/>
                    <a:gd name="connsiteX77" fmla="*/ 385953 w 2134374"/>
                    <a:gd name="connsiteY77" fmla="*/ 1983989 h 2110719"/>
                    <a:gd name="connsiteX78" fmla="*/ 457563 w 2134374"/>
                    <a:gd name="connsiteY78" fmla="*/ 1948285 h 2110719"/>
                    <a:gd name="connsiteX79" fmla="*/ 493368 w 2134374"/>
                    <a:gd name="connsiteY79" fmla="*/ 1967751 h 2110719"/>
                    <a:gd name="connsiteX80" fmla="*/ 568104 w 2134374"/>
                    <a:gd name="connsiteY80" fmla="*/ 1957968 h 2110719"/>
                    <a:gd name="connsiteX81" fmla="*/ 636284 w 2134374"/>
                    <a:gd name="connsiteY81" fmla="*/ 1974206 h 2110719"/>
                    <a:gd name="connsiteX82" fmla="*/ 717576 w 2134374"/>
                    <a:gd name="connsiteY82" fmla="*/ 1967751 h 2110719"/>
                    <a:gd name="connsiteX83" fmla="*/ 776074 w 2134374"/>
                    <a:gd name="connsiteY83" fmla="*/ 2010010 h 2110719"/>
                    <a:gd name="connsiteX84" fmla="*/ 912536 w 2134374"/>
                    <a:gd name="connsiteY84" fmla="*/ 1970978 h 2110719"/>
                    <a:gd name="connsiteX85" fmla="*/ 954897 w 2134374"/>
                    <a:gd name="connsiteY85" fmla="*/ 2003454 h 2110719"/>
                    <a:gd name="connsiteX86" fmla="*/ 993929 w 2134374"/>
                    <a:gd name="connsiteY86" fmla="*/ 2026148 h 2110719"/>
                    <a:gd name="connsiteX87" fmla="*/ 1091459 w 2134374"/>
                    <a:gd name="connsiteY87" fmla="*/ 2048841 h 2110719"/>
                    <a:gd name="connsiteX88" fmla="*/ 1143401 w 2134374"/>
                    <a:gd name="connsiteY88" fmla="*/ 2110566 h 2110719"/>
                    <a:gd name="connsiteX89" fmla="*/ 1227920 w 2134374"/>
                    <a:gd name="connsiteY89" fmla="*/ 2055296 h 2110719"/>
                    <a:gd name="connsiteX90" fmla="*/ 1279863 w 2134374"/>
                    <a:gd name="connsiteY90" fmla="*/ 2029274 h 2110719"/>
                    <a:gd name="connsiteX91" fmla="*/ 1218036 w 2134374"/>
                    <a:gd name="connsiteY91" fmla="*/ 1928517 h 2110719"/>
                    <a:gd name="connsiteX92" fmla="*/ 1130289 w 2134374"/>
                    <a:gd name="connsiteY92" fmla="*/ 1863463 h 2110719"/>
                    <a:gd name="connsiteX93" fmla="*/ 1162766 w 2134374"/>
                    <a:gd name="connsiteY93" fmla="*/ 1788727 h 2110719"/>
                    <a:gd name="connsiteX94" fmla="*/ 1237502 w 2134374"/>
                    <a:gd name="connsiteY94" fmla="*/ 1788727 h 2110719"/>
                    <a:gd name="connsiteX95" fmla="*/ 1234274 w 2134374"/>
                    <a:gd name="connsiteY95" fmla="*/ 1700980 h 2110719"/>
                    <a:gd name="connsiteX96" fmla="*/ 1305884 w 2134374"/>
                    <a:gd name="connsiteY96" fmla="*/ 1655492 h 2110719"/>
                    <a:gd name="connsiteX97" fmla="*/ 1354599 w 2134374"/>
                    <a:gd name="connsiteY97" fmla="*/ 1626244 h 2110719"/>
                    <a:gd name="connsiteX98" fmla="*/ 1387075 w 2134374"/>
                    <a:gd name="connsiteY98" fmla="*/ 1551507 h 2110719"/>
                    <a:gd name="connsiteX99" fmla="*/ 1504071 w 2134374"/>
                    <a:gd name="connsiteY99" fmla="*/ 1473443 h 2110719"/>
                    <a:gd name="connsiteX100" fmla="*/ 1624295 w 2134374"/>
                    <a:gd name="connsiteY100" fmla="*/ 1463761 h 2110719"/>
                    <a:gd name="connsiteX101" fmla="*/ 1666555 w 2134374"/>
                    <a:gd name="connsiteY101" fmla="*/ 1359675 h 2110719"/>
                    <a:gd name="connsiteX102" fmla="*/ 1598273 w 2134374"/>
                    <a:gd name="connsiteY102" fmla="*/ 1317415 h 2110719"/>
                    <a:gd name="connsiteX103" fmla="*/ 1598273 w 2134374"/>
                    <a:gd name="connsiteY103" fmla="*/ 1245906 h 2110719"/>
                    <a:gd name="connsiteX104" fmla="*/ 1666555 w 2134374"/>
                    <a:gd name="connsiteY104" fmla="*/ 1236123 h 2110719"/>
                    <a:gd name="connsiteX105" fmla="*/ 1728381 w 2134374"/>
                    <a:gd name="connsiteY105" fmla="*/ 1281610 h 2110719"/>
                    <a:gd name="connsiteX106" fmla="*/ 1816128 w 2134374"/>
                    <a:gd name="connsiteY106" fmla="*/ 1216556 h 2110719"/>
                    <a:gd name="connsiteX107" fmla="*/ 1890864 w 2134374"/>
                    <a:gd name="connsiteY107" fmla="*/ 1164614 h 2110719"/>
                    <a:gd name="connsiteX108" fmla="*/ 2007860 w 2134374"/>
                    <a:gd name="connsiteY108" fmla="*/ 1145047 h 2110719"/>
                    <a:gd name="connsiteX109" fmla="*/ 2108617 w 2134374"/>
                    <a:gd name="connsiteY109" fmla="*/ 1067084 h 2110719"/>
                    <a:gd name="connsiteX110" fmla="*/ 2096111 w 2134374"/>
                    <a:gd name="connsiteY110" fmla="*/ 885135 h 2110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134374" h="2110719">
                      <a:moveTo>
                        <a:pt x="106978" y="81897"/>
                      </a:moveTo>
                      <a:cubicBezTo>
                        <a:pt x="126646" y="87646"/>
                        <a:pt x="147322" y="86032"/>
                        <a:pt x="161644" y="88352"/>
                      </a:cubicBezTo>
                      <a:cubicBezTo>
                        <a:pt x="147322" y="85629"/>
                        <a:pt x="126747" y="87747"/>
                        <a:pt x="106978" y="81897"/>
                      </a:cubicBezTo>
                      <a:close/>
                      <a:moveTo>
                        <a:pt x="1017429" y="0"/>
                      </a:moveTo>
                      <a:cubicBezTo>
                        <a:pt x="1016319" y="11397"/>
                        <a:pt x="1021060" y="14826"/>
                        <a:pt x="1026002" y="21382"/>
                      </a:cubicBezTo>
                      <a:cubicBezTo>
                        <a:pt x="1021060" y="14826"/>
                        <a:pt x="1016420" y="11397"/>
                        <a:pt x="1017429" y="0"/>
                      </a:cubicBezTo>
                      <a:close/>
                      <a:moveTo>
                        <a:pt x="2096111" y="885135"/>
                      </a:moveTo>
                      <a:cubicBezTo>
                        <a:pt x="2024603" y="842875"/>
                        <a:pt x="2018047" y="787705"/>
                        <a:pt x="2018047" y="751901"/>
                      </a:cubicBezTo>
                      <a:cubicBezTo>
                        <a:pt x="2018047" y="716096"/>
                        <a:pt x="1949664" y="725879"/>
                        <a:pt x="1917289" y="696630"/>
                      </a:cubicBezTo>
                      <a:cubicBezTo>
                        <a:pt x="1884812" y="667280"/>
                        <a:pt x="1884812" y="576407"/>
                        <a:pt x="1907505" y="566624"/>
                      </a:cubicBezTo>
                      <a:cubicBezTo>
                        <a:pt x="1930199" y="556840"/>
                        <a:pt x="1991924" y="576407"/>
                        <a:pt x="2011491" y="508125"/>
                      </a:cubicBezTo>
                      <a:cubicBezTo>
                        <a:pt x="2031057" y="439844"/>
                        <a:pt x="1979014" y="400913"/>
                        <a:pt x="1959549" y="394357"/>
                      </a:cubicBezTo>
                      <a:cubicBezTo>
                        <a:pt x="1939982" y="387801"/>
                        <a:pt x="1849008" y="332531"/>
                        <a:pt x="1868473" y="280589"/>
                      </a:cubicBezTo>
                      <a:cubicBezTo>
                        <a:pt x="1887939" y="228647"/>
                        <a:pt x="1920416" y="111550"/>
                        <a:pt x="1858690" y="59506"/>
                      </a:cubicBezTo>
                      <a:cubicBezTo>
                        <a:pt x="1796864" y="7564"/>
                        <a:pt x="1598677" y="-18457"/>
                        <a:pt x="1556417" y="98539"/>
                      </a:cubicBezTo>
                      <a:cubicBezTo>
                        <a:pt x="1514258" y="215535"/>
                        <a:pt x="1543507" y="244784"/>
                        <a:pt x="1517385" y="290271"/>
                      </a:cubicBezTo>
                      <a:cubicBezTo>
                        <a:pt x="1491363" y="335758"/>
                        <a:pt x="1387277" y="342213"/>
                        <a:pt x="1393833" y="293498"/>
                      </a:cubicBezTo>
                      <a:cubicBezTo>
                        <a:pt x="1400389" y="244683"/>
                        <a:pt x="1406944" y="248011"/>
                        <a:pt x="1439421" y="241556"/>
                      </a:cubicBezTo>
                      <a:cubicBezTo>
                        <a:pt x="1471696" y="235101"/>
                        <a:pt x="1478150" y="87949"/>
                        <a:pt x="1420964" y="76249"/>
                      </a:cubicBezTo>
                      <a:cubicBezTo>
                        <a:pt x="1429940" y="100657"/>
                        <a:pt x="1435487" y="121635"/>
                        <a:pt x="1421368" y="133436"/>
                      </a:cubicBezTo>
                      <a:cubicBezTo>
                        <a:pt x="1402809" y="149069"/>
                        <a:pt x="1377797" y="155221"/>
                        <a:pt x="1368417" y="186387"/>
                      </a:cubicBezTo>
                      <a:cubicBezTo>
                        <a:pt x="1359137" y="217552"/>
                        <a:pt x="1327972" y="239438"/>
                        <a:pt x="1296807" y="245591"/>
                      </a:cubicBezTo>
                      <a:cubicBezTo>
                        <a:pt x="1265642" y="251743"/>
                        <a:pt x="1222071" y="233084"/>
                        <a:pt x="1215818" y="208172"/>
                      </a:cubicBezTo>
                      <a:cubicBezTo>
                        <a:pt x="1209665" y="183260"/>
                        <a:pt x="1178399" y="158348"/>
                        <a:pt x="1159740" y="195767"/>
                      </a:cubicBezTo>
                      <a:cubicBezTo>
                        <a:pt x="1141081" y="233084"/>
                        <a:pt x="1106689" y="261224"/>
                        <a:pt x="1094283" y="239337"/>
                      </a:cubicBezTo>
                      <a:cubicBezTo>
                        <a:pt x="1081877" y="217552"/>
                        <a:pt x="1069371" y="192640"/>
                        <a:pt x="1035079" y="173880"/>
                      </a:cubicBezTo>
                      <a:cubicBezTo>
                        <a:pt x="1000888" y="155221"/>
                        <a:pt x="982128" y="136563"/>
                        <a:pt x="982128" y="108524"/>
                      </a:cubicBezTo>
                      <a:cubicBezTo>
                        <a:pt x="982128" y="101464"/>
                        <a:pt x="982330" y="95110"/>
                        <a:pt x="983036" y="89361"/>
                      </a:cubicBezTo>
                      <a:cubicBezTo>
                        <a:pt x="982935" y="89461"/>
                        <a:pt x="982935" y="89461"/>
                        <a:pt x="982935" y="89562"/>
                      </a:cubicBezTo>
                      <a:cubicBezTo>
                        <a:pt x="960545" y="87041"/>
                        <a:pt x="934422" y="81595"/>
                        <a:pt x="921513" y="70298"/>
                      </a:cubicBezTo>
                      <a:cubicBezTo>
                        <a:pt x="896701" y="48513"/>
                        <a:pt x="859383" y="23702"/>
                        <a:pt x="846877" y="51740"/>
                      </a:cubicBezTo>
                      <a:cubicBezTo>
                        <a:pt x="834472" y="79678"/>
                        <a:pt x="803407" y="76552"/>
                        <a:pt x="794027" y="51740"/>
                      </a:cubicBezTo>
                      <a:cubicBezTo>
                        <a:pt x="784647" y="26828"/>
                        <a:pt x="738051" y="26828"/>
                        <a:pt x="725544" y="67273"/>
                      </a:cubicBezTo>
                      <a:cubicBezTo>
                        <a:pt x="713138" y="107717"/>
                        <a:pt x="735025" y="116996"/>
                        <a:pt x="728771" y="157440"/>
                      </a:cubicBezTo>
                      <a:cubicBezTo>
                        <a:pt x="722417" y="197884"/>
                        <a:pt x="679048" y="287951"/>
                        <a:pt x="679048" y="287951"/>
                      </a:cubicBezTo>
                      <a:cubicBezTo>
                        <a:pt x="679048" y="287951"/>
                        <a:pt x="694681" y="356333"/>
                        <a:pt x="675922" y="362587"/>
                      </a:cubicBezTo>
                      <a:cubicBezTo>
                        <a:pt x="657263" y="368739"/>
                        <a:pt x="638604" y="378119"/>
                        <a:pt x="635477" y="325269"/>
                      </a:cubicBezTo>
                      <a:cubicBezTo>
                        <a:pt x="632351" y="272419"/>
                        <a:pt x="591906" y="228848"/>
                        <a:pt x="495586" y="235101"/>
                      </a:cubicBezTo>
                      <a:cubicBezTo>
                        <a:pt x="399267" y="241355"/>
                        <a:pt x="421052" y="294205"/>
                        <a:pt x="421052" y="294205"/>
                      </a:cubicBezTo>
                      <a:cubicBezTo>
                        <a:pt x="421052" y="294205"/>
                        <a:pt x="427205" y="347054"/>
                        <a:pt x="374455" y="350080"/>
                      </a:cubicBezTo>
                      <a:cubicBezTo>
                        <a:pt x="321605" y="353207"/>
                        <a:pt x="284389" y="340700"/>
                        <a:pt x="253224" y="334548"/>
                      </a:cubicBezTo>
                      <a:cubicBezTo>
                        <a:pt x="222159" y="328295"/>
                        <a:pt x="222159" y="362587"/>
                        <a:pt x="206526" y="362587"/>
                      </a:cubicBezTo>
                      <a:cubicBezTo>
                        <a:pt x="190993" y="362587"/>
                        <a:pt x="200273" y="328395"/>
                        <a:pt x="175461" y="328395"/>
                      </a:cubicBezTo>
                      <a:cubicBezTo>
                        <a:pt x="150650" y="328395"/>
                        <a:pt x="116358" y="297331"/>
                        <a:pt x="110206" y="278672"/>
                      </a:cubicBezTo>
                      <a:cubicBezTo>
                        <a:pt x="108693" y="274033"/>
                        <a:pt x="108996" y="270200"/>
                        <a:pt x="110307" y="266872"/>
                      </a:cubicBezTo>
                      <a:cubicBezTo>
                        <a:pt x="82974" y="269595"/>
                        <a:pt x="57659" y="275344"/>
                        <a:pt x="55440" y="287649"/>
                      </a:cubicBezTo>
                      <a:cubicBezTo>
                        <a:pt x="50397" y="315687"/>
                        <a:pt x="37588" y="435205"/>
                        <a:pt x="55440" y="452956"/>
                      </a:cubicBezTo>
                      <a:cubicBezTo>
                        <a:pt x="73191" y="470707"/>
                        <a:pt x="75813" y="483516"/>
                        <a:pt x="75813" y="506411"/>
                      </a:cubicBezTo>
                      <a:cubicBezTo>
                        <a:pt x="75813" y="529205"/>
                        <a:pt x="58062" y="526683"/>
                        <a:pt x="45354" y="526683"/>
                      </a:cubicBezTo>
                      <a:cubicBezTo>
                        <a:pt x="32545" y="526683"/>
                        <a:pt x="-8101" y="534349"/>
                        <a:pt x="2086" y="557244"/>
                      </a:cubicBezTo>
                      <a:cubicBezTo>
                        <a:pt x="12272" y="580038"/>
                        <a:pt x="30124" y="605555"/>
                        <a:pt x="30124" y="625828"/>
                      </a:cubicBezTo>
                      <a:cubicBezTo>
                        <a:pt x="30124" y="646201"/>
                        <a:pt x="35167" y="666474"/>
                        <a:pt x="17416" y="676660"/>
                      </a:cubicBezTo>
                      <a:cubicBezTo>
                        <a:pt x="-436" y="686847"/>
                        <a:pt x="-10623" y="707220"/>
                        <a:pt x="17416" y="719928"/>
                      </a:cubicBezTo>
                      <a:cubicBezTo>
                        <a:pt x="45455" y="732637"/>
                        <a:pt x="70871" y="791135"/>
                        <a:pt x="83579" y="816551"/>
                      </a:cubicBezTo>
                      <a:cubicBezTo>
                        <a:pt x="96287" y="841967"/>
                        <a:pt x="129268" y="839547"/>
                        <a:pt x="144498" y="864862"/>
                      </a:cubicBezTo>
                      <a:cubicBezTo>
                        <a:pt x="159728" y="890178"/>
                        <a:pt x="142077" y="902987"/>
                        <a:pt x="157307" y="918216"/>
                      </a:cubicBezTo>
                      <a:cubicBezTo>
                        <a:pt x="172536" y="933547"/>
                        <a:pt x="195431" y="953920"/>
                        <a:pt x="170015" y="992045"/>
                      </a:cubicBezTo>
                      <a:cubicBezTo>
                        <a:pt x="144599" y="1030170"/>
                        <a:pt x="124326" y="1032691"/>
                        <a:pt x="147221" y="1065773"/>
                      </a:cubicBezTo>
                      <a:cubicBezTo>
                        <a:pt x="170015" y="1098854"/>
                        <a:pt x="218528" y="1075959"/>
                        <a:pt x="236279" y="1068395"/>
                      </a:cubicBezTo>
                      <a:cubicBezTo>
                        <a:pt x="254030" y="1060831"/>
                        <a:pt x="279447" y="1070916"/>
                        <a:pt x="297198" y="1055687"/>
                      </a:cubicBezTo>
                      <a:cubicBezTo>
                        <a:pt x="315050" y="1040356"/>
                        <a:pt x="348131" y="1030270"/>
                        <a:pt x="355696" y="1037936"/>
                      </a:cubicBezTo>
                      <a:cubicBezTo>
                        <a:pt x="363361" y="1045601"/>
                        <a:pt x="383634" y="1050745"/>
                        <a:pt x="388677" y="1037936"/>
                      </a:cubicBezTo>
                      <a:cubicBezTo>
                        <a:pt x="393820" y="1025227"/>
                        <a:pt x="431945" y="1040457"/>
                        <a:pt x="431945" y="1065874"/>
                      </a:cubicBezTo>
                      <a:cubicBezTo>
                        <a:pt x="431945" y="1091290"/>
                        <a:pt x="419236" y="1126792"/>
                        <a:pt x="442131" y="1134457"/>
                      </a:cubicBezTo>
                      <a:cubicBezTo>
                        <a:pt x="465027" y="1142123"/>
                        <a:pt x="495385" y="1180348"/>
                        <a:pt x="485299" y="1218473"/>
                      </a:cubicBezTo>
                      <a:cubicBezTo>
                        <a:pt x="475213" y="1256597"/>
                        <a:pt x="414093" y="1335367"/>
                        <a:pt x="383634" y="1376115"/>
                      </a:cubicBezTo>
                      <a:cubicBezTo>
                        <a:pt x="353073" y="1416760"/>
                        <a:pt x="297198" y="1452565"/>
                        <a:pt x="292054" y="1477881"/>
                      </a:cubicBezTo>
                      <a:cubicBezTo>
                        <a:pt x="286910" y="1503297"/>
                        <a:pt x="266637" y="1500776"/>
                        <a:pt x="236078" y="1500776"/>
                      </a:cubicBezTo>
                      <a:cubicBezTo>
                        <a:pt x="205618" y="1500776"/>
                        <a:pt x="213081" y="1518527"/>
                        <a:pt x="200474" y="1528714"/>
                      </a:cubicBezTo>
                      <a:cubicBezTo>
                        <a:pt x="187766" y="1538900"/>
                        <a:pt x="147120" y="1579647"/>
                        <a:pt x="131890" y="1589834"/>
                      </a:cubicBezTo>
                      <a:cubicBezTo>
                        <a:pt x="130075" y="1591044"/>
                        <a:pt x="127755" y="1592053"/>
                        <a:pt x="125234" y="1592860"/>
                      </a:cubicBezTo>
                      <a:cubicBezTo>
                        <a:pt x="126041" y="1662553"/>
                        <a:pt x="129369" y="1735373"/>
                        <a:pt x="138951" y="1749896"/>
                      </a:cubicBezTo>
                      <a:cubicBezTo>
                        <a:pt x="158517" y="1779145"/>
                        <a:pt x="184438" y="1743441"/>
                        <a:pt x="197449" y="1788929"/>
                      </a:cubicBezTo>
                      <a:cubicBezTo>
                        <a:pt x="210460" y="1834416"/>
                        <a:pt x="213687" y="1866892"/>
                        <a:pt x="233253" y="1876676"/>
                      </a:cubicBezTo>
                      <a:cubicBezTo>
                        <a:pt x="252820" y="1886459"/>
                        <a:pt x="236582" y="1931946"/>
                        <a:pt x="246264" y="1954740"/>
                      </a:cubicBezTo>
                      <a:cubicBezTo>
                        <a:pt x="255946" y="1977433"/>
                        <a:pt x="272285" y="1974307"/>
                        <a:pt x="298206" y="1964523"/>
                      </a:cubicBezTo>
                      <a:cubicBezTo>
                        <a:pt x="324228" y="1954740"/>
                        <a:pt x="317672" y="1967852"/>
                        <a:pt x="330683" y="1983989"/>
                      </a:cubicBezTo>
                      <a:cubicBezTo>
                        <a:pt x="343693" y="2000227"/>
                        <a:pt x="372943" y="2006783"/>
                        <a:pt x="385953" y="1983989"/>
                      </a:cubicBezTo>
                      <a:cubicBezTo>
                        <a:pt x="398964" y="1961195"/>
                        <a:pt x="447780" y="1922263"/>
                        <a:pt x="457563" y="1948285"/>
                      </a:cubicBezTo>
                      <a:cubicBezTo>
                        <a:pt x="467346" y="1974206"/>
                        <a:pt x="480357" y="1980761"/>
                        <a:pt x="493368" y="1967751"/>
                      </a:cubicBezTo>
                      <a:cubicBezTo>
                        <a:pt x="506277" y="1954740"/>
                        <a:pt x="548638" y="1928718"/>
                        <a:pt x="568104" y="1957968"/>
                      </a:cubicBezTo>
                      <a:cubicBezTo>
                        <a:pt x="587569" y="1987317"/>
                        <a:pt x="613591" y="1997000"/>
                        <a:pt x="636284" y="1974206"/>
                      </a:cubicBezTo>
                      <a:cubicBezTo>
                        <a:pt x="658977" y="1951513"/>
                        <a:pt x="691454" y="1935274"/>
                        <a:pt x="717576" y="1967751"/>
                      </a:cubicBezTo>
                      <a:cubicBezTo>
                        <a:pt x="743598" y="2000227"/>
                        <a:pt x="733814" y="2010010"/>
                        <a:pt x="776074" y="2010010"/>
                      </a:cubicBezTo>
                      <a:cubicBezTo>
                        <a:pt x="818435" y="2010010"/>
                        <a:pt x="873605" y="1980761"/>
                        <a:pt x="912536" y="1970978"/>
                      </a:cubicBezTo>
                      <a:cubicBezTo>
                        <a:pt x="951568" y="1961195"/>
                        <a:pt x="958124" y="1987317"/>
                        <a:pt x="954897" y="2003454"/>
                      </a:cubicBezTo>
                      <a:cubicBezTo>
                        <a:pt x="951568" y="2019693"/>
                        <a:pt x="954897" y="2032805"/>
                        <a:pt x="993929" y="2026148"/>
                      </a:cubicBezTo>
                      <a:cubicBezTo>
                        <a:pt x="1032961" y="2019592"/>
                        <a:pt x="1091459" y="2032603"/>
                        <a:pt x="1091459" y="2048841"/>
                      </a:cubicBezTo>
                      <a:cubicBezTo>
                        <a:pt x="1091459" y="2065079"/>
                        <a:pt x="1097914" y="2113794"/>
                        <a:pt x="1143401" y="2110566"/>
                      </a:cubicBezTo>
                      <a:cubicBezTo>
                        <a:pt x="1188989" y="2107339"/>
                        <a:pt x="1195545" y="2055296"/>
                        <a:pt x="1227920" y="2055296"/>
                      </a:cubicBezTo>
                      <a:cubicBezTo>
                        <a:pt x="1260397" y="2055296"/>
                        <a:pt x="1286419" y="2084545"/>
                        <a:pt x="1279863" y="2029274"/>
                      </a:cubicBezTo>
                      <a:cubicBezTo>
                        <a:pt x="1273408" y="1974004"/>
                        <a:pt x="1253841" y="1938300"/>
                        <a:pt x="1218036" y="1928517"/>
                      </a:cubicBezTo>
                      <a:cubicBezTo>
                        <a:pt x="1182333" y="1918734"/>
                        <a:pt x="1117380" y="1895939"/>
                        <a:pt x="1130289" y="1863463"/>
                      </a:cubicBezTo>
                      <a:cubicBezTo>
                        <a:pt x="1143200" y="1830986"/>
                        <a:pt x="1126961" y="1772489"/>
                        <a:pt x="1162766" y="1788727"/>
                      </a:cubicBezTo>
                      <a:cubicBezTo>
                        <a:pt x="1198571" y="1804965"/>
                        <a:pt x="1224592" y="1814748"/>
                        <a:pt x="1237502" y="1788727"/>
                      </a:cubicBezTo>
                      <a:cubicBezTo>
                        <a:pt x="1250513" y="1762705"/>
                        <a:pt x="1205026" y="1743138"/>
                        <a:pt x="1234274" y="1700980"/>
                      </a:cubicBezTo>
                      <a:cubicBezTo>
                        <a:pt x="1263625" y="1658720"/>
                        <a:pt x="1279863" y="1645810"/>
                        <a:pt x="1305884" y="1655492"/>
                      </a:cubicBezTo>
                      <a:cubicBezTo>
                        <a:pt x="1331905" y="1665276"/>
                        <a:pt x="1338361" y="1665276"/>
                        <a:pt x="1354599" y="1626244"/>
                      </a:cubicBezTo>
                      <a:cubicBezTo>
                        <a:pt x="1370837" y="1587211"/>
                        <a:pt x="1335033" y="1564417"/>
                        <a:pt x="1387075" y="1551507"/>
                      </a:cubicBezTo>
                      <a:cubicBezTo>
                        <a:pt x="1439118" y="1538497"/>
                        <a:pt x="1478150" y="1496237"/>
                        <a:pt x="1504071" y="1473443"/>
                      </a:cubicBezTo>
                      <a:cubicBezTo>
                        <a:pt x="1529992" y="1450750"/>
                        <a:pt x="1591818" y="1473544"/>
                        <a:pt x="1624295" y="1463761"/>
                      </a:cubicBezTo>
                      <a:cubicBezTo>
                        <a:pt x="1656771" y="1453977"/>
                        <a:pt x="1682793" y="1408389"/>
                        <a:pt x="1666555" y="1359675"/>
                      </a:cubicBezTo>
                      <a:cubicBezTo>
                        <a:pt x="1650316" y="1310960"/>
                        <a:pt x="1611385" y="1317415"/>
                        <a:pt x="1598273" y="1317415"/>
                      </a:cubicBezTo>
                      <a:cubicBezTo>
                        <a:pt x="1585263" y="1317415"/>
                        <a:pt x="1556014" y="1278383"/>
                        <a:pt x="1598273" y="1245906"/>
                      </a:cubicBezTo>
                      <a:cubicBezTo>
                        <a:pt x="1640533" y="1213430"/>
                        <a:pt x="1653443" y="1219884"/>
                        <a:pt x="1666555" y="1236123"/>
                      </a:cubicBezTo>
                      <a:cubicBezTo>
                        <a:pt x="1679565" y="1252361"/>
                        <a:pt x="1692576" y="1288065"/>
                        <a:pt x="1728381" y="1281610"/>
                      </a:cubicBezTo>
                      <a:cubicBezTo>
                        <a:pt x="1764085" y="1275054"/>
                        <a:pt x="1780323" y="1268599"/>
                        <a:pt x="1816128" y="1216556"/>
                      </a:cubicBezTo>
                      <a:cubicBezTo>
                        <a:pt x="1851832" y="1164614"/>
                        <a:pt x="1835593" y="1164614"/>
                        <a:pt x="1890864" y="1164614"/>
                      </a:cubicBezTo>
                      <a:cubicBezTo>
                        <a:pt x="1946134" y="1164614"/>
                        <a:pt x="1942806" y="1206874"/>
                        <a:pt x="2007860" y="1145047"/>
                      </a:cubicBezTo>
                      <a:cubicBezTo>
                        <a:pt x="2072914" y="1083322"/>
                        <a:pt x="2098834" y="1099459"/>
                        <a:pt x="2108617" y="1067084"/>
                      </a:cubicBezTo>
                      <a:cubicBezTo>
                        <a:pt x="2118905" y="1034708"/>
                        <a:pt x="2167620" y="927395"/>
                        <a:pt x="2096111" y="885135"/>
                      </a:cubicBezTo>
                      <a:close/>
                    </a:path>
                  </a:pathLst>
                </a:custGeom>
                <a:solidFill>
                  <a:srgbClr val="E4002B"/>
                </a:solidFill>
                <a:ln w="10085" cap="flat">
                  <a:noFill/>
                  <a:prstDash val="solid"/>
                  <a:miter/>
                </a:ln>
              </p:spPr>
              <p:txBody>
                <a:bodyPr rtlCol="0" anchor="ctr"/>
                <a:lstStyle/>
                <a:p>
                  <a:endParaRPr lang="fr-FR" sz="900"/>
                </a:p>
              </p:txBody>
            </p:sp>
            <p:sp>
              <p:nvSpPr>
                <p:cNvPr id="91" name="Forme libre : forme 90">
                  <a:extLst>
                    <a:ext uri="{FF2B5EF4-FFF2-40B4-BE49-F238E27FC236}">
                      <a16:creationId xmlns:a16="http://schemas.microsoft.com/office/drawing/2014/main" id="{BBBD8ABB-2DBC-B6C1-1480-032A11BAE225}"/>
                    </a:ext>
                  </a:extLst>
                </p:cNvPr>
                <p:cNvSpPr/>
                <p:nvPr/>
              </p:nvSpPr>
              <p:spPr>
                <a:xfrm>
                  <a:off x="6097455" y="8326666"/>
                  <a:ext cx="2139009" cy="2116645"/>
                </a:xfrm>
                <a:custGeom>
                  <a:avLst/>
                  <a:gdLst>
                    <a:gd name="connsiteX0" fmla="*/ 1141921 w 2139009"/>
                    <a:gd name="connsiteY0" fmla="*/ 2116141 h 2116645"/>
                    <a:gd name="connsiteX1" fmla="*/ 1091390 w 2139009"/>
                    <a:gd name="connsiteY1" fmla="*/ 2051693 h 2116645"/>
                    <a:gd name="connsiteX2" fmla="*/ 1091390 w 2139009"/>
                    <a:gd name="connsiteY2" fmla="*/ 2051693 h 2116645"/>
                    <a:gd name="connsiteX3" fmla="*/ 1019276 w 2139009"/>
                    <a:gd name="connsiteY3" fmla="*/ 2029907 h 2116645"/>
                    <a:gd name="connsiteX4" fmla="*/ 1019276 w 2139009"/>
                    <a:gd name="connsiteY4" fmla="*/ 2029907 h 2116645"/>
                    <a:gd name="connsiteX5" fmla="*/ 997189 w 2139009"/>
                    <a:gd name="connsiteY5" fmla="*/ 2031622 h 2116645"/>
                    <a:gd name="connsiteX6" fmla="*/ 997189 w 2139009"/>
                    <a:gd name="connsiteY6" fmla="*/ 2031622 h 2116645"/>
                    <a:gd name="connsiteX7" fmla="*/ 978833 w 2139009"/>
                    <a:gd name="connsiteY7" fmla="*/ 2033336 h 2116645"/>
                    <a:gd name="connsiteX8" fmla="*/ 978833 w 2139009"/>
                    <a:gd name="connsiteY8" fmla="*/ 2033336 h 2116645"/>
                    <a:gd name="connsiteX9" fmla="*/ 953920 w 2139009"/>
                    <a:gd name="connsiteY9" fmla="*/ 2014476 h 2116645"/>
                    <a:gd name="connsiteX10" fmla="*/ 953920 w 2139009"/>
                    <a:gd name="connsiteY10" fmla="*/ 2014476 h 2116645"/>
                    <a:gd name="connsiteX11" fmla="*/ 954929 w 2139009"/>
                    <a:gd name="connsiteY11" fmla="*/ 2005802 h 2116645"/>
                    <a:gd name="connsiteX12" fmla="*/ 954929 w 2139009"/>
                    <a:gd name="connsiteY12" fmla="*/ 2005802 h 2116645"/>
                    <a:gd name="connsiteX13" fmla="*/ 955635 w 2139009"/>
                    <a:gd name="connsiteY13" fmla="*/ 1998641 h 2116645"/>
                    <a:gd name="connsiteX14" fmla="*/ 955635 w 2139009"/>
                    <a:gd name="connsiteY14" fmla="*/ 1998641 h 2116645"/>
                    <a:gd name="connsiteX15" fmla="*/ 930824 w 2139009"/>
                    <a:gd name="connsiteY15" fmla="*/ 1974233 h 2116645"/>
                    <a:gd name="connsiteX16" fmla="*/ 930824 w 2139009"/>
                    <a:gd name="connsiteY16" fmla="*/ 1974233 h 2116645"/>
                    <a:gd name="connsiteX17" fmla="*/ 915997 w 2139009"/>
                    <a:gd name="connsiteY17" fmla="*/ 1976251 h 2116645"/>
                    <a:gd name="connsiteX18" fmla="*/ 915997 w 2139009"/>
                    <a:gd name="connsiteY18" fmla="*/ 1976251 h 2116645"/>
                    <a:gd name="connsiteX19" fmla="*/ 778830 w 2139009"/>
                    <a:gd name="connsiteY19" fmla="*/ 2015283 h 2116645"/>
                    <a:gd name="connsiteX20" fmla="*/ 778830 w 2139009"/>
                    <a:gd name="connsiteY20" fmla="*/ 2015283 h 2116645"/>
                    <a:gd name="connsiteX21" fmla="*/ 718113 w 2139009"/>
                    <a:gd name="connsiteY21" fmla="*/ 1972015 h 2116645"/>
                    <a:gd name="connsiteX22" fmla="*/ 718113 w 2139009"/>
                    <a:gd name="connsiteY22" fmla="*/ 1972015 h 2116645"/>
                    <a:gd name="connsiteX23" fmla="*/ 686645 w 2139009"/>
                    <a:gd name="connsiteY23" fmla="*/ 1954667 h 2116645"/>
                    <a:gd name="connsiteX24" fmla="*/ 686645 w 2139009"/>
                    <a:gd name="connsiteY24" fmla="*/ 1954667 h 2116645"/>
                    <a:gd name="connsiteX25" fmla="*/ 641057 w 2139009"/>
                    <a:gd name="connsiteY25" fmla="*/ 1978671 h 2116645"/>
                    <a:gd name="connsiteX26" fmla="*/ 641057 w 2139009"/>
                    <a:gd name="connsiteY26" fmla="*/ 1978671 h 2116645"/>
                    <a:gd name="connsiteX27" fmla="*/ 612312 w 2139009"/>
                    <a:gd name="connsiteY27" fmla="*/ 1991985 h 2116645"/>
                    <a:gd name="connsiteX28" fmla="*/ 612312 w 2139009"/>
                    <a:gd name="connsiteY28" fmla="*/ 1991985 h 2116645"/>
                    <a:gd name="connsiteX29" fmla="*/ 568540 w 2139009"/>
                    <a:gd name="connsiteY29" fmla="*/ 1962029 h 2116645"/>
                    <a:gd name="connsiteX30" fmla="*/ 568540 w 2139009"/>
                    <a:gd name="connsiteY30" fmla="*/ 1962029 h 2116645"/>
                    <a:gd name="connsiteX31" fmla="*/ 545544 w 2139009"/>
                    <a:gd name="connsiteY31" fmla="*/ 1949725 h 2116645"/>
                    <a:gd name="connsiteX32" fmla="*/ 545544 w 2139009"/>
                    <a:gd name="connsiteY32" fmla="*/ 1949725 h 2116645"/>
                    <a:gd name="connsiteX33" fmla="*/ 497939 w 2139009"/>
                    <a:gd name="connsiteY33" fmla="*/ 1972216 h 2116645"/>
                    <a:gd name="connsiteX34" fmla="*/ 497939 w 2139009"/>
                    <a:gd name="connsiteY34" fmla="*/ 1972216 h 2116645"/>
                    <a:gd name="connsiteX35" fmla="*/ 483112 w 2139009"/>
                    <a:gd name="connsiteY35" fmla="*/ 1979579 h 2116645"/>
                    <a:gd name="connsiteX36" fmla="*/ 483112 w 2139009"/>
                    <a:gd name="connsiteY36" fmla="*/ 1979579 h 2116645"/>
                    <a:gd name="connsiteX37" fmla="*/ 457596 w 2139009"/>
                    <a:gd name="connsiteY37" fmla="*/ 1951641 h 2116645"/>
                    <a:gd name="connsiteX38" fmla="*/ 457596 w 2139009"/>
                    <a:gd name="connsiteY38" fmla="*/ 1951641 h 2116645"/>
                    <a:gd name="connsiteX39" fmla="*/ 447812 w 2139009"/>
                    <a:gd name="connsiteY39" fmla="*/ 1944783 h 2116645"/>
                    <a:gd name="connsiteX40" fmla="*/ 447812 w 2139009"/>
                    <a:gd name="connsiteY40" fmla="*/ 1944783 h 2116645"/>
                    <a:gd name="connsiteX41" fmla="*/ 391029 w 2139009"/>
                    <a:gd name="connsiteY41" fmla="*/ 1987850 h 2116645"/>
                    <a:gd name="connsiteX42" fmla="*/ 391029 w 2139009"/>
                    <a:gd name="connsiteY42" fmla="*/ 1987850 h 2116645"/>
                    <a:gd name="connsiteX43" fmla="*/ 363595 w 2139009"/>
                    <a:gd name="connsiteY43" fmla="*/ 2003987 h 2116645"/>
                    <a:gd name="connsiteX44" fmla="*/ 363595 w 2139009"/>
                    <a:gd name="connsiteY44" fmla="*/ 2003987 h 2116645"/>
                    <a:gd name="connsiteX45" fmla="*/ 331220 w 2139009"/>
                    <a:gd name="connsiteY45" fmla="*/ 1988253 h 2116645"/>
                    <a:gd name="connsiteX46" fmla="*/ 331220 w 2139009"/>
                    <a:gd name="connsiteY46" fmla="*/ 1988253 h 2116645"/>
                    <a:gd name="connsiteX47" fmla="*/ 314679 w 2139009"/>
                    <a:gd name="connsiteY47" fmla="*/ 1966367 h 2116645"/>
                    <a:gd name="connsiteX48" fmla="*/ 314679 w 2139009"/>
                    <a:gd name="connsiteY48" fmla="*/ 1966367 h 2116645"/>
                    <a:gd name="connsiteX49" fmla="*/ 301870 w 2139009"/>
                    <a:gd name="connsiteY49" fmla="*/ 1969695 h 2116645"/>
                    <a:gd name="connsiteX50" fmla="*/ 301870 w 2139009"/>
                    <a:gd name="connsiteY50" fmla="*/ 1969695 h 2116645"/>
                    <a:gd name="connsiteX51" fmla="*/ 271713 w 2139009"/>
                    <a:gd name="connsiteY51" fmla="*/ 1977158 h 2116645"/>
                    <a:gd name="connsiteX52" fmla="*/ 271713 w 2139009"/>
                    <a:gd name="connsiteY52" fmla="*/ 1977158 h 2116645"/>
                    <a:gd name="connsiteX53" fmla="*/ 246498 w 2139009"/>
                    <a:gd name="connsiteY53" fmla="*/ 1958297 h 2116645"/>
                    <a:gd name="connsiteX54" fmla="*/ 246498 w 2139009"/>
                    <a:gd name="connsiteY54" fmla="*/ 1958297 h 2116645"/>
                    <a:gd name="connsiteX55" fmla="*/ 242665 w 2139009"/>
                    <a:gd name="connsiteY55" fmla="*/ 1933688 h 2116645"/>
                    <a:gd name="connsiteX56" fmla="*/ 242665 w 2139009"/>
                    <a:gd name="connsiteY56" fmla="*/ 1933688 h 2116645"/>
                    <a:gd name="connsiteX57" fmla="*/ 243371 w 2139009"/>
                    <a:gd name="connsiteY57" fmla="*/ 1907868 h 2116645"/>
                    <a:gd name="connsiteX58" fmla="*/ 243371 w 2139009"/>
                    <a:gd name="connsiteY58" fmla="*/ 1907868 h 2116645"/>
                    <a:gd name="connsiteX59" fmla="*/ 234799 w 2139009"/>
                    <a:gd name="connsiteY59" fmla="*/ 1881645 h 2116645"/>
                    <a:gd name="connsiteX60" fmla="*/ 234799 w 2139009"/>
                    <a:gd name="connsiteY60" fmla="*/ 1881645 h 2116645"/>
                    <a:gd name="connsiteX61" fmla="*/ 197582 w 2139009"/>
                    <a:gd name="connsiteY61" fmla="*/ 1792184 h 2116645"/>
                    <a:gd name="connsiteX62" fmla="*/ 197582 w 2139009"/>
                    <a:gd name="connsiteY62" fmla="*/ 1792184 h 2116645"/>
                    <a:gd name="connsiteX63" fmla="*/ 139387 w 2139009"/>
                    <a:gd name="connsiteY63" fmla="*/ 1753959 h 2116645"/>
                    <a:gd name="connsiteX64" fmla="*/ 139387 w 2139009"/>
                    <a:gd name="connsiteY64" fmla="*/ 1753959 h 2116645"/>
                    <a:gd name="connsiteX65" fmla="*/ 127082 w 2139009"/>
                    <a:gd name="connsiteY65" fmla="*/ 1592786 h 2116645"/>
                    <a:gd name="connsiteX66" fmla="*/ 127082 w 2139009"/>
                    <a:gd name="connsiteY66" fmla="*/ 1592786 h 2116645"/>
                    <a:gd name="connsiteX67" fmla="*/ 133032 w 2139009"/>
                    <a:gd name="connsiteY67" fmla="*/ 1590164 h 2116645"/>
                    <a:gd name="connsiteX68" fmla="*/ 133032 w 2139009"/>
                    <a:gd name="connsiteY68" fmla="*/ 1590164 h 2116645"/>
                    <a:gd name="connsiteX69" fmla="*/ 201516 w 2139009"/>
                    <a:gd name="connsiteY69" fmla="*/ 1529346 h 2116645"/>
                    <a:gd name="connsiteX70" fmla="*/ 201516 w 2139009"/>
                    <a:gd name="connsiteY70" fmla="*/ 1529346 h 2116645"/>
                    <a:gd name="connsiteX71" fmla="*/ 238934 w 2139009"/>
                    <a:gd name="connsiteY71" fmla="*/ 1500702 h 2116645"/>
                    <a:gd name="connsiteX72" fmla="*/ 238934 w 2139009"/>
                    <a:gd name="connsiteY72" fmla="*/ 1500702 h 2116645"/>
                    <a:gd name="connsiteX73" fmla="*/ 253054 w 2139009"/>
                    <a:gd name="connsiteY73" fmla="*/ 1500702 h 2116645"/>
                    <a:gd name="connsiteX74" fmla="*/ 253054 w 2139009"/>
                    <a:gd name="connsiteY74" fmla="*/ 1500702 h 2116645"/>
                    <a:gd name="connsiteX75" fmla="*/ 292086 w 2139009"/>
                    <a:gd name="connsiteY75" fmla="*/ 1480026 h 2116645"/>
                    <a:gd name="connsiteX76" fmla="*/ 292086 w 2139009"/>
                    <a:gd name="connsiteY76" fmla="*/ 1480026 h 2116645"/>
                    <a:gd name="connsiteX77" fmla="*/ 384271 w 2139009"/>
                    <a:gd name="connsiteY77" fmla="*/ 1377150 h 2116645"/>
                    <a:gd name="connsiteX78" fmla="*/ 384271 w 2139009"/>
                    <a:gd name="connsiteY78" fmla="*/ 1377150 h 2116645"/>
                    <a:gd name="connsiteX79" fmla="*/ 485432 w 2139009"/>
                    <a:gd name="connsiteY79" fmla="*/ 1220517 h 2116645"/>
                    <a:gd name="connsiteX80" fmla="*/ 485432 w 2139009"/>
                    <a:gd name="connsiteY80" fmla="*/ 1220517 h 2116645"/>
                    <a:gd name="connsiteX81" fmla="*/ 487348 w 2139009"/>
                    <a:gd name="connsiteY81" fmla="*/ 1205792 h 2116645"/>
                    <a:gd name="connsiteX82" fmla="*/ 487348 w 2139009"/>
                    <a:gd name="connsiteY82" fmla="*/ 1205792 h 2116645"/>
                    <a:gd name="connsiteX83" fmla="*/ 444080 w 2139009"/>
                    <a:gd name="connsiteY83" fmla="*/ 1139831 h 2116645"/>
                    <a:gd name="connsiteX84" fmla="*/ 444080 w 2139009"/>
                    <a:gd name="connsiteY84" fmla="*/ 1139831 h 2116645"/>
                    <a:gd name="connsiteX85" fmla="*/ 428447 w 2139009"/>
                    <a:gd name="connsiteY85" fmla="*/ 1111590 h 2116645"/>
                    <a:gd name="connsiteX86" fmla="*/ 428447 w 2139009"/>
                    <a:gd name="connsiteY86" fmla="*/ 1111590 h 2116645"/>
                    <a:gd name="connsiteX87" fmla="*/ 431977 w 2139009"/>
                    <a:gd name="connsiteY87" fmla="*/ 1068524 h 2116645"/>
                    <a:gd name="connsiteX88" fmla="*/ 431977 w 2139009"/>
                    <a:gd name="connsiteY88" fmla="*/ 1068524 h 2116645"/>
                    <a:gd name="connsiteX89" fmla="*/ 400207 w 2139009"/>
                    <a:gd name="connsiteY89" fmla="*/ 1038770 h 2116645"/>
                    <a:gd name="connsiteX90" fmla="*/ 400207 w 2139009"/>
                    <a:gd name="connsiteY90" fmla="*/ 1038770 h 2116645"/>
                    <a:gd name="connsiteX91" fmla="*/ 394054 w 2139009"/>
                    <a:gd name="connsiteY91" fmla="*/ 1041695 h 2116645"/>
                    <a:gd name="connsiteX92" fmla="*/ 394054 w 2139009"/>
                    <a:gd name="connsiteY92" fmla="*/ 1041695 h 2116645"/>
                    <a:gd name="connsiteX93" fmla="*/ 378320 w 2139009"/>
                    <a:gd name="connsiteY93" fmla="*/ 1051075 h 2116645"/>
                    <a:gd name="connsiteX94" fmla="*/ 378320 w 2139009"/>
                    <a:gd name="connsiteY94" fmla="*/ 1051075 h 2116645"/>
                    <a:gd name="connsiteX95" fmla="*/ 356535 w 2139009"/>
                    <a:gd name="connsiteY95" fmla="*/ 1042502 h 2116645"/>
                    <a:gd name="connsiteX96" fmla="*/ 356535 w 2139009"/>
                    <a:gd name="connsiteY96" fmla="*/ 1042502 h 2116645"/>
                    <a:gd name="connsiteX97" fmla="*/ 349576 w 2139009"/>
                    <a:gd name="connsiteY97" fmla="*/ 1040787 h 2116645"/>
                    <a:gd name="connsiteX98" fmla="*/ 349576 w 2139009"/>
                    <a:gd name="connsiteY98" fmla="*/ 1040787 h 2116645"/>
                    <a:gd name="connsiteX99" fmla="*/ 301769 w 2139009"/>
                    <a:gd name="connsiteY99" fmla="*/ 1060556 h 2116645"/>
                    <a:gd name="connsiteX100" fmla="*/ 301769 w 2139009"/>
                    <a:gd name="connsiteY100" fmla="*/ 1060556 h 2116645"/>
                    <a:gd name="connsiteX101" fmla="*/ 240144 w 2139009"/>
                    <a:gd name="connsiteY101" fmla="*/ 1073768 h 2116645"/>
                    <a:gd name="connsiteX102" fmla="*/ 240144 w 2139009"/>
                    <a:gd name="connsiteY102" fmla="*/ 1073768 h 2116645"/>
                    <a:gd name="connsiteX103" fmla="*/ 185479 w 2139009"/>
                    <a:gd name="connsiteY103" fmla="*/ 1088695 h 2116645"/>
                    <a:gd name="connsiteX104" fmla="*/ 185479 w 2139009"/>
                    <a:gd name="connsiteY104" fmla="*/ 1088695 h 2116645"/>
                    <a:gd name="connsiteX105" fmla="*/ 147758 w 2139009"/>
                    <a:gd name="connsiteY105" fmla="*/ 1070137 h 2116645"/>
                    <a:gd name="connsiteX106" fmla="*/ 147758 w 2139009"/>
                    <a:gd name="connsiteY106" fmla="*/ 1070137 h 2116645"/>
                    <a:gd name="connsiteX107" fmla="*/ 137168 w 2139009"/>
                    <a:gd name="connsiteY107" fmla="*/ 1044822 h 2116645"/>
                    <a:gd name="connsiteX108" fmla="*/ 137168 w 2139009"/>
                    <a:gd name="connsiteY108" fmla="*/ 1044822 h 2116645"/>
                    <a:gd name="connsiteX109" fmla="*/ 170451 w 2139009"/>
                    <a:gd name="connsiteY109" fmla="*/ 993485 h 2116645"/>
                    <a:gd name="connsiteX110" fmla="*/ 170451 w 2139009"/>
                    <a:gd name="connsiteY110" fmla="*/ 993485 h 2116645"/>
                    <a:gd name="connsiteX111" fmla="*/ 181344 w 2139009"/>
                    <a:gd name="connsiteY111" fmla="*/ 963026 h 2116645"/>
                    <a:gd name="connsiteX112" fmla="*/ 181344 w 2139009"/>
                    <a:gd name="connsiteY112" fmla="*/ 963026 h 2116645"/>
                    <a:gd name="connsiteX113" fmla="*/ 158146 w 2139009"/>
                    <a:gd name="connsiteY113" fmla="*/ 923186 h 2116645"/>
                    <a:gd name="connsiteX114" fmla="*/ 158146 w 2139009"/>
                    <a:gd name="connsiteY114" fmla="*/ 923186 h 2116645"/>
                    <a:gd name="connsiteX115" fmla="*/ 150582 w 2139009"/>
                    <a:gd name="connsiteY115" fmla="*/ 904830 h 2116645"/>
                    <a:gd name="connsiteX116" fmla="*/ 150582 w 2139009"/>
                    <a:gd name="connsiteY116" fmla="*/ 904830 h 2116645"/>
                    <a:gd name="connsiteX117" fmla="*/ 151288 w 2139009"/>
                    <a:gd name="connsiteY117" fmla="*/ 891315 h 2116645"/>
                    <a:gd name="connsiteX118" fmla="*/ 151288 w 2139009"/>
                    <a:gd name="connsiteY118" fmla="*/ 891315 h 2116645"/>
                    <a:gd name="connsiteX119" fmla="*/ 144934 w 2139009"/>
                    <a:gd name="connsiteY119" fmla="*/ 869429 h 2116645"/>
                    <a:gd name="connsiteX120" fmla="*/ 144934 w 2139009"/>
                    <a:gd name="connsiteY120" fmla="*/ 869429 h 2116645"/>
                    <a:gd name="connsiteX121" fmla="*/ 83813 w 2139009"/>
                    <a:gd name="connsiteY121" fmla="*/ 820815 h 2116645"/>
                    <a:gd name="connsiteX122" fmla="*/ 83813 w 2139009"/>
                    <a:gd name="connsiteY122" fmla="*/ 820815 h 2116645"/>
                    <a:gd name="connsiteX123" fmla="*/ 19062 w 2139009"/>
                    <a:gd name="connsiteY123" fmla="*/ 725402 h 2116645"/>
                    <a:gd name="connsiteX124" fmla="*/ 19062 w 2139009"/>
                    <a:gd name="connsiteY124" fmla="*/ 725402 h 2116645"/>
                    <a:gd name="connsiteX125" fmla="*/ 0 w 2139009"/>
                    <a:gd name="connsiteY125" fmla="*/ 702911 h 2116645"/>
                    <a:gd name="connsiteX126" fmla="*/ 0 w 2139009"/>
                    <a:gd name="connsiteY126" fmla="*/ 702911 h 2116645"/>
                    <a:gd name="connsiteX127" fmla="*/ 18861 w 2139009"/>
                    <a:gd name="connsiteY127" fmla="*/ 677293 h 2116645"/>
                    <a:gd name="connsiteX128" fmla="*/ 18861 w 2139009"/>
                    <a:gd name="connsiteY128" fmla="*/ 677293 h 2116645"/>
                    <a:gd name="connsiteX129" fmla="*/ 30762 w 2139009"/>
                    <a:gd name="connsiteY129" fmla="*/ 650465 h 2116645"/>
                    <a:gd name="connsiteX130" fmla="*/ 30762 w 2139009"/>
                    <a:gd name="connsiteY130" fmla="*/ 650465 h 2116645"/>
                    <a:gd name="connsiteX131" fmla="*/ 30056 w 2139009"/>
                    <a:gd name="connsiteY131" fmla="*/ 628881 h 2116645"/>
                    <a:gd name="connsiteX132" fmla="*/ 30056 w 2139009"/>
                    <a:gd name="connsiteY132" fmla="*/ 628881 h 2116645"/>
                    <a:gd name="connsiteX133" fmla="*/ 2421 w 2139009"/>
                    <a:gd name="connsiteY133" fmla="*/ 561407 h 2116645"/>
                    <a:gd name="connsiteX134" fmla="*/ 2421 w 2139009"/>
                    <a:gd name="connsiteY134" fmla="*/ 561407 h 2116645"/>
                    <a:gd name="connsiteX135" fmla="*/ 504 w 2139009"/>
                    <a:gd name="connsiteY135" fmla="*/ 553237 h 2116645"/>
                    <a:gd name="connsiteX136" fmla="*/ 504 w 2139009"/>
                    <a:gd name="connsiteY136" fmla="*/ 553237 h 2116645"/>
                    <a:gd name="connsiteX137" fmla="*/ 48210 w 2139009"/>
                    <a:gd name="connsiteY137" fmla="*/ 526812 h 2116645"/>
                    <a:gd name="connsiteX138" fmla="*/ 48210 w 2139009"/>
                    <a:gd name="connsiteY138" fmla="*/ 526812 h 2116645"/>
                    <a:gd name="connsiteX139" fmla="*/ 55573 w 2139009"/>
                    <a:gd name="connsiteY139" fmla="*/ 526913 h 2116645"/>
                    <a:gd name="connsiteX140" fmla="*/ 55573 w 2139009"/>
                    <a:gd name="connsiteY140" fmla="*/ 526913 h 2116645"/>
                    <a:gd name="connsiteX141" fmla="*/ 75846 w 2139009"/>
                    <a:gd name="connsiteY141" fmla="*/ 509364 h 2116645"/>
                    <a:gd name="connsiteX142" fmla="*/ 75846 w 2139009"/>
                    <a:gd name="connsiteY142" fmla="*/ 509364 h 2116645"/>
                    <a:gd name="connsiteX143" fmla="*/ 56279 w 2139009"/>
                    <a:gd name="connsiteY143" fmla="*/ 457926 h 2116645"/>
                    <a:gd name="connsiteX144" fmla="*/ 56279 w 2139009"/>
                    <a:gd name="connsiteY144" fmla="*/ 457926 h 2116645"/>
                    <a:gd name="connsiteX145" fmla="*/ 46193 w 2139009"/>
                    <a:gd name="connsiteY145" fmla="*/ 401546 h 2116645"/>
                    <a:gd name="connsiteX146" fmla="*/ 46193 w 2139009"/>
                    <a:gd name="connsiteY146" fmla="*/ 401546 h 2116645"/>
                    <a:gd name="connsiteX147" fmla="*/ 55472 w 2139009"/>
                    <a:gd name="connsiteY147" fmla="*/ 290097 h 2116645"/>
                    <a:gd name="connsiteX148" fmla="*/ 55472 w 2139009"/>
                    <a:gd name="connsiteY148" fmla="*/ 290097 h 2116645"/>
                    <a:gd name="connsiteX149" fmla="*/ 112760 w 2139009"/>
                    <a:gd name="connsiteY149" fmla="*/ 267101 h 2116645"/>
                    <a:gd name="connsiteX150" fmla="*/ 112760 w 2139009"/>
                    <a:gd name="connsiteY150" fmla="*/ 267101 h 2116645"/>
                    <a:gd name="connsiteX151" fmla="*/ 115382 w 2139009"/>
                    <a:gd name="connsiteY151" fmla="*/ 268211 h 2116645"/>
                    <a:gd name="connsiteX152" fmla="*/ 115382 w 2139009"/>
                    <a:gd name="connsiteY152" fmla="*/ 268211 h 2116645"/>
                    <a:gd name="connsiteX153" fmla="*/ 115584 w 2139009"/>
                    <a:gd name="connsiteY153" fmla="*/ 270934 h 2116645"/>
                    <a:gd name="connsiteX154" fmla="*/ 115584 w 2139009"/>
                    <a:gd name="connsiteY154" fmla="*/ 270934 h 2116645"/>
                    <a:gd name="connsiteX155" fmla="*/ 114676 w 2139009"/>
                    <a:gd name="connsiteY155" fmla="*/ 275574 h 2116645"/>
                    <a:gd name="connsiteX156" fmla="*/ 114676 w 2139009"/>
                    <a:gd name="connsiteY156" fmla="*/ 275574 h 2116645"/>
                    <a:gd name="connsiteX157" fmla="*/ 115584 w 2139009"/>
                    <a:gd name="connsiteY157" fmla="*/ 280616 h 2116645"/>
                    <a:gd name="connsiteX158" fmla="*/ 115584 w 2139009"/>
                    <a:gd name="connsiteY158" fmla="*/ 280616 h 2116645"/>
                    <a:gd name="connsiteX159" fmla="*/ 178217 w 2139009"/>
                    <a:gd name="connsiteY159" fmla="*/ 328423 h 2116645"/>
                    <a:gd name="connsiteX160" fmla="*/ 178217 w 2139009"/>
                    <a:gd name="connsiteY160" fmla="*/ 328423 h 2116645"/>
                    <a:gd name="connsiteX161" fmla="*/ 209281 w 2139009"/>
                    <a:gd name="connsiteY161" fmla="*/ 362615 h 2116645"/>
                    <a:gd name="connsiteX162" fmla="*/ 209281 w 2139009"/>
                    <a:gd name="connsiteY162" fmla="*/ 362615 h 2116645"/>
                    <a:gd name="connsiteX163" fmla="*/ 248616 w 2139009"/>
                    <a:gd name="connsiteY163" fmla="*/ 333769 h 2116645"/>
                    <a:gd name="connsiteX164" fmla="*/ 248616 w 2139009"/>
                    <a:gd name="connsiteY164" fmla="*/ 333769 h 2116645"/>
                    <a:gd name="connsiteX165" fmla="*/ 256383 w 2139009"/>
                    <a:gd name="connsiteY165" fmla="*/ 334576 h 2116645"/>
                    <a:gd name="connsiteX166" fmla="*/ 256383 w 2139009"/>
                    <a:gd name="connsiteY166" fmla="*/ 334576 h 2116645"/>
                    <a:gd name="connsiteX167" fmla="*/ 360368 w 2139009"/>
                    <a:gd name="connsiteY167" fmla="*/ 350511 h 2116645"/>
                    <a:gd name="connsiteX168" fmla="*/ 360368 w 2139009"/>
                    <a:gd name="connsiteY168" fmla="*/ 350511 h 2116645"/>
                    <a:gd name="connsiteX169" fmla="*/ 376808 w 2139009"/>
                    <a:gd name="connsiteY169" fmla="*/ 350007 h 2116645"/>
                    <a:gd name="connsiteX170" fmla="*/ 376808 w 2139009"/>
                    <a:gd name="connsiteY170" fmla="*/ 350007 h 2116645"/>
                    <a:gd name="connsiteX171" fmla="*/ 420984 w 2139009"/>
                    <a:gd name="connsiteY171" fmla="*/ 301897 h 2116645"/>
                    <a:gd name="connsiteX172" fmla="*/ 420984 w 2139009"/>
                    <a:gd name="connsiteY172" fmla="*/ 301897 h 2116645"/>
                    <a:gd name="connsiteX173" fmla="*/ 420883 w 2139009"/>
                    <a:gd name="connsiteY173" fmla="*/ 297863 h 2116645"/>
                    <a:gd name="connsiteX174" fmla="*/ 420883 w 2139009"/>
                    <a:gd name="connsiteY174" fmla="*/ 297863 h 2116645"/>
                    <a:gd name="connsiteX175" fmla="*/ 418664 w 2139009"/>
                    <a:gd name="connsiteY175" fmla="*/ 284550 h 2116645"/>
                    <a:gd name="connsiteX176" fmla="*/ 418664 w 2139009"/>
                    <a:gd name="connsiteY176" fmla="*/ 284550 h 2116645"/>
                    <a:gd name="connsiteX177" fmla="*/ 497838 w 2139009"/>
                    <a:gd name="connsiteY177" fmla="*/ 234928 h 2116645"/>
                    <a:gd name="connsiteX178" fmla="*/ 497838 w 2139009"/>
                    <a:gd name="connsiteY178" fmla="*/ 234928 h 2116645"/>
                    <a:gd name="connsiteX179" fmla="*/ 515992 w 2139009"/>
                    <a:gd name="connsiteY179" fmla="*/ 234322 h 2116645"/>
                    <a:gd name="connsiteX180" fmla="*/ 515992 w 2139009"/>
                    <a:gd name="connsiteY180" fmla="*/ 234322 h 2116645"/>
                    <a:gd name="connsiteX181" fmla="*/ 640754 w 2139009"/>
                    <a:gd name="connsiteY181" fmla="*/ 327717 h 2116645"/>
                    <a:gd name="connsiteX182" fmla="*/ 640754 w 2139009"/>
                    <a:gd name="connsiteY182" fmla="*/ 327717 h 2116645"/>
                    <a:gd name="connsiteX183" fmla="*/ 659010 w 2139009"/>
                    <a:gd name="connsiteY183" fmla="*/ 367254 h 2116645"/>
                    <a:gd name="connsiteX184" fmla="*/ 659010 w 2139009"/>
                    <a:gd name="connsiteY184" fmla="*/ 367254 h 2116645"/>
                    <a:gd name="connsiteX185" fmla="*/ 677467 w 2139009"/>
                    <a:gd name="connsiteY185" fmla="*/ 362514 h 2116645"/>
                    <a:gd name="connsiteX186" fmla="*/ 677467 w 2139009"/>
                    <a:gd name="connsiteY186" fmla="*/ 362514 h 2116645"/>
                    <a:gd name="connsiteX187" fmla="*/ 684830 w 2139009"/>
                    <a:gd name="connsiteY187" fmla="*/ 338812 h 2116645"/>
                    <a:gd name="connsiteX188" fmla="*/ 684830 w 2139009"/>
                    <a:gd name="connsiteY188" fmla="*/ 338812 h 2116645"/>
                    <a:gd name="connsiteX189" fmla="*/ 678980 w 2139009"/>
                    <a:gd name="connsiteY189" fmla="*/ 289290 h 2116645"/>
                    <a:gd name="connsiteX190" fmla="*/ 678980 w 2139009"/>
                    <a:gd name="connsiteY190" fmla="*/ 289290 h 2116645"/>
                    <a:gd name="connsiteX191" fmla="*/ 728603 w 2139009"/>
                    <a:gd name="connsiteY191" fmla="*/ 159586 h 2116645"/>
                    <a:gd name="connsiteX192" fmla="*/ 728603 w 2139009"/>
                    <a:gd name="connsiteY192" fmla="*/ 159586 h 2116645"/>
                    <a:gd name="connsiteX193" fmla="*/ 729611 w 2139009"/>
                    <a:gd name="connsiteY193" fmla="*/ 145567 h 2116645"/>
                    <a:gd name="connsiteX194" fmla="*/ 729611 w 2139009"/>
                    <a:gd name="connsiteY194" fmla="*/ 145567 h 2116645"/>
                    <a:gd name="connsiteX195" fmla="*/ 721441 w 2139009"/>
                    <a:gd name="connsiteY195" fmla="*/ 93322 h 2116645"/>
                    <a:gd name="connsiteX196" fmla="*/ 721441 w 2139009"/>
                    <a:gd name="connsiteY196" fmla="*/ 93322 h 2116645"/>
                    <a:gd name="connsiteX197" fmla="*/ 725576 w 2139009"/>
                    <a:gd name="connsiteY197" fmla="*/ 68914 h 2116645"/>
                    <a:gd name="connsiteX198" fmla="*/ 725576 w 2139009"/>
                    <a:gd name="connsiteY198" fmla="*/ 68914 h 2116645"/>
                    <a:gd name="connsiteX199" fmla="*/ 768744 w 2139009"/>
                    <a:gd name="connsiteY199" fmla="*/ 34219 h 2116645"/>
                    <a:gd name="connsiteX200" fmla="*/ 768744 w 2139009"/>
                    <a:gd name="connsiteY200" fmla="*/ 34219 h 2116645"/>
                    <a:gd name="connsiteX201" fmla="*/ 799304 w 2139009"/>
                    <a:gd name="connsiteY201" fmla="*/ 53180 h 2116645"/>
                    <a:gd name="connsiteX202" fmla="*/ 799304 w 2139009"/>
                    <a:gd name="connsiteY202" fmla="*/ 53180 h 2116645"/>
                    <a:gd name="connsiteX203" fmla="*/ 822804 w 2139009"/>
                    <a:gd name="connsiteY203" fmla="*/ 71234 h 2116645"/>
                    <a:gd name="connsiteX204" fmla="*/ 822804 w 2139009"/>
                    <a:gd name="connsiteY204" fmla="*/ 71234 h 2116645"/>
                    <a:gd name="connsiteX205" fmla="*/ 846909 w 2139009"/>
                    <a:gd name="connsiteY205" fmla="*/ 53080 h 2116645"/>
                    <a:gd name="connsiteX206" fmla="*/ 846909 w 2139009"/>
                    <a:gd name="connsiteY206" fmla="*/ 53080 h 2116645"/>
                    <a:gd name="connsiteX207" fmla="*/ 867686 w 2139009"/>
                    <a:gd name="connsiteY207" fmla="*/ 38858 h 2116645"/>
                    <a:gd name="connsiteX208" fmla="*/ 867686 w 2139009"/>
                    <a:gd name="connsiteY208" fmla="*/ 38858 h 2116645"/>
                    <a:gd name="connsiteX209" fmla="*/ 925882 w 2139009"/>
                    <a:gd name="connsiteY209" fmla="*/ 70730 h 2116645"/>
                    <a:gd name="connsiteX210" fmla="*/ 925882 w 2139009"/>
                    <a:gd name="connsiteY210" fmla="*/ 70730 h 2116645"/>
                    <a:gd name="connsiteX211" fmla="*/ 982867 w 2139009"/>
                    <a:gd name="connsiteY211" fmla="*/ 91204 h 2116645"/>
                    <a:gd name="connsiteX212" fmla="*/ 982867 w 2139009"/>
                    <a:gd name="connsiteY212" fmla="*/ 91204 h 2116645"/>
                    <a:gd name="connsiteX213" fmla="*/ 982968 w 2139009"/>
                    <a:gd name="connsiteY213" fmla="*/ 91002 h 2116645"/>
                    <a:gd name="connsiteX214" fmla="*/ 986094 w 2139009"/>
                    <a:gd name="connsiteY214" fmla="*/ 89187 h 2116645"/>
                    <a:gd name="connsiteX215" fmla="*/ 986094 w 2139009"/>
                    <a:gd name="connsiteY215" fmla="*/ 89187 h 2116645"/>
                    <a:gd name="connsiteX216" fmla="*/ 988313 w 2139009"/>
                    <a:gd name="connsiteY216" fmla="*/ 92313 h 2116645"/>
                    <a:gd name="connsiteX217" fmla="*/ 988313 w 2139009"/>
                    <a:gd name="connsiteY217" fmla="*/ 92313 h 2116645"/>
                    <a:gd name="connsiteX218" fmla="*/ 987405 w 2139009"/>
                    <a:gd name="connsiteY218" fmla="*/ 111174 h 2116645"/>
                    <a:gd name="connsiteX219" fmla="*/ 987405 w 2139009"/>
                    <a:gd name="connsiteY219" fmla="*/ 111174 h 2116645"/>
                    <a:gd name="connsiteX220" fmla="*/ 1038843 w 2139009"/>
                    <a:gd name="connsiteY220" fmla="*/ 174110 h 2116645"/>
                    <a:gd name="connsiteX221" fmla="*/ 1038843 w 2139009"/>
                    <a:gd name="connsiteY221" fmla="*/ 174110 h 2116645"/>
                    <a:gd name="connsiteX222" fmla="*/ 1099056 w 2139009"/>
                    <a:gd name="connsiteY222" fmla="*/ 240576 h 2116645"/>
                    <a:gd name="connsiteX223" fmla="*/ 1099056 w 2139009"/>
                    <a:gd name="connsiteY223" fmla="*/ 240576 h 2116645"/>
                    <a:gd name="connsiteX224" fmla="*/ 1108940 w 2139009"/>
                    <a:gd name="connsiteY224" fmla="*/ 246728 h 2116645"/>
                    <a:gd name="connsiteX225" fmla="*/ 1108940 w 2139009"/>
                    <a:gd name="connsiteY225" fmla="*/ 246728 h 2116645"/>
                    <a:gd name="connsiteX226" fmla="*/ 1159470 w 2139009"/>
                    <a:gd name="connsiteY226" fmla="*/ 197005 h 2116645"/>
                    <a:gd name="connsiteX227" fmla="*/ 1159470 w 2139009"/>
                    <a:gd name="connsiteY227" fmla="*/ 197005 h 2116645"/>
                    <a:gd name="connsiteX228" fmla="*/ 1185794 w 2139009"/>
                    <a:gd name="connsiteY228" fmla="*/ 176429 h 2116645"/>
                    <a:gd name="connsiteX229" fmla="*/ 1185794 w 2139009"/>
                    <a:gd name="connsiteY229" fmla="*/ 176429 h 2116645"/>
                    <a:gd name="connsiteX230" fmla="*/ 1220792 w 2139009"/>
                    <a:gd name="connsiteY230" fmla="*/ 210015 h 2116645"/>
                    <a:gd name="connsiteX231" fmla="*/ 1220792 w 2139009"/>
                    <a:gd name="connsiteY231" fmla="*/ 210015 h 2116645"/>
                    <a:gd name="connsiteX232" fmla="*/ 1286249 w 2139009"/>
                    <a:gd name="connsiteY232" fmla="*/ 246425 h 2116645"/>
                    <a:gd name="connsiteX233" fmla="*/ 1286249 w 2139009"/>
                    <a:gd name="connsiteY233" fmla="*/ 246425 h 2116645"/>
                    <a:gd name="connsiteX234" fmla="*/ 1298453 w 2139009"/>
                    <a:gd name="connsiteY234" fmla="*/ 245417 h 2116645"/>
                    <a:gd name="connsiteX235" fmla="*/ 1298453 w 2139009"/>
                    <a:gd name="connsiteY235" fmla="*/ 245417 h 2116645"/>
                    <a:gd name="connsiteX236" fmla="*/ 1367944 w 2139009"/>
                    <a:gd name="connsiteY236" fmla="*/ 188129 h 2116645"/>
                    <a:gd name="connsiteX237" fmla="*/ 1367944 w 2139009"/>
                    <a:gd name="connsiteY237" fmla="*/ 188129 h 2116645"/>
                    <a:gd name="connsiteX238" fmla="*/ 1421702 w 2139009"/>
                    <a:gd name="connsiteY238" fmla="*/ 133867 h 2116645"/>
                    <a:gd name="connsiteX239" fmla="*/ 1421702 w 2139009"/>
                    <a:gd name="connsiteY239" fmla="*/ 133867 h 2116645"/>
                    <a:gd name="connsiteX240" fmla="*/ 1429368 w 2139009"/>
                    <a:gd name="connsiteY240" fmla="*/ 115612 h 2116645"/>
                    <a:gd name="connsiteX241" fmla="*/ 1429368 w 2139009"/>
                    <a:gd name="connsiteY241" fmla="*/ 115612 h 2116645"/>
                    <a:gd name="connsiteX242" fmla="*/ 1420492 w 2139009"/>
                    <a:gd name="connsiteY242" fmla="*/ 79807 h 2116645"/>
                    <a:gd name="connsiteX243" fmla="*/ 1420492 w 2139009"/>
                    <a:gd name="connsiteY243" fmla="*/ 79807 h 2116645"/>
                    <a:gd name="connsiteX244" fmla="*/ 1420996 w 2139009"/>
                    <a:gd name="connsiteY244" fmla="*/ 77084 h 2116645"/>
                    <a:gd name="connsiteX245" fmla="*/ 1420996 w 2139009"/>
                    <a:gd name="connsiteY245" fmla="*/ 77084 h 2116645"/>
                    <a:gd name="connsiteX246" fmla="*/ 1423720 w 2139009"/>
                    <a:gd name="connsiteY246" fmla="*/ 76176 h 2116645"/>
                    <a:gd name="connsiteX247" fmla="*/ 1423720 w 2139009"/>
                    <a:gd name="connsiteY247" fmla="*/ 76176 h 2116645"/>
                    <a:gd name="connsiteX248" fmla="*/ 1468703 w 2139009"/>
                    <a:gd name="connsiteY248" fmla="*/ 171386 h 2116645"/>
                    <a:gd name="connsiteX249" fmla="*/ 1468703 w 2139009"/>
                    <a:gd name="connsiteY249" fmla="*/ 171386 h 2116645"/>
                    <a:gd name="connsiteX250" fmla="*/ 1442076 w 2139009"/>
                    <a:gd name="connsiteY250" fmla="*/ 246930 h 2116645"/>
                    <a:gd name="connsiteX251" fmla="*/ 1442076 w 2139009"/>
                    <a:gd name="connsiteY251" fmla="*/ 246930 h 2116645"/>
                    <a:gd name="connsiteX252" fmla="*/ 1398707 w 2139009"/>
                    <a:gd name="connsiteY252" fmla="*/ 296754 h 2116645"/>
                    <a:gd name="connsiteX253" fmla="*/ 1398707 w 2139009"/>
                    <a:gd name="connsiteY253" fmla="*/ 296754 h 2116645"/>
                    <a:gd name="connsiteX254" fmla="*/ 1398303 w 2139009"/>
                    <a:gd name="connsiteY254" fmla="*/ 300385 h 2116645"/>
                    <a:gd name="connsiteX255" fmla="*/ 1398303 w 2139009"/>
                    <a:gd name="connsiteY255" fmla="*/ 300385 h 2116645"/>
                    <a:gd name="connsiteX256" fmla="*/ 1441067 w 2139009"/>
                    <a:gd name="connsiteY256" fmla="*/ 327112 h 2116645"/>
                    <a:gd name="connsiteX257" fmla="*/ 1441067 w 2139009"/>
                    <a:gd name="connsiteY257" fmla="*/ 327112 h 2116645"/>
                    <a:gd name="connsiteX258" fmla="*/ 1517115 w 2139009"/>
                    <a:gd name="connsiteY258" fmla="*/ 291509 h 2116645"/>
                    <a:gd name="connsiteX259" fmla="*/ 1517115 w 2139009"/>
                    <a:gd name="connsiteY259" fmla="*/ 291509 h 2116645"/>
                    <a:gd name="connsiteX260" fmla="*/ 1555844 w 2139009"/>
                    <a:gd name="connsiteY260" fmla="*/ 100180 h 2116645"/>
                    <a:gd name="connsiteX261" fmla="*/ 1555844 w 2139009"/>
                    <a:gd name="connsiteY261" fmla="*/ 100180 h 2116645"/>
                    <a:gd name="connsiteX262" fmla="*/ 1709653 w 2139009"/>
                    <a:gd name="connsiteY262" fmla="*/ 15358 h 2116645"/>
                    <a:gd name="connsiteX263" fmla="*/ 1709653 w 2139009"/>
                    <a:gd name="connsiteY263" fmla="*/ 15358 h 2116645"/>
                    <a:gd name="connsiteX264" fmla="*/ 1862555 w 2139009"/>
                    <a:gd name="connsiteY264" fmla="*/ 59938 h 2116645"/>
                    <a:gd name="connsiteX265" fmla="*/ 1862555 w 2139009"/>
                    <a:gd name="connsiteY265" fmla="*/ 59938 h 2116645"/>
                    <a:gd name="connsiteX266" fmla="*/ 1899469 w 2139009"/>
                    <a:gd name="connsiteY266" fmla="*/ 156359 h 2116645"/>
                    <a:gd name="connsiteX267" fmla="*/ 1899469 w 2139009"/>
                    <a:gd name="connsiteY267" fmla="*/ 156359 h 2116645"/>
                    <a:gd name="connsiteX268" fmla="*/ 1873246 w 2139009"/>
                    <a:gd name="connsiteY268" fmla="*/ 284247 h 2116645"/>
                    <a:gd name="connsiteX269" fmla="*/ 1873246 w 2139009"/>
                    <a:gd name="connsiteY269" fmla="*/ 284247 h 2116645"/>
                    <a:gd name="connsiteX270" fmla="*/ 1870624 w 2139009"/>
                    <a:gd name="connsiteY270" fmla="*/ 298166 h 2116645"/>
                    <a:gd name="connsiteX271" fmla="*/ 1870624 w 2139009"/>
                    <a:gd name="connsiteY271" fmla="*/ 298166 h 2116645"/>
                    <a:gd name="connsiteX272" fmla="*/ 1962506 w 2139009"/>
                    <a:gd name="connsiteY272" fmla="*/ 394385 h 2116645"/>
                    <a:gd name="connsiteX273" fmla="*/ 1962506 w 2139009"/>
                    <a:gd name="connsiteY273" fmla="*/ 394385 h 2116645"/>
                    <a:gd name="connsiteX274" fmla="*/ 2020600 w 2139009"/>
                    <a:gd name="connsiteY274" fmla="*/ 481426 h 2116645"/>
                    <a:gd name="connsiteX275" fmla="*/ 2020600 w 2139009"/>
                    <a:gd name="connsiteY275" fmla="*/ 481426 h 2116645"/>
                    <a:gd name="connsiteX276" fmla="*/ 2016163 w 2139009"/>
                    <a:gd name="connsiteY276" fmla="*/ 511482 h 2116645"/>
                    <a:gd name="connsiteX277" fmla="*/ 2016163 w 2139009"/>
                    <a:gd name="connsiteY277" fmla="*/ 511482 h 2116645"/>
                    <a:gd name="connsiteX278" fmla="*/ 1910564 w 2139009"/>
                    <a:gd name="connsiteY278" fmla="*/ 571795 h 2116645"/>
                    <a:gd name="connsiteX279" fmla="*/ 1910564 w 2139009"/>
                    <a:gd name="connsiteY279" fmla="*/ 571795 h 2116645"/>
                    <a:gd name="connsiteX280" fmla="*/ 1896242 w 2139009"/>
                    <a:gd name="connsiteY280" fmla="*/ 619602 h 2116645"/>
                    <a:gd name="connsiteX281" fmla="*/ 1896242 w 2139009"/>
                    <a:gd name="connsiteY281" fmla="*/ 619602 h 2116645"/>
                    <a:gd name="connsiteX282" fmla="*/ 1921154 w 2139009"/>
                    <a:gd name="connsiteY282" fmla="*/ 697162 h 2116645"/>
                    <a:gd name="connsiteX283" fmla="*/ 1921154 w 2139009"/>
                    <a:gd name="connsiteY283" fmla="*/ 697162 h 2116645"/>
                    <a:gd name="connsiteX284" fmla="*/ 2022819 w 2139009"/>
                    <a:gd name="connsiteY284" fmla="*/ 754551 h 2116645"/>
                    <a:gd name="connsiteX285" fmla="*/ 2022819 w 2139009"/>
                    <a:gd name="connsiteY285" fmla="*/ 754551 h 2116645"/>
                    <a:gd name="connsiteX286" fmla="*/ 2099472 w 2139009"/>
                    <a:gd name="connsiteY286" fmla="*/ 885263 h 2116645"/>
                    <a:gd name="connsiteX287" fmla="*/ 2099472 w 2139009"/>
                    <a:gd name="connsiteY287" fmla="*/ 885263 h 2116645"/>
                    <a:gd name="connsiteX288" fmla="*/ 2098161 w 2139009"/>
                    <a:gd name="connsiteY288" fmla="*/ 887684 h 2116645"/>
                    <a:gd name="connsiteX289" fmla="*/ 2096648 w 2139009"/>
                    <a:gd name="connsiteY289" fmla="*/ 890105 h 2116645"/>
                    <a:gd name="connsiteX290" fmla="*/ 2017373 w 2139009"/>
                    <a:gd name="connsiteY290" fmla="*/ 754551 h 2116645"/>
                    <a:gd name="connsiteX291" fmla="*/ 2017373 w 2139009"/>
                    <a:gd name="connsiteY291" fmla="*/ 754551 h 2116645"/>
                    <a:gd name="connsiteX292" fmla="*/ 1917422 w 2139009"/>
                    <a:gd name="connsiteY292" fmla="*/ 701297 h 2116645"/>
                    <a:gd name="connsiteX293" fmla="*/ 1917422 w 2139009"/>
                    <a:gd name="connsiteY293" fmla="*/ 701297 h 2116645"/>
                    <a:gd name="connsiteX294" fmla="*/ 1890796 w 2139009"/>
                    <a:gd name="connsiteY294" fmla="*/ 619602 h 2116645"/>
                    <a:gd name="connsiteX295" fmla="*/ 1890796 w 2139009"/>
                    <a:gd name="connsiteY295" fmla="*/ 619602 h 2116645"/>
                    <a:gd name="connsiteX296" fmla="*/ 1908446 w 2139009"/>
                    <a:gd name="connsiteY296" fmla="*/ 566651 h 2116645"/>
                    <a:gd name="connsiteX297" fmla="*/ 1908446 w 2139009"/>
                    <a:gd name="connsiteY297" fmla="*/ 566651 h 2116645"/>
                    <a:gd name="connsiteX298" fmla="*/ 2010918 w 2139009"/>
                    <a:gd name="connsiteY298" fmla="*/ 509969 h 2116645"/>
                    <a:gd name="connsiteX299" fmla="*/ 2010918 w 2139009"/>
                    <a:gd name="connsiteY299" fmla="*/ 509969 h 2116645"/>
                    <a:gd name="connsiteX300" fmla="*/ 2015053 w 2139009"/>
                    <a:gd name="connsiteY300" fmla="*/ 481325 h 2116645"/>
                    <a:gd name="connsiteX301" fmla="*/ 2015053 w 2139009"/>
                    <a:gd name="connsiteY301" fmla="*/ 481325 h 2116645"/>
                    <a:gd name="connsiteX302" fmla="*/ 1960690 w 2139009"/>
                    <a:gd name="connsiteY302" fmla="*/ 399629 h 2116645"/>
                    <a:gd name="connsiteX303" fmla="*/ 1960690 w 2139009"/>
                    <a:gd name="connsiteY303" fmla="*/ 399629 h 2116645"/>
                    <a:gd name="connsiteX304" fmla="*/ 1865077 w 2139009"/>
                    <a:gd name="connsiteY304" fmla="*/ 298166 h 2116645"/>
                    <a:gd name="connsiteX305" fmla="*/ 1865077 w 2139009"/>
                    <a:gd name="connsiteY305" fmla="*/ 298166 h 2116645"/>
                    <a:gd name="connsiteX306" fmla="*/ 1868001 w 2139009"/>
                    <a:gd name="connsiteY306" fmla="*/ 282230 h 2116645"/>
                    <a:gd name="connsiteX307" fmla="*/ 1868001 w 2139009"/>
                    <a:gd name="connsiteY307" fmla="*/ 282230 h 2116645"/>
                    <a:gd name="connsiteX308" fmla="*/ 1893922 w 2139009"/>
                    <a:gd name="connsiteY308" fmla="*/ 156460 h 2116645"/>
                    <a:gd name="connsiteX309" fmla="*/ 1893922 w 2139009"/>
                    <a:gd name="connsiteY309" fmla="*/ 156460 h 2116645"/>
                    <a:gd name="connsiteX310" fmla="*/ 1859025 w 2139009"/>
                    <a:gd name="connsiteY310" fmla="*/ 64376 h 2116645"/>
                    <a:gd name="connsiteX311" fmla="*/ 1859025 w 2139009"/>
                    <a:gd name="connsiteY311" fmla="*/ 64376 h 2116645"/>
                    <a:gd name="connsiteX312" fmla="*/ 1709653 w 2139009"/>
                    <a:gd name="connsiteY312" fmla="*/ 21006 h 2116645"/>
                    <a:gd name="connsiteX313" fmla="*/ 1709653 w 2139009"/>
                    <a:gd name="connsiteY313" fmla="*/ 21006 h 2116645"/>
                    <a:gd name="connsiteX314" fmla="*/ 1561089 w 2139009"/>
                    <a:gd name="connsiteY314" fmla="*/ 102198 h 2116645"/>
                    <a:gd name="connsiteX315" fmla="*/ 1561089 w 2139009"/>
                    <a:gd name="connsiteY315" fmla="*/ 102198 h 2116645"/>
                    <a:gd name="connsiteX316" fmla="*/ 1521956 w 2139009"/>
                    <a:gd name="connsiteY316" fmla="*/ 294434 h 2116645"/>
                    <a:gd name="connsiteX317" fmla="*/ 1521956 w 2139009"/>
                    <a:gd name="connsiteY317" fmla="*/ 294434 h 2116645"/>
                    <a:gd name="connsiteX318" fmla="*/ 1441168 w 2139009"/>
                    <a:gd name="connsiteY318" fmla="*/ 332861 h 2116645"/>
                    <a:gd name="connsiteX319" fmla="*/ 1441168 w 2139009"/>
                    <a:gd name="connsiteY319" fmla="*/ 332861 h 2116645"/>
                    <a:gd name="connsiteX320" fmla="*/ 1392857 w 2139009"/>
                    <a:gd name="connsiteY320" fmla="*/ 300586 h 2116645"/>
                    <a:gd name="connsiteX321" fmla="*/ 1392857 w 2139009"/>
                    <a:gd name="connsiteY321" fmla="*/ 300586 h 2116645"/>
                    <a:gd name="connsiteX322" fmla="*/ 1393159 w 2139009"/>
                    <a:gd name="connsiteY322" fmla="*/ 295947 h 2116645"/>
                    <a:gd name="connsiteX323" fmla="*/ 1393159 w 2139009"/>
                    <a:gd name="connsiteY323" fmla="*/ 295947 h 2116645"/>
                    <a:gd name="connsiteX324" fmla="*/ 1440866 w 2139009"/>
                    <a:gd name="connsiteY324" fmla="*/ 241584 h 2116645"/>
                    <a:gd name="connsiteX325" fmla="*/ 1440866 w 2139009"/>
                    <a:gd name="connsiteY325" fmla="*/ 241584 h 2116645"/>
                    <a:gd name="connsiteX326" fmla="*/ 1463155 w 2139009"/>
                    <a:gd name="connsiteY326" fmla="*/ 171588 h 2116645"/>
                    <a:gd name="connsiteX327" fmla="*/ 1463155 w 2139009"/>
                    <a:gd name="connsiteY327" fmla="*/ 171588 h 2116645"/>
                    <a:gd name="connsiteX328" fmla="*/ 1427451 w 2139009"/>
                    <a:gd name="connsiteY328" fmla="*/ 83236 h 2116645"/>
                    <a:gd name="connsiteX329" fmla="*/ 1427451 w 2139009"/>
                    <a:gd name="connsiteY329" fmla="*/ 83236 h 2116645"/>
                    <a:gd name="connsiteX330" fmla="*/ 1434713 w 2139009"/>
                    <a:gd name="connsiteY330" fmla="*/ 115914 h 2116645"/>
                    <a:gd name="connsiteX331" fmla="*/ 1434713 w 2139009"/>
                    <a:gd name="connsiteY331" fmla="*/ 115914 h 2116645"/>
                    <a:gd name="connsiteX332" fmla="*/ 1425132 w 2139009"/>
                    <a:gd name="connsiteY332" fmla="*/ 138406 h 2116645"/>
                    <a:gd name="connsiteX333" fmla="*/ 1425132 w 2139009"/>
                    <a:gd name="connsiteY333" fmla="*/ 138406 h 2116645"/>
                    <a:gd name="connsiteX334" fmla="*/ 1373189 w 2139009"/>
                    <a:gd name="connsiteY334" fmla="*/ 190045 h 2116645"/>
                    <a:gd name="connsiteX335" fmla="*/ 1373189 w 2139009"/>
                    <a:gd name="connsiteY335" fmla="*/ 190045 h 2116645"/>
                    <a:gd name="connsiteX336" fmla="*/ 1299462 w 2139009"/>
                    <a:gd name="connsiteY336" fmla="*/ 251166 h 2116645"/>
                    <a:gd name="connsiteX337" fmla="*/ 1299462 w 2139009"/>
                    <a:gd name="connsiteY337" fmla="*/ 251166 h 2116645"/>
                    <a:gd name="connsiteX338" fmla="*/ 1286148 w 2139009"/>
                    <a:gd name="connsiteY338" fmla="*/ 252376 h 2116645"/>
                    <a:gd name="connsiteX339" fmla="*/ 1286148 w 2139009"/>
                    <a:gd name="connsiteY339" fmla="*/ 252376 h 2116645"/>
                    <a:gd name="connsiteX340" fmla="*/ 1215245 w 2139009"/>
                    <a:gd name="connsiteY340" fmla="*/ 211629 h 2116645"/>
                    <a:gd name="connsiteX341" fmla="*/ 1215245 w 2139009"/>
                    <a:gd name="connsiteY341" fmla="*/ 211629 h 2116645"/>
                    <a:gd name="connsiteX342" fmla="*/ 1185693 w 2139009"/>
                    <a:gd name="connsiteY342" fmla="*/ 182279 h 2116645"/>
                    <a:gd name="connsiteX343" fmla="*/ 1185693 w 2139009"/>
                    <a:gd name="connsiteY343" fmla="*/ 182279 h 2116645"/>
                    <a:gd name="connsiteX344" fmla="*/ 1164412 w 2139009"/>
                    <a:gd name="connsiteY344" fmla="*/ 199829 h 2116645"/>
                    <a:gd name="connsiteX345" fmla="*/ 1164412 w 2139009"/>
                    <a:gd name="connsiteY345" fmla="*/ 199829 h 2116645"/>
                    <a:gd name="connsiteX346" fmla="*/ 1108738 w 2139009"/>
                    <a:gd name="connsiteY346" fmla="*/ 252678 h 2116645"/>
                    <a:gd name="connsiteX347" fmla="*/ 1108738 w 2139009"/>
                    <a:gd name="connsiteY347" fmla="*/ 252678 h 2116645"/>
                    <a:gd name="connsiteX348" fmla="*/ 1094013 w 2139009"/>
                    <a:gd name="connsiteY348" fmla="*/ 243601 h 2116645"/>
                    <a:gd name="connsiteX349" fmla="*/ 1094013 w 2139009"/>
                    <a:gd name="connsiteY349" fmla="*/ 243601 h 2116645"/>
                    <a:gd name="connsiteX350" fmla="*/ 1035918 w 2139009"/>
                    <a:gd name="connsiteY350" fmla="*/ 179253 h 2116645"/>
                    <a:gd name="connsiteX351" fmla="*/ 1035918 w 2139009"/>
                    <a:gd name="connsiteY351" fmla="*/ 179253 h 2116645"/>
                    <a:gd name="connsiteX352" fmla="*/ 981454 w 2139009"/>
                    <a:gd name="connsiteY352" fmla="*/ 111476 h 2116645"/>
                    <a:gd name="connsiteX353" fmla="*/ 981454 w 2139009"/>
                    <a:gd name="connsiteY353" fmla="*/ 111476 h 2116645"/>
                    <a:gd name="connsiteX354" fmla="*/ 982160 w 2139009"/>
                    <a:gd name="connsiteY354" fmla="*/ 94835 h 2116645"/>
                    <a:gd name="connsiteX355" fmla="*/ 982160 w 2139009"/>
                    <a:gd name="connsiteY355" fmla="*/ 94835 h 2116645"/>
                    <a:gd name="connsiteX356" fmla="*/ 921948 w 2139009"/>
                    <a:gd name="connsiteY356" fmla="*/ 75268 h 2116645"/>
                    <a:gd name="connsiteX357" fmla="*/ 921948 w 2139009"/>
                    <a:gd name="connsiteY357" fmla="*/ 75268 h 2116645"/>
                    <a:gd name="connsiteX358" fmla="*/ 867383 w 2139009"/>
                    <a:gd name="connsiteY358" fmla="*/ 44809 h 2116645"/>
                    <a:gd name="connsiteX359" fmla="*/ 867383 w 2139009"/>
                    <a:gd name="connsiteY359" fmla="*/ 44809 h 2116645"/>
                    <a:gd name="connsiteX360" fmla="*/ 851649 w 2139009"/>
                    <a:gd name="connsiteY360" fmla="*/ 55702 h 2116645"/>
                    <a:gd name="connsiteX361" fmla="*/ 851649 w 2139009"/>
                    <a:gd name="connsiteY361" fmla="*/ 55702 h 2116645"/>
                    <a:gd name="connsiteX362" fmla="*/ 822401 w 2139009"/>
                    <a:gd name="connsiteY362" fmla="*/ 77084 h 2116645"/>
                    <a:gd name="connsiteX363" fmla="*/ 822401 w 2139009"/>
                    <a:gd name="connsiteY363" fmla="*/ 77084 h 2116645"/>
                    <a:gd name="connsiteX364" fmla="*/ 793656 w 2139009"/>
                    <a:gd name="connsiteY364" fmla="*/ 55500 h 2116645"/>
                    <a:gd name="connsiteX365" fmla="*/ 793656 w 2139009"/>
                    <a:gd name="connsiteY365" fmla="*/ 55500 h 2116645"/>
                    <a:gd name="connsiteX366" fmla="*/ 768341 w 2139009"/>
                    <a:gd name="connsiteY366" fmla="*/ 40270 h 2116645"/>
                    <a:gd name="connsiteX367" fmla="*/ 768341 w 2139009"/>
                    <a:gd name="connsiteY367" fmla="*/ 40270 h 2116645"/>
                    <a:gd name="connsiteX368" fmla="*/ 730519 w 2139009"/>
                    <a:gd name="connsiteY368" fmla="*/ 70931 h 2116645"/>
                    <a:gd name="connsiteX369" fmla="*/ 730519 w 2139009"/>
                    <a:gd name="connsiteY369" fmla="*/ 70931 h 2116645"/>
                    <a:gd name="connsiteX370" fmla="*/ 726686 w 2139009"/>
                    <a:gd name="connsiteY370" fmla="*/ 93625 h 2116645"/>
                    <a:gd name="connsiteX371" fmla="*/ 726686 w 2139009"/>
                    <a:gd name="connsiteY371" fmla="*/ 93625 h 2116645"/>
                    <a:gd name="connsiteX372" fmla="*/ 734856 w 2139009"/>
                    <a:gd name="connsiteY372" fmla="*/ 145869 h 2116645"/>
                    <a:gd name="connsiteX373" fmla="*/ 734856 w 2139009"/>
                    <a:gd name="connsiteY373" fmla="*/ 145869 h 2116645"/>
                    <a:gd name="connsiteX374" fmla="*/ 733847 w 2139009"/>
                    <a:gd name="connsiteY374" fmla="*/ 160695 h 2116645"/>
                    <a:gd name="connsiteX375" fmla="*/ 733847 w 2139009"/>
                    <a:gd name="connsiteY375" fmla="*/ 160695 h 2116645"/>
                    <a:gd name="connsiteX376" fmla="*/ 684023 w 2139009"/>
                    <a:gd name="connsiteY376" fmla="*/ 290198 h 2116645"/>
                    <a:gd name="connsiteX377" fmla="*/ 684023 w 2139009"/>
                    <a:gd name="connsiteY377" fmla="*/ 290198 h 2116645"/>
                    <a:gd name="connsiteX378" fmla="*/ 690074 w 2139009"/>
                    <a:gd name="connsiteY378" fmla="*/ 339114 h 2116645"/>
                    <a:gd name="connsiteX379" fmla="*/ 690074 w 2139009"/>
                    <a:gd name="connsiteY379" fmla="*/ 339114 h 2116645"/>
                    <a:gd name="connsiteX380" fmla="*/ 679081 w 2139009"/>
                    <a:gd name="connsiteY380" fmla="*/ 368061 h 2116645"/>
                    <a:gd name="connsiteX381" fmla="*/ 679081 w 2139009"/>
                    <a:gd name="connsiteY381" fmla="*/ 368061 h 2116645"/>
                    <a:gd name="connsiteX382" fmla="*/ 658707 w 2139009"/>
                    <a:gd name="connsiteY382" fmla="*/ 373003 h 2116645"/>
                    <a:gd name="connsiteX383" fmla="*/ 658707 w 2139009"/>
                    <a:gd name="connsiteY383" fmla="*/ 373003 h 2116645"/>
                    <a:gd name="connsiteX384" fmla="*/ 635005 w 2139009"/>
                    <a:gd name="connsiteY384" fmla="*/ 328322 h 2116645"/>
                    <a:gd name="connsiteX385" fmla="*/ 635005 w 2139009"/>
                    <a:gd name="connsiteY385" fmla="*/ 328322 h 2116645"/>
                    <a:gd name="connsiteX386" fmla="*/ 515690 w 2139009"/>
                    <a:gd name="connsiteY386" fmla="*/ 240071 h 2116645"/>
                    <a:gd name="connsiteX387" fmla="*/ 515690 w 2139009"/>
                    <a:gd name="connsiteY387" fmla="*/ 240071 h 2116645"/>
                    <a:gd name="connsiteX388" fmla="*/ 498039 w 2139009"/>
                    <a:gd name="connsiteY388" fmla="*/ 240777 h 2116645"/>
                    <a:gd name="connsiteX389" fmla="*/ 498039 w 2139009"/>
                    <a:gd name="connsiteY389" fmla="*/ 240777 h 2116645"/>
                    <a:gd name="connsiteX390" fmla="*/ 423909 w 2139009"/>
                    <a:gd name="connsiteY390" fmla="*/ 284752 h 2116645"/>
                    <a:gd name="connsiteX391" fmla="*/ 423909 w 2139009"/>
                    <a:gd name="connsiteY391" fmla="*/ 284752 h 2116645"/>
                    <a:gd name="connsiteX392" fmla="*/ 426127 w 2139009"/>
                    <a:gd name="connsiteY392" fmla="*/ 296754 h 2116645"/>
                    <a:gd name="connsiteX393" fmla="*/ 426127 w 2139009"/>
                    <a:gd name="connsiteY393" fmla="*/ 296754 h 2116645"/>
                    <a:gd name="connsiteX394" fmla="*/ 426329 w 2139009"/>
                    <a:gd name="connsiteY394" fmla="*/ 301998 h 2116645"/>
                    <a:gd name="connsiteX395" fmla="*/ 426329 w 2139009"/>
                    <a:gd name="connsiteY395" fmla="*/ 301998 h 2116645"/>
                    <a:gd name="connsiteX396" fmla="*/ 376808 w 2139009"/>
                    <a:gd name="connsiteY396" fmla="*/ 355756 h 2116645"/>
                    <a:gd name="connsiteX397" fmla="*/ 376808 w 2139009"/>
                    <a:gd name="connsiteY397" fmla="*/ 355756 h 2116645"/>
                    <a:gd name="connsiteX398" fmla="*/ 360065 w 2139009"/>
                    <a:gd name="connsiteY398" fmla="*/ 356260 h 2116645"/>
                    <a:gd name="connsiteX399" fmla="*/ 360065 w 2139009"/>
                    <a:gd name="connsiteY399" fmla="*/ 356260 h 2116645"/>
                    <a:gd name="connsiteX400" fmla="*/ 254869 w 2139009"/>
                    <a:gd name="connsiteY400" fmla="*/ 340224 h 2116645"/>
                    <a:gd name="connsiteX401" fmla="*/ 254869 w 2139009"/>
                    <a:gd name="connsiteY401" fmla="*/ 340224 h 2116645"/>
                    <a:gd name="connsiteX402" fmla="*/ 248213 w 2139009"/>
                    <a:gd name="connsiteY402" fmla="*/ 339417 h 2116645"/>
                    <a:gd name="connsiteX403" fmla="*/ 248213 w 2139009"/>
                    <a:gd name="connsiteY403" fmla="*/ 339417 h 2116645"/>
                    <a:gd name="connsiteX404" fmla="*/ 208878 w 2139009"/>
                    <a:gd name="connsiteY404" fmla="*/ 368263 h 2116645"/>
                    <a:gd name="connsiteX405" fmla="*/ 208878 w 2139009"/>
                    <a:gd name="connsiteY405" fmla="*/ 368263 h 2116645"/>
                    <a:gd name="connsiteX406" fmla="*/ 177814 w 2139009"/>
                    <a:gd name="connsiteY406" fmla="*/ 334071 h 2116645"/>
                    <a:gd name="connsiteX407" fmla="*/ 177814 w 2139009"/>
                    <a:gd name="connsiteY407" fmla="*/ 334071 h 2116645"/>
                    <a:gd name="connsiteX408" fmla="*/ 109835 w 2139009"/>
                    <a:gd name="connsiteY408" fmla="*/ 282533 h 2116645"/>
                    <a:gd name="connsiteX409" fmla="*/ 109835 w 2139009"/>
                    <a:gd name="connsiteY409" fmla="*/ 282533 h 2116645"/>
                    <a:gd name="connsiteX410" fmla="*/ 108726 w 2139009"/>
                    <a:gd name="connsiteY410" fmla="*/ 275674 h 2116645"/>
                    <a:gd name="connsiteX411" fmla="*/ 108726 w 2139009"/>
                    <a:gd name="connsiteY411" fmla="*/ 275674 h 2116645"/>
                    <a:gd name="connsiteX412" fmla="*/ 108927 w 2139009"/>
                    <a:gd name="connsiteY412" fmla="*/ 273052 h 2116645"/>
                    <a:gd name="connsiteX413" fmla="*/ 108927 w 2139009"/>
                    <a:gd name="connsiteY413" fmla="*/ 273052 h 2116645"/>
                    <a:gd name="connsiteX414" fmla="*/ 60515 w 2139009"/>
                    <a:gd name="connsiteY414" fmla="*/ 291207 h 2116645"/>
                    <a:gd name="connsiteX415" fmla="*/ 60515 w 2139009"/>
                    <a:gd name="connsiteY415" fmla="*/ 291207 h 2116645"/>
                    <a:gd name="connsiteX416" fmla="*/ 51337 w 2139009"/>
                    <a:gd name="connsiteY416" fmla="*/ 401647 h 2116645"/>
                    <a:gd name="connsiteX417" fmla="*/ 51337 w 2139009"/>
                    <a:gd name="connsiteY417" fmla="*/ 401647 h 2116645"/>
                    <a:gd name="connsiteX418" fmla="*/ 59708 w 2139009"/>
                    <a:gd name="connsiteY418" fmla="*/ 453992 h 2116645"/>
                    <a:gd name="connsiteX419" fmla="*/ 59708 w 2139009"/>
                    <a:gd name="connsiteY419" fmla="*/ 453992 h 2116645"/>
                    <a:gd name="connsiteX420" fmla="*/ 80788 w 2139009"/>
                    <a:gd name="connsiteY420" fmla="*/ 509465 h 2116645"/>
                    <a:gd name="connsiteX421" fmla="*/ 80788 w 2139009"/>
                    <a:gd name="connsiteY421" fmla="*/ 509465 h 2116645"/>
                    <a:gd name="connsiteX422" fmla="*/ 54968 w 2139009"/>
                    <a:gd name="connsiteY422" fmla="*/ 532561 h 2116645"/>
                    <a:gd name="connsiteX423" fmla="*/ 54968 w 2139009"/>
                    <a:gd name="connsiteY423" fmla="*/ 532561 h 2116645"/>
                    <a:gd name="connsiteX424" fmla="*/ 47605 w 2139009"/>
                    <a:gd name="connsiteY424" fmla="*/ 532561 h 2116645"/>
                    <a:gd name="connsiteX425" fmla="*/ 47605 w 2139009"/>
                    <a:gd name="connsiteY425" fmla="*/ 532561 h 2116645"/>
                    <a:gd name="connsiteX426" fmla="*/ 5446 w 2139009"/>
                    <a:gd name="connsiteY426" fmla="*/ 553338 h 2116645"/>
                    <a:gd name="connsiteX427" fmla="*/ 5446 w 2139009"/>
                    <a:gd name="connsiteY427" fmla="*/ 553338 h 2116645"/>
                    <a:gd name="connsiteX428" fmla="*/ 6858 w 2139009"/>
                    <a:gd name="connsiteY428" fmla="*/ 559188 h 2116645"/>
                    <a:gd name="connsiteX429" fmla="*/ 6858 w 2139009"/>
                    <a:gd name="connsiteY429" fmla="*/ 559188 h 2116645"/>
                    <a:gd name="connsiteX430" fmla="*/ 35099 w 2139009"/>
                    <a:gd name="connsiteY430" fmla="*/ 628982 h 2116645"/>
                    <a:gd name="connsiteX431" fmla="*/ 35099 w 2139009"/>
                    <a:gd name="connsiteY431" fmla="*/ 628982 h 2116645"/>
                    <a:gd name="connsiteX432" fmla="*/ 35805 w 2139009"/>
                    <a:gd name="connsiteY432" fmla="*/ 650566 h 2116645"/>
                    <a:gd name="connsiteX433" fmla="*/ 35805 w 2139009"/>
                    <a:gd name="connsiteY433" fmla="*/ 650566 h 2116645"/>
                    <a:gd name="connsiteX434" fmla="*/ 20978 w 2139009"/>
                    <a:gd name="connsiteY434" fmla="*/ 682235 h 2116645"/>
                    <a:gd name="connsiteX435" fmla="*/ 20978 w 2139009"/>
                    <a:gd name="connsiteY435" fmla="*/ 682235 h 2116645"/>
                    <a:gd name="connsiteX436" fmla="*/ 4942 w 2139009"/>
                    <a:gd name="connsiteY436" fmla="*/ 703012 h 2116645"/>
                    <a:gd name="connsiteX437" fmla="*/ 4942 w 2139009"/>
                    <a:gd name="connsiteY437" fmla="*/ 703012 h 2116645"/>
                    <a:gd name="connsiteX438" fmla="*/ 20777 w 2139009"/>
                    <a:gd name="connsiteY438" fmla="*/ 720461 h 2116645"/>
                    <a:gd name="connsiteX439" fmla="*/ 20777 w 2139009"/>
                    <a:gd name="connsiteY439" fmla="*/ 720461 h 2116645"/>
                    <a:gd name="connsiteX440" fmla="*/ 88251 w 2139009"/>
                    <a:gd name="connsiteY440" fmla="*/ 818394 h 2116645"/>
                    <a:gd name="connsiteX441" fmla="*/ 88251 w 2139009"/>
                    <a:gd name="connsiteY441" fmla="*/ 818394 h 2116645"/>
                    <a:gd name="connsiteX442" fmla="*/ 149069 w 2139009"/>
                    <a:gd name="connsiteY442" fmla="*/ 866604 h 2116645"/>
                    <a:gd name="connsiteX443" fmla="*/ 149069 w 2139009"/>
                    <a:gd name="connsiteY443" fmla="*/ 866604 h 2116645"/>
                    <a:gd name="connsiteX444" fmla="*/ 156129 w 2139009"/>
                    <a:gd name="connsiteY444" fmla="*/ 891416 h 2116645"/>
                    <a:gd name="connsiteX445" fmla="*/ 156129 w 2139009"/>
                    <a:gd name="connsiteY445" fmla="*/ 891416 h 2116645"/>
                    <a:gd name="connsiteX446" fmla="*/ 155322 w 2139009"/>
                    <a:gd name="connsiteY446" fmla="*/ 904931 h 2116645"/>
                    <a:gd name="connsiteX447" fmla="*/ 155322 w 2139009"/>
                    <a:gd name="connsiteY447" fmla="*/ 904931 h 2116645"/>
                    <a:gd name="connsiteX448" fmla="*/ 161273 w 2139009"/>
                    <a:gd name="connsiteY448" fmla="*/ 919354 h 2116645"/>
                    <a:gd name="connsiteX449" fmla="*/ 161273 w 2139009"/>
                    <a:gd name="connsiteY449" fmla="*/ 919354 h 2116645"/>
                    <a:gd name="connsiteX450" fmla="*/ 186185 w 2139009"/>
                    <a:gd name="connsiteY450" fmla="*/ 963126 h 2116645"/>
                    <a:gd name="connsiteX451" fmla="*/ 186185 w 2139009"/>
                    <a:gd name="connsiteY451" fmla="*/ 963126 h 2116645"/>
                    <a:gd name="connsiteX452" fmla="*/ 174385 w 2139009"/>
                    <a:gd name="connsiteY452" fmla="*/ 996611 h 2116645"/>
                    <a:gd name="connsiteX453" fmla="*/ 174385 w 2139009"/>
                    <a:gd name="connsiteY453" fmla="*/ 996611 h 2116645"/>
                    <a:gd name="connsiteX454" fmla="*/ 142009 w 2139009"/>
                    <a:gd name="connsiteY454" fmla="*/ 1044923 h 2116645"/>
                    <a:gd name="connsiteX455" fmla="*/ 142009 w 2139009"/>
                    <a:gd name="connsiteY455" fmla="*/ 1044923 h 2116645"/>
                    <a:gd name="connsiteX456" fmla="*/ 151590 w 2139009"/>
                    <a:gd name="connsiteY456" fmla="*/ 1067212 h 2116645"/>
                    <a:gd name="connsiteX457" fmla="*/ 151590 w 2139009"/>
                    <a:gd name="connsiteY457" fmla="*/ 1067212 h 2116645"/>
                    <a:gd name="connsiteX458" fmla="*/ 184773 w 2139009"/>
                    <a:gd name="connsiteY458" fmla="*/ 1083350 h 2116645"/>
                    <a:gd name="connsiteX459" fmla="*/ 184773 w 2139009"/>
                    <a:gd name="connsiteY459" fmla="*/ 1083350 h 2116645"/>
                    <a:gd name="connsiteX460" fmla="*/ 237219 w 2139009"/>
                    <a:gd name="connsiteY460" fmla="*/ 1068927 h 2116645"/>
                    <a:gd name="connsiteX461" fmla="*/ 237219 w 2139009"/>
                    <a:gd name="connsiteY461" fmla="*/ 1068927 h 2116645"/>
                    <a:gd name="connsiteX462" fmla="*/ 297532 w 2139009"/>
                    <a:gd name="connsiteY462" fmla="*/ 1056622 h 2116645"/>
                    <a:gd name="connsiteX463" fmla="*/ 297532 w 2139009"/>
                    <a:gd name="connsiteY463" fmla="*/ 1056622 h 2116645"/>
                    <a:gd name="connsiteX464" fmla="*/ 348870 w 2139009"/>
                    <a:gd name="connsiteY464" fmla="*/ 1035543 h 2116645"/>
                    <a:gd name="connsiteX465" fmla="*/ 348870 w 2139009"/>
                    <a:gd name="connsiteY465" fmla="*/ 1035543 h 2116645"/>
                    <a:gd name="connsiteX466" fmla="*/ 359763 w 2139009"/>
                    <a:gd name="connsiteY466" fmla="*/ 1038972 h 2116645"/>
                    <a:gd name="connsiteX467" fmla="*/ 359763 w 2139009"/>
                    <a:gd name="connsiteY467" fmla="*/ 1038972 h 2116645"/>
                    <a:gd name="connsiteX468" fmla="*/ 377715 w 2139009"/>
                    <a:gd name="connsiteY468" fmla="*/ 1045931 h 2116645"/>
                    <a:gd name="connsiteX469" fmla="*/ 377715 w 2139009"/>
                    <a:gd name="connsiteY469" fmla="*/ 1045931 h 2116645"/>
                    <a:gd name="connsiteX470" fmla="*/ 388305 w 2139009"/>
                    <a:gd name="connsiteY470" fmla="*/ 1040081 h 2116645"/>
                    <a:gd name="connsiteX471" fmla="*/ 388305 w 2139009"/>
                    <a:gd name="connsiteY471" fmla="*/ 1040081 h 2116645"/>
                    <a:gd name="connsiteX472" fmla="*/ 399702 w 2139009"/>
                    <a:gd name="connsiteY472" fmla="*/ 1033627 h 2116645"/>
                    <a:gd name="connsiteX473" fmla="*/ 399702 w 2139009"/>
                    <a:gd name="connsiteY473" fmla="*/ 1033627 h 2116645"/>
                    <a:gd name="connsiteX474" fmla="*/ 437020 w 2139009"/>
                    <a:gd name="connsiteY474" fmla="*/ 1068927 h 2116645"/>
                    <a:gd name="connsiteX475" fmla="*/ 437020 w 2139009"/>
                    <a:gd name="connsiteY475" fmla="*/ 1068927 h 2116645"/>
                    <a:gd name="connsiteX476" fmla="*/ 433490 w 2139009"/>
                    <a:gd name="connsiteY476" fmla="*/ 1111994 h 2116645"/>
                    <a:gd name="connsiteX477" fmla="*/ 433490 w 2139009"/>
                    <a:gd name="connsiteY477" fmla="*/ 1111994 h 2116645"/>
                    <a:gd name="connsiteX478" fmla="*/ 445291 w 2139009"/>
                    <a:gd name="connsiteY478" fmla="*/ 1134989 h 2116645"/>
                    <a:gd name="connsiteX479" fmla="*/ 445291 w 2139009"/>
                    <a:gd name="connsiteY479" fmla="*/ 1134989 h 2116645"/>
                    <a:gd name="connsiteX480" fmla="*/ 492391 w 2139009"/>
                    <a:gd name="connsiteY480" fmla="*/ 1206196 h 2116645"/>
                    <a:gd name="connsiteX481" fmla="*/ 492391 w 2139009"/>
                    <a:gd name="connsiteY481" fmla="*/ 1206196 h 2116645"/>
                    <a:gd name="connsiteX482" fmla="*/ 490375 w 2139009"/>
                    <a:gd name="connsiteY482" fmla="*/ 1222333 h 2116645"/>
                    <a:gd name="connsiteX483" fmla="*/ 490375 w 2139009"/>
                    <a:gd name="connsiteY483" fmla="*/ 1222333 h 2116645"/>
                    <a:gd name="connsiteX484" fmla="*/ 388205 w 2139009"/>
                    <a:gd name="connsiteY484" fmla="*/ 1380882 h 2116645"/>
                    <a:gd name="connsiteX485" fmla="*/ 388205 w 2139009"/>
                    <a:gd name="connsiteY485" fmla="*/ 1380882 h 2116645"/>
                    <a:gd name="connsiteX486" fmla="*/ 297129 w 2139009"/>
                    <a:gd name="connsiteY486" fmla="*/ 1481640 h 2116645"/>
                    <a:gd name="connsiteX487" fmla="*/ 297129 w 2139009"/>
                    <a:gd name="connsiteY487" fmla="*/ 1481640 h 2116645"/>
                    <a:gd name="connsiteX488" fmla="*/ 252550 w 2139009"/>
                    <a:gd name="connsiteY488" fmla="*/ 1506754 h 2116645"/>
                    <a:gd name="connsiteX489" fmla="*/ 252550 w 2139009"/>
                    <a:gd name="connsiteY489" fmla="*/ 1506754 h 2116645"/>
                    <a:gd name="connsiteX490" fmla="*/ 238429 w 2139009"/>
                    <a:gd name="connsiteY490" fmla="*/ 1506754 h 2116645"/>
                    <a:gd name="connsiteX491" fmla="*/ 238429 w 2139009"/>
                    <a:gd name="connsiteY491" fmla="*/ 1506754 h 2116645"/>
                    <a:gd name="connsiteX492" fmla="*/ 204541 w 2139009"/>
                    <a:gd name="connsiteY492" fmla="*/ 1534086 h 2116645"/>
                    <a:gd name="connsiteX493" fmla="*/ 204541 w 2139009"/>
                    <a:gd name="connsiteY493" fmla="*/ 1534086 h 2116645"/>
                    <a:gd name="connsiteX494" fmla="*/ 135655 w 2139009"/>
                    <a:gd name="connsiteY494" fmla="*/ 1595308 h 2116645"/>
                    <a:gd name="connsiteX495" fmla="*/ 135655 w 2139009"/>
                    <a:gd name="connsiteY495" fmla="*/ 1595308 h 2116645"/>
                    <a:gd name="connsiteX496" fmla="*/ 130309 w 2139009"/>
                    <a:gd name="connsiteY496" fmla="*/ 1595913 h 2116645"/>
                    <a:gd name="connsiteX497" fmla="*/ 130309 w 2139009"/>
                    <a:gd name="connsiteY497" fmla="*/ 1595913 h 2116645"/>
                    <a:gd name="connsiteX498" fmla="*/ 143522 w 2139009"/>
                    <a:gd name="connsiteY498" fmla="*/ 1751437 h 2116645"/>
                    <a:gd name="connsiteX499" fmla="*/ 143522 w 2139009"/>
                    <a:gd name="connsiteY499" fmla="*/ 1751437 h 2116645"/>
                    <a:gd name="connsiteX500" fmla="*/ 202423 w 2139009"/>
                    <a:gd name="connsiteY500" fmla="*/ 1791276 h 2116645"/>
                    <a:gd name="connsiteX501" fmla="*/ 202423 w 2139009"/>
                    <a:gd name="connsiteY501" fmla="*/ 1791276 h 2116645"/>
                    <a:gd name="connsiteX502" fmla="*/ 236816 w 2139009"/>
                    <a:gd name="connsiteY502" fmla="*/ 1877207 h 2116645"/>
                    <a:gd name="connsiteX503" fmla="*/ 236816 w 2139009"/>
                    <a:gd name="connsiteY503" fmla="*/ 1877207 h 2116645"/>
                    <a:gd name="connsiteX504" fmla="*/ 248616 w 2139009"/>
                    <a:gd name="connsiteY504" fmla="*/ 1908473 h 2116645"/>
                    <a:gd name="connsiteX505" fmla="*/ 248616 w 2139009"/>
                    <a:gd name="connsiteY505" fmla="*/ 1908473 h 2116645"/>
                    <a:gd name="connsiteX506" fmla="*/ 247910 w 2139009"/>
                    <a:gd name="connsiteY506" fmla="*/ 1934293 h 2116645"/>
                    <a:gd name="connsiteX507" fmla="*/ 247910 w 2139009"/>
                    <a:gd name="connsiteY507" fmla="*/ 1934293 h 2116645"/>
                    <a:gd name="connsiteX508" fmla="*/ 251239 w 2139009"/>
                    <a:gd name="connsiteY508" fmla="*/ 1956684 h 2116645"/>
                    <a:gd name="connsiteX509" fmla="*/ 251239 w 2139009"/>
                    <a:gd name="connsiteY509" fmla="*/ 1956684 h 2116645"/>
                    <a:gd name="connsiteX510" fmla="*/ 271309 w 2139009"/>
                    <a:gd name="connsiteY510" fmla="*/ 1972115 h 2116645"/>
                    <a:gd name="connsiteX511" fmla="*/ 271309 w 2139009"/>
                    <a:gd name="connsiteY511" fmla="*/ 1972115 h 2116645"/>
                    <a:gd name="connsiteX512" fmla="*/ 299651 w 2139009"/>
                    <a:gd name="connsiteY512" fmla="*/ 1964954 h 2116645"/>
                    <a:gd name="connsiteX513" fmla="*/ 299651 w 2139009"/>
                    <a:gd name="connsiteY513" fmla="*/ 1964954 h 2116645"/>
                    <a:gd name="connsiteX514" fmla="*/ 314376 w 2139009"/>
                    <a:gd name="connsiteY514" fmla="*/ 1961324 h 2116645"/>
                    <a:gd name="connsiteX515" fmla="*/ 314376 w 2139009"/>
                    <a:gd name="connsiteY515" fmla="*/ 1961324 h 2116645"/>
                    <a:gd name="connsiteX516" fmla="*/ 335254 w 2139009"/>
                    <a:gd name="connsiteY516" fmla="*/ 1985227 h 2116645"/>
                    <a:gd name="connsiteX517" fmla="*/ 335254 w 2139009"/>
                    <a:gd name="connsiteY517" fmla="*/ 1985227 h 2116645"/>
                    <a:gd name="connsiteX518" fmla="*/ 363292 w 2139009"/>
                    <a:gd name="connsiteY518" fmla="*/ 1998843 h 2116645"/>
                    <a:gd name="connsiteX519" fmla="*/ 363292 w 2139009"/>
                    <a:gd name="connsiteY519" fmla="*/ 1998843 h 2116645"/>
                    <a:gd name="connsiteX520" fmla="*/ 385885 w 2139009"/>
                    <a:gd name="connsiteY520" fmla="*/ 1985529 h 2116645"/>
                    <a:gd name="connsiteX521" fmla="*/ 385885 w 2139009"/>
                    <a:gd name="connsiteY521" fmla="*/ 1985529 h 2116645"/>
                    <a:gd name="connsiteX522" fmla="*/ 447510 w 2139009"/>
                    <a:gd name="connsiteY522" fmla="*/ 1939538 h 2116645"/>
                    <a:gd name="connsiteX523" fmla="*/ 447510 w 2139009"/>
                    <a:gd name="connsiteY523" fmla="*/ 1939538 h 2116645"/>
                    <a:gd name="connsiteX524" fmla="*/ 462437 w 2139009"/>
                    <a:gd name="connsiteY524" fmla="*/ 1950229 h 2116645"/>
                    <a:gd name="connsiteX525" fmla="*/ 462437 w 2139009"/>
                    <a:gd name="connsiteY525" fmla="*/ 1950229 h 2116645"/>
                    <a:gd name="connsiteX526" fmla="*/ 482709 w 2139009"/>
                    <a:gd name="connsiteY526" fmla="*/ 1974334 h 2116645"/>
                    <a:gd name="connsiteX527" fmla="*/ 482709 w 2139009"/>
                    <a:gd name="connsiteY527" fmla="*/ 1974334 h 2116645"/>
                    <a:gd name="connsiteX528" fmla="*/ 493602 w 2139009"/>
                    <a:gd name="connsiteY528" fmla="*/ 1968585 h 2116645"/>
                    <a:gd name="connsiteX529" fmla="*/ 493602 w 2139009"/>
                    <a:gd name="connsiteY529" fmla="*/ 1968585 h 2116645"/>
                    <a:gd name="connsiteX530" fmla="*/ 545141 w 2139009"/>
                    <a:gd name="connsiteY530" fmla="*/ 1944581 h 2116645"/>
                    <a:gd name="connsiteX531" fmla="*/ 545141 w 2139009"/>
                    <a:gd name="connsiteY531" fmla="*/ 1944581 h 2116645"/>
                    <a:gd name="connsiteX532" fmla="*/ 572675 w 2139009"/>
                    <a:gd name="connsiteY532" fmla="*/ 1959306 h 2116645"/>
                    <a:gd name="connsiteX533" fmla="*/ 572675 w 2139009"/>
                    <a:gd name="connsiteY533" fmla="*/ 1959306 h 2116645"/>
                    <a:gd name="connsiteX534" fmla="*/ 611808 w 2139009"/>
                    <a:gd name="connsiteY534" fmla="*/ 1986841 h 2116645"/>
                    <a:gd name="connsiteX535" fmla="*/ 611808 w 2139009"/>
                    <a:gd name="connsiteY535" fmla="*/ 1986841 h 2116645"/>
                    <a:gd name="connsiteX536" fmla="*/ 636620 w 2139009"/>
                    <a:gd name="connsiteY536" fmla="*/ 1975141 h 2116645"/>
                    <a:gd name="connsiteX537" fmla="*/ 636620 w 2139009"/>
                    <a:gd name="connsiteY537" fmla="*/ 1975141 h 2116645"/>
                    <a:gd name="connsiteX538" fmla="*/ 686141 w 2139009"/>
                    <a:gd name="connsiteY538" fmla="*/ 1949422 h 2116645"/>
                    <a:gd name="connsiteX539" fmla="*/ 686141 w 2139009"/>
                    <a:gd name="connsiteY539" fmla="*/ 1949422 h 2116645"/>
                    <a:gd name="connsiteX540" fmla="*/ 721945 w 2139009"/>
                    <a:gd name="connsiteY540" fmla="*/ 1968888 h 2116645"/>
                    <a:gd name="connsiteX541" fmla="*/ 721945 w 2139009"/>
                    <a:gd name="connsiteY541" fmla="*/ 1968888 h 2116645"/>
                    <a:gd name="connsiteX542" fmla="*/ 778326 w 2139009"/>
                    <a:gd name="connsiteY542" fmla="*/ 2010139 h 2116645"/>
                    <a:gd name="connsiteX543" fmla="*/ 778326 w 2139009"/>
                    <a:gd name="connsiteY543" fmla="*/ 2010139 h 2116645"/>
                    <a:gd name="connsiteX544" fmla="*/ 914081 w 2139009"/>
                    <a:gd name="connsiteY544" fmla="*/ 1971309 h 2116645"/>
                    <a:gd name="connsiteX545" fmla="*/ 914081 w 2139009"/>
                    <a:gd name="connsiteY545" fmla="*/ 1971309 h 2116645"/>
                    <a:gd name="connsiteX546" fmla="*/ 930320 w 2139009"/>
                    <a:gd name="connsiteY546" fmla="*/ 1968988 h 2116645"/>
                    <a:gd name="connsiteX547" fmla="*/ 930320 w 2139009"/>
                    <a:gd name="connsiteY547" fmla="*/ 1968988 h 2116645"/>
                    <a:gd name="connsiteX548" fmla="*/ 960577 w 2139009"/>
                    <a:gd name="connsiteY548" fmla="*/ 1998944 h 2116645"/>
                    <a:gd name="connsiteX549" fmla="*/ 960577 w 2139009"/>
                    <a:gd name="connsiteY549" fmla="*/ 1998944 h 2116645"/>
                    <a:gd name="connsiteX550" fmla="*/ 959972 w 2139009"/>
                    <a:gd name="connsiteY550" fmla="*/ 2007012 h 2116645"/>
                    <a:gd name="connsiteX551" fmla="*/ 959972 w 2139009"/>
                    <a:gd name="connsiteY551" fmla="*/ 2007012 h 2116645"/>
                    <a:gd name="connsiteX552" fmla="*/ 958963 w 2139009"/>
                    <a:gd name="connsiteY552" fmla="*/ 2014779 h 2116645"/>
                    <a:gd name="connsiteX553" fmla="*/ 958963 w 2139009"/>
                    <a:gd name="connsiteY553" fmla="*/ 2014779 h 2116645"/>
                    <a:gd name="connsiteX554" fmla="*/ 978227 w 2139009"/>
                    <a:gd name="connsiteY554" fmla="*/ 2027991 h 2116645"/>
                    <a:gd name="connsiteX555" fmla="*/ 978227 w 2139009"/>
                    <a:gd name="connsiteY555" fmla="*/ 2027991 h 2116645"/>
                    <a:gd name="connsiteX556" fmla="*/ 995676 w 2139009"/>
                    <a:gd name="connsiteY556" fmla="*/ 2026478 h 2116645"/>
                    <a:gd name="connsiteX557" fmla="*/ 995676 w 2139009"/>
                    <a:gd name="connsiteY557" fmla="*/ 2026478 h 2116645"/>
                    <a:gd name="connsiteX558" fmla="*/ 1018772 w 2139009"/>
                    <a:gd name="connsiteY558" fmla="*/ 2024562 h 2116645"/>
                    <a:gd name="connsiteX559" fmla="*/ 1018772 w 2139009"/>
                    <a:gd name="connsiteY559" fmla="*/ 2024562 h 2116645"/>
                    <a:gd name="connsiteX560" fmla="*/ 1096534 w 2139009"/>
                    <a:gd name="connsiteY560" fmla="*/ 2051995 h 2116645"/>
                    <a:gd name="connsiteX561" fmla="*/ 1096534 w 2139009"/>
                    <a:gd name="connsiteY561" fmla="*/ 2051995 h 2116645"/>
                    <a:gd name="connsiteX562" fmla="*/ 1141417 w 2139009"/>
                    <a:gd name="connsiteY562" fmla="*/ 2110998 h 2116645"/>
                    <a:gd name="connsiteX563" fmla="*/ 1141417 w 2139009"/>
                    <a:gd name="connsiteY563" fmla="*/ 2110998 h 2116645"/>
                    <a:gd name="connsiteX564" fmla="*/ 1145451 w 2139009"/>
                    <a:gd name="connsiteY564" fmla="*/ 2110897 h 2116645"/>
                    <a:gd name="connsiteX565" fmla="*/ 1145451 w 2139009"/>
                    <a:gd name="connsiteY565" fmla="*/ 2110897 h 2116645"/>
                    <a:gd name="connsiteX566" fmla="*/ 1230273 w 2139009"/>
                    <a:gd name="connsiteY566" fmla="*/ 2055727 h 2116645"/>
                    <a:gd name="connsiteX567" fmla="*/ 1230273 w 2139009"/>
                    <a:gd name="connsiteY567" fmla="*/ 2055727 h 2116645"/>
                    <a:gd name="connsiteX568" fmla="*/ 1271524 w 2139009"/>
                    <a:gd name="connsiteY568" fmla="*/ 2063393 h 2116645"/>
                    <a:gd name="connsiteX569" fmla="*/ 1271524 w 2139009"/>
                    <a:gd name="connsiteY569" fmla="*/ 2063393 h 2116645"/>
                    <a:gd name="connsiteX570" fmla="*/ 1280298 w 2139009"/>
                    <a:gd name="connsiteY570" fmla="*/ 2046953 h 2116645"/>
                    <a:gd name="connsiteX571" fmla="*/ 1280298 w 2139009"/>
                    <a:gd name="connsiteY571" fmla="*/ 2046953 h 2116645"/>
                    <a:gd name="connsiteX572" fmla="*/ 1279391 w 2139009"/>
                    <a:gd name="connsiteY572" fmla="*/ 2032731 h 2116645"/>
                    <a:gd name="connsiteX573" fmla="*/ 1279391 w 2139009"/>
                    <a:gd name="connsiteY573" fmla="*/ 2032731 h 2116645"/>
                    <a:gd name="connsiteX574" fmla="*/ 1219683 w 2139009"/>
                    <a:gd name="connsiteY574" fmla="*/ 1934495 h 2116645"/>
                    <a:gd name="connsiteX575" fmla="*/ 1219683 w 2139009"/>
                    <a:gd name="connsiteY575" fmla="*/ 1934495 h 2116645"/>
                    <a:gd name="connsiteX576" fmla="*/ 1128204 w 2139009"/>
                    <a:gd name="connsiteY576" fmla="*/ 1875089 h 2116645"/>
                    <a:gd name="connsiteX577" fmla="*/ 1128204 w 2139009"/>
                    <a:gd name="connsiteY577" fmla="*/ 1875089 h 2116645"/>
                    <a:gd name="connsiteX578" fmla="*/ 1130019 w 2139009"/>
                    <a:gd name="connsiteY578" fmla="*/ 1865810 h 2116645"/>
                    <a:gd name="connsiteX579" fmla="*/ 1130019 w 2139009"/>
                    <a:gd name="connsiteY579" fmla="*/ 1865810 h 2116645"/>
                    <a:gd name="connsiteX580" fmla="*/ 1154528 w 2139009"/>
                    <a:gd name="connsiteY580" fmla="*/ 1786435 h 2116645"/>
                    <a:gd name="connsiteX581" fmla="*/ 1154528 w 2139009"/>
                    <a:gd name="connsiteY581" fmla="*/ 1786435 h 2116645"/>
                    <a:gd name="connsiteX582" fmla="*/ 1166328 w 2139009"/>
                    <a:gd name="connsiteY582" fmla="*/ 1789561 h 2116645"/>
                    <a:gd name="connsiteX583" fmla="*/ 1166328 w 2139009"/>
                    <a:gd name="connsiteY583" fmla="*/ 1789561 h 2116645"/>
                    <a:gd name="connsiteX584" fmla="*/ 1215245 w 2139009"/>
                    <a:gd name="connsiteY584" fmla="*/ 1805295 h 2116645"/>
                    <a:gd name="connsiteX585" fmla="*/ 1215245 w 2139009"/>
                    <a:gd name="connsiteY585" fmla="*/ 1805295 h 2116645"/>
                    <a:gd name="connsiteX586" fmla="*/ 1237534 w 2139009"/>
                    <a:gd name="connsiteY586" fmla="*/ 1790873 h 2116645"/>
                    <a:gd name="connsiteX587" fmla="*/ 1237534 w 2139009"/>
                    <a:gd name="connsiteY587" fmla="*/ 1790873 h 2116645"/>
                    <a:gd name="connsiteX588" fmla="*/ 1239653 w 2139009"/>
                    <a:gd name="connsiteY588" fmla="*/ 1782098 h 2116645"/>
                    <a:gd name="connsiteX589" fmla="*/ 1239653 w 2139009"/>
                    <a:gd name="connsiteY589" fmla="*/ 1782098 h 2116645"/>
                    <a:gd name="connsiteX590" fmla="*/ 1223818 w 2139009"/>
                    <a:gd name="connsiteY590" fmla="*/ 1732173 h 2116645"/>
                    <a:gd name="connsiteX591" fmla="*/ 1223818 w 2139009"/>
                    <a:gd name="connsiteY591" fmla="*/ 1732173 h 2116645"/>
                    <a:gd name="connsiteX592" fmla="*/ 1234509 w 2139009"/>
                    <a:gd name="connsiteY592" fmla="*/ 1702621 h 2116645"/>
                    <a:gd name="connsiteX593" fmla="*/ 1234509 w 2139009"/>
                    <a:gd name="connsiteY593" fmla="*/ 1702621 h 2116645"/>
                    <a:gd name="connsiteX594" fmla="*/ 1293209 w 2139009"/>
                    <a:gd name="connsiteY594" fmla="*/ 1652797 h 2116645"/>
                    <a:gd name="connsiteX595" fmla="*/ 1293209 w 2139009"/>
                    <a:gd name="connsiteY595" fmla="*/ 1652797 h 2116645"/>
                    <a:gd name="connsiteX596" fmla="*/ 1309346 w 2139009"/>
                    <a:gd name="connsiteY596" fmla="*/ 1656126 h 2116645"/>
                    <a:gd name="connsiteX597" fmla="*/ 1309346 w 2139009"/>
                    <a:gd name="connsiteY597" fmla="*/ 1656126 h 2116645"/>
                    <a:gd name="connsiteX598" fmla="*/ 1328912 w 2139009"/>
                    <a:gd name="connsiteY598" fmla="*/ 1661270 h 2116645"/>
                    <a:gd name="connsiteX599" fmla="*/ 1328912 w 2139009"/>
                    <a:gd name="connsiteY599" fmla="*/ 1661270 h 2116645"/>
                    <a:gd name="connsiteX600" fmla="*/ 1354430 w 2139009"/>
                    <a:gd name="connsiteY600" fmla="*/ 1628390 h 2116645"/>
                    <a:gd name="connsiteX601" fmla="*/ 1354430 w 2139009"/>
                    <a:gd name="connsiteY601" fmla="*/ 1628390 h 2116645"/>
                    <a:gd name="connsiteX602" fmla="*/ 1358969 w 2139009"/>
                    <a:gd name="connsiteY602" fmla="*/ 1605696 h 2116645"/>
                    <a:gd name="connsiteX603" fmla="*/ 1358969 w 2139009"/>
                    <a:gd name="connsiteY603" fmla="*/ 1605696 h 2116645"/>
                    <a:gd name="connsiteX604" fmla="*/ 1357052 w 2139009"/>
                    <a:gd name="connsiteY604" fmla="*/ 1580583 h 2116645"/>
                    <a:gd name="connsiteX605" fmla="*/ 1357052 w 2139009"/>
                    <a:gd name="connsiteY605" fmla="*/ 1580583 h 2116645"/>
                    <a:gd name="connsiteX606" fmla="*/ 1388923 w 2139009"/>
                    <a:gd name="connsiteY606" fmla="*/ 1552040 h 2116645"/>
                    <a:gd name="connsiteX607" fmla="*/ 1388923 w 2139009"/>
                    <a:gd name="connsiteY607" fmla="*/ 1552040 h 2116645"/>
                    <a:gd name="connsiteX608" fmla="*/ 1504709 w 2139009"/>
                    <a:gd name="connsiteY608" fmla="*/ 1474580 h 2116645"/>
                    <a:gd name="connsiteX609" fmla="*/ 1504709 w 2139009"/>
                    <a:gd name="connsiteY609" fmla="*/ 1474580 h 2116645"/>
                    <a:gd name="connsiteX610" fmla="*/ 1545859 w 2139009"/>
                    <a:gd name="connsiteY610" fmla="*/ 1463284 h 2116645"/>
                    <a:gd name="connsiteX611" fmla="*/ 1545859 w 2139009"/>
                    <a:gd name="connsiteY611" fmla="*/ 1463284 h 2116645"/>
                    <a:gd name="connsiteX612" fmla="*/ 1604761 w 2139009"/>
                    <a:gd name="connsiteY612" fmla="*/ 1466512 h 2116645"/>
                    <a:gd name="connsiteX613" fmla="*/ 1604761 w 2139009"/>
                    <a:gd name="connsiteY613" fmla="*/ 1466512 h 2116645"/>
                    <a:gd name="connsiteX614" fmla="*/ 1626042 w 2139009"/>
                    <a:gd name="connsiteY614" fmla="*/ 1464292 h 2116645"/>
                    <a:gd name="connsiteX615" fmla="*/ 1626042 w 2139009"/>
                    <a:gd name="connsiteY615" fmla="*/ 1464292 h 2116645"/>
                    <a:gd name="connsiteX616" fmla="*/ 1671125 w 2139009"/>
                    <a:gd name="connsiteY616" fmla="*/ 1392884 h 2116645"/>
                    <a:gd name="connsiteX617" fmla="*/ 1671125 w 2139009"/>
                    <a:gd name="connsiteY617" fmla="*/ 1392884 h 2116645"/>
                    <a:gd name="connsiteX618" fmla="*/ 1666385 w 2139009"/>
                    <a:gd name="connsiteY618" fmla="*/ 1363737 h 2116645"/>
                    <a:gd name="connsiteX619" fmla="*/ 1666385 w 2139009"/>
                    <a:gd name="connsiteY619" fmla="*/ 1363737 h 2116645"/>
                    <a:gd name="connsiteX620" fmla="*/ 1612022 w 2139009"/>
                    <a:gd name="connsiteY620" fmla="*/ 1323090 h 2116645"/>
                    <a:gd name="connsiteX621" fmla="*/ 1612022 w 2139009"/>
                    <a:gd name="connsiteY621" fmla="*/ 1323090 h 2116645"/>
                    <a:gd name="connsiteX622" fmla="*/ 1600726 w 2139009"/>
                    <a:gd name="connsiteY622" fmla="*/ 1323494 h 2116645"/>
                    <a:gd name="connsiteX623" fmla="*/ 1600726 w 2139009"/>
                    <a:gd name="connsiteY623" fmla="*/ 1323494 h 2116645"/>
                    <a:gd name="connsiteX624" fmla="*/ 1575915 w 2139009"/>
                    <a:gd name="connsiteY624" fmla="*/ 1287185 h 2116645"/>
                    <a:gd name="connsiteX625" fmla="*/ 1575915 w 2139009"/>
                    <a:gd name="connsiteY625" fmla="*/ 1287185 h 2116645"/>
                    <a:gd name="connsiteX626" fmla="*/ 1599012 w 2139009"/>
                    <a:gd name="connsiteY626" fmla="*/ 1246841 h 2116645"/>
                    <a:gd name="connsiteX627" fmla="*/ 1599012 w 2139009"/>
                    <a:gd name="connsiteY627" fmla="*/ 1246841 h 2116645"/>
                    <a:gd name="connsiteX628" fmla="*/ 1646819 w 2139009"/>
                    <a:gd name="connsiteY628" fmla="*/ 1222938 h 2116645"/>
                    <a:gd name="connsiteX629" fmla="*/ 1646819 w 2139009"/>
                    <a:gd name="connsiteY629" fmla="*/ 1222938 h 2116645"/>
                    <a:gd name="connsiteX630" fmla="*/ 1671226 w 2139009"/>
                    <a:gd name="connsiteY630" fmla="*/ 1237462 h 2116645"/>
                    <a:gd name="connsiteX631" fmla="*/ 1671226 w 2139009"/>
                    <a:gd name="connsiteY631" fmla="*/ 1237462 h 2116645"/>
                    <a:gd name="connsiteX632" fmla="*/ 1722463 w 2139009"/>
                    <a:gd name="connsiteY632" fmla="*/ 1282747 h 2116645"/>
                    <a:gd name="connsiteX633" fmla="*/ 1722463 w 2139009"/>
                    <a:gd name="connsiteY633" fmla="*/ 1282747 h 2116645"/>
                    <a:gd name="connsiteX634" fmla="*/ 1730329 w 2139009"/>
                    <a:gd name="connsiteY634" fmla="*/ 1282041 h 2116645"/>
                    <a:gd name="connsiteX635" fmla="*/ 1730329 w 2139009"/>
                    <a:gd name="connsiteY635" fmla="*/ 1282041 h 2116645"/>
                    <a:gd name="connsiteX636" fmla="*/ 1816362 w 2139009"/>
                    <a:gd name="connsiteY636" fmla="*/ 1218197 h 2116645"/>
                    <a:gd name="connsiteX637" fmla="*/ 1816362 w 2139009"/>
                    <a:gd name="connsiteY637" fmla="*/ 1218197 h 2116645"/>
                    <a:gd name="connsiteX638" fmla="*/ 1893317 w 2139009"/>
                    <a:gd name="connsiteY638" fmla="*/ 1164944 h 2116645"/>
                    <a:gd name="connsiteX639" fmla="*/ 1893317 w 2139009"/>
                    <a:gd name="connsiteY639" fmla="*/ 1164944 h 2116645"/>
                    <a:gd name="connsiteX640" fmla="*/ 1954841 w 2139009"/>
                    <a:gd name="connsiteY640" fmla="*/ 1179065 h 2116645"/>
                    <a:gd name="connsiteX641" fmla="*/ 1954841 w 2139009"/>
                    <a:gd name="connsiteY641" fmla="*/ 1179065 h 2116645"/>
                    <a:gd name="connsiteX642" fmla="*/ 2008497 w 2139009"/>
                    <a:gd name="connsiteY642" fmla="*/ 1146285 h 2116645"/>
                    <a:gd name="connsiteX643" fmla="*/ 2008497 w 2139009"/>
                    <a:gd name="connsiteY643" fmla="*/ 1146285 h 2116645"/>
                    <a:gd name="connsiteX644" fmla="*/ 2108348 w 2139009"/>
                    <a:gd name="connsiteY644" fmla="*/ 1069532 h 2116645"/>
                    <a:gd name="connsiteX645" fmla="*/ 2108348 w 2139009"/>
                    <a:gd name="connsiteY645" fmla="*/ 1069532 h 2116645"/>
                    <a:gd name="connsiteX646" fmla="*/ 2133562 w 2139009"/>
                    <a:gd name="connsiteY646" fmla="*/ 962622 h 2116645"/>
                    <a:gd name="connsiteX647" fmla="*/ 2133562 w 2139009"/>
                    <a:gd name="connsiteY647" fmla="*/ 962622 h 2116645"/>
                    <a:gd name="connsiteX648" fmla="*/ 2096648 w 2139009"/>
                    <a:gd name="connsiteY648" fmla="*/ 890710 h 2116645"/>
                    <a:gd name="connsiteX649" fmla="*/ 2096648 w 2139009"/>
                    <a:gd name="connsiteY649" fmla="*/ 890710 h 2116645"/>
                    <a:gd name="connsiteX650" fmla="*/ 2098060 w 2139009"/>
                    <a:gd name="connsiteY650" fmla="*/ 888289 h 2116645"/>
                    <a:gd name="connsiteX651" fmla="*/ 2099371 w 2139009"/>
                    <a:gd name="connsiteY651" fmla="*/ 885869 h 2116645"/>
                    <a:gd name="connsiteX652" fmla="*/ 2139008 w 2139009"/>
                    <a:gd name="connsiteY652" fmla="*/ 962622 h 2116645"/>
                    <a:gd name="connsiteX653" fmla="*/ 2139008 w 2139009"/>
                    <a:gd name="connsiteY653" fmla="*/ 962622 h 2116645"/>
                    <a:gd name="connsiteX654" fmla="*/ 2113592 w 2139009"/>
                    <a:gd name="connsiteY654" fmla="*/ 1071045 h 2116645"/>
                    <a:gd name="connsiteX655" fmla="*/ 2113592 w 2139009"/>
                    <a:gd name="connsiteY655" fmla="*/ 1071045 h 2116645"/>
                    <a:gd name="connsiteX656" fmla="*/ 2012028 w 2139009"/>
                    <a:gd name="connsiteY656" fmla="*/ 1150219 h 2116645"/>
                    <a:gd name="connsiteX657" fmla="*/ 2012028 w 2139009"/>
                    <a:gd name="connsiteY657" fmla="*/ 1150219 h 2116645"/>
                    <a:gd name="connsiteX658" fmla="*/ 1954639 w 2139009"/>
                    <a:gd name="connsiteY658" fmla="*/ 1184612 h 2116645"/>
                    <a:gd name="connsiteX659" fmla="*/ 1954639 w 2139009"/>
                    <a:gd name="connsiteY659" fmla="*/ 1184612 h 2116645"/>
                    <a:gd name="connsiteX660" fmla="*/ 1893115 w 2139009"/>
                    <a:gd name="connsiteY660" fmla="*/ 1170592 h 2116645"/>
                    <a:gd name="connsiteX661" fmla="*/ 1893115 w 2139009"/>
                    <a:gd name="connsiteY661" fmla="*/ 1170592 h 2116645"/>
                    <a:gd name="connsiteX662" fmla="*/ 1820699 w 2139009"/>
                    <a:gd name="connsiteY662" fmla="*/ 1221425 h 2116645"/>
                    <a:gd name="connsiteX663" fmla="*/ 1820699 w 2139009"/>
                    <a:gd name="connsiteY663" fmla="*/ 1221425 h 2116645"/>
                    <a:gd name="connsiteX664" fmla="*/ 1731035 w 2139009"/>
                    <a:gd name="connsiteY664" fmla="*/ 1287588 h 2116645"/>
                    <a:gd name="connsiteX665" fmla="*/ 1731035 w 2139009"/>
                    <a:gd name="connsiteY665" fmla="*/ 1287588 h 2116645"/>
                    <a:gd name="connsiteX666" fmla="*/ 1722261 w 2139009"/>
                    <a:gd name="connsiteY666" fmla="*/ 1288395 h 2116645"/>
                    <a:gd name="connsiteX667" fmla="*/ 1722261 w 2139009"/>
                    <a:gd name="connsiteY667" fmla="*/ 1288395 h 2116645"/>
                    <a:gd name="connsiteX668" fmla="*/ 1666587 w 2139009"/>
                    <a:gd name="connsiteY668" fmla="*/ 1241092 h 2116645"/>
                    <a:gd name="connsiteX669" fmla="*/ 1666587 w 2139009"/>
                    <a:gd name="connsiteY669" fmla="*/ 1241092 h 2116645"/>
                    <a:gd name="connsiteX670" fmla="*/ 1646516 w 2139009"/>
                    <a:gd name="connsiteY670" fmla="*/ 1228586 h 2116645"/>
                    <a:gd name="connsiteX671" fmla="*/ 1646516 w 2139009"/>
                    <a:gd name="connsiteY671" fmla="*/ 1228586 h 2116645"/>
                    <a:gd name="connsiteX672" fmla="*/ 1602138 w 2139009"/>
                    <a:gd name="connsiteY672" fmla="*/ 1251279 h 2116645"/>
                    <a:gd name="connsiteX673" fmla="*/ 1602138 w 2139009"/>
                    <a:gd name="connsiteY673" fmla="*/ 1251279 h 2116645"/>
                    <a:gd name="connsiteX674" fmla="*/ 1581160 w 2139009"/>
                    <a:gd name="connsiteY674" fmla="*/ 1287084 h 2116645"/>
                    <a:gd name="connsiteX675" fmla="*/ 1581160 w 2139009"/>
                    <a:gd name="connsiteY675" fmla="*/ 1287084 h 2116645"/>
                    <a:gd name="connsiteX676" fmla="*/ 1600424 w 2139009"/>
                    <a:gd name="connsiteY676" fmla="*/ 1317745 h 2116645"/>
                    <a:gd name="connsiteX677" fmla="*/ 1600424 w 2139009"/>
                    <a:gd name="connsiteY677" fmla="*/ 1317745 h 2116645"/>
                    <a:gd name="connsiteX678" fmla="*/ 1611720 w 2139009"/>
                    <a:gd name="connsiteY678" fmla="*/ 1317442 h 2116645"/>
                    <a:gd name="connsiteX679" fmla="*/ 1611720 w 2139009"/>
                    <a:gd name="connsiteY679" fmla="*/ 1317442 h 2116645"/>
                    <a:gd name="connsiteX680" fmla="*/ 1671428 w 2139009"/>
                    <a:gd name="connsiteY680" fmla="*/ 1362022 h 2116645"/>
                    <a:gd name="connsiteX681" fmla="*/ 1671428 w 2139009"/>
                    <a:gd name="connsiteY681" fmla="*/ 1362022 h 2116645"/>
                    <a:gd name="connsiteX682" fmla="*/ 1676471 w 2139009"/>
                    <a:gd name="connsiteY682" fmla="*/ 1392884 h 2116645"/>
                    <a:gd name="connsiteX683" fmla="*/ 1676471 w 2139009"/>
                    <a:gd name="connsiteY683" fmla="*/ 1392884 h 2116645"/>
                    <a:gd name="connsiteX684" fmla="*/ 1627151 w 2139009"/>
                    <a:gd name="connsiteY684" fmla="*/ 1469638 h 2116645"/>
                    <a:gd name="connsiteX685" fmla="*/ 1627151 w 2139009"/>
                    <a:gd name="connsiteY685" fmla="*/ 1469638 h 2116645"/>
                    <a:gd name="connsiteX686" fmla="*/ 1604458 w 2139009"/>
                    <a:gd name="connsiteY686" fmla="*/ 1472059 h 2116645"/>
                    <a:gd name="connsiteX687" fmla="*/ 1604458 w 2139009"/>
                    <a:gd name="connsiteY687" fmla="*/ 1472059 h 2116645"/>
                    <a:gd name="connsiteX688" fmla="*/ 1545557 w 2139009"/>
                    <a:gd name="connsiteY688" fmla="*/ 1468831 h 2116645"/>
                    <a:gd name="connsiteX689" fmla="*/ 1545557 w 2139009"/>
                    <a:gd name="connsiteY689" fmla="*/ 1468831 h 2116645"/>
                    <a:gd name="connsiteX690" fmla="*/ 1508138 w 2139009"/>
                    <a:gd name="connsiteY690" fmla="*/ 1478715 h 2116645"/>
                    <a:gd name="connsiteX691" fmla="*/ 1508138 w 2139009"/>
                    <a:gd name="connsiteY691" fmla="*/ 1478715 h 2116645"/>
                    <a:gd name="connsiteX692" fmla="*/ 1390033 w 2139009"/>
                    <a:gd name="connsiteY692" fmla="*/ 1557385 h 2116645"/>
                    <a:gd name="connsiteX693" fmla="*/ 1390033 w 2139009"/>
                    <a:gd name="connsiteY693" fmla="*/ 1557385 h 2116645"/>
                    <a:gd name="connsiteX694" fmla="*/ 1362296 w 2139009"/>
                    <a:gd name="connsiteY694" fmla="*/ 1580583 h 2116645"/>
                    <a:gd name="connsiteX695" fmla="*/ 1362296 w 2139009"/>
                    <a:gd name="connsiteY695" fmla="*/ 1580583 h 2116645"/>
                    <a:gd name="connsiteX696" fmla="*/ 1364112 w 2139009"/>
                    <a:gd name="connsiteY696" fmla="*/ 1605696 h 2116645"/>
                    <a:gd name="connsiteX697" fmla="*/ 1364112 w 2139009"/>
                    <a:gd name="connsiteY697" fmla="*/ 1605696 h 2116645"/>
                    <a:gd name="connsiteX698" fmla="*/ 1359372 w 2139009"/>
                    <a:gd name="connsiteY698" fmla="*/ 1630608 h 2116645"/>
                    <a:gd name="connsiteX699" fmla="*/ 1359372 w 2139009"/>
                    <a:gd name="connsiteY699" fmla="*/ 1630608 h 2116645"/>
                    <a:gd name="connsiteX700" fmla="*/ 1328610 w 2139009"/>
                    <a:gd name="connsiteY700" fmla="*/ 1666918 h 2116645"/>
                    <a:gd name="connsiteX701" fmla="*/ 1328610 w 2139009"/>
                    <a:gd name="connsiteY701" fmla="*/ 1666918 h 2116645"/>
                    <a:gd name="connsiteX702" fmla="*/ 1307026 w 2139009"/>
                    <a:gd name="connsiteY702" fmla="*/ 1661370 h 2116645"/>
                    <a:gd name="connsiteX703" fmla="*/ 1307026 w 2139009"/>
                    <a:gd name="connsiteY703" fmla="*/ 1661370 h 2116645"/>
                    <a:gd name="connsiteX704" fmla="*/ 1292906 w 2139009"/>
                    <a:gd name="connsiteY704" fmla="*/ 1658445 h 2116645"/>
                    <a:gd name="connsiteX705" fmla="*/ 1292906 w 2139009"/>
                    <a:gd name="connsiteY705" fmla="*/ 1658445 h 2116645"/>
                    <a:gd name="connsiteX706" fmla="*/ 1238745 w 2139009"/>
                    <a:gd name="connsiteY706" fmla="*/ 1705950 h 2116645"/>
                    <a:gd name="connsiteX707" fmla="*/ 1238745 w 2139009"/>
                    <a:gd name="connsiteY707" fmla="*/ 1705950 h 2116645"/>
                    <a:gd name="connsiteX708" fmla="*/ 1229164 w 2139009"/>
                    <a:gd name="connsiteY708" fmla="*/ 1732274 h 2116645"/>
                    <a:gd name="connsiteX709" fmla="*/ 1229164 w 2139009"/>
                    <a:gd name="connsiteY709" fmla="*/ 1732274 h 2116645"/>
                    <a:gd name="connsiteX710" fmla="*/ 1244898 w 2139009"/>
                    <a:gd name="connsiteY710" fmla="*/ 1782199 h 2116645"/>
                    <a:gd name="connsiteX711" fmla="*/ 1244898 w 2139009"/>
                    <a:gd name="connsiteY711" fmla="*/ 1782199 h 2116645"/>
                    <a:gd name="connsiteX712" fmla="*/ 1242275 w 2139009"/>
                    <a:gd name="connsiteY712" fmla="*/ 1793495 h 2116645"/>
                    <a:gd name="connsiteX713" fmla="*/ 1242275 w 2139009"/>
                    <a:gd name="connsiteY713" fmla="*/ 1793495 h 2116645"/>
                    <a:gd name="connsiteX714" fmla="*/ 1215043 w 2139009"/>
                    <a:gd name="connsiteY714" fmla="*/ 1810943 h 2116645"/>
                    <a:gd name="connsiteX715" fmla="*/ 1215043 w 2139009"/>
                    <a:gd name="connsiteY715" fmla="*/ 1810943 h 2116645"/>
                    <a:gd name="connsiteX716" fmla="*/ 1163908 w 2139009"/>
                    <a:gd name="connsiteY716" fmla="*/ 1794705 h 2116645"/>
                    <a:gd name="connsiteX717" fmla="*/ 1163908 w 2139009"/>
                    <a:gd name="connsiteY717" fmla="*/ 1794705 h 2116645"/>
                    <a:gd name="connsiteX718" fmla="*/ 1154427 w 2139009"/>
                    <a:gd name="connsiteY718" fmla="*/ 1792083 h 2116645"/>
                    <a:gd name="connsiteX719" fmla="*/ 1154427 w 2139009"/>
                    <a:gd name="connsiteY719" fmla="*/ 1792083 h 2116645"/>
                    <a:gd name="connsiteX720" fmla="*/ 1135163 w 2139009"/>
                    <a:gd name="connsiteY720" fmla="*/ 1868030 h 2116645"/>
                    <a:gd name="connsiteX721" fmla="*/ 1135163 w 2139009"/>
                    <a:gd name="connsiteY721" fmla="*/ 1868030 h 2116645"/>
                    <a:gd name="connsiteX722" fmla="*/ 1133650 w 2139009"/>
                    <a:gd name="connsiteY722" fmla="*/ 1875190 h 2116645"/>
                    <a:gd name="connsiteX723" fmla="*/ 1133650 w 2139009"/>
                    <a:gd name="connsiteY723" fmla="*/ 1875190 h 2116645"/>
                    <a:gd name="connsiteX724" fmla="*/ 1221094 w 2139009"/>
                    <a:gd name="connsiteY724" fmla="*/ 1929250 h 2116645"/>
                    <a:gd name="connsiteX725" fmla="*/ 1221094 w 2139009"/>
                    <a:gd name="connsiteY725" fmla="*/ 1929250 h 2116645"/>
                    <a:gd name="connsiteX726" fmla="*/ 1284837 w 2139009"/>
                    <a:gd name="connsiteY726" fmla="*/ 2032328 h 2116645"/>
                    <a:gd name="connsiteX727" fmla="*/ 1284837 w 2139009"/>
                    <a:gd name="connsiteY727" fmla="*/ 2032328 h 2116645"/>
                    <a:gd name="connsiteX728" fmla="*/ 1285846 w 2139009"/>
                    <a:gd name="connsiteY728" fmla="*/ 2047154 h 2116645"/>
                    <a:gd name="connsiteX729" fmla="*/ 1285846 w 2139009"/>
                    <a:gd name="connsiteY729" fmla="*/ 2047154 h 2116645"/>
                    <a:gd name="connsiteX730" fmla="*/ 1271524 w 2139009"/>
                    <a:gd name="connsiteY730" fmla="*/ 2069242 h 2116645"/>
                    <a:gd name="connsiteX731" fmla="*/ 1271524 w 2139009"/>
                    <a:gd name="connsiteY731" fmla="*/ 2069242 h 2116645"/>
                    <a:gd name="connsiteX732" fmla="*/ 1230273 w 2139009"/>
                    <a:gd name="connsiteY732" fmla="*/ 2061476 h 2116645"/>
                    <a:gd name="connsiteX733" fmla="*/ 1230273 w 2139009"/>
                    <a:gd name="connsiteY733" fmla="*/ 2061476 h 2116645"/>
                    <a:gd name="connsiteX734" fmla="*/ 1145551 w 2139009"/>
                    <a:gd name="connsiteY734" fmla="*/ 2116646 h 2116645"/>
                    <a:gd name="connsiteX735" fmla="*/ 1145551 w 2139009"/>
                    <a:gd name="connsiteY735" fmla="*/ 2116646 h 2116645"/>
                    <a:gd name="connsiteX736" fmla="*/ 1141921 w 2139009"/>
                    <a:gd name="connsiteY736" fmla="*/ 2116141 h 2116645"/>
                    <a:gd name="connsiteX737" fmla="*/ 1141921 w 2139009"/>
                    <a:gd name="connsiteY737" fmla="*/ 2116141 h 2116645"/>
                    <a:gd name="connsiteX738" fmla="*/ 163593 w 2139009"/>
                    <a:gd name="connsiteY738" fmla="*/ 93927 h 2116645"/>
                    <a:gd name="connsiteX739" fmla="*/ 108726 w 2139009"/>
                    <a:gd name="connsiteY739" fmla="*/ 87371 h 2116645"/>
                    <a:gd name="connsiteX740" fmla="*/ 108726 w 2139009"/>
                    <a:gd name="connsiteY740" fmla="*/ 87371 h 2116645"/>
                    <a:gd name="connsiteX741" fmla="*/ 106708 w 2139009"/>
                    <a:gd name="connsiteY741" fmla="*/ 84648 h 2116645"/>
                    <a:gd name="connsiteX742" fmla="*/ 106708 w 2139009"/>
                    <a:gd name="connsiteY742" fmla="*/ 84648 h 2116645"/>
                    <a:gd name="connsiteX743" fmla="*/ 106809 w 2139009"/>
                    <a:gd name="connsiteY743" fmla="*/ 83841 h 2116645"/>
                    <a:gd name="connsiteX744" fmla="*/ 106809 w 2139009"/>
                    <a:gd name="connsiteY744" fmla="*/ 83841 h 2116645"/>
                    <a:gd name="connsiteX745" fmla="*/ 110238 w 2139009"/>
                    <a:gd name="connsiteY745" fmla="*/ 82026 h 2116645"/>
                    <a:gd name="connsiteX746" fmla="*/ 110238 w 2139009"/>
                    <a:gd name="connsiteY746" fmla="*/ 82026 h 2116645"/>
                    <a:gd name="connsiteX747" fmla="*/ 164601 w 2139009"/>
                    <a:gd name="connsiteY747" fmla="*/ 88481 h 2116645"/>
                    <a:gd name="connsiteX748" fmla="*/ 164601 w 2139009"/>
                    <a:gd name="connsiteY748" fmla="*/ 88481 h 2116645"/>
                    <a:gd name="connsiteX749" fmla="*/ 166820 w 2139009"/>
                    <a:gd name="connsiteY749" fmla="*/ 91708 h 2116645"/>
                    <a:gd name="connsiteX750" fmla="*/ 166820 w 2139009"/>
                    <a:gd name="connsiteY750" fmla="*/ 91708 h 2116645"/>
                    <a:gd name="connsiteX751" fmla="*/ 164097 w 2139009"/>
                    <a:gd name="connsiteY751" fmla="*/ 94028 h 2116645"/>
                    <a:gd name="connsiteX752" fmla="*/ 164097 w 2139009"/>
                    <a:gd name="connsiteY752" fmla="*/ 94028 h 2116645"/>
                    <a:gd name="connsiteX753" fmla="*/ 163593 w 2139009"/>
                    <a:gd name="connsiteY753" fmla="*/ 93927 h 2116645"/>
                    <a:gd name="connsiteX754" fmla="*/ 163593 w 2139009"/>
                    <a:gd name="connsiteY754" fmla="*/ 93927 h 2116645"/>
                    <a:gd name="connsiteX755" fmla="*/ 1018772 w 2139009"/>
                    <a:gd name="connsiteY755" fmla="*/ 14955 h 2116645"/>
                    <a:gd name="connsiteX756" fmla="*/ 1017058 w 2139009"/>
                    <a:gd name="connsiteY756" fmla="*/ 5978 h 2116645"/>
                    <a:gd name="connsiteX757" fmla="*/ 1017058 w 2139009"/>
                    <a:gd name="connsiteY757" fmla="*/ 5978 h 2116645"/>
                    <a:gd name="connsiteX758" fmla="*/ 1017058 w 2139009"/>
                    <a:gd name="connsiteY758" fmla="*/ 5978 h 2116645"/>
                    <a:gd name="connsiteX759" fmla="*/ 1017058 w 2139009"/>
                    <a:gd name="connsiteY759" fmla="*/ 5978 h 2116645"/>
                    <a:gd name="connsiteX760" fmla="*/ 1017058 w 2139009"/>
                    <a:gd name="connsiteY760" fmla="*/ 5878 h 2116645"/>
                    <a:gd name="connsiteX761" fmla="*/ 1017058 w 2139009"/>
                    <a:gd name="connsiteY761" fmla="*/ 5878 h 2116645"/>
                    <a:gd name="connsiteX762" fmla="*/ 1017260 w 2139009"/>
                    <a:gd name="connsiteY762" fmla="*/ 2247 h 2116645"/>
                    <a:gd name="connsiteX763" fmla="*/ 1017260 w 2139009"/>
                    <a:gd name="connsiteY763" fmla="*/ 2247 h 2116645"/>
                    <a:gd name="connsiteX764" fmla="*/ 1020386 w 2139009"/>
                    <a:gd name="connsiteY764" fmla="*/ 28 h 2116645"/>
                    <a:gd name="connsiteX765" fmla="*/ 1020386 w 2139009"/>
                    <a:gd name="connsiteY765" fmla="*/ 28 h 2116645"/>
                    <a:gd name="connsiteX766" fmla="*/ 1022807 w 2139009"/>
                    <a:gd name="connsiteY766" fmla="*/ 3154 h 2116645"/>
                    <a:gd name="connsiteX767" fmla="*/ 1022807 w 2139009"/>
                    <a:gd name="connsiteY767" fmla="*/ 3154 h 2116645"/>
                    <a:gd name="connsiteX768" fmla="*/ 1022807 w 2139009"/>
                    <a:gd name="connsiteY768" fmla="*/ 3255 h 2116645"/>
                    <a:gd name="connsiteX769" fmla="*/ 1022807 w 2139009"/>
                    <a:gd name="connsiteY769" fmla="*/ 3255 h 2116645"/>
                    <a:gd name="connsiteX770" fmla="*/ 1022807 w 2139009"/>
                    <a:gd name="connsiteY770" fmla="*/ 3255 h 2116645"/>
                    <a:gd name="connsiteX771" fmla="*/ 1022706 w 2139009"/>
                    <a:gd name="connsiteY771" fmla="*/ 3356 h 2116645"/>
                    <a:gd name="connsiteX772" fmla="*/ 1022706 w 2139009"/>
                    <a:gd name="connsiteY772" fmla="*/ 3356 h 2116645"/>
                    <a:gd name="connsiteX773" fmla="*/ 1022504 w 2139009"/>
                    <a:gd name="connsiteY773" fmla="*/ 5978 h 2116645"/>
                    <a:gd name="connsiteX774" fmla="*/ 1022504 w 2139009"/>
                    <a:gd name="connsiteY774" fmla="*/ 5978 h 2116645"/>
                    <a:gd name="connsiteX775" fmla="*/ 1030774 w 2139009"/>
                    <a:gd name="connsiteY775" fmla="*/ 22519 h 2116645"/>
                    <a:gd name="connsiteX776" fmla="*/ 1030774 w 2139009"/>
                    <a:gd name="connsiteY776" fmla="*/ 22519 h 2116645"/>
                    <a:gd name="connsiteX777" fmla="*/ 1028556 w 2139009"/>
                    <a:gd name="connsiteY777" fmla="*/ 24234 h 2116645"/>
                    <a:gd name="connsiteX778" fmla="*/ 1026236 w 2139009"/>
                    <a:gd name="connsiteY778" fmla="*/ 25848 h 2116645"/>
                    <a:gd name="connsiteX779" fmla="*/ 1018772 w 2139009"/>
                    <a:gd name="connsiteY779" fmla="*/ 14955 h 2116645"/>
                    <a:gd name="connsiteX780" fmla="*/ 1018772 w 2139009"/>
                    <a:gd name="connsiteY780" fmla="*/ 14955 h 2116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Lst>
                  <a:rect l="l" t="t" r="r" b="b"/>
                  <a:pathLst>
                    <a:path w="2139009" h="2116645">
                      <a:moveTo>
                        <a:pt x="1141921" y="2116141"/>
                      </a:moveTo>
                      <a:cubicBezTo>
                        <a:pt x="1097341" y="2115839"/>
                        <a:pt x="1091491" y="2067427"/>
                        <a:pt x="1091390" y="2051693"/>
                      </a:cubicBezTo>
                      <a:lnTo>
                        <a:pt x="1091390" y="2051693"/>
                      </a:lnTo>
                      <a:cubicBezTo>
                        <a:pt x="1091290" y="2042616"/>
                        <a:pt x="1054376" y="2029907"/>
                        <a:pt x="1019276" y="2029907"/>
                      </a:cubicBezTo>
                      <a:lnTo>
                        <a:pt x="1019276" y="2029907"/>
                      </a:lnTo>
                      <a:cubicBezTo>
                        <a:pt x="1011511" y="2029907"/>
                        <a:pt x="1004047" y="2030513"/>
                        <a:pt x="997189" y="2031622"/>
                      </a:cubicBezTo>
                      <a:lnTo>
                        <a:pt x="997189" y="2031622"/>
                      </a:lnTo>
                      <a:cubicBezTo>
                        <a:pt x="989927" y="2032731"/>
                        <a:pt x="983876" y="2033336"/>
                        <a:pt x="978833" y="2033336"/>
                      </a:cubicBezTo>
                      <a:lnTo>
                        <a:pt x="978833" y="2033336"/>
                      </a:lnTo>
                      <a:cubicBezTo>
                        <a:pt x="960980" y="2033236"/>
                        <a:pt x="954021" y="2024965"/>
                        <a:pt x="953920" y="2014476"/>
                      </a:cubicBezTo>
                      <a:lnTo>
                        <a:pt x="953920" y="2014476"/>
                      </a:lnTo>
                      <a:cubicBezTo>
                        <a:pt x="953920" y="2011450"/>
                        <a:pt x="954424" y="2008626"/>
                        <a:pt x="954929" y="2005802"/>
                      </a:cubicBezTo>
                      <a:lnTo>
                        <a:pt x="954929" y="2005802"/>
                      </a:lnTo>
                      <a:cubicBezTo>
                        <a:pt x="955332" y="2003382"/>
                        <a:pt x="955635" y="2001062"/>
                        <a:pt x="955635" y="1998641"/>
                      </a:cubicBezTo>
                      <a:lnTo>
                        <a:pt x="955635" y="1998641"/>
                      </a:lnTo>
                      <a:cubicBezTo>
                        <a:pt x="955231" y="1986639"/>
                        <a:pt x="950390" y="1974435"/>
                        <a:pt x="930824" y="1974233"/>
                      </a:cubicBezTo>
                      <a:lnTo>
                        <a:pt x="930824" y="1974233"/>
                      </a:lnTo>
                      <a:cubicBezTo>
                        <a:pt x="926487" y="1974233"/>
                        <a:pt x="921746" y="1974838"/>
                        <a:pt x="915997" y="1976251"/>
                      </a:cubicBezTo>
                      <a:lnTo>
                        <a:pt x="915997" y="1976251"/>
                      </a:lnTo>
                      <a:cubicBezTo>
                        <a:pt x="877570" y="1985832"/>
                        <a:pt x="822401" y="2015182"/>
                        <a:pt x="778830" y="2015283"/>
                      </a:cubicBezTo>
                      <a:lnTo>
                        <a:pt x="778830" y="2015283"/>
                      </a:lnTo>
                      <a:cubicBezTo>
                        <a:pt x="735763" y="2015686"/>
                        <a:pt x="743025" y="2003180"/>
                        <a:pt x="718113" y="1972015"/>
                      </a:cubicBezTo>
                      <a:lnTo>
                        <a:pt x="718113" y="1972015"/>
                      </a:lnTo>
                      <a:cubicBezTo>
                        <a:pt x="707926" y="1959205"/>
                        <a:pt x="697336" y="1954667"/>
                        <a:pt x="686645" y="1954667"/>
                      </a:cubicBezTo>
                      <a:lnTo>
                        <a:pt x="686645" y="1954667"/>
                      </a:lnTo>
                      <a:cubicBezTo>
                        <a:pt x="670911" y="1954566"/>
                        <a:pt x="654370" y="1965358"/>
                        <a:pt x="641057" y="1978671"/>
                      </a:cubicBezTo>
                      <a:lnTo>
                        <a:pt x="641057" y="1978671"/>
                      </a:lnTo>
                      <a:cubicBezTo>
                        <a:pt x="631980" y="1987547"/>
                        <a:pt x="622196" y="1991985"/>
                        <a:pt x="612312" y="1991985"/>
                      </a:cubicBezTo>
                      <a:lnTo>
                        <a:pt x="612312" y="1991985"/>
                      </a:lnTo>
                      <a:cubicBezTo>
                        <a:pt x="596175" y="1991985"/>
                        <a:pt x="580844" y="1980587"/>
                        <a:pt x="568540" y="1962029"/>
                      </a:cubicBezTo>
                      <a:lnTo>
                        <a:pt x="568540" y="1962029"/>
                      </a:lnTo>
                      <a:cubicBezTo>
                        <a:pt x="562387" y="1952851"/>
                        <a:pt x="554521" y="1949826"/>
                        <a:pt x="545544" y="1949725"/>
                      </a:cubicBezTo>
                      <a:lnTo>
                        <a:pt x="545544" y="1949725"/>
                      </a:lnTo>
                      <a:cubicBezTo>
                        <a:pt x="527591" y="1949624"/>
                        <a:pt x="506109" y="1963946"/>
                        <a:pt x="497939" y="1972216"/>
                      </a:cubicBezTo>
                      <a:lnTo>
                        <a:pt x="497939" y="1972216"/>
                      </a:lnTo>
                      <a:cubicBezTo>
                        <a:pt x="493299" y="1976856"/>
                        <a:pt x="488458" y="1979579"/>
                        <a:pt x="483112" y="1979579"/>
                      </a:cubicBezTo>
                      <a:lnTo>
                        <a:pt x="483112" y="1979579"/>
                      </a:lnTo>
                      <a:cubicBezTo>
                        <a:pt x="472421" y="1979276"/>
                        <a:pt x="464252" y="1969291"/>
                        <a:pt x="457596" y="1951641"/>
                      </a:cubicBezTo>
                      <a:lnTo>
                        <a:pt x="457596" y="1951641"/>
                      </a:lnTo>
                      <a:cubicBezTo>
                        <a:pt x="455376" y="1946295"/>
                        <a:pt x="452653" y="1944985"/>
                        <a:pt x="447812" y="1944783"/>
                      </a:cubicBezTo>
                      <a:lnTo>
                        <a:pt x="447812" y="1944783"/>
                      </a:lnTo>
                      <a:cubicBezTo>
                        <a:pt x="431775" y="1944279"/>
                        <a:pt x="400207" y="1971107"/>
                        <a:pt x="391029" y="1987850"/>
                      </a:cubicBezTo>
                      <a:lnTo>
                        <a:pt x="391029" y="1987850"/>
                      </a:lnTo>
                      <a:cubicBezTo>
                        <a:pt x="384573" y="1999246"/>
                        <a:pt x="374084" y="2003987"/>
                        <a:pt x="363595" y="2003987"/>
                      </a:cubicBezTo>
                      <a:lnTo>
                        <a:pt x="363595" y="2003987"/>
                      </a:lnTo>
                      <a:cubicBezTo>
                        <a:pt x="351290" y="2003886"/>
                        <a:pt x="338885" y="1997633"/>
                        <a:pt x="331220" y="1988253"/>
                      </a:cubicBezTo>
                      <a:lnTo>
                        <a:pt x="331220" y="1988253"/>
                      </a:lnTo>
                      <a:cubicBezTo>
                        <a:pt x="320730" y="1974435"/>
                        <a:pt x="321840" y="1965560"/>
                        <a:pt x="314679" y="1966367"/>
                      </a:cubicBezTo>
                      <a:lnTo>
                        <a:pt x="314679" y="1966367"/>
                      </a:lnTo>
                      <a:cubicBezTo>
                        <a:pt x="312056" y="1966367"/>
                        <a:pt x="307921" y="1967274"/>
                        <a:pt x="301870" y="1969695"/>
                      </a:cubicBezTo>
                      <a:lnTo>
                        <a:pt x="301870" y="1969695"/>
                      </a:lnTo>
                      <a:cubicBezTo>
                        <a:pt x="290170" y="1973830"/>
                        <a:pt x="280387" y="1977158"/>
                        <a:pt x="271713" y="1977158"/>
                      </a:cubicBezTo>
                      <a:lnTo>
                        <a:pt x="271713" y="1977158"/>
                      </a:lnTo>
                      <a:cubicBezTo>
                        <a:pt x="260820" y="1977360"/>
                        <a:pt x="251844" y="1971510"/>
                        <a:pt x="246498" y="1958297"/>
                      </a:cubicBezTo>
                      <a:lnTo>
                        <a:pt x="246498" y="1958297"/>
                      </a:lnTo>
                      <a:cubicBezTo>
                        <a:pt x="243371" y="1951036"/>
                        <a:pt x="242665" y="1942564"/>
                        <a:pt x="242665" y="1933688"/>
                      </a:cubicBezTo>
                      <a:lnTo>
                        <a:pt x="242665" y="1933688"/>
                      </a:lnTo>
                      <a:cubicBezTo>
                        <a:pt x="242665" y="1925014"/>
                        <a:pt x="243371" y="1916038"/>
                        <a:pt x="243371" y="1907868"/>
                      </a:cubicBezTo>
                      <a:lnTo>
                        <a:pt x="243371" y="1907868"/>
                      </a:lnTo>
                      <a:cubicBezTo>
                        <a:pt x="243472" y="1894656"/>
                        <a:pt x="241556" y="1884772"/>
                        <a:pt x="234799" y="1881645"/>
                      </a:cubicBezTo>
                      <a:lnTo>
                        <a:pt x="234799" y="1881645"/>
                      </a:lnTo>
                      <a:cubicBezTo>
                        <a:pt x="213215" y="1870248"/>
                        <a:pt x="210794" y="1837368"/>
                        <a:pt x="197582" y="1792184"/>
                      </a:cubicBezTo>
                      <a:lnTo>
                        <a:pt x="197582" y="1792184"/>
                      </a:lnTo>
                      <a:cubicBezTo>
                        <a:pt x="186084" y="1749016"/>
                        <a:pt x="162685" y="1785426"/>
                        <a:pt x="139387" y="1753959"/>
                      </a:cubicBezTo>
                      <a:lnTo>
                        <a:pt x="139387" y="1753959"/>
                      </a:lnTo>
                      <a:cubicBezTo>
                        <a:pt x="128897" y="1737519"/>
                        <a:pt x="126174" y="1665606"/>
                        <a:pt x="127082" y="1592786"/>
                      </a:cubicBezTo>
                      <a:lnTo>
                        <a:pt x="127082" y="1592786"/>
                      </a:lnTo>
                      <a:cubicBezTo>
                        <a:pt x="129502" y="1592080"/>
                        <a:pt x="131620" y="1591173"/>
                        <a:pt x="133032" y="1590164"/>
                      </a:cubicBezTo>
                      <a:lnTo>
                        <a:pt x="133032" y="1590164"/>
                      </a:lnTo>
                      <a:cubicBezTo>
                        <a:pt x="147859" y="1580381"/>
                        <a:pt x="188605" y="1539634"/>
                        <a:pt x="201516" y="1529346"/>
                      </a:cubicBezTo>
                      <a:lnTo>
                        <a:pt x="201516" y="1529346"/>
                      </a:lnTo>
                      <a:cubicBezTo>
                        <a:pt x="212207" y="1521681"/>
                        <a:pt x="206659" y="1500501"/>
                        <a:pt x="238934" y="1500702"/>
                      </a:cubicBezTo>
                      <a:lnTo>
                        <a:pt x="238934" y="1500702"/>
                      </a:lnTo>
                      <a:cubicBezTo>
                        <a:pt x="243876" y="1500702"/>
                        <a:pt x="248616" y="1500702"/>
                        <a:pt x="253054" y="1500702"/>
                      </a:cubicBezTo>
                      <a:lnTo>
                        <a:pt x="253054" y="1500702"/>
                      </a:lnTo>
                      <a:cubicBezTo>
                        <a:pt x="276050" y="1500400"/>
                        <a:pt x="288052" y="1499492"/>
                        <a:pt x="292086" y="1480026"/>
                      </a:cubicBezTo>
                      <a:lnTo>
                        <a:pt x="292086" y="1480026"/>
                      </a:lnTo>
                      <a:cubicBezTo>
                        <a:pt x="298340" y="1452391"/>
                        <a:pt x="354216" y="1417494"/>
                        <a:pt x="384271" y="1377150"/>
                      </a:cubicBezTo>
                      <a:lnTo>
                        <a:pt x="384271" y="1377150"/>
                      </a:lnTo>
                      <a:cubicBezTo>
                        <a:pt x="414731" y="1336505"/>
                        <a:pt x="475750" y="1257431"/>
                        <a:pt x="485432" y="1220517"/>
                      </a:cubicBezTo>
                      <a:lnTo>
                        <a:pt x="485432" y="1220517"/>
                      </a:lnTo>
                      <a:cubicBezTo>
                        <a:pt x="486642" y="1215475"/>
                        <a:pt x="487348" y="1210533"/>
                        <a:pt x="487348" y="1205792"/>
                      </a:cubicBezTo>
                      <a:lnTo>
                        <a:pt x="487348" y="1205792"/>
                      </a:lnTo>
                      <a:cubicBezTo>
                        <a:pt x="487449" y="1174627"/>
                        <a:pt x="462437" y="1145680"/>
                        <a:pt x="444080" y="1139831"/>
                      </a:cubicBezTo>
                      <a:lnTo>
                        <a:pt x="444080" y="1139831"/>
                      </a:lnTo>
                      <a:cubicBezTo>
                        <a:pt x="431574" y="1135594"/>
                        <a:pt x="428346" y="1123693"/>
                        <a:pt x="428447" y="1111590"/>
                      </a:cubicBezTo>
                      <a:lnTo>
                        <a:pt x="428447" y="1111590"/>
                      </a:lnTo>
                      <a:cubicBezTo>
                        <a:pt x="428447" y="1097571"/>
                        <a:pt x="431977" y="1081433"/>
                        <a:pt x="431977" y="1068524"/>
                      </a:cubicBezTo>
                      <a:lnTo>
                        <a:pt x="431977" y="1068524"/>
                      </a:lnTo>
                      <a:cubicBezTo>
                        <a:pt x="431977" y="1051579"/>
                        <a:pt x="411603" y="1038770"/>
                        <a:pt x="400207" y="1038770"/>
                      </a:cubicBezTo>
                      <a:lnTo>
                        <a:pt x="400207" y="1038770"/>
                      </a:lnTo>
                      <a:cubicBezTo>
                        <a:pt x="396576" y="1038770"/>
                        <a:pt x="394760" y="1039880"/>
                        <a:pt x="394054" y="1041695"/>
                      </a:cubicBezTo>
                      <a:lnTo>
                        <a:pt x="394054" y="1041695"/>
                      </a:lnTo>
                      <a:cubicBezTo>
                        <a:pt x="391331" y="1048453"/>
                        <a:pt x="384674" y="1051075"/>
                        <a:pt x="378320" y="1051075"/>
                      </a:cubicBezTo>
                      <a:lnTo>
                        <a:pt x="378320" y="1051075"/>
                      </a:lnTo>
                      <a:cubicBezTo>
                        <a:pt x="370151" y="1050974"/>
                        <a:pt x="361578" y="1047444"/>
                        <a:pt x="356535" y="1042502"/>
                      </a:cubicBezTo>
                      <a:lnTo>
                        <a:pt x="356535" y="1042502"/>
                      </a:lnTo>
                      <a:cubicBezTo>
                        <a:pt x="355627" y="1041493"/>
                        <a:pt x="353308" y="1040686"/>
                        <a:pt x="349576" y="1040787"/>
                      </a:cubicBezTo>
                      <a:lnTo>
                        <a:pt x="349576" y="1040787"/>
                      </a:lnTo>
                      <a:cubicBezTo>
                        <a:pt x="337372" y="1040686"/>
                        <a:pt x="314780" y="1049260"/>
                        <a:pt x="301769" y="1060556"/>
                      </a:cubicBezTo>
                      <a:lnTo>
                        <a:pt x="301769" y="1060556"/>
                      </a:lnTo>
                      <a:cubicBezTo>
                        <a:pt x="282303" y="1076895"/>
                        <a:pt x="256080" y="1066406"/>
                        <a:pt x="240144" y="1073768"/>
                      </a:cubicBezTo>
                      <a:lnTo>
                        <a:pt x="240144" y="1073768"/>
                      </a:lnTo>
                      <a:cubicBezTo>
                        <a:pt x="229353" y="1078105"/>
                        <a:pt x="207265" y="1088594"/>
                        <a:pt x="185479" y="1088695"/>
                      </a:cubicBezTo>
                      <a:lnTo>
                        <a:pt x="185479" y="1088695"/>
                      </a:lnTo>
                      <a:cubicBezTo>
                        <a:pt x="171460" y="1088695"/>
                        <a:pt x="157238" y="1084157"/>
                        <a:pt x="147758" y="1070137"/>
                      </a:cubicBezTo>
                      <a:lnTo>
                        <a:pt x="147758" y="1070137"/>
                      </a:lnTo>
                      <a:cubicBezTo>
                        <a:pt x="140496" y="1059648"/>
                        <a:pt x="137268" y="1051882"/>
                        <a:pt x="137168" y="1044822"/>
                      </a:cubicBezTo>
                      <a:lnTo>
                        <a:pt x="137168" y="1044822"/>
                      </a:lnTo>
                      <a:cubicBezTo>
                        <a:pt x="137672" y="1028281"/>
                        <a:pt x="153406" y="1019506"/>
                        <a:pt x="170451" y="993485"/>
                      </a:cubicBezTo>
                      <a:lnTo>
                        <a:pt x="170451" y="993485"/>
                      </a:lnTo>
                      <a:cubicBezTo>
                        <a:pt x="178519" y="981180"/>
                        <a:pt x="181344" y="971195"/>
                        <a:pt x="181344" y="963026"/>
                      </a:cubicBezTo>
                      <a:lnTo>
                        <a:pt x="181344" y="963026"/>
                      </a:lnTo>
                      <a:cubicBezTo>
                        <a:pt x="181445" y="945577"/>
                        <a:pt x="168636" y="933474"/>
                        <a:pt x="158146" y="923186"/>
                      </a:cubicBezTo>
                      <a:lnTo>
                        <a:pt x="158146" y="923186"/>
                      </a:lnTo>
                      <a:cubicBezTo>
                        <a:pt x="152095" y="917135"/>
                        <a:pt x="150481" y="910781"/>
                        <a:pt x="150582" y="904830"/>
                      </a:cubicBezTo>
                      <a:lnTo>
                        <a:pt x="150582" y="904830"/>
                      </a:lnTo>
                      <a:cubicBezTo>
                        <a:pt x="150582" y="900292"/>
                        <a:pt x="151288" y="895954"/>
                        <a:pt x="151288" y="891315"/>
                      </a:cubicBezTo>
                      <a:lnTo>
                        <a:pt x="151288" y="891315"/>
                      </a:lnTo>
                      <a:cubicBezTo>
                        <a:pt x="151288" y="884860"/>
                        <a:pt x="150279" y="878203"/>
                        <a:pt x="144934" y="869429"/>
                      </a:cubicBezTo>
                      <a:lnTo>
                        <a:pt x="144934" y="869429"/>
                      </a:lnTo>
                      <a:cubicBezTo>
                        <a:pt x="131318" y="845424"/>
                        <a:pt x="98135" y="848047"/>
                        <a:pt x="83813" y="820815"/>
                      </a:cubicBezTo>
                      <a:lnTo>
                        <a:pt x="83813" y="820815"/>
                      </a:lnTo>
                      <a:cubicBezTo>
                        <a:pt x="71307" y="795197"/>
                        <a:pt x="45285" y="737001"/>
                        <a:pt x="19062" y="725402"/>
                      </a:cubicBezTo>
                      <a:lnTo>
                        <a:pt x="19062" y="725402"/>
                      </a:lnTo>
                      <a:cubicBezTo>
                        <a:pt x="5951" y="719553"/>
                        <a:pt x="0" y="711383"/>
                        <a:pt x="0" y="702911"/>
                      </a:cubicBezTo>
                      <a:lnTo>
                        <a:pt x="0" y="702911"/>
                      </a:lnTo>
                      <a:cubicBezTo>
                        <a:pt x="101" y="692321"/>
                        <a:pt x="8472" y="683143"/>
                        <a:pt x="18861" y="677293"/>
                      </a:cubicBezTo>
                      <a:lnTo>
                        <a:pt x="18861" y="677293"/>
                      </a:lnTo>
                      <a:cubicBezTo>
                        <a:pt x="28946" y="671342"/>
                        <a:pt x="30661" y="662366"/>
                        <a:pt x="30762" y="650465"/>
                      </a:cubicBezTo>
                      <a:lnTo>
                        <a:pt x="30762" y="650465"/>
                      </a:lnTo>
                      <a:cubicBezTo>
                        <a:pt x="30762" y="643707"/>
                        <a:pt x="30056" y="636345"/>
                        <a:pt x="30056" y="628881"/>
                      </a:cubicBezTo>
                      <a:lnTo>
                        <a:pt x="30056" y="628881"/>
                      </a:lnTo>
                      <a:cubicBezTo>
                        <a:pt x="30258" y="610021"/>
                        <a:pt x="12708" y="584503"/>
                        <a:pt x="2421" y="561407"/>
                      </a:cubicBezTo>
                      <a:lnTo>
                        <a:pt x="2421" y="561407"/>
                      </a:lnTo>
                      <a:cubicBezTo>
                        <a:pt x="1009" y="558583"/>
                        <a:pt x="504" y="555759"/>
                        <a:pt x="504" y="553237"/>
                      </a:cubicBezTo>
                      <a:lnTo>
                        <a:pt x="504" y="553237"/>
                      </a:lnTo>
                      <a:cubicBezTo>
                        <a:pt x="1815" y="531855"/>
                        <a:pt x="36410" y="527316"/>
                        <a:pt x="48210" y="526812"/>
                      </a:cubicBezTo>
                      <a:lnTo>
                        <a:pt x="48210" y="526812"/>
                      </a:lnTo>
                      <a:cubicBezTo>
                        <a:pt x="50530" y="526812"/>
                        <a:pt x="53052" y="526913"/>
                        <a:pt x="55573" y="526913"/>
                      </a:cubicBezTo>
                      <a:lnTo>
                        <a:pt x="55573" y="526913"/>
                      </a:lnTo>
                      <a:cubicBezTo>
                        <a:pt x="66768" y="526308"/>
                        <a:pt x="75543" y="526207"/>
                        <a:pt x="75846" y="509364"/>
                      </a:cubicBezTo>
                      <a:lnTo>
                        <a:pt x="75846" y="509364"/>
                      </a:lnTo>
                      <a:cubicBezTo>
                        <a:pt x="75745" y="486569"/>
                        <a:pt x="73526" y="475374"/>
                        <a:pt x="56279" y="457926"/>
                      </a:cubicBezTo>
                      <a:lnTo>
                        <a:pt x="56279" y="457926"/>
                      </a:lnTo>
                      <a:cubicBezTo>
                        <a:pt x="48009" y="449252"/>
                        <a:pt x="46395" y="427668"/>
                        <a:pt x="46193" y="401546"/>
                      </a:cubicBezTo>
                      <a:lnTo>
                        <a:pt x="46193" y="401546"/>
                      </a:lnTo>
                      <a:cubicBezTo>
                        <a:pt x="46193" y="359589"/>
                        <a:pt x="52245" y="307646"/>
                        <a:pt x="55472" y="290097"/>
                      </a:cubicBezTo>
                      <a:lnTo>
                        <a:pt x="55472" y="290097"/>
                      </a:lnTo>
                      <a:cubicBezTo>
                        <a:pt x="59406" y="274464"/>
                        <a:pt x="85427" y="270228"/>
                        <a:pt x="112760" y="267101"/>
                      </a:cubicBezTo>
                      <a:lnTo>
                        <a:pt x="112760" y="267101"/>
                      </a:lnTo>
                      <a:cubicBezTo>
                        <a:pt x="113768" y="267001"/>
                        <a:pt x="114777" y="267404"/>
                        <a:pt x="115382" y="268211"/>
                      </a:cubicBezTo>
                      <a:lnTo>
                        <a:pt x="115382" y="268211"/>
                      </a:lnTo>
                      <a:cubicBezTo>
                        <a:pt x="115987" y="269017"/>
                        <a:pt x="116088" y="270026"/>
                        <a:pt x="115584" y="270934"/>
                      </a:cubicBezTo>
                      <a:lnTo>
                        <a:pt x="115584" y="270934"/>
                      </a:lnTo>
                      <a:cubicBezTo>
                        <a:pt x="114979" y="272245"/>
                        <a:pt x="114676" y="273657"/>
                        <a:pt x="114676" y="275574"/>
                      </a:cubicBezTo>
                      <a:lnTo>
                        <a:pt x="114676" y="275574"/>
                      </a:lnTo>
                      <a:cubicBezTo>
                        <a:pt x="114676" y="277086"/>
                        <a:pt x="114878" y="278801"/>
                        <a:pt x="115584" y="280616"/>
                      </a:cubicBezTo>
                      <a:lnTo>
                        <a:pt x="115584" y="280616"/>
                      </a:lnTo>
                      <a:cubicBezTo>
                        <a:pt x="120829" y="297863"/>
                        <a:pt x="155524" y="328928"/>
                        <a:pt x="178217" y="328423"/>
                      </a:cubicBezTo>
                      <a:lnTo>
                        <a:pt x="178217" y="328423"/>
                      </a:lnTo>
                      <a:cubicBezTo>
                        <a:pt x="206054" y="329936"/>
                        <a:pt x="198288" y="365741"/>
                        <a:pt x="209281" y="362615"/>
                      </a:cubicBezTo>
                      <a:lnTo>
                        <a:pt x="209281" y="362615"/>
                      </a:lnTo>
                      <a:cubicBezTo>
                        <a:pt x="219468" y="364531"/>
                        <a:pt x="222292" y="334576"/>
                        <a:pt x="248616" y="333769"/>
                      </a:cubicBezTo>
                      <a:lnTo>
                        <a:pt x="248616" y="333769"/>
                      </a:lnTo>
                      <a:cubicBezTo>
                        <a:pt x="251037" y="333769"/>
                        <a:pt x="253659" y="334071"/>
                        <a:pt x="256383" y="334576"/>
                      </a:cubicBezTo>
                      <a:lnTo>
                        <a:pt x="256383" y="334576"/>
                      </a:lnTo>
                      <a:cubicBezTo>
                        <a:pt x="284320" y="340123"/>
                        <a:pt x="316696" y="350511"/>
                        <a:pt x="360368" y="350511"/>
                      </a:cubicBezTo>
                      <a:lnTo>
                        <a:pt x="360368" y="350511"/>
                      </a:lnTo>
                      <a:cubicBezTo>
                        <a:pt x="365713" y="350511"/>
                        <a:pt x="371160" y="350410"/>
                        <a:pt x="376808" y="350007"/>
                      </a:cubicBezTo>
                      <a:lnTo>
                        <a:pt x="376808" y="350007"/>
                      </a:lnTo>
                      <a:cubicBezTo>
                        <a:pt x="417453" y="347586"/>
                        <a:pt x="420782" y="314908"/>
                        <a:pt x="420984" y="301897"/>
                      </a:cubicBezTo>
                      <a:lnTo>
                        <a:pt x="420984" y="301897"/>
                      </a:lnTo>
                      <a:cubicBezTo>
                        <a:pt x="420984" y="299578"/>
                        <a:pt x="420883" y="298065"/>
                        <a:pt x="420883" y="297863"/>
                      </a:cubicBezTo>
                      <a:lnTo>
                        <a:pt x="420883" y="297863"/>
                      </a:lnTo>
                      <a:cubicBezTo>
                        <a:pt x="420580" y="296855"/>
                        <a:pt x="418664" y="291610"/>
                        <a:pt x="418664" y="284550"/>
                      </a:cubicBezTo>
                      <a:lnTo>
                        <a:pt x="418664" y="284550"/>
                      </a:lnTo>
                      <a:cubicBezTo>
                        <a:pt x="418462" y="267001"/>
                        <a:pt x="431070" y="238962"/>
                        <a:pt x="497838" y="234928"/>
                      </a:cubicBezTo>
                      <a:lnTo>
                        <a:pt x="497838" y="234928"/>
                      </a:lnTo>
                      <a:cubicBezTo>
                        <a:pt x="504192" y="234423"/>
                        <a:pt x="510243" y="234322"/>
                        <a:pt x="515992" y="234322"/>
                      </a:cubicBezTo>
                      <a:lnTo>
                        <a:pt x="515992" y="234322"/>
                      </a:lnTo>
                      <a:cubicBezTo>
                        <a:pt x="600411" y="234121"/>
                        <a:pt x="638031" y="276885"/>
                        <a:pt x="640754" y="327717"/>
                      </a:cubicBezTo>
                      <a:lnTo>
                        <a:pt x="640754" y="327717"/>
                      </a:lnTo>
                      <a:cubicBezTo>
                        <a:pt x="643074" y="361505"/>
                        <a:pt x="650537" y="367254"/>
                        <a:pt x="659010" y="367254"/>
                      </a:cubicBezTo>
                      <a:lnTo>
                        <a:pt x="659010" y="367254"/>
                      </a:lnTo>
                      <a:cubicBezTo>
                        <a:pt x="664255" y="367254"/>
                        <a:pt x="670709" y="364833"/>
                        <a:pt x="677467" y="362514"/>
                      </a:cubicBezTo>
                      <a:lnTo>
                        <a:pt x="677467" y="362514"/>
                      </a:lnTo>
                      <a:cubicBezTo>
                        <a:pt x="682106" y="361505"/>
                        <a:pt x="685032" y="351621"/>
                        <a:pt x="684830" y="338812"/>
                      </a:cubicBezTo>
                      <a:lnTo>
                        <a:pt x="684830" y="338812"/>
                      </a:lnTo>
                      <a:cubicBezTo>
                        <a:pt x="684830" y="317732"/>
                        <a:pt x="678879" y="291207"/>
                        <a:pt x="678980" y="289290"/>
                      </a:cubicBezTo>
                      <a:lnTo>
                        <a:pt x="678980" y="289290"/>
                      </a:lnTo>
                      <a:cubicBezTo>
                        <a:pt x="678980" y="289089"/>
                        <a:pt x="722349" y="198921"/>
                        <a:pt x="728603" y="159586"/>
                      </a:cubicBezTo>
                      <a:lnTo>
                        <a:pt x="728603" y="159586"/>
                      </a:lnTo>
                      <a:cubicBezTo>
                        <a:pt x="729208" y="154442"/>
                        <a:pt x="729611" y="149803"/>
                        <a:pt x="729611" y="145567"/>
                      </a:cubicBezTo>
                      <a:lnTo>
                        <a:pt x="729611" y="145567"/>
                      </a:lnTo>
                      <a:cubicBezTo>
                        <a:pt x="729611" y="124991"/>
                        <a:pt x="721542" y="113191"/>
                        <a:pt x="721441" y="93322"/>
                      </a:cubicBezTo>
                      <a:lnTo>
                        <a:pt x="721441" y="93322"/>
                      </a:lnTo>
                      <a:cubicBezTo>
                        <a:pt x="721441" y="86262"/>
                        <a:pt x="722551" y="78395"/>
                        <a:pt x="725576" y="68914"/>
                      </a:cubicBezTo>
                      <a:lnTo>
                        <a:pt x="725576" y="68914"/>
                      </a:lnTo>
                      <a:cubicBezTo>
                        <a:pt x="732737" y="45011"/>
                        <a:pt x="751598" y="34219"/>
                        <a:pt x="768744" y="34219"/>
                      </a:cubicBezTo>
                      <a:lnTo>
                        <a:pt x="768744" y="34219"/>
                      </a:lnTo>
                      <a:cubicBezTo>
                        <a:pt x="782158" y="34219"/>
                        <a:pt x="794665" y="40875"/>
                        <a:pt x="799304" y="53180"/>
                      </a:cubicBezTo>
                      <a:lnTo>
                        <a:pt x="799304" y="53180"/>
                      </a:lnTo>
                      <a:cubicBezTo>
                        <a:pt x="803641" y="64880"/>
                        <a:pt x="813222" y="71234"/>
                        <a:pt x="822804" y="71234"/>
                      </a:cubicBezTo>
                      <a:lnTo>
                        <a:pt x="822804" y="71234"/>
                      </a:lnTo>
                      <a:cubicBezTo>
                        <a:pt x="831882" y="71133"/>
                        <a:pt x="841160" y="65788"/>
                        <a:pt x="846909" y="53080"/>
                      </a:cubicBezTo>
                      <a:lnTo>
                        <a:pt x="846909" y="53080"/>
                      </a:lnTo>
                      <a:cubicBezTo>
                        <a:pt x="851044" y="43195"/>
                        <a:pt x="859013" y="38758"/>
                        <a:pt x="867686" y="38858"/>
                      </a:cubicBezTo>
                      <a:lnTo>
                        <a:pt x="867686" y="38858"/>
                      </a:lnTo>
                      <a:cubicBezTo>
                        <a:pt x="886043" y="39060"/>
                        <a:pt x="908736" y="55702"/>
                        <a:pt x="925882" y="70730"/>
                      </a:cubicBezTo>
                      <a:lnTo>
                        <a:pt x="925882" y="70730"/>
                      </a:lnTo>
                      <a:cubicBezTo>
                        <a:pt x="937783" y="81219"/>
                        <a:pt x="963704" y="86766"/>
                        <a:pt x="982867" y="91204"/>
                      </a:cubicBezTo>
                      <a:lnTo>
                        <a:pt x="982867" y="91204"/>
                      </a:lnTo>
                      <a:lnTo>
                        <a:pt x="982968" y="91002"/>
                      </a:lnTo>
                      <a:cubicBezTo>
                        <a:pt x="983270" y="89590"/>
                        <a:pt x="984783" y="88884"/>
                        <a:pt x="986094" y="89187"/>
                      </a:cubicBezTo>
                      <a:lnTo>
                        <a:pt x="986094" y="89187"/>
                      </a:lnTo>
                      <a:cubicBezTo>
                        <a:pt x="987506" y="89489"/>
                        <a:pt x="988414" y="90902"/>
                        <a:pt x="988313" y="92313"/>
                      </a:cubicBezTo>
                      <a:lnTo>
                        <a:pt x="988313" y="92313"/>
                      </a:lnTo>
                      <a:cubicBezTo>
                        <a:pt x="987607" y="97861"/>
                        <a:pt x="987405" y="104114"/>
                        <a:pt x="987405" y="111174"/>
                      </a:cubicBezTo>
                      <a:lnTo>
                        <a:pt x="987405" y="111174"/>
                      </a:lnTo>
                      <a:cubicBezTo>
                        <a:pt x="987405" y="137700"/>
                        <a:pt x="1004854" y="155451"/>
                        <a:pt x="1038843" y="174110"/>
                      </a:cubicBezTo>
                      <a:lnTo>
                        <a:pt x="1038843" y="174110"/>
                      </a:lnTo>
                      <a:cubicBezTo>
                        <a:pt x="1073740" y="193172"/>
                        <a:pt x="1086852" y="218891"/>
                        <a:pt x="1099056" y="240576"/>
                      </a:cubicBezTo>
                      <a:lnTo>
                        <a:pt x="1099056" y="240576"/>
                      </a:lnTo>
                      <a:cubicBezTo>
                        <a:pt x="1101678" y="245013"/>
                        <a:pt x="1104805" y="246627"/>
                        <a:pt x="1108940" y="246728"/>
                      </a:cubicBezTo>
                      <a:lnTo>
                        <a:pt x="1108940" y="246728"/>
                      </a:lnTo>
                      <a:cubicBezTo>
                        <a:pt x="1122253" y="247232"/>
                        <a:pt x="1145854" y="224942"/>
                        <a:pt x="1159470" y="197005"/>
                      </a:cubicBezTo>
                      <a:lnTo>
                        <a:pt x="1159470" y="197005"/>
                      </a:lnTo>
                      <a:cubicBezTo>
                        <a:pt x="1166530" y="182784"/>
                        <a:pt x="1176011" y="176429"/>
                        <a:pt x="1185794" y="176429"/>
                      </a:cubicBezTo>
                      <a:lnTo>
                        <a:pt x="1185794" y="176429"/>
                      </a:lnTo>
                      <a:cubicBezTo>
                        <a:pt x="1202335" y="176631"/>
                        <a:pt x="1216455" y="193273"/>
                        <a:pt x="1220792" y="210015"/>
                      </a:cubicBezTo>
                      <a:lnTo>
                        <a:pt x="1220792" y="210015"/>
                      </a:lnTo>
                      <a:cubicBezTo>
                        <a:pt x="1225129" y="229380"/>
                        <a:pt x="1258110" y="246627"/>
                        <a:pt x="1286249" y="246425"/>
                      </a:cubicBezTo>
                      <a:lnTo>
                        <a:pt x="1286249" y="246425"/>
                      </a:lnTo>
                      <a:cubicBezTo>
                        <a:pt x="1290485" y="246425"/>
                        <a:pt x="1294621" y="246123"/>
                        <a:pt x="1298453" y="245417"/>
                      </a:cubicBezTo>
                      <a:lnTo>
                        <a:pt x="1298453" y="245417"/>
                      </a:lnTo>
                      <a:cubicBezTo>
                        <a:pt x="1328811" y="239365"/>
                        <a:pt x="1359170" y="217983"/>
                        <a:pt x="1367944" y="188129"/>
                      </a:cubicBezTo>
                      <a:lnTo>
                        <a:pt x="1367944" y="188129"/>
                      </a:lnTo>
                      <a:cubicBezTo>
                        <a:pt x="1377728" y="155552"/>
                        <a:pt x="1403951" y="148895"/>
                        <a:pt x="1421702" y="133867"/>
                      </a:cubicBezTo>
                      <a:lnTo>
                        <a:pt x="1421702" y="133867"/>
                      </a:lnTo>
                      <a:cubicBezTo>
                        <a:pt x="1427148" y="129127"/>
                        <a:pt x="1429267" y="123277"/>
                        <a:pt x="1429368" y="115612"/>
                      </a:cubicBezTo>
                      <a:lnTo>
                        <a:pt x="1429368" y="115612"/>
                      </a:lnTo>
                      <a:cubicBezTo>
                        <a:pt x="1429368" y="105828"/>
                        <a:pt x="1425636" y="93322"/>
                        <a:pt x="1420492" y="79807"/>
                      </a:cubicBezTo>
                      <a:lnTo>
                        <a:pt x="1420492" y="79807"/>
                      </a:lnTo>
                      <a:cubicBezTo>
                        <a:pt x="1420189" y="78899"/>
                        <a:pt x="1420391" y="77689"/>
                        <a:pt x="1420996" y="77084"/>
                      </a:cubicBezTo>
                      <a:lnTo>
                        <a:pt x="1420996" y="77084"/>
                      </a:lnTo>
                      <a:cubicBezTo>
                        <a:pt x="1421702" y="76277"/>
                        <a:pt x="1422711" y="75974"/>
                        <a:pt x="1423720" y="76176"/>
                      </a:cubicBezTo>
                      <a:lnTo>
                        <a:pt x="1423720" y="76176"/>
                      </a:lnTo>
                      <a:cubicBezTo>
                        <a:pt x="1456801" y="83438"/>
                        <a:pt x="1468602" y="129530"/>
                        <a:pt x="1468703" y="171386"/>
                      </a:cubicBezTo>
                      <a:lnTo>
                        <a:pt x="1468703" y="171386"/>
                      </a:lnTo>
                      <a:cubicBezTo>
                        <a:pt x="1468299" y="207998"/>
                        <a:pt x="1460230" y="242189"/>
                        <a:pt x="1442076" y="246930"/>
                      </a:cubicBezTo>
                      <a:lnTo>
                        <a:pt x="1442076" y="246930"/>
                      </a:lnTo>
                      <a:cubicBezTo>
                        <a:pt x="1408994" y="254292"/>
                        <a:pt x="1406170" y="247837"/>
                        <a:pt x="1398707" y="296754"/>
                      </a:cubicBezTo>
                      <a:lnTo>
                        <a:pt x="1398707" y="296754"/>
                      </a:lnTo>
                      <a:cubicBezTo>
                        <a:pt x="1398505" y="297863"/>
                        <a:pt x="1398303" y="299174"/>
                        <a:pt x="1398303" y="300385"/>
                      </a:cubicBezTo>
                      <a:lnTo>
                        <a:pt x="1398303" y="300385"/>
                      </a:lnTo>
                      <a:cubicBezTo>
                        <a:pt x="1398303" y="318035"/>
                        <a:pt x="1416659" y="327011"/>
                        <a:pt x="1441067" y="327112"/>
                      </a:cubicBezTo>
                      <a:lnTo>
                        <a:pt x="1441067" y="327112"/>
                      </a:lnTo>
                      <a:cubicBezTo>
                        <a:pt x="1469711" y="327213"/>
                        <a:pt x="1504406" y="314001"/>
                        <a:pt x="1517115" y="291509"/>
                      </a:cubicBezTo>
                      <a:lnTo>
                        <a:pt x="1517115" y="291509"/>
                      </a:lnTo>
                      <a:cubicBezTo>
                        <a:pt x="1542430" y="247837"/>
                        <a:pt x="1513483" y="217781"/>
                        <a:pt x="1555844" y="100180"/>
                      </a:cubicBezTo>
                      <a:lnTo>
                        <a:pt x="1555844" y="100180"/>
                      </a:lnTo>
                      <a:cubicBezTo>
                        <a:pt x="1578336" y="37648"/>
                        <a:pt x="1643994" y="15157"/>
                        <a:pt x="1709653" y="15358"/>
                      </a:cubicBezTo>
                      <a:lnTo>
                        <a:pt x="1709653" y="15358"/>
                      </a:lnTo>
                      <a:cubicBezTo>
                        <a:pt x="1770471" y="15358"/>
                        <a:pt x="1831995" y="34320"/>
                        <a:pt x="1862555" y="59938"/>
                      </a:cubicBezTo>
                      <a:lnTo>
                        <a:pt x="1862555" y="59938"/>
                      </a:lnTo>
                      <a:cubicBezTo>
                        <a:pt x="1890392" y="83337"/>
                        <a:pt x="1899469" y="119243"/>
                        <a:pt x="1899469" y="156359"/>
                      </a:cubicBezTo>
                      <a:lnTo>
                        <a:pt x="1899469" y="156359"/>
                      </a:lnTo>
                      <a:cubicBezTo>
                        <a:pt x="1899469" y="204367"/>
                        <a:pt x="1884340" y="254595"/>
                        <a:pt x="1873246" y="284247"/>
                      </a:cubicBezTo>
                      <a:lnTo>
                        <a:pt x="1873246" y="284247"/>
                      </a:lnTo>
                      <a:cubicBezTo>
                        <a:pt x="1871431" y="288887"/>
                        <a:pt x="1870624" y="293425"/>
                        <a:pt x="1870624" y="298166"/>
                      </a:cubicBezTo>
                      <a:lnTo>
                        <a:pt x="1870624" y="298166"/>
                      </a:lnTo>
                      <a:cubicBezTo>
                        <a:pt x="1869918" y="342443"/>
                        <a:pt x="1945663" y="389140"/>
                        <a:pt x="1962506" y="394385"/>
                      </a:cubicBezTo>
                      <a:lnTo>
                        <a:pt x="1962506" y="394385"/>
                      </a:lnTo>
                      <a:cubicBezTo>
                        <a:pt x="1979954" y="400235"/>
                        <a:pt x="2020399" y="429584"/>
                        <a:pt x="2020600" y="481426"/>
                      </a:cubicBezTo>
                      <a:lnTo>
                        <a:pt x="2020600" y="481426"/>
                      </a:lnTo>
                      <a:cubicBezTo>
                        <a:pt x="2020600" y="490705"/>
                        <a:pt x="2019289" y="500892"/>
                        <a:pt x="2016163" y="511482"/>
                      </a:cubicBezTo>
                      <a:lnTo>
                        <a:pt x="2016163" y="511482"/>
                      </a:lnTo>
                      <a:cubicBezTo>
                        <a:pt x="1996092" y="582083"/>
                        <a:pt x="1930635" y="562516"/>
                        <a:pt x="1910564" y="571795"/>
                      </a:cubicBezTo>
                      <a:lnTo>
                        <a:pt x="1910564" y="571795"/>
                      </a:lnTo>
                      <a:cubicBezTo>
                        <a:pt x="1902495" y="574619"/>
                        <a:pt x="1895939" y="595194"/>
                        <a:pt x="1896242" y="619602"/>
                      </a:cubicBezTo>
                      <a:lnTo>
                        <a:pt x="1896242" y="619602"/>
                      </a:lnTo>
                      <a:cubicBezTo>
                        <a:pt x="1896141" y="648548"/>
                        <a:pt x="1904411" y="682336"/>
                        <a:pt x="1921154" y="697162"/>
                      </a:cubicBezTo>
                      <a:lnTo>
                        <a:pt x="1921154" y="697162"/>
                      </a:lnTo>
                      <a:cubicBezTo>
                        <a:pt x="1951412" y="726008"/>
                        <a:pt x="2020903" y="714409"/>
                        <a:pt x="2022819" y="754551"/>
                      </a:cubicBezTo>
                      <a:lnTo>
                        <a:pt x="2022819" y="754551"/>
                      </a:lnTo>
                      <a:cubicBezTo>
                        <a:pt x="2022920" y="790053"/>
                        <a:pt x="2028972" y="843508"/>
                        <a:pt x="2099472" y="885263"/>
                      </a:cubicBezTo>
                      <a:lnTo>
                        <a:pt x="2099472" y="885263"/>
                      </a:lnTo>
                      <a:lnTo>
                        <a:pt x="2098161" y="887684"/>
                      </a:lnTo>
                      <a:lnTo>
                        <a:pt x="2096648" y="890105"/>
                      </a:lnTo>
                      <a:cubicBezTo>
                        <a:pt x="2024231" y="847441"/>
                        <a:pt x="2017272" y="790557"/>
                        <a:pt x="2017373" y="754551"/>
                      </a:cubicBezTo>
                      <a:lnTo>
                        <a:pt x="2017373" y="754551"/>
                      </a:lnTo>
                      <a:cubicBezTo>
                        <a:pt x="2019188" y="722982"/>
                        <a:pt x="1952017" y="731051"/>
                        <a:pt x="1917422" y="701297"/>
                      </a:cubicBezTo>
                      <a:lnTo>
                        <a:pt x="1917422" y="701297"/>
                      </a:lnTo>
                      <a:cubicBezTo>
                        <a:pt x="1898763" y="684151"/>
                        <a:pt x="1890796" y="649557"/>
                        <a:pt x="1890796" y="619602"/>
                      </a:cubicBezTo>
                      <a:lnTo>
                        <a:pt x="1890796" y="619602"/>
                      </a:lnTo>
                      <a:cubicBezTo>
                        <a:pt x="1890997" y="594589"/>
                        <a:pt x="1895738" y="572602"/>
                        <a:pt x="1908446" y="566651"/>
                      </a:cubicBezTo>
                      <a:lnTo>
                        <a:pt x="1908446" y="566651"/>
                      </a:lnTo>
                      <a:cubicBezTo>
                        <a:pt x="1933862" y="556464"/>
                        <a:pt x="1991956" y="575930"/>
                        <a:pt x="2010918" y="509969"/>
                      </a:cubicBezTo>
                      <a:lnTo>
                        <a:pt x="2010918" y="509969"/>
                      </a:lnTo>
                      <a:cubicBezTo>
                        <a:pt x="2013843" y="499782"/>
                        <a:pt x="2015053" y="490201"/>
                        <a:pt x="2015053" y="481325"/>
                      </a:cubicBezTo>
                      <a:lnTo>
                        <a:pt x="2015053" y="481325"/>
                      </a:lnTo>
                      <a:cubicBezTo>
                        <a:pt x="2015255" y="432812"/>
                        <a:pt x="1976122" y="404571"/>
                        <a:pt x="1960690" y="399629"/>
                      </a:cubicBezTo>
                      <a:lnTo>
                        <a:pt x="1960690" y="399629"/>
                      </a:lnTo>
                      <a:cubicBezTo>
                        <a:pt x="1942233" y="392973"/>
                        <a:pt x="1865783" y="348192"/>
                        <a:pt x="1865077" y="298166"/>
                      </a:cubicBezTo>
                      <a:lnTo>
                        <a:pt x="1865077" y="298166"/>
                      </a:lnTo>
                      <a:cubicBezTo>
                        <a:pt x="1865077" y="292921"/>
                        <a:pt x="1865883" y="287475"/>
                        <a:pt x="1868001" y="282230"/>
                      </a:cubicBezTo>
                      <a:lnTo>
                        <a:pt x="1868001" y="282230"/>
                      </a:lnTo>
                      <a:cubicBezTo>
                        <a:pt x="1878894" y="253082"/>
                        <a:pt x="1893922" y="203157"/>
                        <a:pt x="1893922" y="156460"/>
                      </a:cubicBezTo>
                      <a:lnTo>
                        <a:pt x="1893922" y="156460"/>
                      </a:lnTo>
                      <a:cubicBezTo>
                        <a:pt x="1893922" y="120150"/>
                        <a:pt x="1885047" y="86060"/>
                        <a:pt x="1859025" y="64376"/>
                      </a:cubicBezTo>
                      <a:lnTo>
                        <a:pt x="1859025" y="64376"/>
                      </a:lnTo>
                      <a:cubicBezTo>
                        <a:pt x="1830179" y="40069"/>
                        <a:pt x="1769261" y="21006"/>
                        <a:pt x="1709653" y="21006"/>
                      </a:cubicBezTo>
                      <a:lnTo>
                        <a:pt x="1709653" y="21006"/>
                      </a:lnTo>
                      <a:cubicBezTo>
                        <a:pt x="1644902" y="21006"/>
                        <a:pt x="1582370" y="42994"/>
                        <a:pt x="1561089" y="102198"/>
                      </a:cubicBezTo>
                      <a:lnTo>
                        <a:pt x="1561089" y="102198"/>
                      </a:lnTo>
                      <a:cubicBezTo>
                        <a:pt x="1519031" y="218588"/>
                        <a:pt x="1548583" y="246930"/>
                        <a:pt x="1521956" y="294434"/>
                      </a:cubicBezTo>
                      <a:lnTo>
                        <a:pt x="1521956" y="294434"/>
                      </a:lnTo>
                      <a:cubicBezTo>
                        <a:pt x="1507230" y="319750"/>
                        <a:pt x="1471425" y="332861"/>
                        <a:pt x="1441168" y="332861"/>
                      </a:cubicBezTo>
                      <a:lnTo>
                        <a:pt x="1441168" y="332861"/>
                      </a:lnTo>
                      <a:cubicBezTo>
                        <a:pt x="1415953" y="332861"/>
                        <a:pt x="1392958" y="323179"/>
                        <a:pt x="1392857" y="300586"/>
                      </a:cubicBezTo>
                      <a:lnTo>
                        <a:pt x="1392857" y="300586"/>
                      </a:lnTo>
                      <a:cubicBezTo>
                        <a:pt x="1392857" y="298973"/>
                        <a:pt x="1392958" y="297359"/>
                        <a:pt x="1393159" y="295947"/>
                      </a:cubicBezTo>
                      <a:lnTo>
                        <a:pt x="1393159" y="295947"/>
                      </a:lnTo>
                      <a:cubicBezTo>
                        <a:pt x="1398807" y="247030"/>
                        <a:pt x="1409196" y="247131"/>
                        <a:pt x="1440866" y="241584"/>
                      </a:cubicBezTo>
                      <a:lnTo>
                        <a:pt x="1440866" y="241584"/>
                      </a:lnTo>
                      <a:cubicBezTo>
                        <a:pt x="1452767" y="240273"/>
                        <a:pt x="1463559" y="207393"/>
                        <a:pt x="1463155" y="171588"/>
                      </a:cubicBezTo>
                      <a:lnTo>
                        <a:pt x="1463155" y="171588"/>
                      </a:lnTo>
                      <a:cubicBezTo>
                        <a:pt x="1463256" y="133060"/>
                        <a:pt x="1451859" y="92414"/>
                        <a:pt x="1427451" y="83236"/>
                      </a:cubicBezTo>
                      <a:lnTo>
                        <a:pt x="1427451" y="83236"/>
                      </a:lnTo>
                      <a:cubicBezTo>
                        <a:pt x="1431586" y="95137"/>
                        <a:pt x="1434713" y="106232"/>
                        <a:pt x="1434713" y="115914"/>
                      </a:cubicBezTo>
                      <a:lnTo>
                        <a:pt x="1434713" y="115914"/>
                      </a:lnTo>
                      <a:cubicBezTo>
                        <a:pt x="1434713" y="124588"/>
                        <a:pt x="1432091" y="132556"/>
                        <a:pt x="1425132" y="138406"/>
                      </a:cubicBezTo>
                      <a:lnTo>
                        <a:pt x="1425132" y="138406"/>
                      </a:lnTo>
                      <a:cubicBezTo>
                        <a:pt x="1405666" y="154543"/>
                        <a:pt x="1382065" y="160292"/>
                        <a:pt x="1373189" y="190045"/>
                      </a:cubicBezTo>
                      <a:lnTo>
                        <a:pt x="1373189" y="190045"/>
                      </a:lnTo>
                      <a:cubicBezTo>
                        <a:pt x="1363406" y="222421"/>
                        <a:pt x="1331434" y="244811"/>
                        <a:pt x="1299462" y="251166"/>
                      </a:cubicBezTo>
                      <a:lnTo>
                        <a:pt x="1299462" y="251166"/>
                      </a:lnTo>
                      <a:cubicBezTo>
                        <a:pt x="1295226" y="251973"/>
                        <a:pt x="1290788" y="252376"/>
                        <a:pt x="1286148" y="252376"/>
                      </a:cubicBezTo>
                      <a:lnTo>
                        <a:pt x="1286148" y="252376"/>
                      </a:lnTo>
                      <a:cubicBezTo>
                        <a:pt x="1256093" y="252174"/>
                        <a:pt x="1221599" y="235432"/>
                        <a:pt x="1215245" y="211629"/>
                      </a:cubicBezTo>
                      <a:lnTo>
                        <a:pt x="1215245" y="211629"/>
                      </a:lnTo>
                      <a:cubicBezTo>
                        <a:pt x="1211614" y="196803"/>
                        <a:pt x="1197998" y="181977"/>
                        <a:pt x="1185693" y="182279"/>
                      </a:cubicBezTo>
                      <a:lnTo>
                        <a:pt x="1185693" y="182279"/>
                      </a:lnTo>
                      <a:cubicBezTo>
                        <a:pt x="1178532" y="182380"/>
                        <a:pt x="1170968" y="186616"/>
                        <a:pt x="1164412" y="199829"/>
                      </a:cubicBezTo>
                      <a:lnTo>
                        <a:pt x="1164412" y="199829"/>
                      </a:lnTo>
                      <a:cubicBezTo>
                        <a:pt x="1149687" y="228472"/>
                        <a:pt x="1126994" y="252174"/>
                        <a:pt x="1108738" y="252678"/>
                      </a:cubicBezTo>
                      <a:lnTo>
                        <a:pt x="1108738" y="252678"/>
                      </a:lnTo>
                      <a:cubicBezTo>
                        <a:pt x="1102889" y="252678"/>
                        <a:pt x="1097240" y="249552"/>
                        <a:pt x="1094013" y="243601"/>
                      </a:cubicBezTo>
                      <a:lnTo>
                        <a:pt x="1094013" y="243601"/>
                      </a:lnTo>
                      <a:cubicBezTo>
                        <a:pt x="1081507" y="221715"/>
                        <a:pt x="1069504" y="197610"/>
                        <a:pt x="1035918" y="179253"/>
                      </a:cubicBezTo>
                      <a:lnTo>
                        <a:pt x="1035918" y="179253"/>
                      </a:lnTo>
                      <a:cubicBezTo>
                        <a:pt x="1001526" y="160695"/>
                        <a:pt x="981454" y="141028"/>
                        <a:pt x="981454" y="111476"/>
                      </a:cubicBezTo>
                      <a:lnTo>
                        <a:pt x="981454" y="111476"/>
                      </a:lnTo>
                      <a:cubicBezTo>
                        <a:pt x="981454" y="105526"/>
                        <a:pt x="981656" y="99979"/>
                        <a:pt x="982160" y="94835"/>
                      </a:cubicBezTo>
                      <a:lnTo>
                        <a:pt x="982160" y="94835"/>
                      </a:lnTo>
                      <a:cubicBezTo>
                        <a:pt x="960173" y="92212"/>
                        <a:pt x="935363" y="86968"/>
                        <a:pt x="921948" y="75268"/>
                      </a:cubicBezTo>
                      <a:lnTo>
                        <a:pt x="921948" y="75268"/>
                      </a:lnTo>
                      <a:cubicBezTo>
                        <a:pt x="905205" y="60543"/>
                        <a:pt x="882412" y="44607"/>
                        <a:pt x="867383" y="44809"/>
                      </a:cubicBezTo>
                      <a:lnTo>
                        <a:pt x="867383" y="44809"/>
                      </a:lnTo>
                      <a:cubicBezTo>
                        <a:pt x="860424" y="44910"/>
                        <a:pt x="855281" y="47432"/>
                        <a:pt x="851649" y="55702"/>
                      </a:cubicBezTo>
                      <a:lnTo>
                        <a:pt x="851649" y="55702"/>
                      </a:lnTo>
                      <a:cubicBezTo>
                        <a:pt x="845295" y="70024"/>
                        <a:pt x="833798" y="77084"/>
                        <a:pt x="822401" y="77084"/>
                      </a:cubicBezTo>
                      <a:lnTo>
                        <a:pt x="822401" y="77084"/>
                      </a:lnTo>
                      <a:cubicBezTo>
                        <a:pt x="810298" y="77084"/>
                        <a:pt x="798699" y="69116"/>
                        <a:pt x="793656" y="55500"/>
                      </a:cubicBezTo>
                      <a:lnTo>
                        <a:pt x="793656" y="55500"/>
                      </a:lnTo>
                      <a:cubicBezTo>
                        <a:pt x="790126" y="45818"/>
                        <a:pt x="780040" y="40270"/>
                        <a:pt x="768341" y="40270"/>
                      </a:cubicBezTo>
                      <a:lnTo>
                        <a:pt x="768341" y="40270"/>
                      </a:lnTo>
                      <a:cubicBezTo>
                        <a:pt x="753514" y="40270"/>
                        <a:pt x="736973" y="49348"/>
                        <a:pt x="730519" y="70931"/>
                      </a:cubicBezTo>
                      <a:lnTo>
                        <a:pt x="730519" y="70931"/>
                      </a:lnTo>
                      <a:cubicBezTo>
                        <a:pt x="727695" y="79908"/>
                        <a:pt x="726686" y="87170"/>
                        <a:pt x="726686" y="93625"/>
                      </a:cubicBezTo>
                      <a:lnTo>
                        <a:pt x="726686" y="93625"/>
                      </a:lnTo>
                      <a:cubicBezTo>
                        <a:pt x="726585" y="111476"/>
                        <a:pt x="734755" y="123580"/>
                        <a:pt x="734856" y="145869"/>
                      </a:cubicBezTo>
                      <a:lnTo>
                        <a:pt x="734856" y="145869"/>
                      </a:lnTo>
                      <a:cubicBezTo>
                        <a:pt x="734856" y="150408"/>
                        <a:pt x="734553" y="155148"/>
                        <a:pt x="733847" y="160695"/>
                      </a:cubicBezTo>
                      <a:lnTo>
                        <a:pt x="733847" y="160695"/>
                      </a:lnTo>
                      <a:cubicBezTo>
                        <a:pt x="727291" y="202048"/>
                        <a:pt x="683720" y="291812"/>
                        <a:pt x="684023" y="290198"/>
                      </a:cubicBezTo>
                      <a:lnTo>
                        <a:pt x="684023" y="290198"/>
                      </a:lnTo>
                      <a:cubicBezTo>
                        <a:pt x="684023" y="290299"/>
                        <a:pt x="690074" y="317026"/>
                        <a:pt x="690074" y="339114"/>
                      </a:cubicBezTo>
                      <a:lnTo>
                        <a:pt x="690074" y="339114"/>
                      </a:lnTo>
                      <a:cubicBezTo>
                        <a:pt x="689873" y="352125"/>
                        <a:pt x="688460" y="364228"/>
                        <a:pt x="679081" y="368061"/>
                      </a:cubicBezTo>
                      <a:lnTo>
                        <a:pt x="679081" y="368061"/>
                      </a:lnTo>
                      <a:cubicBezTo>
                        <a:pt x="672424" y="370280"/>
                        <a:pt x="665566" y="373003"/>
                        <a:pt x="658707" y="373003"/>
                      </a:cubicBezTo>
                      <a:lnTo>
                        <a:pt x="658707" y="373003"/>
                      </a:lnTo>
                      <a:cubicBezTo>
                        <a:pt x="645797" y="373003"/>
                        <a:pt x="636620" y="362110"/>
                        <a:pt x="635005" y="328322"/>
                      </a:cubicBezTo>
                      <a:lnTo>
                        <a:pt x="635005" y="328322"/>
                      </a:lnTo>
                      <a:cubicBezTo>
                        <a:pt x="631879" y="280213"/>
                        <a:pt x="598394" y="240273"/>
                        <a:pt x="515690" y="240071"/>
                      </a:cubicBezTo>
                      <a:lnTo>
                        <a:pt x="515690" y="240071"/>
                      </a:lnTo>
                      <a:cubicBezTo>
                        <a:pt x="509941" y="240071"/>
                        <a:pt x="504091" y="240273"/>
                        <a:pt x="498039" y="240777"/>
                      </a:cubicBezTo>
                      <a:lnTo>
                        <a:pt x="498039" y="240777"/>
                      </a:lnTo>
                      <a:cubicBezTo>
                        <a:pt x="432280" y="245417"/>
                        <a:pt x="424110" y="270127"/>
                        <a:pt x="423909" y="284752"/>
                      </a:cubicBezTo>
                      <a:lnTo>
                        <a:pt x="423909" y="284752"/>
                      </a:lnTo>
                      <a:cubicBezTo>
                        <a:pt x="423909" y="291408"/>
                        <a:pt x="425825" y="296048"/>
                        <a:pt x="426127" y="296754"/>
                      </a:cubicBezTo>
                      <a:lnTo>
                        <a:pt x="426127" y="296754"/>
                      </a:lnTo>
                      <a:cubicBezTo>
                        <a:pt x="426127" y="296855"/>
                        <a:pt x="426329" y="298771"/>
                        <a:pt x="426329" y="301998"/>
                      </a:cubicBezTo>
                      <a:lnTo>
                        <a:pt x="426329" y="301998"/>
                      </a:lnTo>
                      <a:cubicBezTo>
                        <a:pt x="426531" y="315513"/>
                        <a:pt x="421589" y="353134"/>
                        <a:pt x="376808" y="355756"/>
                      </a:cubicBezTo>
                      <a:lnTo>
                        <a:pt x="376808" y="355756"/>
                      </a:lnTo>
                      <a:cubicBezTo>
                        <a:pt x="371059" y="356058"/>
                        <a:pt x="365411" y="356260"/>
                        <a:pt x="360065" y="356260"/>
                      </a:cubicBezTo>
                      <a:lnTo>
                        <a:pt x="360065" y="356260"/>
                      </a:lnTo>
                      <a:cubicBezTo>
                        <a:pt x="315385" y="356260"/>
                        <a:pt x="282303" y="345569"/>
                        <a:pt x="254869" y="340224"/>
                      </a:cubicBezTo>
                      <a:lnTo>
                        <a:pt x="254869" y="340224"/>
                      </a:lnTo>
                      <a:cubicBezTo>
                        <a:pt x="252449" y="339719"/>
                        <a:pt x="250129" y="339417"/>
                        <a:pt x="248213" y="339417"/>
                      </a:cubicBezTo>
                      <a:lnTo>
                        <a:pt x="248213" y="339417"/>
                      </a:lnTo>
                      <a:cubicBezTo>
                        <a:pt x="226528" y="338610"/>
                        <a:pt x="226831" y="366245"/>
                        <a:pt x="208878" y="368263"/>
                      </a:cubicBezTo>
                      <a:lnTo>
                        <a:pt x="208878" y="368263"/>
                      </a:lnTo>
                      <a:cubicBezTo>
                        <a:pt x="188807" y="365136"/>
                        <a:pt x="199599" y="332660"/>
                        <a:pt x="177814" y="334071"/>
                      </a:cubicBezTo>
                      <a:lnTo>
                        <a:pt x="177814" y="334071"/>
                      </a:lnTo>
                      <a:cubicBezTo>
                        <a:pt x="150884" y="333567"/>
                        <a:pt x="116996" y="302604"/>
                        <a:pt x="109835" y="282533"/>
                      </a:cubicBezTo>
                      <a:lnTo>
                        <a:pt x="109835" y="282533"/>
                      </a:lnTo>
                      <a:cubicBezTo>
                        <a:pt x="109028" y="280112"/>
                        <a:pt x="108726" y="277792"/>
                        <a:pt x="108726" y="275674"/>
                      </a:cubicBezTo>
                      <a:lnTo>
                        <a:pt x="108726" y="275674"/>
                      </a:lnTo>
                      <a:cubicBezTo>
                        <a:pt x="108726" y="274767"/>
                        <a:pt x="108826" y="273960"/>
                        <a:pt x="108927" y="273052"/>
                      </a:cubicBezTo>
                      <a:lnTo>
                        <a:pt x="108927" y="273052"/>
                      </a:lnTo>
                      <a:cubicBezTo>
                        <a:pt x="83309" y="275674"/>
                        <a:pt x="61120" y="282533"/>
                        <a:pt x="60515" y="291207"/>
                      </a:cubicBezTo>
                      <a:lnTo>
                        <a:pt x="60515" y="291207"/>
                      </a:lnTo>
                      <a:cubicBezTo>
                        <a:pt x="57389" y="308151"/>
                        <a:pt x="51337" y="360295"/>
                        <a:pt x="51337" y="401647"/>
                      </a:cubicBezTo>
                      <a:lnTo>
                        <a:pt x="51337" y="401647"/>
                      </a:lnTo>
                      <a:cubicBezTo>
                        <a:pt x="51135" y="427164"/>
                        <a:pt x="54060" y="448949"/>
                        <a:pt x="59708" y="453992"/>
                      </a:cubicBezTo>
                      <a:lnTo>
                        <a:pt x="59708" y="453992"/>
                      </a:lnTo>
                      <a:cubicBezTo>
                        <a:pt x="77964" y="472147"/>
                        <a:pt x="81090" y="486469"/>
                        <a:pt x="80788" y="509465"/>
                      </a:cubicBezTo>
                      <a:lnTo>
                        <a:pt x="80788" y="509465"/>
                      </a:lnTo>
                      <a:cubicBezTo>
                        <a:pt x="80788" y="529838"/>
                        <a:pt x="66062" y="532561"/>
                        <a:pt x="54968" y="532561"/>
                      </a:cubicBezTo>
                      <a:lnTo>
                        <a:pt x="54968" y="532561"/>
                      </a:lnTo>
                      <a:cubicBezTo>
                        <a:pt x="52346" y="532561"/>
                        <a:pt x="49925" y="532561"/>
                        <a:pt x="47605" y="532561"/>
                      </a:cubicBezTo>
                      <a:lnTo>
                        <a:pt x="47605" y="532561"/>
                      </a:lnTo>
                      <a:cubicBezTo>
                        <a:pt x="36612" y="532561"/>
                        <a:pt x="5446" y="539621"/>
                        <a:pt x="5446" y="553338"/>
                      </a:cubicBezTo>
                      <a:lnTo>
                        <a:pt x="5446" y="553338"/>
                      </a:lnTo>
                      <a:cubicBezTo>
                        <a:pt x="5446" y="555053"/>
                        <a:pt x="5749" y="556868"/>
                        <a:pt x="6858" y="559188"/>
                      </a:cubicBezTo>
                      <a:lnTo>
                        <a:pt x="6858" y="559188"/>
                      </a:lnTo>
                      <a:cubicBezTo>
                        <a:pt x="16743" y="581780"/>
                        <a:pt x="34998" y="607096"/>
                        <a:pt x="35099" y="628982"/>
                      </a:cubicBezTo>
                      <a:lnTo>
                        <a:pt x="35099" y="628982"/>
                      </a:lnTo>
                      <a:cubicBezTo>
                        <a:pt x="35099" y="636244"/>
                        <a:pt x="35805" y="643405"/>
                        <a:pt x="35805" y="650566"/>
                      </a:cubicBezTo>
                      <a:lnTo>
                        <a:pt x="35805" y="650566"/>
                      </a:lnTo>
                      <a:cubicBezTo>
                        <a:pt x="35805" y="662870"/>
                        <a:pt x="33485" y="674973"/>
                        <a:pt x="20978" y="682235"/>
                      </a:cubicBezTo>
                      <a:lnTo>
                        <a:pt x="20978" y="682235"/>
                      </a:lnTo>
                      <a:cubicBezTo>
                        <a:pt x="11599" y="687480"/>
                        <a:pt x="4841" y="695851"/>
                        <a:pt x="4942" y="703012"/>
                      </a:cubicBezTo>
                      <a:lnTo>
                        <a:pt x="4942" y="703012"/>
                      </a:lnTo>
                      <a:cubicBezTo>
                        <a:pt x="5043" y="708761"/>
                        <a:pt x="8674" y="714913"/>
                        <a:pt x="20777" y="720461"/>
                      </a:cubicBezTo>
                      <a:lnTo>
                        <a:pt x="20777" y="720461"/>
                      </a:lnTo>
                      <a:cubicBezTo>
                        <a:pt x="50631" y="734480"/>
                        <a:pt x="75341" y="792978"/>
                        <a:pt x="88251" y="818394"/>
                      </a:cubicBezTo>
                      <a:lnTo>
                        <a:pt x="88251" y="818394"/>
                      </a:lnTo>
                      <a:cubicBezTo>
                        <a:pt x="99446" y="842197"/>
                        <a:pt x="132326" y="839776"/>
                        <a:pt x="149069" y="866604"/>
                      </a:cubicBezTo>
                      <a:lnTo>
                        <a:pt x="149069" y="866604"/>
                      </a:lnTo>
                      <a:cubicBezTo>
                        <a:pt x="154818" y="876186"/>
                        <a:pt x="156129" y="884457"/>
                        <a:pt x="156129" y="891416"/>
                      </a:cubicBezTo>
                      <a:lnTo>
                        <a:pt x="156129" y="891416"/>
                      </a:lnTo>
                      <a:cubicBezTo>
                        <a:pt x="156129" y="896559"/>
                        <a:pt x="155322" y="901098"/>
                        <a:pt x="155322" y="904931"/>
                      </a:cubicBezTo>
                      <a:lnTo>
                        <a:pt x="155322" y="904931"/>
                      </a:lnTo>
                      <a:cubicBezTo>
                        <a:pt x="155423" y="910075"/>
                        <a:pt x="156230" y="914109"/>
                        <a:pt x="161273" y="919354"/>
                      </a:cubicBezTo>
                      <a:lnTo>
                        <a:pt x="161273" y="919354"/>
                      </a:lnTo>
                      <a:cubicBezTo>
                        <a:pt x="171460" y="929540"/>
                        <a:pt x="186185" y="942652"/>
                        <a:pt x="186185" y="963126"/>
                      </a:cubicBezTo>
                      <a:lnTo>
                        <a:pt x="186185" y="963126"/>
                      </a:lnTo>
                      <a:cubicBezTo>
                        <a:pt x="186185" y="972708"/>
                        <a:pt x="182756" y="983802"/>
                        <a:pt x="174385" y="996611"/>
                      </a:cubicBezTo>
                      <a:lnTo>
                        <a:pt x="174385" y="996611"/>
                      </a:lnTo>
                      <a:cubicBezTo>
                        <a:pt x="156230" y="1023339"/>
                        <a:pt x="141505" y="1033223"/>
                        <a:pt x="142009" y="1044923"/>
                      </a:cubicBezTo>
                      <a:lnTo>
                        <a:pt x="142009" y="1044923"/>
                      </a:lnTo>
                      <a:cubicBezTo>
                        <a:pt x="142009" y="1050268"/>
                        <a:pt x="144530" y="1056925"/>
                        <a:pt x="151590" y="1067212"/>
                      </a:cubicBezTo>
                      <a:lnTo>
                        <a:pt x="151590" y="1067212"/>
                      </a:lnTo>
                      <a:cubicBezTo>
                        <a:pt x="159962" y="1079416"/>
                        <a:pt x="171762" y="1083249"/>
                        <a:pt x="184773" y="1083350"/>
                      </a:cubicBezTo>
                      <a:lnTo>
                        <a:pt x="184773" y="1083350"/>
                      </a:lnTo>
                      <a:cubicBezTo>
                        <a:pt x="204642" y="1083350"/>
                        <a:pt x="226427" y="1073365"/>
                        <a:pt x="237219" y="1068927"/>
                      </a:cubicBezTo>
                      <a:lnTo>
                        <a:pt x="237219" y="1068927"/>
                      </a:lnTo>
                      <a:cubicBezTo>
                        <a:pt x="256786" y="1060959"/>
                        <a:pt x="281496" y="1070742"/>
                        <a:pt x="297532" y="1056622"/>
                      </a:cubicBezTo>
                      <a:lnTo>
                        <a:pt x="297532" y="1056622"/>
                      </a:lnTo>
                      <a:cubicBezTo>
                        <a:pt x="311855" y="1044418"/>
                        <a:pt x="334447" y="1035644"/>
                        <a:pt x="348870" y="1035543"/>
                      </a:cubicBezTo>
                      <a:lnTo>
                        <a:pt x="348870" y="1035543"/>
                      </a:lnTo>
                      <a:cubicBezTo>
                        <a:pt x="353106" y="1035543"/>
                        <a:pt x="357140" y="1036148"/>
                        <a:pt x="359763" y="1038972"/>
                      </a:cubicBezTo>
                      <a:lnTo>
                        <a:pt x="359763" y="1038972"/>
                      </a:lnTo>
                      <a:cubicBezTo>
                        <a:pt x="363292" y="1042704"/>
                        <a:pt x="371260" y="1045931"/>
                        <a:pt x="377715" y="1045931"/>
                      </a:cubicBezTo>
                      <a:lnTo>
                        <a:pt x="377715" y="1045931"/>
                      </a:lnTo>
                      <a:cubicBezTo>
                        <a:pt x="382859" y="1045830"/>
                        <a:pt x="386591" y="1044217"/>
                        <a:pt x="388305" y="1040081"/>
                      </a:cubicBezTo>
                      <a:lnTo>
                        <a:pt x="388305" y="1040081"/>
                      </a:lnTo>
                      <a:cubicBezTo>
                        <a:pt x="390121" y="1035543"/>
                        <a:pt x="394962" y="1033526"/>
                        <a:pt x="399702" y="1033627"/>
                      </a:cubicBezTo>
                      <a:lnTo>
                        <a:pt x="399702" y="1033627"/>
                      </a:lnTo>
                      <a:cubicBezTo>
                        <a:pt x="414025" y="1033828"/>
                        <a:pt x="436617" y="1047444"/>
                        <a:pt x="437020" y="1068927"/>
                      </a:cubicBezTo>
                      <a:lnTo>
                        <a:pt x="437020" y="1068927"/>
                      </a:lnTo>
                      <a:cubicBezTo>
                        <a:pt x="437020" y="1082745"/>
                        <a:pt x="433490" y="1098882"/>
                        <a:pt x="433490" y="1111994"/>
                      </a:cubicBezTo>
                      <a:lnTo>
                        <a:pt x="433490" y="1111994"/>
                      </a:lnTo>
                      <a:cubicBezTo>
                        <a:pt x="433692" y="1123794"/>
                        <a:pt x="436012" y="1131661"/>
                        <a:pt x="445291" y="1134989"/>
                      </a:cubicBezTo>
                      <a:lnTo>
                        <a:pt x="445291" y="1134989"/>
                      </a:lnTo>
                      <a:cubicBezTo>
                        <a:pt x="466572" y="1142251"/>
                        <a:pt x="492290" y="1172105"/>
                        <a:pt x="492391" y="1206196"/>
                      </a:cubicBezTo>
                      <a:lnTo>
                        <a:pt x="492391" y="1206196"/>
                      </a:lnTo>
                      <a:cubicBezTo>
                        <a:pt x="492391" y="1211339"/>
                        <a:pt x="491685" y="1216786"/>
                        <a:pt x="490375" y="1222333"/>
                      </a:cubicBezTo>
                      <a:lnTo>
                        <a:pt x="490375" y="1222333"/>
                      </a:lnTo>
                      <a:cubicBezTo>
                        <a:pt x="479784" y="1261567"/>
                        <a:pt x="418765" y="1340035"/>
                        <a:pt x="388205" y="1380882"/>
                      </a:cubicBezTo>
                      <a:lnTo>
                        <a:pt x="388205" y="1380882"/>
                      </a:lnTo>
                      <a:cubicBezTo>
                        <a:pt x="357241" y="1421932"/>
                        <a:pt x="301164" y="1458644"/>
                        <a:pt x="297129" y="1481640"/>
                      </a:cubicBezTo>
                      <a:lnTo>
                        <a:pt x="297129" y="1481640"/>
                      </a:lnTo>
                      <a:cubicBezTo>
                        <a:pt x="292691" y="1504737"/>
                        <a:pt x="274839" y="1506955"/>
                        <a:pt x="252550" y="1506754"/>
                      </a:cubicBezTo>
                      <a:lnTo>
                        <a:pt x="252550" y="1506754"/>
                      </a:lnTo>
                      <a:cubicBezTo>
                        <a:pt x="248112" y="1506754"/>
                        <a:pt x="243371" y="1506754"/>
                        <a:pt x="238429" y="1506754"/>
                      </a:cubicBezTo>
                      <a:lnTo>
                        <a:pt x="238429" y="1506754"/>
                      </a:lnTo>
                      <a:cubicBezTo>
                        <a:pt x="209584" y="1506955"/>
                        <a:pt x="219267" y="1521278"/>
                        <a:pt x="204541" y="1534086"/>
                      </a:cubicBezTo>
                      <a:lnTo>
                        <a:pt x="204541" y="1534086"/>
                      </a:lnTo>
                      <a:cubicBezTo>
                        <a:pt x="192035" y="1544072"/>
                        <a:pt x="151489" y="1584819"/>
                        <a:pt x="135655" y="1595308"/>
                      </a:cubicBezTo>
                      <a:lnTo>
                        <a:pt x="135655" y="1595308"/>
                      </a:lnTo>
                      <a:cubicBezTo>
                        <a:pt x="133638" y="1596821"/>
                        <a:pt x="131116" y="1597829"/>
                        <a:pt x="130309" y="1595913"/>
                      </a:cubicBezTo>
                      <a:lnTo>
                        <a:pt x="130309" y="1595913"/>
                      </a:lnTo>
                      <a:cubicBezTo>
                        <a:pt x="130915" y="1665203"/>
                        <a:pt x="134848" y="1739031"/>
                        <a:pt x="143522" y="1751437"/>
                      </a:cubicBezTo>
                      <a:lnTo>
                        <a:pt x="143522" y="1751437"/>
                      </a:lnTo>
                      <a:cubicBezTo>
                        <a:pt x="159256" y="1778568"/>
                        <a:pt x="187799" y="1743469"/>
                        <a:pt x="202423" y="1791276"/>
                      </a:cubicBezTo>
                      <a:lnTo>
                        <a:pt x="202423" y="1791276"/>
                      </a:lnTo>
                      <a:cubicBezTo>
                        <a:pt x="215434" y="1837066"/>
                        <a:pt x="219468" y="1869139"/>
                        <a:pt x="236816" y="1877207"/>
                      </a:cubicBezTo>
                      <a:lnTo>
                        <a:pt x="236816" y="1877207"/>
                      </a:lnTo>
                      <a:cubicBezTo>
                        <a:pt x="247305" y="1882654"/>
                        <a:pt x="248515" y="1895261"/>
                        <a:pt x="248616" y="1908473"/>
                      </a:cubicBezTo>
                      <a:lnTo>
                        <a:pt x="248616" y="1908473"/>
                      </a:lnTo>
                      <a:cubicBezTo>
                        <a:pt x="248616" y="1916845"/>
                        <a:pt x="247910" y="1925821"/>
                        <a:pt x="247910" y="1934293"/>
                      </a:cubicBezTo>
                      <a:lnTo>
                        <a:pt x="247910" y="1934293"/>
                      </a:lnTo>
                      <a:cubicBezTo>
                        <a:pt x="247910" y="1942765"/>
                        <a:pt x="248616" y="1950733"/>
                        <a:pt x="251239" y="1956684"/>
                      </a:cubicBezTo>
                      <a:lnTo>
                        <a:pt x="251239" y="1956684"/>
                      </a:lnTo>
                      <a:cubicBezTo>
                        <a:pt x="256383" y="1968585"/>
                        <a:pt x="262232" y="1972015"/>
                        <a:pt x="271309" y="1972115"/>
                      </a:cubicBezTo>
                      <a:lnTo>
                        <a:pt x="271309" y="1972115"/>
                      </a:lnTo>
                      <a:cubicBezTo>
                        <a:pt x="278572" y="1972216"/>
                        <a:pt x="288052" y="1969089"/>
                        <a:pt x="299651" y="1964954"/>
                      </a:cubicBezTo>
                      <a:lnTo>
                        <a:pt x="299651" y="1964954"/>
                      </a:lnTo>
                      <a:cubicBezTo>
                        <a:pt x="306005" y="1962534"/>
                        <a:pt x="310443" y="1961324"/>
                        <a:pt x="314376" y="1961324"/>
                      </a:cubicBezTo>
                      <a:lnTo>
                        <a:pt x="314376" y="1961324"/>
                      </a:lnTo>
                      <a:cubicBezTo>
                        <a:pt x="327690" y="1962130"/>
                        <a:pt x="325874" y="1974233"/>
                        <a:pt x="335254" y="1985227"/>
                      </a:cubicBezTo>
                      <a:lnTo>
                        <a:pt x="335254" y="1985227"/>
                      </a:lnTo>
                      <a:cubicBezTo>
                        <a:pt x="341709" y="1993296"/>
                        <a:pt x="352904" y="1998843"/>
                        <a:pt x="363292" y="1998843"/>
                      </a:cubicBezTo>
                      <a:lnTo>
                        <a:pt x="363292" y="1998843"/>
                      </a:lnTo>
                      <a:cubicBezTo>
                        <a:pt x="372168" y="1998742"/>
                        <a:pt x="380237" y="1995010"/>
                        <a:pt x="385885" y="1985529"/>
                      </a:cubicBezTo>
                      <a:lnTo>
                        <a:pt x="385885" y="1985529"/>
                      </a:lnTo>
                      <a:cubicBezTo>
                        <a:pt x="396677" y="1967375"/>
                        <a:pt x="426934" y="1940143"/>
                        <a:pt x="447510" y="1939538"/>
                      </a:cubicBezTo>
                      <a:lnTo>
                        <a:pt x="447510" y="1939538"/>
                      </a:lnTo>
                      <a:cubicBezTo>
                        <a:pt x="453964" y="1939437"/>
                        <a:pt x="459915" y="1942866"/>
                        <a:pt x="462437" y="1950229"/>
                      </a:cubicBezTo>
                      <a:lnTo>
                        <a:pt x="462437" y="1950229"/>
                      </a:lnTo>
                      <a:cubicBezTo>
                        <a:pt x="468892" y="1967173"/>
                        <a:pt x="476456" y="1974536"/>
                        <a:pt x="482709" y="1974334"/>
                      </a:cubicBezTo>
                      <a:lnTo>
                        <a:pt x="482709" y="1974334"/>
                      </a:lnTo>
                      <a:cubicBezTo>
                        <a:pt x="485937" y="1974334"/>
                        <a:pt x="489568" y="1972721"/>
                        <a:pt x="493602" y="1968585"/>
                      </a:cubicBezTo>
                      <a:lnTo>
                        <a:pt x="493602" y="1968585"/>
                      </a:lnTo>
                      <a:cubicBezTo>
                        <a:pt x="502780" y="1959508"/>
                        <a:pt x="524464" y="1944682"/>
                        <a:pt x="545141" y="1944581"/>
                      </a:cubicBezTo>
                      <a:lnTo>
                        <a:pt x="545141" y="1944581"/>
                      </a:lnTo>
                      <a:cubicBezTo>
                        <a:pt x="555428" y="1944480"/>
                        <a:pt x="565716" y="1948615"/>
                        <a:pt x="572675" y="1959306"/>
                      </a:cubicBezTo>
                      <a:lnTo>
                        <a:pt x="572675" y="1959306"/>
                      </a:lnTo>
                      <a:cubicBezTo>
                        <a:pt x="584475" y="1977058"/>
                        <a:pt x="598495" y="1986841"/>
                        <a:pt x="611808" y="1986841"/>
                      </a:cubicBezTo>
                      <a:lnTo>
                        <a:pt x="611808" y="1986841"/>
                      </a:lnTo>
                      <a:cubicBezTo>
                        <a:pt x="619978" y="1986841"/>
                        <a:pt x="628248" y="1983311"/>
                        <a:pt x="636620" y="1975141"/>
                      </a:cubicBezTo>
                      <a:lnTo>
                        <a:pt x="636620" y="1975141"/>
                      </a:lnTo>
                      <a:cubicBezTo>
                        <a:pt x="650336" y="1961223"/>
                        <a:pt x="667885" y="1949523"/>
                        <a:pt x="686141" y="1949422"/>
                      </a:cubicBezTo>
                      <a:lnTo>
                        <a:pt x="686141" y="1949422"/>
                      </a:lnTo>
                      <a:cubicBezTo>
                        <a:pt x="698546" y="1949422"/>
                        <a:pt x="711053" y="1955071"/>
                        <a:pt x="721945" y="1968888"/>
                      </a:cubicBezTo>
                      <a:lnTo>
                        <a:pt x="721945" y="1968888"/>
                      </a:lnTo>
                      <a:cubicBezTo>
                        <a:pt x="749278" y="2002575"/>
                        <a:pt x="736772" y="2009736"/>
                        <a:pt x="778326" y="2010139"/>
                      </a:cubicBezTo>
                      <a:lnTo>
                        <a:pt x="778326" y="2010139"/>
                      </a:lnTo>
                      <a:cubicBezTo>
                        <a:pt x="819577" y="2010240"/>
                        <a:pt x="874646" y="1981294"/>
                        <a:pt x="914081" y="1971309"/>
                      </a:cubicBezTo>
                      <a:lnTo>
                        <a:pt x="914081" y="1971309"/>
                      </a:lnTo>
                      <a:cubicBezTo>
                        <a:pt x="920133" y="1969695"/>
                        <a:pt x="925579" y="1968988"/>
                        <a:pt x="930320" y="1968988"/>
                      </a:cubicBezTo>
                      <a:lnTo>
                        <a:pt x="930320" y="1968988"/>
                      </a:lnTo>
                      <a:cubicBezTo>
                        <a:pt x="952912" y="1968988"/>
                        <a:pt x="960577" y="1985428"/>
                        <a:pt x="960577" y="1998944"/>
                      </a:cubicBezTo>
                      <a:lnTo>
                        <a:pt x="960577" y="1998944"/>
                      </a:lnTo>
                      <a:cubicBezTo>
                        <a:pt x="960577" y="2001667"/>
                        <a:pt x="960375" y="2004289"/>
                        <a:pt x="959972" y="2007012"/>
                      </a:cubicBezTo>
                      <a:lnTo>
                        <a:pt x="959972" y="2007012"/>
                      </a:lnTo>
                      <a:cubicBezTo>
                        <a:pt x="959367" y="2009837"/>
                        <a:pt x="958963" y="2012358"/>
                        <a:pt x="958963" y="2014779"/>
                      </a:cubicBezTo>
                      <a:lnTo>
                        <a:pt x="958963" y="2014779"/>
                      </a:lnTo>
                      <a:cubicBezTo>
                        <a:pt x="959467" y="2022847"/>
                        <a:pt x="961586" y="2027487"/>
                        <a:pt x="978227" y="2027991"/>
                      </a:cubicBezTo>
                      <a:lnTo>
                        <a:pt x="978227" y="2027991"/>
                      </a:lnTo>
                      <a:cubicBezTo>
                        <a:pt x="982968" y="2027991"/>
                        <a:pt x="988717" y="2027487"/>
                        <a:pt x="995676" y="2026478"/>
                      </a:cubicBezTo>
                      <a:lnTo>
                        <a:pt x="995676" y="2026478"/>
                      </a:lnTo>
                      <a:cubicBezTo>
                        <a:pt x="1002937" y="2025268"/>
                        <a:pt x="1010704" y="2024562"/>
                        <a:pt x="1018772" y="2024562"/>
                      </a:cubicBezTo>
                      <a:lnTo>
                        <a:pt x="1018772" y="2024562"/>
                      </a:lnTo>
                      <a:cubicBezTo>
                        <a:pt x="1054880" y="2025369"/>
                        <a:pt x="1094618" y="2033941"/>
                        <a:pt x="1096534" y="2051995"/>
                      </a:cubicBezTo>
                      <a:lnTo>
                        <a:pt x="1096534" y="2051995"/>
                      </a:lnTo>
                      <a:cubicBezTo>
                        <a:pt x="1096534" y="2067527"/>
                        <a:pt x="1102485" y="2110897"/>
                        <a:pt x="1141417" y="2110998"/>
                      </a:cubicBezTo>
                      <a:lnTo>
                        <a:pt x="1141417" y="2110998"/>
                      </a:lnTo>
                      <a:cubicBezTo>
                        <a:pt x="1142526" y="2110998"/>
                        <a:pt x="1144039" y="2110897"/>
                        <a:pt x="1145451" y="2110897"/>
                      </a:cubicBezTo>
                      <a:lnTo>
                        <a:pt x="1145451" y="2110897"/>
                      </a:lnTo>
                      <a:cubicBezTo>
                        <a:pt x="1188820" y="2108577"/>
                        <a:pt x="1194468" y="2057038"/>
                        <a:pt x="1230273" y="2055727"/>
                      </a:cubicBezTo>
                      <a:lnTo>
                        <a:pt x="1230273" y="2055727"/>
                      </a:lnTo>
                      <a:cubicBezTo>
                        <a:pt x="1247620" y="2055828"/>
                        <a:pt x="1263052" y="2063493"/>
                        <a:pt x="1271524" y="2063393"/>
                      </a:cubicBezTo>
                      <a:lnTo>
                        <a:pt x="1271524" y="2063393"/>
                      </a:lnTo>
                      <a:cubicBezTo>
                        <a:pt x="1277071" y="2063090"/>
                        <a:pt x="1279794" y="2061677"/>
                        <a:pt x="1280298" y="2046953"/>
                      </a:cubicBezTo>
                      <a:lnTo>
                        <a:pt x="1280298" y="2046953"/>
                      </a:lnTo>
                      <a:cubicBezTo>
                        <a:pt x="1280298" y="2043019"/>
                        <a:pt x="1279996" y="2038379"/>
                        <a:pt x="1279391" y="2032731"/>
                      </a:cubicBezTo>
                      <a:lnTo>
                        <a:pt x="1279391" y="2032731"/>
                      </a:lnTo>
                      <a:cubicBezTo>
                        <a:pt x="1272936" y="1977864"/>
                        <a:pt x="1253873" y="1943774"/>
                        <a:pt x="1219683" y="1934495"/>
                      </a:cubicBezTo>
                      <a:lnTo>
                        <a:pt x="1219683" y="1934495"/>
                      </a:lnTo>
                      <a:cubicBezTo>
                        <a:pt x="1187105" y="1925014"/>
                        <a:pt x="1129313" y="1906759"/>
                        <a:pt x="1128204" y="1875089"/>
                      </a:cubicBezTo>
                      <a:lnTo>
                        <a:pt x="1128204" y="1875089"/>
                      </a:lnTo>
                      <a:cubicBezTo>
                        <a:pt x="1128204" y="1871963"/>
                        <a:pt x="1128607" y="1868735"/>
                        <a:pt x="1130019" y="1865810"/>
                      </a:cubicBezTo>
                      <a:lnTo>
                        <a:pt x="1130019" y="1865810"/>
                      </a:lnTo>
                      <a:cubicBezTo>
                        <a:pt x="1142022" y="1838881"/>
                        <a:pt x="1127800" y="1789158"/>
                        <a:pt x="1154528" y="1786435"/>
                      </a:cubicBezTo>
                      <a:lnTo>
                        <a:pt x="1154528" y="1786435"/>
                      </a:lnTo>
                      <a:cubicBezTo>
                        <a:pt x="1157857" y="1786435"/>
                        <a:pt x="1161689" y="1787343"/>
                        <a:pt x="1166328" y="1789561"/>
                      </a:cubicBezTo>
                      <a:lnTo>
                        <a:pt x="1166328" y="1789561"/>
                      </a:lnTo>
                      <a:cubicBezTo>
                        <a:pt x="1186097" y="1798538"/>
                        <a:pt x="1202839" y="1805295"/>
                        <a:pt x="1215245" y="1805295"/>
                      </a:cubicBezTo>
                      <a:lnTo>
                        <a:pt x="1215245" y="1805295"/>
                      </a:lnTo>
                      <a:cubicBezTo>
                        <a:pt x="1225028" y="1805093"/>
                        <a:pt x="1231886" y="1801463"/>
                        <a:pt x="1237534" y="1790873"/>
                      </a:cubicBezTo>
                      <a:lnTo>
                        <a:pt x="1237534" y="1790873"/>
                      </a:lnTo>
                      <a:cubicBezTo>
                        <a:pt x="1239048" y="1787746"/>
                        <a:pt x="1239653" y="1784922"/>
                        <a:pt x="1239653" y="1782098"/>
                      </a:cubicBezTo>
                      <a:lnTo>
                        <a:pt x="1239653" y="1782098"/>
                      </a:lnTo>
                      <a:cubicBezTo>
                        <a:pt x="1239955" y="1768583"/>
                        <a:pt x="1224121" y="1753858"/>
                        <a:pt x="1223818" y="1732173"/>
                      </a:cubicBezTo>
                      <a:lnTo>
                        <a:pt x="1223818" y="1732173"/>
                      </a:lnTo>
                      <a:cubicBezTo>
                        <a:pt x="1223818" y="1723398"/>
                        <a:pt x="1226843" y="1713514"/>
                        <a:pt x="1234509" y="1702621"/>
                      </a:cubicBezTo>
                      <a:lnTo>
                        <a:pt x="1234509" y="1702621"/>
                      </a:lnTo>
                      <a:cubicBezTo>
                        <a:pt x="1257807" y="1669237"/>
                        <a:pt x="1273037" y="1652898"/>
                        <a:pt x="1293209" y="1652797"/>
                      </a:cubicBezTo>
                      <a:lnTo>
                        <a:pt x="1293209" y="1652797"/>
                      </a:lnTo>
                      <a:cubicBezTo>
                        <a:pt x="1298352" y="1652797"/>
                        <a:pt x="1303698" y="1653906"/>
                        <a:pt x="1309346" y="1656126"/>
                      </a:cubicBezTo>
                      <a:lnTo>
                        <a:pt x="1309346" y="1656126"/>
                      </a:lnTo>
                      <a:cubicBezTo>
                        <a:pt x="1317919" y="1659353"/>
                        <a:pt x="1324172" y="1661270"/>
                        <a:pt x="1328912" y="1661270"/>
                      </a:cubicBezTo>
                      <a:lnTo>
                        <a:pt x="1328912" y="1661270"/>
                      </a:lnTo>
                      <a:cubicBezTo>
                        <a:pt x="1337486" y="1661471"/>
                        <a:pt x="1343436" y="1654411"/>
                        <a:pt x="1354430" y="1628390"/>
                      </a:cubicBezTo>
                      <a:lnTo>
                        <a:pt x="1354430" y="1628390"/>
                      </a:lnTo>
                      <a:cubicBezTo>
                        <a:pt x="1357859" y="1619917"/>
                        <a:pt x="1358969" y="1612555"/>
                        <a:pt x="1358969" y="1605696"/>
                      </a:cubicBezTo>
                      <a:lnTo>
                        <a:pt x="1358969" y="1605696"/>
                      </a:lnTo>
                      <a:cubicBezTo>
                        <a:pt x="1358969" y="1596417"/>
                        <a:pt x="1357153" y="1588247"/>
                        <a:pt x="1357052" y="1580583"/>
                      </a:cubicBezTo>
                      <a:lnTo>
                        <a:pt x="1357052" y="1580583"/>
                      </a:lnTo>
                      <a:cubicBezTo>
                        <a:pt x="1356850" y="1568177"/>
                        <a:pt x="1363608" y="1557789"/>
                        <a:pt x="1388923" y="1552040"/>
                      </a:cubicBezTo>
                      <a:lnTo>
                        <a:pt x="1388923" y="1552040"/>
                      </a:lnTo>
                      <a:cubicBezTo>
                        <a:pt x="1439958" y="1539230"/>
                        <a:pt x="1478688" y="1497475"/>
                        <a:pt x="1504709" y="1474580"/>
                      </a:cubicBezTo>
                      <a:lnTo>
                        <a:pt x="1504709" y="1474580"/>
                      </a:lnTo>
                      <a:cubicBezTo>
                        <a:pt x="1514996" y="1465604"/>
                        <a:pt x="1529823" y="1463284"/>
                        <a:pt x="1545859" y="1463284"/>
                      </a:cubicBezTo>
                      <a:lnTo>
                        <a:pt x="1545859" y="1463284"/>
                      </a:lnTo>
                      <a:cubicBezTo>
                        <a:pt x="1565224" y="1463284"/>
                        <a:pt x="1586909" y="1466612"/>
                        <a:pt x="1604761" y="1466512"/>
                      </a:cubicBezTo>
                      <a:lnTo>
                        <a:pt x="1604761" y="1466512"/>
                      </a:lnTo>
                      <a:cubicBezTo>
                        <a:pt x="1612728" y="1466512"/>
                        <a:pt x="1620091" y="1466007"/>
                        <a:pt x="1626042" y="1464292"/>
                      </a:cubicBezTo>
                      <a:lnTo>
                        <a:pt x="1626042" y="1464292"/>
                      </a:lnTo>
                      <a:cubicBezTo>
                        <a:pt x="1650046" y="1457031"/>
                        <a:pt x="1671226" y="1428085"/>
                        <a:pt x="1671125" y="1392884"/>
                      </a:cubicBezTo>
                      <a:lnTo>
                        <a:pt x="1671125" y="1392884"/>
                      </a:lnTo>
                      <a:cubicBezTo>
                        <a:pt x="1671125" y="1383505"/>
                        <a:pt x="1669613" y="1373621"/>
                        <a:pt x="1666385" y="1363737"/>
                      </a:cubicBezTo>
                      <a:lnTo>
                        <a:pt x="1666385" y="1363737"/>
                      </a:lnTo>
                      <a:cubicBezTo>
                        <a:pt x="1653778" y="1326520"/>
                        <a:pt x="1628866" y="1323191"/>
                        <a:pt x="1612022" y="1323090"/>
                      </a:cubicBezTo>
                      <a:lnTo>
                        <a:pt x="1612022" y="1323090"/>
                      </a:lnTo>
                      <a:cubicBezTo>
                        <a:pt x="1607585" y="1323090"/>
                        <a:pt x="1603752" y="1323494"/>
                        <a:pt x="1600726" y="1323494"/>
                      </a:cubicBezTo>
                      <a:lnTo>
                        <a:pt x="1600726" y="1323494"/>
                      </a:lnTo>
                      <a:cubicBezTo>
                        <a:pt x="1590035" y="1322889"/>
                        <a:pt x="1576218" y="1307357"/>
                        <a:pt x="1575915" y="1287185"/>
                      </a:cubicBezTo>
                      <a:lnTo>
                        <a:pt x="1575915" y="1287185"/>
                      </a:lnTo>
                      <a:cubicBezTo>
                        <a:pt x="1575915" y="1274275"/>
                        <a:pt x="1582068" y="1259752"/>
                        <a:pt x="1599012" y="1246841"/>
                      </a:cubicBezTo>
                      <a:lnTo>
                        <a:pt x="1599012" y="1246841"/>
                      </a:lnTo>
                      <a:cubicBezTo>
                        <a:pt x="1620999" y="1229897"/>
                        <a:pt x="1635422" y="1223039"/>
                        <a:pt x="1646819" y="1222938"/>
                      </a:cubicBezTo>
                      <a:lnTo>
                        <a:pt x="1646819" y="1222938"/>
                      </a:lnTo>
                      <a:cubicBezTo>
                        <a:pt x="1657611" y="1222938"/>
                        <a:pt x="1664771" y="1229393"/>
                        <a:pt x="1671226" y="1237462"/>
                      </a:cubicBezTo>
                      <a:lnTo>
                        <a:pt x="1671226" y="1237462"/>
                      </a:lnTo>
                      <a:cubicBezTo>
                        <a:pt x="1683531" y="1253297"/>
                        <a:pt x="1695231" y="1282949"/>
                        <a:pt x="1722463" y="1282747"/>
                      </a:cubicBezTo>
                      <a:lnTo>
                        <a:pt x="1722463" y="1282747"/>
                      </a:lnTo>
                      <a:cubicBezTo>
                        <a:pt x="1724883" y="1282747"/>
                        <a:pt x="1727606" y="1282445"/>
                        <a:pt x="1730329" y="1282041"/>
                      </a:cubicBezTo>
                      <a:lnTo>
                        <a:pt x="1730329" y="1282041"/>
                      </a:lnTo>
                      <a:cubicBezTo>
                        <a:pt x="1765832" y="1275385"/>
                        <a:pt x="1780355" y="1270039"/>
                        <a:pt x="1816362" y="1218197"/>
                      </a:cubicBezTo>
                      <a:lnTo>
                        <a:pt x="1816362" y="1218197"/>
                      </a:lnTo>
                      <a:cubicBezTo>
                        <a:pt x="1850553" y="1167264"/>
                        <a:pt x="1838147" y="1164238"/>
                        <a:pt x="1893317" y="1164944"/>
                      </a:cubicBezTo>
                      <a:lnTo>
                        <a:pt x="1893317" y="1164944"/>
                      </a:lnTo>
                      <a:cubicBezTo>
                        <a:pt x="1926096" y="1165045"/>
                        <a:pt x="1939309" y="1179266"/>
                        <a:pt x="1954841" y="1179065"/>
                      </a:cubicBezTo>
                      <a:lnTo>
                        <a:pt x="1954841" y="1179065"/>
                      </a:lnTo>
                      <a:cubicBezTo>
                        <a:pt x="1966238" y="1179065"/>
                        <a:pt x="1980963" y="1172206"/>
                        <a:pt x="2008497" y="1146285"/>
                      </a:cubicBezTo>
                      <a:lnTo>
                        <a:pt x="2008497" y="1146285"/>
                      </a:lnTo>
                      <a:cubicBezTo>
                        <a:pt x="2074358" y="1084157"/>
                        <a:pt x="2100379" y="1099386"/>
                        <a:pt x="2108348" y="1069532"/>
                      </a:cubicBezTo>
                      <a:lnTo>
                        <a:pt x="2108348" y="1069532"/>
                      </a:lnTo>
                      <a:cubicBezTo>
                        <a:pt x="2114298" y="1049966"/>
                        <a:pt x="2133562" y="1004579"/>
                        <a:pt x="2133562" y="962622"/>
                      </a:cubicBezTo>
                      <a:lnTo>
                        <a:pt x="2133562" y="962622"/>
                      </a:lnTo>
                      <a:cubicBezTo>
                        <a:pt x="2133461" y="933776"/>
                        <a:pt x="2124687" y="907049"/>
                        <a:pt x="2096648" y="890710"/>
                      </a:cubicBezTo>
                      <a:lnTo>
                        <a:pt x="2096648" y="890710"/>
                      </a:lnTo>
                      <a:lnTo>
                        <a:pt x="2098060" y="888289"/>
                      </a:lnTo>
                      <a:lnTo>
                        <a:pt x="2099371" y="885869"/>
                      </a:lnTo>
                      <a:cubicBezTo>
                        <a:pt x="2129427" y="903418"/>
                        <a:pt x="2139109" y="932768"/>
                        <a:pt x="2139008" y="962622"/>
                      </a:cubicBezTo>
                      <a:lnTo>
                        <a:pt x="2139008" y="962622"/>
                      </a:lnTo>
                      <a:cubicBezTo>
                        <a:pt x="2139008" y="1006092"/>
                        <a:pt x="2119241" y="1051983"/>
                        <a:pt x="2113592" y="1071045"/>
                      </a:cubicBezTo>
                      <a:lnTo>
                        <a:pt x="2113592" y="1071045"/>
                      </a:lnTo>
                      <a:cubicBezTo>
                        <a:pt x="2102094" y="1106043"/>
                        <a:pt x="2076275" y="1088897"/>
                        <a:pt x="2012028" y="1150219"/>
                      </a:cubicBezTo>
                      <a:lnTo>
                        <a:pt x="2012028" y="1150219"/>
                      </a:lnTo>
                      <a:cubicBezTo>
                        <a:pt x="1984392" y="1176341"/>
                        <a:pt x="1968558" y="1184612"/>
                        <a:pt x="1954639" y="1184612"/>
                      </a:cubicBezTo>
                      <a:lnTo>
                        <a:pt x="1954639" y="1184612"/>
                      </a:lnTo>
                      <a:cubicBezTo>
                        <a:pt x="1935577" y="1184309"/>
                        <a:pt x="1924079" y="1170491"/>
                        <a:pt x="1893115" y="1170592"/>
                      </a:cubicBezTo>
                      <a:lnTo>
                        <a:pt x="1893115" y="1170592"/>
                      </a:lnTo>
                      <a:cubicBezTo>
                        <a:pt x="1837643" y="1171298"/>
                        <a:pt x="1857815" y="1168373"/>
                        <a:pt x="1820699" y="1221425"/>
                      </a:cubicBezTo>
                      <a:lnTo>
                        <a:pt x="1820699" y="1221425"/>
                      </a:lnTo>
                      <a:cubicBezTo>
                        <a:pt x="1784995" y="1273569"/>
                        <a:pt x="1767042" y="1281234"/>
                        <a:pt x="1731035" y="1287588"/>
                      </a:cubicBezTo>
                      <a:lnTo>
                        <a:pt x="1731035" y="1287588"/>
                      </a:lnTo>
                      <a:cubicBezTo>
                        <a:pt x="1727909" y="1288093"/>
                        <a:pt x="1725085" y="1288395"/>
                        <a:pt x="1722261" y="1288395"/>
                      </a:cubicBezTo>
                      <a:lnTo>
                        <a:pt x="1722261" y="1288395"/>
                      </a:lnTo>
                      <a:cubicBezTo>
                        <a:pt x="1690390" y="1288093"/>
                        <a:pt x="1678085" y="1255112"/>
                        <a:pt x="1666587" y="1241092"/>
                      </a:cubicBezTo>
                      <a:lnTo>
                        <a:pt x="1666587" y="1241092"/>
                      </a:lnTo>
                      <a:cubicBezTo>
                        <a:pt x="1660132" y="1233226"/>
                        <a:pt x="1654887" y="1228586"/>
                        <a:pt x="1646516" y="1228586"/>
                      </a:cubicBezTo>
                      <a:lnTo>
                        <a:pt x="1646516" y="1228586"/>
                      </a:lnTo>
                      <a:cubicBezTo>
                        <a:pt x="1637439" y="1228485"/>
                        <a:pt x="1623924" y="1234537"/>
                        <a:pt x="1602138" y="1251279"/>
                      </a:cubicBezTo>
                      <a:lnTo>
                        <a:pt x="1602138" y="1251279"/>
                      </a:lnTo>
                      <a:cubicBezTo>
                        <a:pt x="1586203" y="1263483"/>
                        <a:pt x="1581261" y="1276091"/>
                        <a:pt x="1581160" y="1287084"/>
                      </a:cubicBezTo>
                      <a:lnTo>
                        <a:pt x="1581160" y="1287084"/>
                      </a:lnTo>
                      <a:cubicBezTo>
                        <a:pt x="1581261" y="1304432"/>
                        <a:pt x="1595280" y="1317745"/>
                        <a:pt x="1600424" y="1317745"/>
                      </a:cubicBezTo>
                      <a:lnTo>
                        <a:pt x="1600424" y="1317745"/>
                      </a:lnTo>
                      <a:cubicBezTo>
                        <a:pt x="1602945" y="1317745"/>
                        <a:pt x="1606878" y="1317442"/>
                        <a:pt x="1611720" y="1317442"/>
                      </a:cubicBezTo>
                      <a:lnTo>
                        <a:pt x="1611720" y="1317442"/>
                      </a:lnTo>
                      <a:cubicBezTo>
                        <a:pt x="1629269" y="1317240"/>
                        <a:pt x="1658317" y="1322183"/>
                        <a:pt x="1671428" y="1362022"/>
                      </a:cubicBezTo>
                      <a:lnTo>
                        <a:pt x="1671428" y="1362022"/>
                      </a:lnTo>
                      <a:cubicBezTo>
                        <a:pt x="1674857" y="1372511"/>
                        <a:pt x="1676471" y="1382900"/>
                        <a:pt x="1676471" y="1392884"/>
                      </a:cubicBezTo>
                      <a:lnTo>
                        <a:pt x="1676471" y="1392884"/>
                      </a:lnTo>
                      <a:cubicBezTo>
                        <a:pt x="1676370" y="1430202"/>
                        <a:pt x="1654484" y="1461267"/>
                        <a:pt x="1627151" y="1469638"/>
                      </a:cubicBezTo>
                      <a:lnTo>
                        <a:pt x="1627151" y="1469638"/>
                      </a:lnTo>
                      <a:cubicBezTo>
                        <a:pt x="1620394" y="1471353"/>
                        <a:pt x="1612728" y="1472059"/>
                        <a:pt x="1604458" y="1472059"/>
                      </a:cubicBezTo>
                      <a:lnTo>
                        <a:pt x="1604458" y="1472059"/>
                      </a:lnTo>
                      <a:cubicBezTo>
                        <a:pt x="1585900" y="1472059"/>
                        <a:pt x="1564316" y="1468831"/>
                        <a:pt x="1545557" y="1468831"/>
                      </a:cubicBezTo>
                      <a:lnTo>
                        <a:pt x="1545557" y="1468831"/>
                      </a:lnTo>
                      <a:cubicBezTo>
                        <a:pt x="1530024" y="1468730"/>
                        <a:pt x="1516611" y="1471151"/>
                        <a:pt x="1508138" y="1478715"/>
                      </a:cubicBezTo>
                      <a:lnTo>
                        <a:pt x="1508138" y="1478715"/>
                      </a:lnTo>
                      <a:cubicBezTo>
                        <a:pt x="1482217" y="1501207"/>
                        <a:pt x="1442983" y="1544072"/>
                        <a:pt x="1390033" y="1557385"/>
                      </a:cubicBezTo>
                      <a:lnTo>
                        <a:pt x="1390033" y="1557385"/>
                      </a:lnTo>
                      <a:cubicBezTo>
                        <a:pt x="1365323" y="1563840"/>
                        <a:pt x="1362599" y="1570396"/>
                        <a:pt x="1362296" y="1580583"/>
                      </a:cubicBezTo>
                      <a:lnTo>
                        <a:pt x="1362296" y="1580583"/>
                      </a:lnTo>
                      <a:cubicBezTo>
                        <a:pt x="1362296" y="1587239"/>
                        <a:pt x="1364112" y="1595610"/>
                        <a:pt x="1364112" y="1605696"/>
                      </a:cubicBezTo>
                      <a:lnTo>
                        <a:pt x="1364112" y="1605696"/>
                      </a:lnTo>
                      <a:cubicBezTo>
                        <a:pt x="1364112" y="1613059"/>
                        <a:pt x="1363103" y="1621430"/>
                        <a:pt x="1359372" y="1630608"/>
                      </a:cubicBezTo>
                      <a:lnTo>
                        <a:pt x="1359372" y="1630608"/>
                      </a:lnTo>
                      <a:cubicBezTo>
                        <a:pt x="1348580" y="1656327"/>
                        <a:pt x="1341520" y="1666615"/>
                        <a:pt x="1328610" y="1666918"/>
                      </a:cubicBezTo>
                      <a:lnTo>
                        <a:pt x="1328610" y="1666918"/>
                      </a:lnTo>
                      <a:cubicBezTo>
                        <a:pt x="1322458" y="1666918"/>
                        <a:pt x="1315902" y="1664597"/>
                        <a:pt x="1307026" y="1661370"/>
                      </a:cubicBezTo>
                      <a:lnTo>
                        <a:pt x="1307026" y="1661370"/>
                      </a:lnTo>
                      <a:cubicBezTo>
                        <a:pt x="1301882" y="1659454"/>
                        <a:pt x="1297243" y="1658445"/>
                        <a:pt x="1292906" y="1658445"/>
                      </a:cubicBezTo>
                      <a:lnTo>
                        <a:pt x="1292906" y="1658445"/>
                      </a:lnTo>
                      <a:cubicBezTo>
                        <a:pt x="1276567" y="1658243"/>
                        <a:pt x="1262043" y="1672465"/>
                        <a:pt x="1238745" y="1705950"/>
                      </a:cubicBezTo>
                      <a:lnTo>
                        <a:pt x="1238745" y="1705950"/>
                      </a:lnTo>
                      <a:cubicBezTo>
                        <a:pt x="1231483" y="1716137"/>
                        <a:pt x="1229164" y="1724709"/>
                        <a:pt x="1229164" y="1732274"/>
                      </a:cubicBezTo>
                      <a:lnTo>
                        <a:pt x="1229164" y="1732274"/>
                      </a:lnTo>
                      <a:cubicBezTo>
                        <a:pt x="1228962" y="1751134"/>
                        <a:pt x="1244595" y="1764952"/>
                        <a:pt x="1244898" y="1782199"/>
                      </a:cubicBezTo>
                      <a:lnTo>
                        <a:pt x="1244898" y="1782199"/>
                      </a:lnTo>
                      <a:cubicBezTo>
                        <a:pt x="1244898" y="1785830"/>
                        <a:pt x="1244091" y="1789561"/>
                        <a:pt x="1242275" y="1793495"/>
                      </a:cubicBezTo>
                      <a:lnTo>
                        <a:pt x="1242275" y="1793495"/>
                      </a:lnTo>
                      <a:cubicBezTo>
                        <a:pt x="1236223" y="1805698"/>
                        <a:pt x="1226440" y="1811044"/>
                        <a:pt x="1215043" y="1810943"/>
                      </a:cubicBezTo>
                      <a:lnTo>
                        <a:pt x="1215043" y="1810943"/>
                      </a:lnTo>
                      <a:cubicBezTo>
                        <a:pt x="1200721" y="1810943"/>
                        <a:pt x="1183777" y="1803682"/>
                        <a:pt x="1163908" y="1794705"/>
                      </a:cubicBezTo>
                      <a:lnTo>
                        <a:pt x="1163908" y="1794705"/>
                      </a:lnTo>
                      <a:cubicBezTo>
                        <a:pt x="1159773" y="1792789"/>
                        <a:pt x="1156646" y="1792083"/>
                        <a:pt x="1154427" y="1792083"/>
                      </a:cubicBezTo>
                      <a:lnTo>
                        <a:pt x="1154427" y="1792083"/>
                      </a:lnTo>
                      <a:cubicBezTo>
                        <a:pt x="1137685" y="1789460"/>
                        <a:pt x="1146056" y="1837570"/>
                        <a:pt x="1135163" y="1868030"/>
                      </a:cubicBezTo>
                      <a:lnTo>
                        <a:pt x="1135163" y="1868030"/>
                      </a:lnTo>
                      <a:cubicBezTo>
                        <a:pt x="1134154" y="1870349"/>
                        <a:pt x="1133650" y="1872770"/>
                        <a:pt x="1133650" y="1875190"/>
                      </a:cubicBezTo>
                      <a:lnTo>
                        <a:pt x="1133650" y="1875190"/>
                      </a:lnTo>
                      <a:cubicBezTo>
                        <a:pt x="1132440" y="1899598"/>
                        <a:pt x="1188416" y="1920778"/>
                        <a:pt x="1221094" y="1929250"/>
                      </a:cubicBezTo>
                      <a:lnTo>
                        <a:pt x="1221094" y="1929250"/>
                      </a:lnTo>
                      <a:cubicBezTo>
                        <a:pt x="1258513" y="1939437"/>
                        <a:pt x="1278382" y="1976654"/>
                        <a:pt x="1284837" y="2032328"/>
                      </a:cubicBezTo>
                      <a:lnTo>
                        <a:pt x="1284837" y="2032328"/>
                      </a:lnTo>
                      <a:cubicBezTo>
                        <a:pt x="1285442" y="2038077"/>
                        <a:pt x="1285846" y="2043019"/>
                        <a:pt x="1285846" y="2047154"/>
                      </a:cubicBezTo>
                      <a:lnTo>
                        <a:pt x="1285846" y="2047154"/>
                      </a:lnTo>
                      <a:cubicBezTo>
                        <a:pt x="1285745" y="2062182"/>
                        <a:pt x="1280399" y="2069041"/>
                        <a:pt x="1271524" y="2069242"/>
                      </a:cubicBezTo>
                      <a:lnTo>
                        <a:pt x="1271524" y="2069242"/>
                      </a:lnTo>
                      <a:cubicBezTo>
                        <a:pt x="1260530" y="2068940"/>
                        <a:pt x="1246108" y="2061375"/>
                        <a:pt x="1230273" y="2061476"/>
                      </a:cubicBezTo>
                      <a:lnTo>
                        <a:pt x="1230273" y="2061476"/>
                      </a:lnTo>
                      <a:cubicBezTo>
                        <a:pt x="1201024" y="2060064"/>
                        <a:pt x="1193661" y="2112410"/>
                        <a:pt x="1145551" y="2116646"/>
                      </a:cubicBezTo>
                      <a:lnTo>
                        <a:pt x="1145551" y="2116646"/>
                      </a:lnTo>
                      <a:cubicBezTo>
                        <a:pt x="1144845" y="2116141"/>
                        <a:pt x="1143434" y="2116141"/>
                        <a:pt x="1141921" y="2116141"/>
                      </a:cubicBezTo>
                      <a:lnTo>
                        <a:pt x="1141921" y="2116141"/>
                      </a:lnTo>
                      <a:close/>
                      <a:moveTo>
                        <a:pt x="163593" y="93927"/>
                      </a:moveTo>
                      <a:cubicBezTo>
                        <a:pt x="149775" y="91507"/>
                        <a:pt x="128897" y="93221"/>
                        <a:pt x="108726" y="87371"/>
                      </a:cubicBezTo>
                      <a:lnTo>
                        <a:pt x="108726" y="87371"/>
                      </a:lnTo>
                      <a:cubicBezTo>
                        <a:pt x="107515" y="86968"/>
                        <a:pt x="106708" y="85859"/>
                        <a:pt x="106708" y="84648"/>
                      </a:cubicBezTo>
                      <a:lnTo>
                        <a:pt x="106708" y="84648"/>
                      </a:lnTo>
                      <a:cubicBezTo>
                        <a:pt x="106708" y="84345"/>
                        <a:pt x="106708" y="84043"/>
                        <a:pt x="106809" y="83841"/>
                      </a:cubicBezTo>
                      <a:lnTo>
                        <a:pt x="106809" y="83841"/>
                      </a:lnTo>
                      <a:cubicBezTo>
                        <a:pt x="107313" y="82429"/>
                        <a:pt x="108726" y="81521"/>
                        <a:pt x="110238" y="82026"/>
                      </a:cubicBezTo>
                      <a:lnTo>
                        <a:pt x="110238" y="82026"/>
                      </a:lnTo>
                      <a:cubicBezTo>
                        <a:pt x="129401" y="87674"/>
                        <a:pt x="149573" y="85556"/>
                        <a:pt x="164601" y="88481"/>
                      </a:cubicBezTo>
                      <a:lnTo>
                        <a:pt x="164601" y="88481"/>
                      </a:lnTo>
                      <a:cubicBezTo>
                        <a:pt x="166114" y="88683"/>
                        <a:pt x="167123" y="90195"/>
                        <a:pt x="166820" y="91708"/>
                      </a:cubicBezTo>
                      <a:lnTo>
                        <a:pt x="166820" y="91708"/>
                      </a:lnTo>
                      <a:cubicBezTo>
                        <a:pt x="166618" y="93019"/>
                        <a:pt x="165509" y="94028"/>
                        <a:pt x="164097" y="94028"/>
                      </a:cubicBezTo>
                      <a:lnTo>
                        <a:pt x="164097" y="94028"/>
                      </a:lnTo>
                      <a:cubicBezTo>
                        <a:pt x="163895" y="93927"/>
                        <a:pt x="163794" y="93927"/>
                        <a:pt x="163593" y="93927"/>
                      </a:cubicBezTo>
                      <a:lnTo>
                        <a:pt x="163593" y="93927"/>
                      </a:lnTo>
                      <a:close/>
                      <a:moveTo>
                        <a:pt x="1018772" y="14955"/>
                      </a:moveTo>
                      <a:cubicBezTo>
                        <a:pt x="1017663" y="12534"/>
                        <a:pt x="1017058" y="9610"/>
                        <a:pt x="1017058" y="5978"/>
                      </a:cubicBezTo>
                      <a:lnTo>
                        <a:pt x="1017058" y="5978"/>
                      </a:lnTo>
                      <a:lnTo>
                        <a:pt x="1017058" y="5978"/>
                      </a:lnTo>
                      <a:lnTo>
                        <a:pt x="1017058" y="5978"/>
                      </a:lnTo>
                      <a:cubicBezTo>
                        <a:pt x="1017058" y="5978"/>
                        <a:pt x="1017058" y="5878"/>
                        <a:pt x="1017058" y="5878"/>
                      </a:cubicBezTo>
                      <a:lnTo>
                        <a:pt x="1017058" y="5878"/>
                      </a:lnTo>
                      <a:cubicBezTo>
                        <a:pt x="1017058" y="4869"/>
                        <a:pt x="1017058" y="3558"/>
                        <a:pt x="1017260" y="2247"/>
                      </a:cubicBezTo>
                      <a:lnTo>
                        <a:pt x="1017260" y="2247"/>
                      </a:lnTo>
                      <a:cubicBezTo>
                        <a:pt x="1017461" y="734"/>
                        <a:pt x="1018873" y="-174"/>
                        <a:pt x="1020386" y="28"/>
                      </a:cubicBezTo>
                      <a:lnTo>
                        <a:pt x="1020386" y="28"/>
                      </a:lnTo>
                      <a:cubicBezTo>
                        <a:pt x="1021899" y="229"/>
                        <a:pt x="1022908" y="1642"/>
                        <a:pt x="1022807" y="3154"/>
                      </a:cubicBezTo>
                      <a:lnTo>
                        <a:pt x="1022807" y="3154"/>
                      </a:lnTo>
                      <a:cubicBezTo>
                        <a:pt x="1022807" y="3154"/>
                        <a:pt x="1022807" y="3255"/>
                        <a:pt x="1022807" y="3255"/>
                      </a:cubicBezTo>
                      <a:lnTo>
                        <a:pt x="1022807" y="3255"/>
                      </a:lnTo>
                      <a:lnTo>
                        <a:pt x="1022807" y="3255"/>
                      </a:lnTo>
                      <a:cubicBezTo>
                        <a:pt x="1022807" y="3255"/>
                        <a:pt x="1022807" y="3356"/>
                        <a:pt x="1022706" y="3356"/>
                      </a:cubicBezTo>
                      <a:lnTo>
                        <a:pt x="1022706" y="3356"/>
                      </a:lnTo>
                      <a:cubicBezTo>
                        <a:pt x="1022706" y="4264"/>
                        <a:pt x="1022504" y="5071"/>
                        <a:pt x="1022504" y="5978"/>
                      </a:cubicBezTo>
                      <a:lnTo>
                        <a:pt x="1022504" y="5978"/>
                      </a:lnTo>
                      <a:cubicBezTo>
                        <a:pt x="1022605" y="13744"/>
                        <a:pt x="1025933" y="16165"/>
                        <a:pt x="1030774" y="22519"/>
                      </a:cubicBezTo>
                      <a:lnTo>
                        <a:pt x="1030774" y="22519"/>
                      </a:lnTo>
                      <a:lnTo>
                        <a:pt x="1028556" y="24234"/>
                      </a:lnTo>
                      <a:lnTo>
                        <a:pt x="1026236" y="25848"/>
                      </a:lnTo>
                      <a:cubicBezTo>
                        <a:pt x="1023714" y="22418"/>
                        <a:pt x="1020588" y="19292"/>
                        <a:pt x="1018772" y="14955"/>
                      </a:cubicBezTo>
                      <a:lnTo>
                        <a:pt x="1018772" y="14955"/>
                      </a:lnTo>
                      <a:close/>
                    </a:path>
                  </a:pathLst>
                </a:custGeom>
                <a:solidFill>
                  <a:srgbClr val="ABDEF6"/>
                </a:solidFill>
                <a:ln w="10085" cap="flat">
                  <a:solidFill>
                    <a:srgbClr val="FFFFFF"/>
                  </a:solidFill>
                  <a:prstDash val="solid"/>
                  <a:miter/>
                </a:ln>
              </p:spPr>
              <p:txBody>
                <a:bodyPr rtlCol="0" anchor="ctr"/>
                <a:lstStyle/>
                <a:p>
                  <a:endParaRPr lang="fr-FR" sz="900"/>
                </a:p>
              </p:txBody>
            </p:sp>
          </p:grpSp>
          <p:grpSp>
            <p:nvGrpSpPr>
              <p:cNvPr id="92" name="Graphique 17">
                <a:extLst>
                  <a:ext uri="{FF2B5EF4-FFF2-40B4-BE49-F238E27FC236}">
                    <a16:creationId xmlns:a16="http://schemas.microsoft.com/office/drawing/2014/main" id="{9B918CD3-513D-8093-C445-C8132FADE7DE}"/>
                  </a:ext>
                </a:extLst>
              </p:cNvPr>
              <p:cNvGrpSpPr/>
              <p:nvPr/>
            </p:nvGrpSpPr>
            <p:grpSpPr>
              <a:xfrm>
                <a:off x="2619348" y="9024332"/>
                <a:ext cx="2131141" cy="2593174"/>
                <a:chOff x="2619348" y="9024332"/>
                <a:chExt cx="2131141" cy="2593174"/>
              </a:xfrm>
              <a:solidFill>
                <a:srgbClr val="ABDEF6"/>
              </a:solidFill>
            </p:grpSpPr>
            <p:sp>
              <p:nvSpPr>
                <p:cNvPr id="93" name="Forme libre : forme 92">
                  <a:extLst>
                    <a:ext uri="{FF2B5EF4-FFF2-40B4-BE49-F238E27FC236}">
                      <a16:creationId xmlns:a16="http://schemas.microsoft.com/office/drawing/2014/main" id="{3AE3DDB8-5972-ED0D-64E6-4FB892164DC6}"/>
                    </a:ext>
                  </a:extLst>
                </p:cNvPr>
                <p:cNvSpPr/>
                <p:nvPr/>
              </p:nvSpPr>
              <p:spPr>
                <a:xfrm>
                  <a:off x="2622318" y="9027257"/>
                  <a:ext cx="2125750" cy="2587828"/>
                </a:xfrm>
                <a:custGeom>
                  <a:avLst/>
                  <a:gdLst>
                    <a:gd name="connsiteX0" fmla="*/ 1652825 w 2125750"/>
                    <a:gd name="connsiteY0" fmla="*/ 0 h 2587828"/>
                    <a:gd name="connsiteX1" fmla="*/ 1652825 w 2125750"/>
                    <a:gd name="connsiteY1" fmla="*/ 0 h 2587828"/>
                    <a:gd name="connsiteX2" fmla="*/ 1652825 w 2125750"/>
                    <a:gd name="connsiteY2" fmla="*/ 0 h 2587828"/>
                    <a:gd name="connsiteX3" fmla="*/ 1652825 w 2125750"/>
                    <a:gd name="connsiteY3" fmla="*/ 0 h 2587828"/>
                    <a:gd name="connsiteX4" fmla="*/ 2106689 w 2125750"/>
                    <a:gd name="connsiteY4" fmla="*/ 637023 h 2587828"/>
                    <a:gd name="connsiteX5" fmla="*/ 2067757 w 2125750"/>
                    <a:gd name="connsiteY5" fmla="*/ 625122 h 2587828"/>
                    <a:gd name="connsiteX6" fmla="*/ 2081070 w 2125750"/>
                    <a:gd name="connsiteY6" fmla="*/ 587703 h 2587828"/>
                    <a:gd name="connsiteX7" fmla="*/ 2057570 w 2125750"/>
                    <a:gd name="connsiteY7" fmla="*/ 560875 h 2587828"/>
                    <a:gd name="connsiteX8" fmla="*/ 2013899 w 2125750"/>
                    <a:gd name="connsiteY8" fmla="*/ 547460 h 2587828"/>
                    <a:gd name="connsiteX9" fmla="*/ 1990399 w 2125750"/>
                    <a:gd name="connsiteY9" fmla="*/ 493702 h 2587828"/>
                    <a:gd name="connsiteX10" fmla="*/ 1980313 w 2125750"/>
                    <a:gd name="connsiteY10" fmla="*/ 426531 h 2587828"/>
                    <a:gd name="connsiteX11" fmla="*/ 2013899 w 2125750"/>
                    <a:gd name="connsiteY11" fmla="*/ 379531 h 2587828"/>
                    <a:gd name="connsiteX12" fmla="*/ 2017227 w 2125750"/>
                    <a:gd name="connsiteY12" fmla="*/ 302273 h 2587828"/>
                    <a:gd name="connsiteX13" fmla="*/ 1946727 w 2125750"/>
                    <a:gd name="connsiteY13" fmla="*/ 261930 h 2587828"/>
                    <a:gd name="connsiteX14" fmla="*/ 1909812 w 2125750"/>
                    <a:gd name="connsiteY14" fmla="*/ 204844 h 2587828"/>
                    <a:gd name="connsiteX15" fmla="*/ 1866141 w 2125750"/>
                    <a:gd name="connsiteY15" fmla="*/ 144430 h 2587828"/>
                    <a:gd name="connsiteX16" fmla="*/ 1751868 w 2125750"/>
                    <a:gd name="connsiteY16" fmla="*/ 151086 h 2587828"/>
                    <a:gd name="connsiteX17" fmla="*/ 1708196 w 2125750"/>
                    <a:gd name="connsiteY17" fmla="*/ 171258 h 2587828"/>
                    <a:gd name="connsiteX18" fmla="*/ 1704868 w 2125750"/>
                    <a:gd name="connsiteY18" fmla="*/ 90672 h 2587828"/>
                    <a:gd name="connsiteX19" fmla="*/ 1644353 w 2125750"/>
                    <a:gd name="connsiteY19" fmla="*/ 57086 h 2587828"/>
                    <a:gd name="connsiteX20" fmla="*/ 1610767 w 2125750"/>
                    <a:gd name="connsiteY20" fmla="*/ 51337 h 2587828"/>
                    <a:gd name="connsiteX21" fmla="*/ 1552269 w 2125750"/>
                    <a:gd name="connsiteY21" fmla="*/ 120425 h 2587828"/>
                    <a:gd name="connsiteX22" fmla="*/ 1533005 w 2125750"/>
                    <a:gd name="connsiteY22" fmla="*/ 190421 h 2587828"/>
                    <a:gd name="connsiteX23" fmla="*/ 1438904 w 2125750"/>
                    <a:gd name="connsiteY23" fmla="*/ 257996 h 2587828"/>
                    <a:gd name="connsiteX24" fmla="*/ 1366487 w 2125750"/>
                    <a:gd name="connsiteY24" fmla="*/ 356939 h 2587828"/>
                    <a:gd name="connsiteX25" fmla="*/ 1339962 w 2125750"/>
                    <a:gd name="connsiteY25" fmla="*/ 422194 h 2587828"/>
                    <a:gd name="connsiteX26" fmla="*/ 1277227 w 2125750"/>
                    <a:gd name="connsiteY26" fmla="*/ 463344 h 2587828"/>
                    <a:gd name="connsiteX27" fmla="*/ 1212073 w 2125750"/>
                    <a:gd name="connsiteY27" fmla="*/ 509235 h 2587828"/>
                    <a:gd name="connsiteX28" fmla="*/ 1178285 w 2125750"/>
                    <a:gd name="connsiteY28" fmla="*/ 555126 h 2587828"/>
                    <a:gd name="connsiteX29" fmla="*/ 1129974 w 2125750"/>
                    <a:gd name="connsiteY29" fmla="*/ 555126 h 2587828"/>
                    <a:gd name="connsiteX30" fmla="*/ 1069661 w 2125750"/>
                    <a:gd name="connsiteY30" fmla="*/ 552705 h 2587828"/>
                    <a:gd name="connsiteX31" fmla="*/ 1014188 w 2125750"/>
                    <a:gd name="connsiteY31" fmla="*/ 509235 h 2587828"/>
                    <a:gd name="connsiteX32" fmla="*/ 965877 w 2125750"/>
                    <a:gd name="connsiteY32" fmla="*/ 489971 h 2587828"/>
                    <a:gd name="connsiteX33" fmla="*/ 958615 w 2125750"/>
                    <a:gd name="connsiteY33" fmla="*/ 448922 h 2587828"/>
                    <a:gd name="connsiteX34" fmla="*/ 919987 w 2125750"/>
                    <a:gd name="connsiteY34" fmla="*/ 393348 h 2587828"/>
                    <a:gd name="connsiteX35" fmla="*/ 869255 w 2125750"/>
                    <a:gd name="connsiteY35" fmla="*/ 364402 h 2587828"/>
                    <a:gd name="connsiteX36" fmla="*/ 820943 w 2125750"/>
                    <a:gd name="connsiteY36" fmla="*/ 369142 h 2587828"/>
                    <a:gd name="connsiteX37" fmla="*/ 782315 w 2125750"/>
                    <a:gd name="connsiteY37" fmla="*/ 359460 h 2587828"/>
                    <a:gd name="connsiteX38" fmla="*/ 813984 w 2125750"/>
                    <a:gd name="connsiteY38" fmla="*/ 585383 h 2587828"/>
                    <a:gd name="connsiteX39" fmla="*/ 874600 w 2125750"/>
                    <a:gd name="connsiteY39" fmla="*/ 659817 h 2587828"/>
                    <a:gd name="connsiteX40" fmla="*/ 852613 w 2125750"/>
                    <a:gd name="connsiteY40" fmla="*/ 797690 h 2587828"/>
                    <a:gd name="connsiteX41" fmla="*/ 838795 w 2125750"/>
                    <a:gd name="connsiteY41" fmla="*/ 648722 h 2587828"/>
                    <a:gd name="connsiteX42" fmla="*/ 775355 w 2125750"/>
                    <a:gd name="connsiteY42" fmla="*/ 544031 h 2587828"/>
                    <a:gd name="connsiteX43" fmla="*/ 714739 w 2125750"/>
                    <a:gd name="connsiteY43" fmla="*/ 317906 h 2587828"/>
                    <a:gd name="connsiteX44" fmla="*/ 676111 w 2125750"/>
                    <a:gd name="connsiteY44" fmla="*/ 257189 h 2587828"/>
                    <a:gd name="connsiteX45" fmla="*/ 629211 w 2125750"/>
                    <a:gd name="connsiteY45" fmla="*/ 218561 h 2587828"/>
                    <a:gd name="connsiteX46" fmla="*/ 576866 w 2125750"/>
                    <a:gd name="connsiteY46" fmla="*/ 168938 h 2587828"/>
                    <a:gd name="connsiteX47" fmla="*/ 546507 w 2125750"/>
                    <a:gd name="connsiteY47" fmla="*/ 141404 h 2587828"/>
                    <a:gd name="connsiteX48" fmla="*/ 507878 w 2125750"/>
                    <a:gd name="connsiteY48" fmla="*/ 290271 h 2587828"/>
                    <a:gd name="connsiteX49" fmla="*/ 433445 w 2125750"/>
                    <a:gd name="connsiteY49" fmla="*/ 775602 h 2587828"/>
                    <a:gd name="connsiteX50" fmla="*/ 400363 w 2125750"/>
                    <a:gd name="connsiteY50" fmla="*/ 946558 h 2587828"/>
                    <a:gd name="connsiteX51" fmla="*/ 438992 w 2125750"/>
                    <a:gd name="connsiteY51" fmla="*/ 866577 h 2587828"/>
                    <a:gd name="connsiteX52" fmla="*/ 494061 w 2125750"/>
                    <a:gd name="connsiteY52" fmla="*/ 819778 h 2587828"/>
                    <a:gd name="connsiteX53" fmla="*/ 565771 w 2125750"/>
                    <a:gd name="connsiteY53" fmla="*/ 910753 h 2587828"/>
                    <a:gd name="connsiteX54" fmla="*/ 540960 w 2125750"/>
                    <a:gd name="connsiteY54" fmla="*/ 952105 h 2587828"/>
                    <a:gd name="connsiteX55" fmla="*/ 513426 w 2125750"/>
                    <a:gd name="connsiteY55" fmla="*/ 932841 h 2587828"/>
                    <a:gd name="connsiteX56" fmla="*/ 485891 w 2125750"/>
                    <a:gd name="connsiteY56" fmla="*/ 921847 h 2587828"/>
                    <a:gd name="connsiteX57" fmla="*/ 436269 w 2125750"/>
                    <a:gd name="connsiteY57" fmla="*/ 968646 h 2587828"/>
                    <a:gd name="connsiteX58" fmla="*/ 372829 w 2125750"/>
                    <a:gd name="connsiteY58" fmla="*/ 1332846 h 2587828"/>
                    <a:gd name="connsiteX59" fmla="*/ 190880 w 2125750"/>
                    <a:gd name="connsiteY59" fmla="*/ 1953328 h 2587828"/>
                    <a:gd name="connsiteX60" fmla="*/ 53006 w 2125750"/>
                    <a:gd name="connsiteY60" fmla="*/ 2022215 h 2587828"/>
                    <a:gd name="connsiteX61" fmla="*/ 11654 w 2125750"/>
                    <a:gd name="connsiteY61" fmla="*/ 2069113 h 2587828"/>
                    <a:gd name="connsiteX62" fmla="*/ 33742 w 2125750"/>
                    <a:gd name="connsiteY62" fmla="*/ 2129830 h 2587828"/>
                    <a:gd name="connsiteX63" fmla="*/ 80642 w 2125750"/>
                    <a:gd name="connsiteY63" fmla="*/ 2088478 h 2587828"/>
                    <a:gd name="connsiteX64" fmla="*/ 111000 w 2125750"/>
                    <a:gd name="connsiteY64" fmla="*/ 2129830 h 2587828"/>
                    <a:gd name="connsiteX65" fmla="*/ 135811 w 2125750"/>
                    <a:gd name="connsiteY65" fmla="*/ 2149094 h 2587828"/>
                    <a:gd name="connsiteX66" fmla="*/ 168893 w 2125750"/>
                    <a:gd name="connsiteY66" fmla="*/ 2116013 h 2587828"/>
                    <a:gd name="connsiteX67" fmla="*/ 276408 w 2125750"/>
                    <a:gd name="connsiteY67" fmla="*/ 2143648 h 2587828"/>
                    <a:gd name="connsiteX68" fmla="*/ 254421 w 2125750"/>
                    <a:gd name="connsiteY68" fmla="*/ 2245717 h 2587828"/>
                    <a:gd name="connsiteX69" fmla="*/ 226786 w 2125750"/>
                    <a:gd name="connsiteY69" fmla="*/ 2284346 h 2587828"/>
                    <a:gd name="connsiteX70" fmla="*/ 262691 w 2125750"/>
                    <a:gd name="connsiteY70" fmla="*/ 2331144 h 2587828"/>
                    <a:gd name="connsiteX71" fmla="*/ 295773 w 2125750"/>
                    <a:gd name="connsiteY71" fmla="*/ 2292515 h 2587828"/>
                    <a:gd name="connsiteX72" fmla="*/ 345395 w 2125750"/>
                    <a:gd name="connsiteY72" fmla="*/ 2264981 h 2587828"/>
                    <a:gd name="connsiteX73" fmla="*/ 364659 w 2125750"/>
                    <a:gd name="connsiteY73" fmla="*/ 2325597 h 2587828"/>
                    <a:gd name="connsiteX74" fmla="*/ 461181 w 2125750"/>
                    <a:gd name="connsiteY74" fmla="*/ 2369672 h 2587828"/>
                    <a:gd name="connsiteX75" fmla="*/ 604602 w 2125750"/>
                    <a:gd name="connsiteY75" fmla="*/ 2422118 h 2587828"/>
                    <a:gd name="connsiteX76" fmla="*/ 687306 w 2125750"/>
                    <a:gd name="connsiteY76" fmla="*/ 2416571 h 2587828"/>
                    <a:gd name="connsiteX77" fmla="*/ 673488 w 2125750"/>
                    <a:gd name="connsiteY77" fmla="*/ 2480011 h 2587828"/>
                    <a:gd name="connsiteX78" fmla="*/ 703746 w 2125750"/>
                    <a:gd name="connsiteY78" fmla="*/ 2496855 h 2587828"/>
                    <a:gd name="connsiteX79" fmla="*/ 791997 w 2125750"/>
                    <a:gd name="connsiteY79" fmla="*/ 2587829 h 2587828"/>
                    <a:gd name="connsiteX80" fmla="*/ 844443 w 2125750"/>
                    <a:gd name="connsiteY80" fmla="*/ 2560295 h 2587828"/>
                    <a:gd name="connsiteX81" fmla="*/ 899613 w 2125750"/>
                    <a:gd name="connsiteY81" fmla="*/ 2568666 h 2587828"/>
                    <a:gd name="connsiteX82" fmla="*/ 949236 w 2125750"/>
                    <a:gd name="connsiteY82" fmla="*/ 2519043 h 2587828"/>
                    <a:gd name="connsiteX83" fmla="*/ 965776 w 2125750"/>
                    <a:gd name="connsiteY83" fmla="*/ 2447333 h 2587828"/>
                    <a:gd name="connsiteX84" fmla="*/ 1009952 w 2125750"/>
                    <a:gd name="connsiteY84" fmla="*/ 2383893 h 2587828"/>
                    <a:gd name="connsiteX85" fmla="*/ 1059575 w 2125750"/>
                    <a:gd name="connsiteY85" fmla="*/ 2301189 h 2587828"/>
                    <a:gd name="connsiteX86" fmla="*/ 1125738 w 2125750"/>
                    <a:gd name="connsiteY86" fmla="*/ 2221208 h 2587828"/>
                    <a:gd name="connsiteX87" fmla="*/ 1158820 w 2125750"/>
                    <a:gd name="connsiteY87" fmla="*/ 2132957 h 2587828"/>
                    <a:gd name="connsiteX88" fmla="*/ 1180908 w 2125750"/>
                    <a:gd name="connsiteY88" fmla="*/ 2075064 h 2587828"/>
                    <a:gd name="connsiteX89" fmla="*/ 1156097 w 2125750"/>
                    <a:gd name="connsiteY89" fmla="*/ 1984090 h 2587828"/>
                    <a:gd name="connsiteX90" fmla="*/ 1065122 w 2125750"/>
                    <a:gd name="connsiteY90" fmla="*/ 1892914 h 2587828"/>
                    <a:gd name="connsiteX91" fmla="*/ 1009952 w 2125750"/>
                    <a:gd name="connsiteY91" fmla="*/ 1804663 h 2587828"/>
                    <a:gd name="connsiteX92" fmla="*/ 1059575 w 2125750"/>
                    <a:gd name="connsiteY92" fmla="*/ 1735675 h 2587828"/>
                    <a:gd name="connsiteX93" fmla="*/ 1043034 w 2125750"/>
                    <a:gd name="connsiteY93" fmla="*/ 1633606 h 2587828"/>
                    <a:gd name="connsiteX94" fmla="*/ 1106474 w 2125750"/>
                    <a:gd name="connsiteY94" fmla="*/ 1597802 h 2587828"/>
                    <a:gd name="connsiteX95" fmla="*/ 1230530 w 2125750"/>
                    <a:gd name="connsiteY95" fmla="*/ 1600625 h 2587828"/>
                    <a:gd name="connsiteX96" fmla="*/ 1321505 w 2125750"/>
                    <a:gd name="connsiteY96" fmla="*/ 1537185 h 2587828"/>
                    <a:gd name="connsiteX97" fmla="*/ 1426296 w 2125750"/>
                    <a:gd name="connsiteY97" fmla="*/ 1523469 h 2587828"/>
                    <a:gd name="connsiteX98" fmla="*/ 1558623 w 2125750"/>
                    <a:gd name="connsiteY98" fmla="*/ 1482116 h 2587828"/>
                    <a:gd name="connsiteX99" fmla="*/ 1644050 w 2125750"/>
                    <a:gd name="connsiteY99" fmla="*/ 1482116 h 2587828"/>
                    <a:gd name="connsiteX100" fmla="*/ 1768106 w 2125750"/>
                    <a:gd name="connsiteY100" fmla="*/ 1379846 h 2587828"/>
                    <a:gd name="connsiteX101" fmla="*/ 1776377 w 2125750"/>
                    <a:gd name="connsiteY101" fmla="*/ 1299866 h 2587828"/>
                    <a:gd name="connsiteX102" fmla="*/ 1768106 w 2125750"/>
                    <a:gd name="connsiteY102" fmla="*/ 1228155 h 2587828"/>
                    <a:gd name="connsiteX103" fmla="*/ 1839817 w 2125750"/>
                    <a:gd name="connsiteY103" fmla="*/ 1230878 h 2587828"/>
                    <a:gd name="connsiteX104" fmla="*/ 1867351 w 2125750"/>
                    <a:gd name="connsiteY104" fmla="*/ 1156444 h 2587828"/>
                    <a:gd name="connsiteX105" fmla="*/ 1834269 w 2125750"/>
                    <a:gd name="connsiteY105" fmla="*/ 1068193 h 2587828"/>
                    <a:gd name="connsiteX106" fmla="*/ 1911426 w 2125750"/>
                    <a:gd name="connsiteY106" fmla="*/ 1015747 h 2587828"/>
                    <a:gd name="connsiteX107" fmla="*/ 2030036 w 2125750"/>
                    <a:gd name="connsiteY107" fmla="*/ 916502 h 2587828"/>
                    <a:gd name="connsiteX108" fmla="*/ 2093375 w 2125750"/>
                    <a:gd name="connsiteY108" fmla="*/ 825527 h 2587828"/>
                    <a:gd name="connsiteX109" fmla="*/ 2125751 w 2125750"/>
                    <a:gd name="connsiteY109" fmla="*/ 655076 h 2587828"/>
                    <a:gd name="connsiteX110" fmla="*/ 2106689 w 2125750"/>
                    <a:gd name="connsiteY110" fmla="*/ 637023 h 2587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125750" h="2587828">
                      <a:moveTo>
                        <a:pt x="1652825" y="0"/>
                      </a:moveTo>
                      <a:cubicBezTo>
                        <a:pt x="1652724" y="0"/>
                        <a:pt x="1652724" y="101"/>
                        <a:pt x="1652825" y="0"/>
                      </a:cubicBezTo>
                      <a:cubicBezTo>
                        <a:pt x="1652724" y="101"/>
                        <a:pt x="1652825" y="0"/>
                        <a:pt x="1652825" y="0"/>
                      </a:cubicBezTo>
                      <a:lnTo>
                        <a:pt x="1652825" y="0"/>
                      </a:lnTo>
                      <a:close/>
                      <a:moveTo>
                        <a:pt x="2106689" y="637023"/>
                      </a:moveTo>
                      <a:cubicBezTo>
                        <a:pt x="2095897" y="627340"/>
                        <a:pt x="2077540" y="637023"/>
                        <a:pt x="2067757" y="625122"/>
                      </a:cubicBezTo>
                      <a:cubicBezTo>
                        <a:pt x="2058075" y="613220"/>
                        <a:pt x="2081070" y="611304"/>
                        <a:pt x="2081070" y="587703"/>
                      </a:cubicBezTo>
                      <a:cubicBezTo>
                        <a:pt x="2081070" y="564203"/>
                        <a:pt x="2084399" y="557546"/>
                        <a:pt x="2057570" y="560875"/>
                      </a:cubicBezTo>
                      <a:cubicBezTo>
                        <a:pt x="2030742" y="564203"/>
                        <a:pt x="2030742" y="567632"/>
                        <a:pt x="2013899" y="547460"/>
                      </a:cubicBezTo>
                      <a:cubicBezTo>
                        <a:pt x="1997055" y="527289"/>
                        <a:pt x="1966898" y="510546"/>
                        <a:pt x="1990399" y="493702"/>
                      </a:cubicBezTo>
                      <a:cubicBezTo>
                        <a:pt x="2013899" y="476859"/>
                        <a:pt x="2000484" y="436516"/>
                        <a:pt x="1980313" y="426531"/>
                      </a:cubicBezTo>
                      <a:cubicBezTo>
                        <a:pt x="1960141" y="416445"/>
                        <a:pt x="1963469" y="396273"/>
                        <a:pt x="2013899" y="379531"/>
                      </a:cubicBezTo>
                      <a:cubicBezTo>
                        <a:pt x="2064328" y="362687"/>
                        <a:pt x="2034070" y="319016"/>
                        <a:pt x="2017227" y="302273"/>
                      </a:cubicBezTo>
                      <a:cubicBezTo>
                        <a:pt x="2000384" y="285430"/>
                        <a:pt x="1970227" y="268687"/>
                        <a:pt x="1946727" y="261930"/>
                      </a:cubicBezTo>
                      <a:cubicBezTo>
                        <a:pt x="1923227" y="255172"/>
                        <a:pt x="1933212" y="214930"/>
                        <a:pt x="1909812" y="204844"/>
                      </a:cubicBezTo>
                      <a:cubicBezTo>
                        <a:pt x="1886312" y="194859"/>
                        <a:pt x="1899727" y="164500"/>
                        <a:pt x="1866141" y="144430"/>
                      </a:cubicBezTo>
                      <a:cubicBezTo>
                        <a:pt x="1832555" y="124258"/>
                        <a:pt x="1751868" y="131015"/>
                        <a:pt x="1751868" y="151086"/>
                      </a:cubicBezTo>
                      <a:cubicBezTo>
                        <a:pt x="1751868" y="171157"/>
                        <a:pt x="1735126" y="171258"/>
                        <a:pt x="1708196" y="171258"/>
                      </a:cubicBezTo>
                      <a:cubicBezTo>
                        <a:pt x="1681267" y="171258"/>
                        <a:pt x="1711524" y="110844"/>
                        <a:pt x="1704868" y="90672"/>
                      </a:cubicBezTo>
                      <a:cubicBezTo>
                        <a:pt x="1698110" y="70399"/>
                        <a:pt x="1688025" y="57086"/>
                        <a:pt x="1644353" y="57086"/>
                      </a:cubicBezTo>
                      <a:cubicBezTo>
                        <a:pt x="1634267" y="57086"/>
                        <a:pt x="1622567" y="54766"/>
                        <a:pt x="1610767" y="51337"/>
                      </a:cubicBezTo>
                      <a:cubicBezTo>
                        <a:pt x="1588175" y="77258"/>
                        <a:pt x="1561447" y="105095"/>
                        <a:pt x="1552269" y="120425"/>
                      </a:cubicBezTo>
                      <a:cubicBezTo>
                        <a:pt x="1537745" y="144530"/>
                        <a:pt x="1554689" y="163895"/>
                        <a:pt x="1533005" y="190421"/>
                      </a:cubicBezTo>
                      <a:cubicBezTo>
                        <a:pt x="1511320" y="216947"/>
                        <a:pt x="1477432" y="233891"/>
                        <a:pt x="1438904" y="257996"/>
                      </a:cubicBezTo>
                      <a:cubicBezTo>
                        <a:pt x="1400275" y="282101"/>
                        <a:pt x="1361646" y="323151"/>
                        <a:pt x="1366487" y="356939"/>
                      </a:cubicBezTo>
                      <a:cubicBezTo>
                        <a:pt x="1371329" y="390726"/>
                        <a:pt x="1373749" y="393147"/>
                        <a:pt x="1339962" y="422194"/>
                      </a:cubicBezTo>
                      <a:cubicBezTo>
                        <a:pt x="1306174" y="451241"/>
                        <a:pt x="1298912" y="463344"/>
                        <a:pt x="1277227" y="463344"/>
                      </a:cubicBezTo>
                      <a:cubicBezTo>
                        <a:pt x="1255543" y="463344"/>
                        <a:pt x="1216813" y="485029"/>
                        <a:pt x="1212073" y="509235"/>
                      </a:cubicBezTo>
                      <a:cubicBezTo>
                        <a:pt x="1207232" y="533340"/>
                        <a:pt x="1197549" y="555126"/>
                        <a:pt x="1178285" y="555126"/>
                      </a:cubicBezTo>
                      <a:cubicBezTo>
                        <a:pt x="1159021" y="555126"/>
                        <a:pt x="1144498" y="538282"/>
                        <a:pt x="1129974" y="555126"/>
                      </a:cubicBezTo>
                      <a:cubicBezTo>
                        <a:pt x="1115551" y="572070"/>
                        <a:pt x="1079242" y="564808"/>
                        <a:pt x="1069661" y="552705"/>
                      </a:cubicBezTo>
                      <a:cubicBezTo>
                        <a:pt x="1059978" y="540602"/>
                        <a:pt x="1040714" y="504393"/>
                        <a:pt x="1014188" y="509235"/>
                      </a:cubicBezTo>
                      <a:cubicBezTo>
                        <a:pt x="987663" y="514076"/>
                        <a:pt x="975560" y="509235"/>
                        <a:pt x="965877" y="489971"/>
                      </a:cubicBezTo>
                      <a:cubicBezTo>
                        <a:pt x="956195" y="470707"/>
                        <a:pt x="953774" y="468186"/>
                        <a:pt x="958615" y="448922"/>
                      </a:cubicBezTo>
                      <a:cubicBezTo>
                        <a:pt x="963457" y="429658"/>
                        <a:pt x="951353" y="395870"/>
                        <a:pt x="919987" y="393348"/>
                      </a:cubicBezTo>
                      <a:cubicBezTo>
                        <a:pt x="888620" y="390928"/>
                        <a:pt x="874096" y="378926"/>
                        <a:pt x="869255" y="364402"/>
                      </a:cubicBezTo>
                      <a:cubicBezTo>
                        <a:pt x="864413" y="349878"/>
                        <a:pt x="833046" y="359460"/>
                        <a:pt x="820943" y="369142"/>
                      </a:cubicBezTo>
                      <a:cubicBezTo>
                        <a:pt x="808840" y="378724"/>
                        <a:pt x="782315" y="359460"/>
                        <a:pt x="782315" y="359460"/>
                      </a:cubicBezTo>
                      <a:cubicBezTo>
                        <a:pt x="782315" y="359460"/>
                        <a:pt x="802991" y="577113"/>
                        <a:pt x="813984" y="585383"/>
                      </a:cubicBezTo>
                      <a:cubicBezTo>
                        <a:pt x="824978" y="593553"/>
                        <a:pt x="866330" y="588107"/>
                        <a:pt x="874600" y="659817"/>
                      </a:cubicBezTo>
                      <a:cubicBezTo>
                        <a:pt x="882871" y="731426"/>
                        <a:pt x="852613" y="797690"/>
                        <a:pt x="852613" y="797690"/>
                      </a:cubicBezTo>
                      <a:cubicBezTo>
                        <a:pt x="852613" y="797690"/>
                        <a:pt x="874600" y="673533"/>
                        <a:pt x="838795" y="648722"/>
                      </a:cubicBezTo>
                      <a:cubicBezTo>
                        <a:pt x="802991" y="624012"/>
                        <a:pt x="775355" y="601924"/>
                        <a:pt x="775355" y="544031"/>
                      </a:cubicBezTo>
                      <a:cubicBezTo>
                        <a:pt x="775355" y="486138"/>
                        <a:pt x="750645" y="342617"/>
                        <a:pt x="714739" y="317906"/>
                      </a:cubicBezTo>
                      <a:cubicBezTo>
                        <a:pt x="678834" y="293095"/>
                        <a:pt x="678935" y="268183"/>
                        <a:pt x="676111" y="257189"/>
                      </a:cubicBezTo>
                      <a:cubicBezTo>
                        <a:pt x="673387" y="246196"/>
                        <a:pt x="651198" y="224108"/>
                        <a:pt x="629211" y="218561"/>
                      </a:cubicBezTo>
                      <a:cubicBezTo>
                        <a:pt x="607224" y="213114"/>
                        <a:pt x="579589" y="191026"/>
                        <a:pt x="576866" y="168938"/>
                      </a:cubicBezTo>
                      <a:cubicBezTo>
                        <a:pt x="574142" y="146850"/>
                        <a:pt x="565872" y="127485"/>
                        <a:pt x="546507" y="141404"/>
                      </a:cubicBezTo>
                      <a:cubicBezTo>
                        <a:pt x="527243" y="155221"/>
                        <a:pt x="507878" y="218661"/>
                        <a:pt x="507878" y="290271"/>
                      </a:cubicBezTo>
                      <a:cubicBezTo>
                        <a:pt x="507878" y="361982"/>
                        <a:pt x="452709" y="676358"/>
                        <a:pt x="433445" y="775602"/>
                      </a:cubicBezTo>
                      <a:cubicBezTo>
                        <a:pt x="414181" y="874847"/>
                        <a:pt x="375552" y="952004"/>
                        <a:pt x="400363" y="946558"/>
                      </a:cubicBezTo>
                      <a:cubicBezTo>
                        <a:pt x="425174" y="941112"/>
                        <a:pt x="425174" y="894111"/>
                        <a:pt x="438992" y="866577"/>
                      </a:cubicBezTo>
                      <a:cubicBezTo>
                        <a:pt x="452709" y="839043"/>
                        <a:pt x="472074" y="811508"/>
                        <a:pt x="494061" y="819778"/>
                      </a:cubicBezTo>
                      <a:cubicBezTo>
                        <a:pt x="516149" y="827948"/>
                        <a:pt x="565771" y="888665"/>
                        <a:pt x="565771" y="910753"/>
                      </a:cubicBezTo>
                      <a:cubicBezTo>
                        <a:pt x="565771" y="932841"/>
                        <a:pt x="557501" y="963099"/>
                        <a:pt x="540960" y="952105"/>
                      </a:cubicBezTo>
                      <a:cubicBezTo>
                        <a:pt x="524419" y="941112"/>
                        <a:pt x="529966" y="919023"/>
                        <a:pt x="513426" y="932841"/>
                      </a:cubicBezTo>
                      <a:cubicBezTo>
                        <a:pt x="496885" y="946558"/>
                        <a:pt x="488614" y="932942"/>
                        <a:pt x="485891" y="921847"/>
                      </a:cubicBezTo>
                      <a:cubicBezTo>
                        <a:pt x="483168" y="910753"/>
                        <a:pt x="447262" y="932841"/>
                        <a:pt x="436269" y="968646"/>
                      </a:cubicBezTo>
                      <a:cubicBezTo>
                        <a:pt x="425275" y="1004450"/>
                        <a:pt x="397640" y="1192249"/>
                        <a:pt x="372829" y="1332846"/>
                      </a:cubicBezTo>
                      <a:cubicBezTo>
                        <a:pt x="348018" y="1473443"/>
                        <a:pt x="273584" y="1851360"/>
                        <a:pt x="190880" y="1953328"/>
                      </a:cubicBezTo>
                      <a:cubicBezTo>
                        <a:pt x="108176" y="2055397"/>
                        <a:pt x="119169" y="2005674"/>
                        <a:pt x="53006" y="2022215"/>
                      </a:cubicBezTo>
                      <a:cubicBezTo>
                        <a:pt x="-13157" y="2038755"/>
                        <a:pt x="-4887" y="2066391"/>
                        <a:pt x="11654" y="2069113"/>
                      </a:cubicBezTo>
                      <a:cubicBezTo>
                        <a:pt x="28195" y="2071837"/>
                        <a:pt x="17201" y="2129830"/>
                        <a:pt x="33742" y="2129830"/>
                      </a:cubicBezTo>
                      <a:cubicBezTo>
                        <a:pt x="50283" y="2129830"/>
                        <a:pt x="66824" y="2088478"/>
                        <a:pt x="80642" y="2088478"/>
                      </a:cubicBezTo>
                      <a:cubicBezTo>
                        <a:pt x="94459" y="2088478"/>
                        <a:pt x="116446" y="2094026"/>
                        <a:pt x="111000" y="2129830"/>
                      </a:cubicBezTo>
                      <a:cubicBezTo>
                        <a:pt x="105453" y="2165635"/>
                        <a:pt x="135811" y="2149094"/>
                        <a:pt x="135811" y="2149094"/>
                      </a:cubicBezTo>
                      <a:cubicBezTo>
                        <a:pt x="135811" y="2149094"/>
                        <a:pt x="152352" y="2118736"/>
                        <a:pt x="168893" y="2116013"/>
                      </a:cubicBezTo>
                      <a:cubicBezTo>
                        <a:pt x="185434" y="2113290"/>
                        <a:pt x="268138" y="2110566"/>
                        <a:pt x="276408" y="2143648"/>
                      </a:cubicBezTo>
                      <a:cubicBezTo>
                        <a:pt x="284678" y="2176729"/>
                        <a:pt x="254421" y="2229176"/>
                        <a:pt x="254421" y="2245717"/>
                      </a:cubicBezTo>
                      <a:cubicBezTo>
                        <a:pt x="254421" y="2262258"/>
                        <a:pt x="226786" y="2262258"/>
                        <a:pt x="226786" y="2284346"/>
                      </a:cubicBezTo>
                      <a:cubicBezTo>
                        <a:pt x="226786" y="2306434"/>
                        <a:pt x="240603" y="2331144"/>
                        <a:pt x="262691" y="2331144"/>
                      </a:cubicBezTo>
                      <a:cubicBezTo>
                        <a:pt x="284678" y="2331144"/>
                        <a:pt x="290226" y="2322874"/>
                        <a:pt x="295773" y="2292515"/>
                      </a:cubicBezTo>
                      <a:cubicBezTo>
                        <a:pt x="301320" y="2262258"/>
                        <a:pt x="337125" y="2242893"/>
                        <a:pt x="345395" y="2264981"/>
                      </a:cubicBezTo>
                      <a:cubicBezTo>
                        <a:pt x="353666" y="2287069"/>
                        <a:pt x="337125" y="2311880"/>
                        <a:pt x="364659" y="2325597"/>
                      </a:cubicBezTo>
                      <a:cubicBezTo>
                        <a:pt x="392294" y="2339414"/>
                        <a:pt x="441917" y="2361402"/>
                        <a:pt x="461181" y="2369672"/>
                      </a:cubicBezTo>
                      <a:cubicBezTo>
                        <a:pt x="480445" y="2377942"/>
                        <a:pt x="565973" y="2424842"/>
                        <a:pt x="604602" y="2422118"/>
                      </a:cubicBezTo>
                      <a:cubicBezTo>
                        <a:pt x="643231" y="2419295"/>
                        <a:pt x="670765" y="2386213"/>
                        <a:pt x="687306" y="2416571"/>
                      </a:cubicBezTo>
                      <a:cubicBezTo>
                        <a:pt x="703847" y="2446930"/>
                        <a:pt x="673488" y="2480011"/>
                        <a:pt x="673488" y="2480011"/>
                      </a:cubicBezTo>
                      <a:cubicBezTo>
                        <a:pt x="673488" y="2480011"/>
                        <a:pt x="673387" y="2496855"/>
                        <a:pt x="703746" y="2496855"/>
                      </a:cubicBezTo>
                      <a:cubicBezTo>
                        <a:pt x="734104" y="2496855"/>
                        <a:pt x="761639" y="2587829"/>
                        <a:pt x="791997" y="2587829"/>
                      </a:cubicBezTo>
                      <a:cubicBezTo>
                        <a:pt x="822355" y="2587829"/>
                        <a:pt x="833349" y="2557470"/>
                        <a:pt x="844443" y="2560295"/>
                      </a:cubicBezTo>
                      <a:cubicBezTo>
                        <a:pt x="855437" y="2563119"/>
                        <a:pt x="860984" y="2579558"/>
                        <a:pt x="899613" y="2568666"/>
                      </a:cubicBezTo>
                      <a:cubicBezTo>
                        <a:pt x="938242" y="2557571"/>
                        <a:pt x="949236" y="2519043"/>
                        <a:pt x="949236" y="2519043"/>
                      </a:cubicBezTo>
                      <a:cubicBezTo>
                        <a:pt x="949236" y="2519043"/>
                        <a:pt x="951959" y="2474868"/>
                        <a:pt x="965776" y="2447333"/>
                      </a:cubicBezTo>
                      <a:cubicBezTo>
                        <a:pt x="979594" y="2419799"/>
                        <a:pt x="993412" y="2411427"/>
                        <a:pt x="1009952" y="2383893"/>
                      </a:cubicBezTo>
                      <a:cubicBezTo>
                        <a:pt x="1026493" y="2356359"/>
                        <a:pt x="1034764" y="2309460"/>
                        <a:pt x="1059575" y="2301189"/>
                      </a:cubicBezTo>
                      <a:cubicBezTo>
                        <a:pt x="1084386" y="2292818"/>
                        <a:pt x="1109197" y="2254391"/>
                        <a:pt x="1125738" y="2221208"/>
                      </a:cubicBezTo>
                      <a:cubicBezTo>
                        <a:pt x="1142279" y="2188126"/>
                        <a:pt x="1134009" y="2143950"/>
                        <a:pt x="1158820" y="2132957"/>
                      </a:cubicBezTo>
                      <a:cubicBezTo>
                        <a:pt x="1183631" y="2121963"/>
                        <a:pt x="1191901" y="2108146"/>
                        <a:pt x="1180908" y="2075064"/>
                      </a:cubicBezTo>
                      <a:cubicBezTo>
                        <a:pt x="1169914" y="2041982"/>
                        <a:pt x="1164367" y="2006178"/>
                        <a:pt x="1156097" y="1984090"/>
                      </a:cubicBezTo>
                      <a:cubicBezTo>
                        <a:pt x="1147826" y="1962002"/>
                        <a:pt x="1106474" y="1892914"/>
                        <a:pt x="1065122" y="1892914"/>
                      </a:cubicBezTo>
                      <a:cubicBezTo>
                        <a:pt x="1023770" y="1892914"/>
                        <a:pt x="990688" y="1818581"/>
                        <a:pt x="1009952" y="1804663"/>
                      </a:cubicBezTo>
                      <a:cubicBezTo>
                        <a:pt x="1029216" y="1790845"/>
                        <a:pt x="1056852" y="1815656"/>
                        <a:pt x="1059575" y="1735675"/>
                      </a:cubicBezTo>
                      <a:cubicBezTo>
                        <a:pt x="1062298" y="1655694"/>
                        <a:pt x="1031940" y="1666688"/>
                        <a:pt x="1043034" y="1633606"/>
                      </a:cubicBezTo>
                      <a:cubicBezTo>
                        <a:pt x="1054028" y="1600525"/>
                        <a:pt x="1078940" y="1589430"/>
                        <a:pt x="1106474" y="1597802"/>
                      </a:cubicBezTo>
                      <a:cubicBezTo>
                        <a:pt x="1134009" y="1606173"/>
                        <a:pt x="1197448" y="1644700"/>
                        <a:pt x="1230530" y="1600625"/>
                      </a:cubicBezTo>
                      <a:cubicBezTo>
                        <a:pt x="1263612" y="1556449"/>
                        <a:pt x="1296693" y="1537185"/>
                        <a:pt x="1321505" y="1537185"/>
                      </a:cubicBezTo>
                      <a:cubicBezTo>
                        <a:pt x="1346316" y="1537185"/>
                        <a:pt x="1379397" y="1553827"/>
                        <a:pt x="1426296" y="1523469"/>
                      </a:cubicBezTo>
                      <a:cubicBezTo>
                        <a:pt x="1473196" y="1493110"/>
                        <a:pt x="1533812" y="1482116"/>
                        <a:pt x="1558623" y="1482116"/>
                      </a:cubicBezTo>
                      <a:cubicBezTo>
                        <a:pt x="1583434" y="1482116"/>
                        <a:pt x="1591705" y="1520644"/>
                        <a:pt x="1644050" y="1482116"/>
                      </a:cubicBezTo>
                      <a:cubicBezTo>
                        <a:pt x="1696497" y="1443488"/>
                        <a:pt x="1737748" y="1432292"/>
                        <a:pt x="1768106" y="1379846"/>
                      </a:cubicBezTo>
                      <a:cubicBezTo>
                        <a:pt x="1798465" y="1327501"/>
                        <a:pt x="1790194" y="1302588"/>
                        <a:pt x="1776377" y="1299866"/>
                      </a:cubicBezTo>
                      <a:cubicBezTo>
                        <a:pt x="1762559" y="1297142"/>
                        <a:pt x="1732201" y="1255790"/>
                        <a:pt x="1768106" y="1228155"/>
                      </a:cubicBezTo>
                      <a:cubicBezTo>
                        <a:pt x="1804012" y="1200620"/>
                        <a:pt x="1817728" y="1247419"/>
                        <a:pt x="1839817" y="1230878"/>
                      </a:cubicBezTo>
                      <a:cubicBezTo>
                        <a:pt x="1861905" y="1214337"/>
                        <a:pt x="1883892" y="1172985"/>
                        <a:pt x="1867351" y="1156444"/>
                      </a:cubicBezTo>
                      <a:cubicBezTo>
                        <a:pt x="1850810" y="1139903"/>
                        <a:pt x="1806735" y="1115193"/>
                        <a:pt x="1834269" y="1068193"/>
                      </a:cubicBezTo>
                      <a:cubicBezTo>
                        <a:pt x="1861804" y="1021294"/>
                        <a:pt x="1845263" y="1098451"/>
                        <a:pt x="1911426" y="1015747"/>
                      </a:cubicBezTo>
                      <a:cubicBezTo>
                        <a:pt x="1977589" y="933042"/>
                        <a:pt x="2016218" y="941212"/>
                        <a:pt x="2030036" y="916502"/>
                      </a:cubicBezTo>
                      <a:cubicBezTo>
                        <a:pt x="2043854" y="891691"/>
                        <a:pt x="2065841" y="877873"/>
                        <a:pt x="2093375" y="825527"/>
                      </a:cubicBezTo>
                      <a:cubicBezTo>
                        <a:pt x="2111631" y="791034"/>
                        <a:pt x="2121313" y="708128"/>
                        <a:pt x="2125751" y="655076"/>
                      </a:cubicBezTo>
                      <a:cubicBezTo>
                        <a:pt x="2119498" y="651748"/>
                        <a:pt x="2114051" y="643579"/>
                        <a:pt x="2106689" y="637023"/>
                      </a:cubicBezTo>
                      <a:close/>
                    </a:path>
                  </a:pathLst>
                </a:custGeom>
                <a:solidFill>
                  <a:schemeClr val="bg1">
                    <a:lumMod val="75000"/>
                  </a:schemeClr>
                </a:solidFill>
                <a:ln w="10085" cap="flat">
                  <a:solidFill>
                    <a:srgbClr val="FFFFFF"/>
                  </a:solidFill>
                  <a:prstDash val="solid"/>
                  <a:miter/>
                </a:ln>
              </p:spPr>
              <p:txBody>
                <a:bodyPr rtlCol="0" anchor="ctr"/>
                <a:lstStyle/>
                <a:p>
                  <a:endParaRPr lang="fr-FR" sz="900"/>
                </a:p>
              </p:txBody>
            </p:sp>
            <p:sp>
              <p:nvSpPr>
                <p:cNvPr id="94" name="Forme libre : forme 93">
                  <a:extLst>
                    <a:ext uri="{FF2B5EF4-FFF2-40B4-BE49-F238E27FC236}">
                      <a16:creationId xmlns:a16="http://schemas.microsoft.com/office/drawing/2014/main" id="{2655F183-7C55-5072-ACBA-6C06E9FD4D2E}"/>
                    </a:ext>
                  </a:extLst>
                </p:cNvPr>
                <p:cNvSpPr/>
                <p:nvPr/>
              </p:nvSpPr>
              <p:spPr>
                <a:xfrm>
                  <a:off x="2619348" y="9024332"/>
                  <a:ext cx="2131141" cy="2593174"/>
                </a:xfrm>
                <a:custGeom>
                  <a:avLst/>
                  <a:gdLst>
                    <a:gd name="connsiteX0" fmla="*/ 706514 w 2131141"/>
                    <a:gd name="connsiteY0" fmla="*/ 2502402 h 2593174"/>
                    <a:gd name="connsiteX1" fmla="*/ 673433 w 2131141"/>
                    <a:gd name="connsiteY1" fmla="*/ 2482836 h 2593174"/>
                    <a:gd name="connsiteX2" fmla="*/ 673433 w 2131141"/>
                    <a:gd name="connsiteY2" fmla="*/ 2482836 h 2593174"/>
                    <a:gd name="connsiteX3" fmla="*/ 674240 w 2131141"/>
                    <a:gd name="connsiteY3" fmla="*/ 2480818 h 2593174"/>
                    <a:gd name="connsiteX4" fmla="*/ 674240 w 2131141"/>
                    <a:gd name="connsiteY4" fmla="*/ 2480818 h 2593174"/>
                    <a:gd name="connsiteX5" fmla="*/ 674643 w 2131141"/>
                    <a:gd name="connsiteY5" fmla="*/ 2480415 h 2593174"/>
                    <a:gd name="connsiteX6" fmla="*/ 674643 w 2131141"/>
                    <a:gd name="connsiteY6" fmla="*/ 2480415 h 2593174"/>
                    <a:gd name="connsiteX7" fmla="*/ 692091 w 2131141"/>
                    <a:gd name="connsiteY7" fmla="*/ 2438861 h 2593174"/>
                    <a:gd name="connsiteX8" fmla="*/ 692091 w 2131141"/>
                    <a:gd name="connsiteY8" fmla="*/ 2438861 h 2593174"/>
                    <a:gd name="connsiteX9" fmla="*/ 687553 w 2131141"/>
                    <a:gd name="connsiteY9" fmla="*/ 2420707 h 2593174"/>
                    <a:gd name="connsiteX10" fmla="*/ 687553 w 2131141"/>
                    <a:gd name="connsiteY10" fmla="*/ 2420707 h 2593174"/>
                    <a:gd name="connsiteX11" fmla="*/ 671416 w 2131141"/>
                    <a:gd name="connsiteY11" fmla="*/ 2409410 h 2593174"/>
                    <a:gd name="connsiteX12" fmla="*/ 671416 w 2131141"/>
                    <a:gd name="connsiteY12" fmla="*/ 2409410 h 2593174"/>
                    <a:gd name="connsiteX13" fmla="*/ 607068 w 2131141"/>
                    <a:gd name="connsiteY13" fmla="*/ 2427666 h 2593174"/>
                    <a:gd name="connsiteX14" fmla="*/ 607068 w 2131141"/>
                    <a:gd name="connsiteY14" fmla="*/ 2427666 h 2593174"/>
                    <a:gd name="connsiteX15" fmla="*/ 603840 w 2131141"/>
                    <a:gd name="connsiteY15" fmla="*/ 2427666 h 2593174"/>
                    <a:gd name="connsiteX16" fmla="*/ 603840 w 2131141"/>
                    <a:gd name="connsiteY16" fmla="*/ 2427666 h 2593174"/>
                    <a:gd name="connsiteX17" fmla="*/ 462739 w 2131141"/>
                    <a:gd name="connsiteY17" fmla="*/ 2375118 h 2593174"/>
                    <a:gd name="connsiteX18" fmla="*/ 462739 w 2131141"/>
                    <a:gd name="connsiteY18" fmla="*/ 2375118 h 2593174"/>
                    <a:gd name="connsiteX19" fmla="*/ 366016 w 2131141"/>
                    <a:gd name="connsiteY19" fmla="*/ 2330942 h 2593174"/>
                    <a:gd name="connsiteX20" fmla="*/ 366016 w 2131141"/>
                    <a:gd name="connsiteY20" fmla="*/ 2330942 h 2593174"/>
                    <a:gd name="connsiteX21" fmla="*/ 347458 w 2131141"/>
                    <a:gd name="connsiteY21" fmla="*/ 2298466 h 2593174"/>
                    <a:gd name="connsiteX22" fmla="*/ 347458 w 2131141"/>
                    <a:gd name="connsiteY22" fmla="*/ 2298466 h 2593174"/>
                    <a:gd name="connsiteX23" fmla="*/ 347659 w 2131141"/>
                    <a:gd name="connsiteY23" fmla="*/ 2285355 h 2593174"/>
                    <a:gd name="connsiteX24" fmla="*/ 347659 w 2131141"/>
                    <a:gd name="connsiteY24" fmla="*/ 2285355 h 2593174"/>
                    <a:gd name="connsiteX25" fmla="*/ 345340 w 2131141"/>
                    <a:gd name="connsiteY25" fmla="*/ 2268814 h 2593174"/>
                    <a:gd name="connsiteX26" fmla="*/ 345340 w 2131141"/>
                    <a:gd name="connsiteY26" fmla="*/ 2268814 h 2593174"/>
                    <a:gd name="connsiteX27" fmla="*/ 334548 w 2131141"/>
                    <a:gd name="connsiteY27" fmla="*/ 2261047 h 2593174"/>
                    <a:gd name="connsiteX28" fmla="*/ 334548 w 2131141"/>
                    <a:gd name="connsiteY28" fmla="*/ 2261047 h 2593174"/>
                    <a:gd name="connsiteX29" fmla="*/ 301063 w 2131141"/>
                    <a:gd name="connsiteY29" fmla="*/ 2295945 h 2593174"/>
                    <a:gd name="connsiteX30" fmla="*/ 301063 w 2131141"/>
                    <a:gd name="connsiteY30" fmla="*/ 2295945 h 2593174"/>
                    <a:gd name="connsiteX31" fmla="*/ 265258 w 2131141"/>
                    <a:gd name="connsiteY31" fmla="*/ 2336792 h 2593174"/>
                    <a:gd name="connsiteX32" fmla="*/ 265258 w 2131141"/>
                    <a:gd name="connsiteY32" fmla="*/ 2336792 h 2593174"/>
                    <a:gd name="connsiteX33" fmla="*/ 226629 w 2131141"/>
                    <a:gd name="connsiteY33" fmla="*/ 2287170 h 2593174"/>
                    <a:gd name="connsiteX34" fmla="*/ 226629 w 2131141"/>
                    <a:gd name="connsiteY34" fmla="*/ 2287170 h 2593174"/>
                    <a:gd name="connsiteX35" fmla="*/ 254265 w 2131141"/>
                    <a:gd name="connsiteY35" fmla="*/ 2248642 h 2593174"/>
                    <a:gd name="connsiteX36" fmla="*/ 254265 w 2131141"/>
                    <a:gd name="connsiteY36" fmla="*/ 2248642 h 2593174"/>
                    <a:gd name="connsiteX37" fmla="*/ 277664 w 2131141"/>
                    <a:gd name="connsiteY37" fmla="*/ 2159281 h 2593174"/>
                    <a:gd name="connsiteX38" fmla="*/ 277664 w 2131141"/>
                    <a:gd name="connsiteY38" fmla="*/ 2159281 h 2593174"/>
                    <a:gd name="connsiteX39" fmla="*/ 276353 w 2131141"/>
                    <a:gd name="connsiteY39" fmla="*/ 2147279 h 2593174"/>
                    <a:gd name="connsiteX40" fmla="*/ 276353 w 2131141"/>
                    <a:gd name="connsiteY40" fmla="*/ 2147279 h 2593174"/>
                    <a:gd name="connsiteX41" fmla="*/ 197279 w 2131141"/>
                    <a:gd name="connsiteY41" fmla="*/ 2120249 h 2593174"/>
                    <a:gd name="connsiteX42" fmla="*/ 197279 w 2131141"/>
                    <a:gd name="connsiteY42" fmla="*/ 2120249 h 2593174"/>
                    <a:gd name="connsiteX43" fmla="*/ 171964 w 2131141"/>
                    <a:gd name="connsiteY43" fmla="*/ 2121762 h 2593174"/>
                    <a:gd name="connsiteX44" fmla="*/ 171964 w 2131141"/>
                    <a:gd name="connsiteY44" fmla="*/ 2121762 h 2593174"/>
                    <a:gd name="connsiteX45" fmla="*/ 139790 w 2131141"/>
                    <a:gd name="connsiteY45" fmla="*/ 2154541 h 2593174"/>
                    <a:gd name="connsiteX46" fmla="*/ 139790 w 2131141"/>
                    <a:gd name="connsiteY46" fmla="*/ 2154541 h 2593174"/>
                    <a:gd name="connsiteX47" fmla="*/ 124863 w 2131141"/>
                    <a:gd name="connsiteY47" fmla="*/ 2158474 h 2593174"/>
                    <a:gd name="connsiteX48" fmla="*/ 124863 w 2131141"/>
                    <a:gd name="connsiteY48" fmla="*/ 2158474 h 2593174"/>
                    <a:gd name="connsiteX49" fmla="*/ 110238 w 2131141"/>
                    <a:gd name="connsiteY49" fmla="*/ 2140622 h 2593174"/>
                    <a:gd name="connsiteX50" fmla="*/ 110238 w 2131141"/>
                    <a:gd name="connsiteY50" fmla="*/ 2140622 h 2593174"/>
                    <a:gd name="connsiteX51" fmla="*/ 110944 w 2131141"/>
                    <a:gd name="connsiteY51" fmla="*/ 2132554 h 2593174"/>
                    <a:gd name="connsiteX52" fmla="*/ 110944 w 2131141"/>
                    <a:gd name="connsiteY52" fmla="*/ 2132554 h 2593174"/>
                    <a:gd name="connsiteX53" fmla="*/ 111751 w 2131141"/>
                    <a:gd name="connsiteY53" fmla="*/ 2122266 h 2593174"/>
                    <a:gd name="connsiteX54" fmla="*/ 111751 w 2131141"/>
                    <a:gd name="connsiteY54" fmla="*/ 2122266 h 2593174"/>
                    <a:gd name="connsiteX55" fmla="*/ 83309 w 2131141"/>
                    <a:gd name="connsiteY55" fmla="*/ 2094227 h 2593174"/>
                    <a:gd name="connsiteX56" fmla="*/ 83309 w 2131141"/>
                    <a:gd name="connsiteY56" fmla="*/ 2094227 h 2593174"/>
                    <a:gd name="connsiteX57" fmla="*/ 36511 w 2131141"/>
                    <a:gd name="connsiteY57" fmla="*/ 2135680 h 2593174"/>
                    <a:gd name="connsiteX58" fmla="*/ 36511 w 2131141"/>
                    <a:gd name="connsiteY58" fmla="*/ 2135680 h 2593174"/>
                    <a:gd name="connsiteX59" fmla="*/ 13919 w 2131141"/>
                    <a:gd name="connsiteY59" fmla="*/ 2074863 h 2593174"/>
                    <a:gd name="connsiteX60" fmla="*/ 13919 w 2131141"/>
                    <a:gd name="connsiteY60" fmla="*/ 2074863 h 2593174"/>
                    <a:gd name="connsiteX61" fmla="*/ 0 w 2131141"/>
                    <a:gd name="connsiteY61" fmla="*/ 2059734 h 2593174"/>
                    <a:gd name="connsiteX62" fmla="*/ 0 w 2131141"/>
                    <a:gd name="connsiteY62" fmla="*/ 2059734 h 2593174"/>
                    <a:gd name="connsiteX63" fmla="*/ 55069 w 2131141"/>
                    <a:gd name="connsiteY63" fmla="*/ 2022517 h 2593174"/>
                    <a:gd name="connsiteX64" fmla="*/ 55069 w 2131141"/>
                    <a:gd name="connsiteY64" fmla="*/ 2022517 h 2593174"/>
                    <a:gd name="connsiteX65" fmla="*/ 84318 w 2131141"/>
                    <a:gd name="connsiteY65" fmla="*/ 2018482 h 2593174"/>
                    <a:gd name="connsiteX66" fmla="*/ 84318 w 2131141"/>
                    <a:gd name="connsiteY66" fmla="*/ 2018482 h 2593174"/>
                    <a:gd name="connsiteX67" fmla="*/ 112054 w 2131141"/>
                    <a:gd name="connsiteY67" fmla="*/ 2020399 h 2593174"/>
                    <a:gd name="connsiteX68" fmla="*/ 112054 w 2131141"/>
                    <a:gd name="connsiteY68" fmla="*/ 2020399 h 2593174"/>
                    <a:gd name="connsiteX69" fmla="*/ 191430 w 2131141"/>
                    <a:gd name="connsiteY69" fmla="*/ 1954438 h 2593174"/>
                    <a:gd name="connsiteX70" fmla="*/ 191430 w 2131141"/>
                    <a:gd name="connsiteY70" fmla="*/ 1954438 h 2593174"/>
                    <a:gd name="connsiteX71" fmla="*/ 372773 w 2131141"/>
                    <a:gd name="connsiteY71" fmla="*/ 1335368 h 2593174"/>
                    <a:gd name="connsiteX72" fmla="*/ 372773 w 2131141"/>
                    <a:gd name="connsiteY72" fmla="*/ 1335368 h 2593174"/>
                    <a:gd name="connsiteX73" fmla="*/ 436314 w 2131141"/>
                    <a:gd name="connsiteY73" fmla="*/ 970865 h 2593174"/>
                    <a:gd name="connsiteX74" fmla="*/ 436314 w 2131141"/>
                    <a:gd name="connsiteY74" fmla="*/ 970865 h 2593174"/>
                    <a:gd name="connsiteX75" fmla="*/ 484323 w 2131141"/>
                    <a:gd name="connsiteY75" fmla="*/ 919023 h 2593174"/>
                    <a:gd name="connsiteX76" fmla="*/ 484323 w 2131141"/>
                    <a:gd name="connsiteY76" fmla="*/ 919023 h 2593174"/>
                    <a:gd name="connsiteX77" fmla="*/ 491181 w 2131141"/>
                    <a:gd name="connsiteY77" fmla="*/ 924167 h 2593174"/>
                    <a:gd name="connsiteX78" fmla="*/ 491181 w 2131141"/>
                    <a:gd name="connsiteY78" fmla="*/ 924167 h 2593174"/>
                    <a:gd name="connsiteX79" fmla="*/ 503385 w 2131141"/>
                    <a:gd name="connsiteY79" fmla="*/ 938590 h 2593174"/>
                    <a:gd name="connsiteX80" fmla="*/ 503385 w 2131141"/>
                    <a:gd name="connsiteY80" fmla="*/ 938590 h 2593174"/>
                    <a:gd name="connsiteX81" fmla="*/ 514177 w 2131141"/>
                    <a:gd name="connsiteY81" fmla="*/ 933648 h 2593174"/>
                    <a:gd name="connsiteX82" fmla="*/ 514177 w 2131141"/>
                    <a:gd name="connsiteY82" fmla="*/ 933648 h 2593174"/>
                    <a:gd name="connsiteX83" fmla="*/ 524364 w 2131141"/>
                    <a:gd name="connsiteY83" fmla="*/ 928504 h 2593174"/>
                    <a:gd name="connsiteX84" fmla="*/ 524364 w 2131141"/>
                    <a:gd name="connsiteY84" fmla="*/ 928504 h 2593174"/>
                    <a:gd name="connsiteX85" fmla="*/ 545040 w 2131141"/>
                    <a:gd name="connsiteY85" fmla="*/ 952811 h 2593174"/>
                    <a:gd name="connsiteX86" fmla="*/ 545040 w 2131141"/>
                    <a:gd name="connsiteY86" fmla="*/ 952811 h 2593174"/>
                    <a:gd name="connsiteX87" fmla="*/ 550284 w 2131141"/>
                    <a:gd name="connsiteY87" fmla="*/ 954526 h 2593174"/>
                    <a:gd name="connsiteX88" fmla="*/ 550284 w 2131141"/>
                    <a:gd name="connsiteY88" fmla="*/ 954526 h 2593174"/>
                    <a:gd name="connsiteX89" fmla="*/ 565716 w 2131141"/>
                    <a:gd name="connsiteY89" fmla="*/ 913779 h 2593174"/>
                    <a:gd name="connsiteX90" fmla="*/ 565716 w 2131141"/>
                    <a:gd name="connsiteY90" fmla="*/ 913779 h 2593174"/>
                    <a:gd name="connsiteX91" fmla="*/ 495720 w 2131141"/>
                    <a:gd name="connsiteY91" fmla="*/ 825427 h 2593174"/>
                    <a:gd name="connsiteX92" fmla="*/ 495720 w 2131141"/>
                    <a:gd name="connsiteY92" fmla="*/ 825427 h 2593174"/>
                    <a:gd name="connsiteX93" fmla="*/ 488660 w 2131141"/>
                    <a:gd name="connsiteY93" fmla="*/ 824116 h 2593174"/>
                    <a:gd name="connsiteX94" fmla="*/ 488660 w 2131141"/>
                    <a:gd name="connsiteY94" fmla="*/ 824116 h 2593174"/>
                    <a:gd name="connsiteX95" fmla="*/ 443979 w 2131141"/>
                    <a:gd name="connsiteY95" fmla="*/ 870914 h 2593174"/>
                    <a:gd name="connsiteX96" fmla="*/ 443979 w 2131141"/>
                    <a:gd name="connsiteY96" fmla="*/ 870914 h 2593174"/>
                    <a:gd name="connsiteX97" fmla="*/ 403132 w 2131141"/>
                    <a:gd name="connsiteY97" fmla="*/ 952407 h 2593174"/>
                    <a:gd name="connsiteX98" fmla="*/ 403132 w 2131141"/>
                    <a:gd name="connsiteY98" fmla="*/ 952407 h 2593174"/>
                    <a:gd name="connsiteX99" fmla="*/ 400610 w 2131141"/>
                    <a:gd name="connsiteY99" fmla="*/ 952508 h 2593174"/>
                    <a:gd name="connsiteX100" fmla="*/ 400610 w 2131141"/>
                    <a:gd name="connsiteY100" fmla="*/ 952508 h 2593174"/>
                    <a:gd name="connsiteX101" fmla="*/ 392037 w 2131141"/>
                    <a:gd name="connsiteY101" fmla="*/ 941010 h 2593174"/>
                    <a:gd name="connsiteX102" fmla="*/ 392037 w 2131141"/>
                    <a:gd name="connsiteY102" fmla="*/ 941010 h 2593174"/>
                    <a:gd name="connsiteX103" fmla="*/ 433288 w 2131141"/>
                    <a:gd name="connsiteY103" fmla="*/ 778124 h 2593174"/>
                    <a:gd name="connsiteX104" fmla="*/ 433288 w 2131141"/>
                    <a:gd name="connsiteY104" fmla="*/ 778124 h 2593174"/>
                    <a:gd name="connsiteX105" fmla="*/ 507722 w 2131141"/>
                    <a:gd name="connsiteY105" fmla="*/ 293398 h 2593174"/>
                    <a:gd name="connsiteX106" fmla="*/ 507722 w 2131141"/>
                    <a:gd name="connsiteY106" fmla="*/ 293398 h 2593174"/>
                    <a:gd name="connsiteX107" fmla="*/ 547359 w 2131141"/>
                    <a:gd name="connsiteY107" fmla="*/ 142312 h 2593174"/>
                    <a:gd name="connsiteX108" fmla="*/ 547359 w 2131141"/>
                    <a:gd name="connsiteY108" fmla="*/ 142312 h 2593174"/>
                    <a:gd name="connsiteX109" fmla="*/ 560875 w 2131141"/>
                    <a:gd name="connsiteY109" fmla="*/ 136966 h 2593174"/>
                    <a:gd name="connsiteX110" fmla="*/ 560875 w 2131141"/>
                    <a:gd name="connsiteY110" fmla="*/ 136966 h 2593174"/>
                    <a:gd name="connsiteX111" fmla="*/ 582256 w 2131141"/>
                    <a:gd name="connsiteY111" fmla="*/ 171762 h 2593174"/>
                    <a:gd name="connsiteX112" fmla="*/ 582256 w 2131141"/>
                    <a:gd name="connsiteY112" fmla="*/ 171762 h 2593174"/>
                    <a:gd name="connsiteX113" fmla="*/ 632484 w 2131141"/>
                    <a:gd name="connsiteY113" fmla="*/ 219065 h 2593174"/>
                    <a:gd name="connsiteX114" fmla="*/ 632484 w 2131141"/>
                    <a:gd name="connsiteY114" fmla="*/ 219065 h 2593174"/>
                    <a:gd name="connsiteX115" fmla="*/ 681501 w 2131141"/>
                    <a:gd name="connsiteY115" fmla="*/ 259711 h 2593174"/>
                    <a:gd name="connsiteX116" fmla="*/ 681501 w 2131141"/>
                    <a:gd name="connsiteY116" fmla="*/ 259711 h 2593174"/>
                    <a:gd name="connsiteX117" fmla="*/ 718920 w 2131141"/>
                    <a:gd name="connsiteY117" fmla="*/ 318713 h 2593174"/>
                    <a:gd name="connsiteX118" fmla="*/ 718920 w 2131141"/>
                    <a:gd name="connsiteY118" fmla="*/ 318713 h 2593174"/>
                    <a:gd name="connsiteX119" fmla="*/ 780847 w 2131141"/>
                    <a:gd name="connsiteY119" fmla="*/ 547158 h 2593174"/>
                    <a:gd name="connsiteX120" fmla="*/ 780847 w 2131141"/>
                    <a:gd name="connsiteY120" fmla="*/ 547158 h 2593174"/>
                    <a:gd name="connsiteX121" fmla="*/ 842976 w 2131141"/>
                    <a:gd name="connsiteY121" fmla="*/ 649529 h 2593174"/>
                    <a:gd name="connsiteX122" fmla="*/ 842976 w 2131141"/>
                    <a:gd name="connsiteY122" fmla="*/ 649529 h 2593174"/>
                    <a:gd name="connsiteX123" fmla="*/ 864761 w 2131141"/>
                    <a:gd name="connsiteY123" fmla="*/ 724971 h 2593174"/>
                    <a:gd name="connsiteX124" fmla="*/ 864761 w 2131141"/>
                    <a:gd name="connsiteY124" fmla="*/ 724971 h 2593174"/>
                    <a:gd name="connsiteX125" fmla="*/ 861534 w 2131141"/>
                    <a:gd name="connsiteY125" fmla="*/ 775603 h 2593174"/>
                    <a:gd name="connsiteX126" fmla="*/ 861534 w 2131141"/>
                    <a:gd name="connsiteY126" fmla="*/ 775603 h 2593174"/>
                    <a:gd name="connsiteX127" fmla="*/ 875856 w 2131141"/>
                    <a:gd name="connsiteY127" fmla="*/ 688360 h 2593174"/>
                    <a:gd name="connsiteX128" fmla="*/ 875856 w 2131141"/>
                    <a:gd name="connsiteY128" fmla="*/ 688360 h 2593174"/>
                    <a:gd name="connsiteX129" fmla="*/ 874444 w 2131141"/>
                    <a:gd name="connsiteY129" fmla="*/ 663145 h 2593174"/>
                    <a:gd name="connsiteX130" fmla="*/ 874444 w 2131141"/>
                    <a:gd name="connsiteY130" fmla="*/ 663145 h 2593174"/>
                    <a:gd name="connsiteX131" fmla="*/ 814836 w 2131141"/>
                    <a:gd name="connsiteY131" fmla="*/ 590628 h 2593174"/>
                    <a:gd name="connsiteX132" fmla="*/ 814836 w 2131141"/>
                    <a:gd name="connsiteY132" fmla="*/ 590628 h 2593174"/>
                    <a:gd name="connsiteX133" fmla="*/ 782158 w 2131141"/>
                    <a:gd name="connsiteY133" fmla="*/ 362788 h 2593174"/>
                    <a:gd name="connsiteX134" fmla="*/ 782158 w 2131141"/>
                    <a:gd name="connsiteY134" fmla="*/ 362788 h 2593174"/>
                    <a:gd name="connsiteX135" fmla="*/ 783570 w 2131141"/>
                    <a:gd name="connsiteY135" fmla="*/ 360166 h 2593174"/>
                    <a:gd name="connsiteX136" fmla="*/ 783570 w 2131141"/>
                    <a:gd name="connsiteY136" fmla="*/ 360166 h 2593174"/>
                    <a:gd name="connsiteX137" fmla="*/ 786596 w 2131141"/>
                    <a:gd name="connsiteY137" fmla="*/ 360267 h 2593174"/>
                    <a:gd name="connsiteX138" fmla="*/ 786596 w 2131141"/>
                    <a:gd name="connsiteY138" fmla="*/ 360267 h 2593174"/>
                    <a:gd name="connsiteX139" fmla="*/ 814937 w 2131141"/>
                    <a:gd name="connsiteY139" fmla="*/ 371966 h 2593174"/>
                    <a:gd name="connsiteX140" fmla="*/ 814937 w 2131141"/>
                    <a:gd name="connsiteY140" fmla="*/ 371966 h 2593174"/>
                    <a:gd name="connsiteX141" fmla="*/ 821796 w 2131141"/>
                    <a:gd name="connsiteY141" fmla="*/ 370050 h 2593174"/>
                    <a:gd name="connsiteX142" fmla="*/ 821796 w 2131141"/>
                    <a:gd name="connsiteY142" fmla="*/ 370050 h 2593174"/>
                    <a:gd name="connsiteX143" fmla="*/ 858004 w 2131141"/>
                    <a:gd name="connsiteY143" fmla="*/ 357040 h 2593174"/>
                    <a:gd name="connsiteX144" fmla="*/ 858004 w 2131141"/>
                    <a:gd name="connsiteY144" fmla="*/ 357040 h 2593174"/>
                    <a:gd name="connsiteX145" fmla="*/ 874545 w 2131141"/>
                    <a:gd name="connsiteY145" fmla="*/ 366520 h 2593174"/>
                    <a:gd name="connsiteX146" fmla="*/ 874545 w 2131141"/>
                    <a:gd name="connsiteY146" fmla="*/ 366520 h 2593174"/>
                    <a:gd name="connsiteX147" fmla="*/ 922755 w 2131141"/>
                    <a:gd name="connsiteY147" fmla="*/ 393550 h 2593174"/>
                    <a:gd name="connsiteX148" fmla="*/ 922755 w 2131141"/>
                    <a:gd name="connsiteY148" fmla="*/ 393550 h 2593174"/>
                    <a:gd name="connsiteX149" fmla="*/ 964914 w 2131141"/>
                    <a:gd name="connsiteY149" fmla="*/ 442971 h 2593174"/>
                    <a:gd name="connsiteX150" fmla="*/ 964914 w 2131141"/>
                    <a:gd name="connsiteY150" fmla="*/ 442971 h 2593174"/>
                    <a:gd name="connsiteX151" fmla="*/ 963905 w 2131141"/>
                    <a:gd name="connsiteY151" fmla="*/ 452653 h 2593174"/>
                    <a:gd name="connsiteX152" fmla="*/ 963905 w 2131141"/>
                    <a:gd name="connsiteY152" fmla="*/ 452653 h 2593174"/>
                    <a:gd name="connsiteX153" fmla="*/ 961586 w 2131141"/>
                    <a:gd name="connsiteY153" fmla="*/ 466774 h 2593174"/>
                    <a:gd name="connsiteX154" fmla="*/ 961586 w 2131141"/>
                    <a:gd name="connsiteY154" fmla="*/ 466774 h 2593174"/>
                    <a:gd name="connsiteX155" fmla="*/ 970865 w 2131141"/>
                    <a:gd name="connsiteY155" fmla="*/ 491786 h 2593174"/>
                    <a:gd name="connsiteX156" fmla="*/ 970865 w 2131141"/>
                    <a:gd name="connsiteY156" fmla="*/ 491786 h 2593174"/>
                    <a:gd name="connsiteX157" fmla="*/ 1000114 w 2131141"/>
                    <a:gd name="connsiteY157" fmla="*/ 511252 h 2593174"/>
                    <a:gd name="connsiteX158" fmla="*/ 1000114 w 2131141"/>
                    <a:gd name="connsiteY158" fmla="*/ 511252 h 2593174"/>
                    <a:gd name="connsiteX159" fmla="*/ 1015847 w 2131141"/>
                    <a:gd name="connsiteY159" fmla="*/ 509740 h 2593174"/>
                    <a:gd name="connsiteX160" fmla="*/ 1015847 w 2131141"/>
                    <a:gd name="connsiteY160" fmla="*/ 509740 h 2593174"/>
                    <a:gd name="connsiteX161" fmla="*/ 1021597 w 2131141"/>
                    <a:gd name="connsiteY161" fmla="*/ 508933 h 2593174"/>
                    <a:gd name="connsiteX162" fmla="*/ 1021597 w 2131141"/>
                    <a:gd name="connsiteY162" fmla="*/ 508933 h 2593174"/>
                    <a:gd name="connsiteX163" fmla="*/ 1074245 w 2131141"/>
                    <a:gd name="connsiteY163" fmla="*/ 554016 h 2593174"/>
                    <a:gd name="connsiteX164" fmla="*/ 1074245 w 2131141"/>
                    <a:gd name="connsiteY164" fmla="*/ 554016 h 2593174"/>
                    <a:gd name="connsiteX165" fmla="*/ 1106116 w 2131141"/>
                    <a:gd name="connsiteY165" fmla="*/ 565212 h 2593174"/>
                    <a:gd name="connsiteX166" fmla="*/ 1106116 w 2131141"/>
                    <a:gd name="connsiteY166" fmla="*/ 565212 h 2593174"/>
                    <a:gd name="connsiteX167" fmla="*/ 1130221 w 2131141"/>
                    <a:gd name="connsiteY167" fmla="*/ 556336 h 2593174"/>
                    <a:gd name="connsiteX168" fmla="*/ 1130221 w 2131141"/>
                    <a:gd name="connsiteY168" fmla="*/ 556336 h 2593174"/>
                    <a:gd name="connsiteX169" fmla="*/ 1147065 w 2131141"/>
                    <a:gd name="connsiteY169" fmla="*/ 547864 h 2593174"/>
                    <a:gd name="connsiteX170" fmla="*/ 1147065 w 2131141"/>
                    <a:gd name="connsiteY170" fmla="*/ 547864 h 2593174"/>
                    <a:gd name="connsiteX171" fmla="*/ 1180852 w 2131141"/>
                    <a:gd name="connsiteY171" fmla="*/ 555428 h 2593174"/>
                    <a:gd name="connsiteX172" fmla="*/ 1180852 w 2131141"/>
                    <a:gd name="connsiteY172" fmla="*/ 555428 h 2593174"/>
                    <a:gd name="connsiteX173" fmla="*/ 1211917 w 2131141"/>
                    <a:gd name="connsiteY173" fmla="*/ 511756 h 2593174"/>
                    <a:gd name="connsiteX174" fmla="*/ 1211917 w 2131141"/>
                    <a:gd name="connsiteY174" fmla="*/ 511756 h 2593174"/>
                    <a:gd name="connsiteX175" fmla="*/ 1279795 w 2131141"/>
                    <a:gd name="connsiteY175" fmla="*/ 463647 h 2593174"/>
                    <a:gd name="connsiteX176" fmla="*/ 1279795 w 2131141"/>
                    <a:gd name="connsiteY176" fmla="*/ 463647 h 2593174"/>
                    <a:gd name="connsiteX177" fmla="*/ 1340713 w 2131141"/>
                    <a:gd name="connsiteY177" fmla="*/ 423203 h 2593174"/>
                    <a:gd name="connsiteX178" fmla="*/ 1340713 w 2131141"/>
                    <a:gd name="connsiteY178" fmla="*/ 423203 h 2593174"/>
                    <a:gd name="connsiteX179" fmla="*/ 1369054 w 2131141"/>
                    <a:gd name="connsiteY179" fmla="*/ 384271 h 2593174"/>
                    <a:gd name="connsiteX180" fmla="*/ 1369054 w 2131141"/>
                    <a:gd name="connsiteY180" fmla="*/ 384271 h 2593174"/>
                    <a:gd name="connsiteX181" fmla="*/ 1366432 w 2131141"/>
                    <a:gd name="connsiteY181" fmla="*/ 360569 h 2593174"/>
                    <a:gd name="connsiteX182" fmla="*/ 1366432 w 2131141"/>
                    <a:gd name="connsiteY182" fmla="*/ 360569 h 2593174"/>
                    <a:gd name="connsiteX183" fmla="*/ 1365827 w 2131141"/>
                    <a:gd name="connsiteY183" fmla="*/ 354216 h 2593174"/>
                    <a:gd name="connsiteX184" fmla="*/ 1365827 w 2131141"/>
                    <a:gd name="connsiteY184" fmla="*/ 354216 h 2593174"/>
                    <a:gd name="connsiteX185" fmla="*/ 1440059 w 2131141"/>
                    <a:gd name="connsiteY185" fmla="*/ 258702 h 2593174"/>
                    <a:gd name="connsiteX186" fmla="*/ 1440059 w 2131141"/>
                    <a:gd name="connsiteY186" fmla="*/ 258702 h 2593174"/>
                    <a:gd name="connsiteX187" fmla="*/ 1533554 w 2131141"/>
                    <a:gd name="connsiteY187" fmla="*/ 191833 h 2593174"/>
                    <a:gd name="connsiteX188" fmla="*/ 1533554 w 2131141"/>
                    <a:gd name="connsiteY188" fmla="*/ 191833 h 2593174"/>
                    <a:gd name="connsiteX189" fmla="*/ 1552718 w 2131141"/>
                    <a:gd name="connsiteY189" fmla="*/ 122039 h 2593174"/>
                    <a:gd name="connsiteX190" fmla="*/ 1552718 w 2131141"/>
                    <a:gd name="connsiteY190" fmla="*/ 122039 h 2593174"/>
                    <a:gd name="connsiteX191" fmla="*/ 1614342 w 2131141"/>
                    <a:gd name="connsiteY191" fmla="*/ 51740 h 2593174"/>
                    <a:gd name="connsiteX192" fmla="*/ 1614342 w 2131141"/>
                    <a:gd name="connsiteY192" fmla="*/ 51740 h 2593174"/>
                    <a:gd name="connsiteX193" fmla="*/ 1647020 w 2131141"/>
                    <a:gd name="connsiteY193" fmla="*/ 57389 h 2593174"/>
                    <a:gd name="connsiteX194" fmla="*/ 1647020 w 2131141"/>
                    <a:gd name="connsiteY194" fmla="*/ 57389 h 2593174"/>
                    <a:gd name="connsiteX195" fmla="*/ 1710259 w 2131141"/>
                    <a:gd name="connsiteY195" fmla="*/ 92992 h 2593174"/>
                    <a:gd name="connsiteX196" fmla="*/ 1710259 w 2131141"/>
                    <a:gd name="connsiteY196" fmla="*/ 92992 h 2593174"/>
                    <a:gd name="connsiteX197" fmla="*/ 1711267 w 2131141"/>
                    <a:gd name="connsiteY197" fmla="*/ 101262 h 2593174"/>
                    <a:gd name="connsiteX198" fmla="*/ 1711267 w 2131141"/>
                    <a:gd name="connsiteY198" fmla="*/ 101262 h 2593174"/>
                    <a:gd name="connsiteX199" fmla="*/ 1702291 w 2131141"/>
                    <a:gd name="connsiteY199" fmla="*/ 159155 h 2593174"/>
                    <a:gd name="connsiteX200" fmla="*/ 1702291 w 2131141"/>
                    <a:gd name="connsiteY200" fmla="*/ 159155 h 2593174"/>
                    <a:gd name="connsiteX201" fmla="*/ 1710965 w 2131141"/>
                    <a:gd name="connsiteY201" fmla="*/ 171561 h 2593174"/>
                    <a:gd name="connsiteX202" fmla="*/ 1710965 w 2131141"/>
                    <a:gd name="connsiteY202" fmla="*/ 171561 h 2593174"/>
                    <a:gd name="connsiteX203" fmla="*/ 1751812 w 2131141"/>
                    <a:gd name="connsiteY203" fmla="*/ 154112 h 2593174"/>
                    <a:gd name="connsiteX204" fmla="*/ 1751812 w 2131141"/>
                    <a:gd name="connsiteY204" fmla="*/ 154112 h 2593174"/>
                    <a:gd name="connsiteX205" fmla="*/ 1811218 w 2131141"/>
                    <a:gd name="connsiteY205" fmla="*/ 132528 h 2593174"/>
                    <a:gd name="connsiteX206" fmla="*/ 1811218 w 2131141"/>
                    <a:gd name="connsiteY206" fmla="*/ 132528 h 2593174"/>
                    <a:gd name="connsiteX207" fmla="*/ 1870321 w 2131141"/>
                    <a:gd name="connsiteY207" fmla="*/ 145035 h 2593174"/>
                    <a:gd name="connsiteX208" fmla="*/ 1870321 w 2131141"/>
                    <a:gd name="connsiteY208" fmla="*/ 145035 h 2593174"/>
                    <a:gd name="connsiteX209" fmla="*/ 1913690 w 2131141"/>
                    <a:gd name="connsiteY209" fmla="*/ 205247 h 2593174"/>
                    <a:gd name="connsiteX210" fmla="*/ 1913690 w 2131141"/>
                    <a:gd name="connsiteY210" fmla="*/ 205247 h 2593174"/>
                    <a:gd name="connsiteX211" fmla="*/ 1950302 w 2131141"/>
                    <a:gd name="connsiteY211" fmla="*/ 262333 h 2593174"/>
                    <a:gd name="connsiteX212" fmla="*/ 1950302 w 2131141"/>
                    <a:gd name="connsiteY212" fmla="*/ 262333 h 2593174"/>
                    <a:gd name="connsiteX213" fmla="*/ 2022013 w 2131141"/>
                    <a:gd name="connsiteY213" fmla="*/ 303383 h 2593174"/>
                    <a:gd name="connsiteX214" fmla="*/ 2022013 w 2131141"/>
                    <a:gd name="connsiteY214" fmla="*/ 303383 h 2593174"/>
                    <a:gd name="connsiteX215" fmla="*/ 2047227 w 2131141"/>
                    <a:gd name="connsiteY215" fmla="*/ 351997 h 2593174"/>
                    <a:gd name="connsiteX216" fmla="*/ 2047227 w 2131141"/>
                    <a:gd name="connsiteY216" fmla="*/ 351997 h 2593174"/>
                    <a:gd name="connsiteX217" fmla="*/ 2017474 w 2131141"/>
                    <a:gd name="connsiteY217" fmla="*/ 385280 h 2593174"/>
                    <a:gd name="connsiteX218" fmla="*/ 2017474 w 2131141"/>
                    <a:gd name="connsiteY218" fmla="*/ 385280 h 2593174"/>
                    <a:gd name="connsiteX219" fmla="*/ 1974205 w 2131141"/>
                    <a:gd name="connsiteY219" fmla="*/ 415336 h 2593174"/>
                    <a:gd name="connsiteX220" fmla="*/ 1974205 w 2131141"/>
                    <a:gd name="connsiteY220" fmla="*/ 415336 h 2593174"/>
                    <a:gd name="connsiteX221" fmla="*/ 1984291 w 2131141"/>
                    <a:gd name="connsiteY221" fmla="*/ 427338 h 2593174"/>
                    <a:gd name="connsiteX222" fmla="*/ 1984291 w 2131141"/>
                    <a:gd name="connsiteY222" fmla="*/ 427338 h 2593174"/>
                    <a:gd name="connsiteX223" fmla="*/ 2008397 w 2131141"/>
                    <a:gd name="connsiteY223" fmla="*/ 470808 h 2593174"/>
                    <a:gd name="connsiteX224" fmla="*/ 2008397 w 2131141"/>
                    <a:gd name="connsiteY224" fmla="*/ 470808 h 2593174"/>
                    <a:gd name="connsiteX225" fmla="*/ 1994680 w 2131141"/>
                    <a:gd name="connsiteY225" fmla="*/ 499250 h 2593174"/>
                    <a:gd name="connsiteX226" fmla="*/ 1994680 w 2131141"/>
                    <a:gd name="connsiteY226" fmla="*/ 499250 h 2593174"/>
                    <a:gd name="connsiteX227" fmla="*/ 1987216 w 2131141"/>
                    <a:gd name="connsiteY227" fmla="*/ 510143 h 2593174"/>
                    <a:gd name="connsiteX228" fmla="*/ 1987216 w 2131141"/>
                    <a:gd name="connsiteY228" fmla="*/ 510143 h 2593174"/>
                    <a:gd name="connsiteX229" fmla="*/ 2018785 w 2131141"/>
                    <a:gd name="connsiteY229" fmla="*/ 548873 h 2593174"/>
                    <a:gd name="connsiteX230" fmla="*/ 2018785 w 2131141"/>
                    <a:gd name="connsiteY230" fmla="*/ 548873 h 2593174"/>
                    <a:gd name="connsiteX231" fmla="*/ 2039058 w 2131141"/>
                    <a:gd name="connsiteY231" fmla="*/ 563699 h 2593174"/>
                    <a:gd name="connsiteX232" fmla="*/ 2039058 w 2131141"/>
                    <a:gd name="connsiteY232" fmla="*/ 563699 h 2593174"/>
                    <a:gd name="connsiteX233" fmla="*/ 2060036 w 2131141"/>
                    <a:gd name="connsiteY233" fmla="*/ 561278 h 2593174"/>
                    <a:gd name="connsiteX234" fmla="*/ 2060036 w 2131141"/>
                    <a:gd name="connsiteY234" fmla="*/ 561278 h 2593174"/>
                    <a:gd name="connsiteX235" fmla="*/ 2071131 w 2131141"/>
                    <a:gd name="connsiteY235" fmla="*/ 560269 h 2593174"/>
                    <a:gd name="connsiteX236" fmla="*/ 2071131 w 2131141"/>
                    <a:gd name="connsiteY236" fmla="*/ 560269 h 2593174"/>
                    <a:gd name="connsiteX237" fmla="*/ 2086865 w 2131141"/>
                    <a:gd name="connsiteY237" fmla="*/ 578626 h 2593174"/>
                    <a:gd name="connsiteX238" fmla="*/ 2086865 w 2131141"/>
                    <a:gd name="connsiteY238" fmla="*/ 578626 h 2593174"/>
                    <a:gd name="connsiteX239" fmla="*/ 2086764 w 2131141"/>
                    <a:gd name="connsiteY239" fmla="*/ 590830 h 2593174"/>
                    <a:gd name="connsiteX240" fmla="*/ 2086764 w 2131141"/>
                    <a:gd name="connsiteY240" fmla="*/ 590830 h 2593174"/>
                    <a:gd name="connsiteX241" fmla="*/ 2071030 w 2131141"/>
                    <a:gd name="connsiteY241" fmla="*/ 622600 h 2593174"/>
                    <a:gd name="connsiteX242" fmla="*/ 2071030 w 2131141"/>
                    <a:gd name="connsiteY242" fmla="*/ 622600 h 2593174"/>
                    <a:gd name="connsiteX243" fmla="*/ 2072845 w 2131141"/>
                    <a:gd name="connsiteY243" fmla="*/ 626332 h 2593174"/>
                    <a:gd name="connsiteX244" fmla="*/ 2072845 w 2131141"/>
                    <a:gd name="connsiteY244" fmla="*/ 626332 h 2593174"/>
                    <a:gd name="connsiteX245" fmla="*/ 2111373 w 2131141"/>
                    <a:gd name="connsiteY245" fmla="*/ 637930 h 2593174"/>
                    <a:gd name="connsiteX246" fmla="*/ 2111373 w 2131141"/>
                    <a:gd name="connsiteY246" fmla="*/ 637930 h 2593174"/>
                    <a:gd name="connsiteX247" fmla="*/ 2109558 w 2131141"/>
                    <a:gd name="connsiteY247" fmla="*/ 639948 h 2593174"/>
                    <a:gd name="connsiteX248" fmla="*/ 2107742 w 2131141"/>
                    <a:gd name="connsiteY248" fmla="*/ 641965 h 2593174"/>
                    <a:gd name="connsiteX249" fmla="*/ 2068609 w 2131141"/>
                    <a:gd name="connsiteY249" fmla="*/ 629761 h 2593174"/>
                    <a:gd name="connsiteX250" fmla="*/ 2068609 w 2131141"/>
                    <a:gd name="connsiteY250" fmla="*/ 629761 h 2593174"/>
                    <a:gd name="connsiteX251" fmla="*/ 2065483 w 2131141"/>
                    <a:gd name="connsiteY251" fmla="*/ 622398 h 2593174"/>
                    <a:gd name="connsiteX252" fmla="*/ 2065483 w 2131141"/>
                    <a:gd name="connsiteY252" fmla="*/ 622398 h 2593174"/>
                    <a:gd name="connsiteX253" fmla="*/ 2081116 w 2131141"/>
                    <a:gd name="connsiteY253" fmla="*/ 590628 h 2593174"/>
                    <a:gd name="connsiteX254" fmla="*/ 2081116 w 2131141"/>
                    <a:gd name="connsiteY254" fmla="*/ 590628 h 2593174"/>
                    <a:gd name="connsiteX255" fmla="*/ 2081217 w 2131141"/>
                    <a:gd name="connsiteY255" fmla="*/ 578424 h 2593174"/>
                    <a:gd name="connsiteX256" fmla="*/ 2081217 w 2131141"/>
                    <a:gd name="connsiteY256" fmla="*/ 578424 h 2593174"/>
                    <a:gd name="connsiteX257" fmla="*/ 2071131 w 2131141"/>
                    <a:gd name="connsiteY257" fmla="*/ 565615 h 2593174"/>
                    <a:gd name="connsiteX258" fmla="*/ 2071131 w 2131141"/>
                    <a:gd name="connsiteY258" fmla="*/ 565615 h 2593174"/>
                    <a:gd name="connsiteX259" fmla="*/ 2060742 w 2131141"/>
                    <a:gd name="connsiteY259" fmla="*/ 566523 h 2593174"/>
                    <a:gd name="connsiteX260" fmla="*/ 2060742 w 2131141"/>
                    <a:gd name="connsiteY260" fmla="*/ 566523 h 2593174"/>
                    <a:gd name="connsiteX261" fmla="*/ 2039058 w 2131141"/>
                    <a:gd name="connsiteY261" fmla="*/ 569044 h 2593174"/>
                    <a:gd name="connsiteX262" fmla="*/ 2039058 w 2131141"/>
                    <a:gd name="connsiteY262" fmla="*/ 569044 h 2593174"/>
                    <a:gd name="connsiteX263" fmla="*/ 2014549 w 2131141"/>
                    <a:gd name="connsiteY263" fmla="*/ 551999 h 2593174"/>
                    <a:gd name="connsiteX264" fmla="*/ 2014549 w 2131141"/>
                    <a:gd name="connsiteY264" fmla="*/ 551999 h 2593174"/>
                    <a:gd name="connsiteX265" fmla="*/ 1981770 w 2131141"/>
                    <a:gd name="connsiteY265" fmla="*/ 509740 h 2593174"/>
                    <a:gd name="connsiteX266" fmla="*/ 1981770 w 2131141"/>
                    <a:gd name="connsiteY266" fmla="*/ 509740 h 2593174"/>
                    <a:gd name="connsiteX267" fmla="*/ 1991553 w 2131141"/>
                    <a:gd name="connsiteY267" fmla="*/ 494308 h 2593174"/>
                    <a:gd name="connsiteX268" fmla="*/ 1991553 w 2131141"/>
                    <a:gd name="connsiteY268" fmla="*/ 494308 h 2593174"/>
                    <a:gd name="connsiteX269" fmla="*/ 2002850 w 2131141"/>
                    <a:gd name="connsiteY269" fmla="*/ 470404 h 2593174"/>
                    <a:gd name="connsiteX270" fmla="*/ 2002850 w 2131141"/>
                    <a:gd name="connsiteY270" fmla="*/ 470404 h 2593174"/>
                    <a:gd name="connsiteX271" fmla="*/ 1981871 w 2131141"/>
                    <a:gd name="connsiteY271" fmla="*/ 431876 h 2593174"/>
                    <a:gd name="connsiteX272" fmla="*/ 1981871 w 2131141"/>
                    <a:gd name="connsiteY272" fmla="*/ 431876 h 2593174"/>
                    <a:gd name="connsiteX273" fmla="*/ 1968759 w 2131141"/>
                    <a:gd name="connsiteY273" fmla="*/ 414932 h 2593174"/>
                    <a:gd name="connsiteX274" fmla="*/ 1968759 w 2131141"/>
                    <a:gd name="connsiteY274" fmla="*/ 414932 h 2593174"/>
                    <a:gd name="connsiteX275" fmla="*/ 2015860 w 2131141"/>
                    <a:gd name="connsiteY275" fmla="*/ 379733 h 2593174"/>
                    <a:gd name="connsiteX276" fmla="*/ 2015860 w 2131141"/>
                    <a:gd name="connsiteY276" fmla="*/ 379733 h 2593174"/>
                    <a:gd name="connsiteX277" fmla="*/ 2041781 w 2131141"/>
                    <a:gd name="connsiteY277" fmla="*/ 351694 h 2593174"/>
                    <a:gd name="connsiteX278" fmla="*/ 2041781 w 2131141"/>
                    <a:gd name="connsiteY278" fmla="*/ 351694 h 2593174"/>
                    <a:gd name="connsiteX279" fmla="*/ 2018180 w 2131141"/>
                    <a:gd name="connsiteY279" fmla="*/ 307013 h 2593174"/>
                    <a:gd name="connsiteX280" fmla="*/ 2018180 w 2131141"/>
                    <a:gd name="connsiteY280" fmla="*/ 307013 h 2593174"/>
                    <a:gd name="connsiteX281" fmla="*/ 1948890 w 2131141"/>
                    <a:gd name="connsiteY281" fmla="*/ 267376 h 2593174"/>
                    <a:gd name="connsiteX282" fmla="*/ 1948890 w 2131141"/>
                    <a:gd name="connsiteY282" fmla="*/ 267376 h 2593174"/>
                    <a:gd name="connsiteX283" fmla="*/ 1911572 w 2131141"/>
                    <a:gd name="connsiteY283" fmla="*/ 210190 h 2593174"/>
                    <a:gd name="connsiteX284" fmla="*/ 1911572 w 2131141"/>
                    <a:gd name="connsiteY284" fmla="*/ 210190 h 2593174"/>
                    <a:gd name="connsiteX285" fmla="*/ 1867497 w 2131141"/>
                    <a:gd name="connsiteY285" fmla="*/ 149674 h 2593174"/>
                    <a:gd name="connsiteX286" fmla="*/ 1867497 w 2131141"/>
                    <a:gd name="connsiteY286" fmla="*/ 149674 h 2593174"/>
                    <a:gd name="connsiteX287" fmla="*/ 1811319 w 2131141"/>
                    <a:gd name="connsiteY287" fmla="*/ 137773 h 2593174"/>
                    <a:gd name="connsiteX288" fmla="*/ 1811319 w 2131141"/>
                    <a:gd name="connsiteY288" fmla="*/ 137773 h 2593174"/>
                    <a:gd name="connsiteX289" fmla="*/ 1757461 w 2131141"/>
                    <a:gd name="connsiteY289" fmla="*/ 153910 h 2593174"/>
                    <a:gd name="connsiteX290" fmla="*/ 1757461 w 2131141"/>
                    <a:gd name="connsiteY290" fmla="*/ 153910 h 2593174"/>
                    <a:gd name="connsiteX291" fmla="*/ 1711066 w 2131141"/>
                    <a:gd name="connsiteY291" fmla="*/ 176805 h 2593174"/>
                    <a:gd name="connsiteX292" fmla="*/ 1711066 w 2131141"/>
                    <a:gd name="connsiteY292" fmla="*/ 176805 h 2593174"/>
                    <a:gd name="connsiteX293" fmla="*/ 1696744 w 2131141"/>
                    <a:gd name="connsiteY293" fmla="*/ 158852 h 2593174"/>
                    <a:gd name="connsiteX294" fmla="*/ 1696744 w 2131141"/>
                    <a:gd name="connsiteY294" fmla="*/ 158852 h 2593174"/>
                    <a:gd name="connsiteX295" fmla="*/ 1705720 w 2131141"/>
                    <a:gd name="connsiteY295" fmla="*/ 100960 h 2593174"/>
                    <a:gd name="connsiteX296" fmla="*/ 1705720 w 2131141"/>
                    <a:gd name="connsiteY296" fmla="*/ 100960 h 2593174"/>
                    <a:gd name="connsiteX297" fmla="*/ 1705014 w 2131141"/>
                    <a:gd name="connsiteY297" fmla="*/ 94303 h 2593174"/>
                    <a:gd name="connsiteX298" fmla="*/ 1705014 w 2131141"/>
                    <a:gd name="connsiteY298" fmla="*/ 94303 h 2593174"/>
                    <a:gd name="connsiteX299" fmla="*/ 1647121 w 2131141"/>
                    <a:gd name="connsiteY299" fmla="*/ 62633 h 2593174"/>
                    <a:gd name="connsiteX300" fmla="*/ 1647121 w 2131141"/>
                    <a:gd name="connsiteY300" fmla="*/ 62633 h 2593174"/>
                    <a:gd name="connsiteX301" fmla="*/ 1615754 w 2131141"/>
                    <a:gd name="connsiteY301" fmla="*/ 55977 h 2593174"/>
                    <a:gd name="connsiteX302" fmla="*/ 1615754 w 2131141"/>
                    <a:gd name="connsiteY302" fmla="*/ 55977 h 2593174"/>
                    <a:gd name="connsiteX303" fmla="*/ 1557559 w 2131141"/>
                    <a:gd name="connsiteY303" fmla="*/ 124661 h 2593174"/>
                    <a:gd name="connsiteX304" fmla="*/ 1557559 w 2131141"/>
                    <a:gd name="connsiteY304" fmla="*/ 124661 h 2593174"/>
                    <a:gd name="connsiteX305" fmla="*/ 1538093 w 2131141"/>
                    <a:gd name="connsiteY305" fmla="*/ 194960 h 2593174"/>
                    <a:gd name="connsiteX306" fmla="*/ 1538093 w 2131141"/>
                    <a:gd name="connsiteY306" fmla="*/ 194960 h 2593174"/>
                    <a:gd name="connsiteX307" fmla="*/ 1443286 w 2131141"/>
                    <a:gd name="connsiteY307" fmla="*/ 263241 h 2593174"/>
                    <a:gd name="connsiteX308" fmla="*/ 1443286 w 2131141"/>
                    <a:gd name="connsiteY308" fmla="*/ 263241 h 2593174"/>
                    <a:gd name="connsiteX309" fmla="*/ 1371677 w 2131141"/>
                    <a:gd name="connsiteY309" fmla="*/ 353913 h 2593174"/>
                    <a:gd name="connsiteX310" fmla="*/ 1371677 w 2131141"/>
                    <a:gd name="connsiteY310" fmla="*/ 353913 h 2593174"/>
                    <a:gd name="connsiteX311" fmla="*/ 1372181 w 2131141"/>
                    <a:gd name="connsiteY311" fmla="*/ 359359 h 2593174"/>
                    <a:gd name="connsiteX312" fmla="*/ 1372181 w 2131141"/>
                    <a:gd name="connsiteY312" fmla="*/ 359359 h 2593174"/>
                    <a:gd name="connsiteX313" fmla="*/ 1374904 w 2131141"/>
                    <a:gd name="connsiteY313" fmla="*/ 383969 h 2593174"/>
                    <a:gd name="connsiteX314" fmla="*/ 1374904 w 2131141"/>
                    <a:gd name="connsiteY314" fmla="*/ 383969 h 2593174"/>
                    <a:gd name="connsiteX315" fmla="*/ 1344647 w 2131141"/>
                    <a:gd name="connsiteY315" fmla="*/ 427035 h 2593174"/>
                    <a:gd name="connsiteX316" fmla="*/ 1344647 w 2131141"/>
                    <a:gd name="connsiteY316" fmla="*/ 427035 h 2593174"/>
                    <a:gd name="connsiteX317" fmla="*/ 1280097 w 2131141"/>
                    <a:gd name="connsiteY317" fmla="*/ 468892 h 2593174"/>
                    <a:gd name="connsiteX318" fmla="*/ 1280097 w 2131141"/>
                    <a:gd name="connsiteY318" fmla="*/ 468892 h 2593174"/>
                    <a:gd name="connsiteX319" fmla="*/ 1217565 w 2131141"/>
                    <a:gd name="connsiteY319" fmla="*/ 512361 h 2593174"/>
                    <a:gd name="connsiteX320" fmla="*/ 1217565 w 2131141"/>
                    <a:gd name="connsiteY320" fmla="*/ 512361 h 2593174"/>
                    <a:gd name="connsiteX321" fmla="*/ 1181054 w 2131141"/>
                    <a:gd name="connsiteY321" fmla="*/ 560471 h 2593174"/>
                    <a:gd name="connsiteX322" fmla="*/ 1181054 w 2131141"/>
                    <a:gd name="connsiteY322" fmla="*/ 560471 h 2593174"/>
                    <a:gd name="connsiteX323" fmla="*/ 1147266 w 2131141"/>
                    <a:gd name="connsiteY323" fmla="*/ 552806 h 2593174"/>
                    <a:gd name="connsiteX324" fmla="*/ 1147266 w 2131141"/>
                    <a:gd name="connsiteY324" fmla="*/ 552806 h 2593174"/>
                    <a:gd name="connsiteX325" fmla="*/ 1134760 w 2131141"/>
                    <a:gd name="connsiteY325" fmla="*/ 559463 h 2593174"/>
                    <a:gd name="connsiteX326" fmla="*/ 1134760 w 2131141"/>
                    <a:gd name="connsiteY326" fmla="*/ 559463 h 2593174"/>
                    <a:gd name="connsiteX327" fmla="*/ 1106318 w 2131141"/>
                    <a:gd name="connsiteY327" fmla="*/ 570255 h 2593174"/>
                    <a:gd name="connsiteX328" fmla="*/ 1106318 w 2131141"/>
                    <a:gd name="connsiteY328" fmla="*/ 570255 h 2593174"/>
                    <a:gd name="connsiteX329" fmla="*/ 1070210 w 2131141"/>
                    <a:gd name="connsiteY329" fmla="*/ 556941 h 2593174"/>
                    <a:gd name="connsiteX330" fmla="*/ 1070210 w 2131141"/>
                    <a:gd name="connsiteY330" fmla="*/ 556941 h 2593174"/>
                    <a:gd name="connsiteX331" fmla="*/ 1021798 w 2131141"/>
                    <a:gd name="connsiteY331" fmla="*/ 513975 h 2593174"/>
                    <a:gd name="connsiteX332" fmla="*/ 1021798 w 2131141"/>
                    <a:gd name="connsiteY332" fmla="*/ 513975 h 2593174"/>
                    <a:gd name="connsiteX333" fmla="*/ 1017461 w 2131141"/>
                    <a:gd name="connsiteY333" fmla="*/ 514480 h 2593174"/>
                    <a:gd name="connsiteX334" fmla="*/ 1017461 w 2131141"/>
                    <a:gd name="connsiteY334" fmla="*/ 514480 h 2593174"/>
                    <a:gd name="connsiteX335" fmla="*/ 1000315 w 2131141"/>
                    <a:gd name="connsiteY335" fmla="*/ 516295 h 2593174"/>
                    <a:gd name="connsiteX336" fmla="*/ 1000315 w 2131141"/>
                    <a:gd name="connsiteY336" fmla="*/ 516295 h 2593174"/>
                    <a:gd name="connsiteX337" fmla="*/ 966124 w 2131141"/>
                    <a:gd name="connsiteY337" fmla="*/ 493602 h 2593174"/>
                    <a:gd name="connsiteX338" fmla="*/ 966124 w 2131141"/>
                    <a:gd name="connsiteY338" fmla="*/ 493602 h 2593174"/>
                    <a:gd name="connsiteX339" fmla="*/ 956139 w 2131141"/>
                    <a:gd name="connsiteY339" fmla="*/ 466168 h 2593174"/>
                    <a:gd name="connsiteX340" fmla="*/ 956139 w 2131141"/>
                    <a:gd name="connsiteY340" fmla="*/ 466168 h 2593174"/>
                    <a:gd name="connsiteX341" fmla="*/ 958661 w 2131141"/>
                    <a:gd name="connsiteY341" fmla="*/ 450636 h 2593174"/>
                    <a:gd name="connsiteX342" fmla="*/ 958661 w 2131141"/>
                    <a:gd name="connsiteY342" fmla="*/ 450636 h 2593174"/>
                    <a:gd name="connsiteX343" fmla="*/ 959568 w 2131141"/>
                    <a:gd name="connsiteY343" fmla="*/ 442366 h 2593174"/>
                    <a:gd name="connsiteX344" fmla="*/ 959568 w 2131141"/>
                    <a:gd name="connsiteY344" fmla="*/ 442366 h 2593174"/>
                    <a:gd name="connsiteX345" fmla="*/ 922553 w 2131141"/>
                    <a:gd name="connsiteY345" fmla="*/ 398593 h 2593174"/>
                    <a:gd name="connsiteX346" fmla="*/ 922553 w 2131141"/>
                    <a:gd name="connsiteY346" fmla="*/ 398593 h 2593174"/>
                    <a:gd name="connsiteX347" fmla="*/ 869502 w 2131141"/>
                    <a:gd name="connsiteY347" fmla="*/ 367731 h 2593174"/>
                    <a:gd name="connsiteX348" fmla="*/ 869502 w 2131141"/>
                    <a:gd name="connsiteY348" fmla="*/ 367731 h 2593174"/>
                    <a:gd name="connsiteX349" fmla="*/ 858206 w 2131141"/>
                    <a:gd name="connsiteY349" fmla="*/ 362082 h 2593174"/>
                    <a:gd name="connsiteX350" fmla="*/ 858206 w 2131141"/>
                    <a:gd name="connsiteY350" fmla="*/ 362082 h 2593174"/>
                    <a:gd name="connsiteX351" fmla="*/ 825527 w 2131141"/>
                    <a:gd name="connsiteY351" fmla="*/ 373782 h 2593174"/>
                    <a:gd name="connsiteX352" fmla="*/ 825527 w 2131141"/>
                    <a:gd name="connsiteY352" fmla="*/ 373782 h 2593174"/>
                    <a:gd name="connsiteX353" fmla="*/ 815139 w 2131141"/>
                    <a:gd name="connsiteY353" fmla="*/ 377009 h 2593174"/>
                    <a:gd name="connsiteX354" fmla="*/ 815139 w 2131141"/>
                    <a:gd name="connsiteY354" fmla="*/ 377009 h 2593174"/>
                    <a:gd name="connsiteX355" fmla="*/ 788613 w 2131141"/>
                    <a:gd name="connsiteY355" fmla="*/ 367529 h 2593174"/>
                    <a:gd name="connsiteX356" fmla="*/ 788613 w 2131141"/>
                    <a:gd name="connsiteY356" fmla="*/ 367529 h 2593174"/>
                    <a:gd name="connsiteX357" fmla="*/ 818568 w 2131141"/>
                    <a:gd name="connsiteY357" fmla="*/ 585585 h 2593174"/>
                    <a:gd name="connsiteX358" fmla="*/ 818568 w 2131141"/>
                    <a:gd name="connsiteY358" fmla="*/ 585585 h 2593174"/>
                    <a:gd name="connsiteX359" fmla="*/ 880294 w 2131141"/>
                    <a:gd name="connsiteY359" fmla="*/ 662036 h 2593174"/>
                    <a:gd name="connsiteX360" fmla="*/ 880294 w 2131141"/>
                    <a:gd name="connsiteY360" fmla="*/ 662036 h 2593174"/>
                    <a:gd name="connsiteX361" fmla="*/ 881706 w 2131141"/>
                    <a:gd name="connsiteY361" fmla="*/ 687856 h 2593174"/>
                    <a:gd name="connsiteX362" fmla="*/ 881706 w 2131141"/>
                    <a:gd name="connsiteY362" fmla="*/ 687856 h 2593174"/>
                    <a:gd name="connsiteX363" fmla="*/ 858105 w 2131141"/>
                    <a:gd name="connsiteY363" fmla="*/ 801422 h 2593174"/>
                    <a:gd name="connsiteX364" fmla="*/ 858105 w 2131141"/>
                    <a:gd name="connsiteY364" fmla="*/ 801422 h 2593174"/>
                    <a:gd name="connsiteX365" fmla="*/ 854676 w 2131141"/>
                    <a:gd name="connsiteY365" fmla="*/ 802935 h 2593174"/>
                    <a:gd name="connsiteX366" fmla="*/ 854676 w 2131141"/>
                    <a:gd name="connsiteY366" fmla="*/ 802935 h 2593174"/>
                    <a:gd name="connsiteX367" fmla="*/ 852860 w 2131141"/>
                    <a:gd name="connsiteY367" fmla="*/ 799808 h 2593174"/>
                    <a:gd name="connsiteX368" fmla="*/ 852860 w 2131141"/>
                    <a:gd name="connsiteY368" fmla="*/ 799808 h 2593174"/>
                    <a:gd name="connsiteX369" fmla="*/ 852961 w 2131141"/>
                    <a:gd name="connsiteY369" fmla="*/ 799002 h 2593174"/>
                    <a:gd name="connsiteX370" fmla="*/ 852961 w 2131141"/>
                    <a:gd name="connsiteY370" fmla="*/ 799002 h 2593174"/>
                    <a:gd name="connsiteX371" fmla="*/ 852961 w 2131141"/>
                    <a:gd name="connsiteY371" fmla="*/ 799002 h 2593174"/>
                    <a:gd name="connsiteX372" fmla="*/ 852961 w 2131141"/>
                    <a:gd name="connsiteY372" fmla="*/ 798901 h 2593174"/>
                    <a:gd name="connsiteX373" fmla="*/ 852961 w 2131141"/>
                    <a:gd name="connsiteY373" fmla="*/ 798901 h 2593174"/>
                    <a:gd name="connsiteX374" fmla="*/ 859416 w 2131141"/>
                    <a:gd name="connsiteY374" fmla="*/ 724366 h 2593174"/>
                    <a:gd name="connsiteX375" fmla="*/ 859416 w 2131141"/>
                    <a:gd name="connsiteY375" fmla="*/ 724366 h 2593174"/>
                    <a:gd name="connsiteX376" fmla="*/ 840152 w 2131141"/>
                    <a:gd name="connsiteY376" fmla="*/ 653664 h 2593174"/>
                    <a:gd name="connsiteX377" fmla="*/ 840152 w 2131141"/>
                    <a:gd name="connsiteY377" fmla="*/ 653664 h 2593174"/>
                    <a:gd name="connsiteX378" fmla="*/ 775502 w 2131141"/>
                    <a:gd name="connsiteY378" fmla="*/ 546553 h 2593174"/>
                    <a:gd name="connsiteX379" fmla="*/ 775502 w 2131141"/>
                    <a:gd name="connsiteY379" fmla="*/ 546553 h 2593174"/>
                    <a:gd name="connsiteX380" fmla="*/ 716096 w 2131141"/>
                    <a:gd name="connsiteY380" fmla="*/ 322747 h 2593174"/>
                    <a:gd name="connsiteX381" fmla="*/ 716096 w 2131141"/>
                    <a:gd name="connsiteY381" fmla="*/ 322747 h 2593174"/>
                    <a:gd name="connsiteX382" fmla="*/ 676358 w 2131141"/>
                    <a:gd name="connsiteY382" fmla="*/ 260417 h 2593174"/>
                    <a:gd name="connsiteX383" fmla="*/ 676358 w 2131141"/>
                    <a:gd name="connsiteY383" fmla="*/ 260417 h 2593174"/>
                    <a:gd name="connsiteX384" fmla="*/ 631476 w 2131141"/>
                    <a:gd name="connsiteY384" fmla="*/ 223805 h 2593174"/>
                    <a:gd name="connsiteX385" fmla="*/ 631476 w 2131141"/>
                    <a:gd name="connsiteY385" fmla="*/ 223805 h 2593174"/>
                    <a:gd name="connsiteX386" fmla="*/ 577012 w 2131141"/>
                    <a:gd name="connsiteY386" fmla="*/ 171863 h 2593174"/>
                    <a:gd name="connsiteX387" fmla="*/ 577012 w 2131141"/>
                    <a:gd name="connsiteY387" fmla="*/ 171863 h 2593174"/>
                    <a:gd name="connsiteX388" fmla="*/ 561177 w 2131141"/>
                    <a:gd name="connsiteY388" fmla="*/ 142009 h 2593174"/>
                    <a:gd name="connsiteX389" fmla="*/ 561177 w 2131141"/>
                    <a:gd name="connsiteY389" fmla="*/ 142009 h 2593174"/>
                    <a:gd name="connsiteX390" fmla="*/ 550990 w 2131141"/>
                    <a:gd name="connsiteY390" fmla="*/ 146144 h 2593174"/>
                    <a:gd name="connsiteX391" fmla="*/ 550990 w 2131141"/>
                    <a:gd name="connsiteY391" fmla="*/ 146144 h 2593174"/>
                    <a:gd name="connsiteX392" fmla="*/ 513572 w 2131141"/>
                    <a:gd name="connsiteY392" fmla="*/ 292793 h 2593174"/>
                    <a:gd name="connsiteX393" fmla="*/ 513572 w 2131141"/>
                    <a:gd name="connsiteY393" fmla="*/ 292793 h 2593174"/>
                    <a:gd name="connsiteX394" fmla="*/ 439037 w 2131141"/>
                    <a:gd name="connsiteY394" fmla="*/ 778628 h 2593174"/>
                    <a:gd name="connsiteX395" fmla="*/ 439037 w 2131141"/>
                    <a:gd name="connsiteY395" fmla="*/ 778628 h 2593174"/>
                    <a:gd name="connsiteX396" fmla="*/ 397988 w 2131141"/>
                    <a:gd name="connsiteY396" fmla="*/ 940506 h 2593174"/>
                    <a:gd name="connsiteX397" fmla="*/ 397988 w 2131141"/>
                    <a:gd name="connsiteY397" fmla="*/ 940506 h 2593174"/>
                    <a:gd name="connsiteX398" fmla="*/ 401014 w 2131141"/>
                    <a:gd name="connsiteY398" fmla="*/ 946356 h 2593174"/>
                    <a:gd name="connsiteX399" fmla="*/ 401014 w 2131141"/>
                    <a:gd name="connsiteY399" fmla="*/ 946356 h 2593174"/>
                    <a:gd name="connsiteX400" fmla="*/ 402728 w 2131141"/>
                    <a:gd name="connsiteY400" fmla="*/ 946356 h 2593174"/>
                    <a:gd name="connsiteX401" fmla="*/ 402728 w 2131141"/>
                    <a:gd name="connsiteY401" fmla="*/ 946356 h 2593174"/>
                    <a:gd name="connsiteX402" fmla="*/ 439441 w 2131141"/>
                    <a:gd name="connsiteY402" fmla="*/ 867989 h 2593174"/>
                    <a:gd name="connsiteX403" fmla="*/ 439441 w 2131141"/>
                    <a:gd name="connsiteY403" fmla="*/ 867989 h 2593174"/>
                    <a:gd name="connsiteX404" fmla="*/ 489063 w 2131141"/>
                    <a:gd name="connsiteY404" fmla="*/ 818064 h 2593174"/>
                    <a:gd name="connsiteX405" fmla="*/ 489063 w 2131141"/>
                    <a:gd name="connsiteY405" fmla="*/ 818064 h 2593174"/>
                    <a:gd name="connsiteX406" fmla="*/ 498040 w 2131141"/>
                    <a:gd name="connsiteY406" fmla="*/ 819779 h 2593174"/>
                    <a:gd name="connsiteX407" fmla="*/ 498040 w 2131141"/>
                    <a:gd name="connsiteY407" fmla="*/ 819779 h 2593174"/>
                    <a:gd name="connsiteX408" fmla="*/ 571565 w 2131141"/>
                    <a:gd name="connsiteY408" fmla="*/ 913375 h 2593174"/>
                    <a:gd name="connsiteX409" fmla="*/ 571565 w 2131141"/>
                    <a:gd name="connsiteY409" fmla="*/ 913375 h 2593174"/>
                    <a:gd name="connsiteX410" fmla="*/ 550587 w 2131141"/>
                    <a:gd name="connsiteY410" fmla="*/ 959770 h 2593174"/>
                    <a:gd name="connsiteX411" fmla="*/ 550587 w 2131141"/>
                    <a:gd name="connsiteY411" fmla="*/ 959770 h 2593174"/>
                    <a:gd name="connsiteX412" fmla="*/ 542417 w 2131141"/>
                    <a:gd name="connsiteY412" fmla="*/ 957047 h 2593174"/>
                    <a:gd name="connsiteX413" fmla="*/ 542417 w 2131141"/>
                    <a:gd name="connsiteY413" fmla="*/ 957047 h 2593174"/>
                    <a:gd name="connsiteX414" fmla="*/ 524566 w 2131141"/>
                    <a:gd name="connsiteY414" fmla="*/ 933850 h 2593174"/>
                    <a:gd name="connsiteX415" fmla="*/ 524566 w 2131141"/>
                    <a:gd name="connsiteY415" fmla="*/ 933850 h 2593174"/>
                    <a:gd name="connsiteX416" fmla="*/ 518110 w 2131141"/>
                    <a:gd name="connsiteY416" fmla="*/ 937682 h 2593174"/>
                    <a:gd name="connsiteX417" fmla="*/ 518110 w 2131141"/>
                    <a:gd name="connsiteY417" fmla="*/ 937682 h 2593174"/>
                    <a:gd name="connsiteX418" fmla="*/ 503587 w 2131141"/>
                    <a:gd name="connsiteY418" fmla="*/ 944037 h 2593174"/>
                    <a:gd name="connsiteX419" fmla="*/ 503587 w 2131141"/>
                    <a:gd name="connsiteY419" fmla="*/ 944037 h 2593174"/>
                    <a:gd name="connsiteX420" fmla="*/ 486037 w 2131141"/>
                    <a:gd name="connsiteY420" fmla="*/ 925276 h 2593174"/>
                    <a:gd name="connsiteX421" fmla="*/ 486037 w 2131141"/>
                    <a:gd name="connsiteY421" fmla="*/ 925276 h 2593174"/>
                    <a:gd name="connsiteX422" fmla="*/ 484525 w 2131141"/>
                    <a:gd name="connsiteY422" fmla="*/ 924470 h 2593174"/>
                    <a:gd name="connsiteX423" fmla="*/ 484525 w 2131141"/>
                    <a:gd name="connsiteY423" fmla="*/ 924470 h 2593174"/>
                    <a:gd name="connsiteX424" fmla="*/ 441761 w 2131141"/>
                    <a:gd name="connsiteY424" fmla="*/ 972176 h 2593174"/>
                    <a:gd name="connsiteX425" fmla="*/ 441761 w 2131141"/>
                    <a:gd name="connsiteY425" fmla="*/ 972176 h 2593174"/>
                    <a:gd name="connsiteX426" fmla="*/ 378421 w 2131141"/>
                    <a:gd name="connsiteY426" fmla="*/ 1335973 h 2593174"/>
                    <a:gd name="connsiteX427" fmla="*/ 378421 w 2131141"/>
                    <a:gd name="connsiteY427" fmla="*/ 1335973 h 2593174"/>
                    <a:gd name="connsiteX428" fmla="*/ 195867 w 2131141"/>
                    <a:gd name="connsiteY428" fmla="*/ 1957765 h 2593174"/>
                    <a:gd name="connsiteX429" fmla="*/ 195867 w 2131141"/>
                    <a:gd name="connsiteY429" fmla="*/ 1957765 h 2593174"/>
                    <a:gd name="connsiteX430" fmla="*/ 112054 w 2131141"/>
                    <a:gd name="connsiteY430" fmla="*/ 2025644 h 2593174"/>
                    <a:gd name="connsiteX431" fmla="*/ 112054 w 2131141"/>
                    <a:gd name="connsiteY431" fmla="*/ 2025644 h 2593174"/>
                    <a:gd name="connsiteX432" fmla="*/ 84318 w 2131141"/>
                    <a:gd name="connsiteY432" fmla="*/ 2023727 h 2593174"/>
                    <a:gd name="connsiteX433" fmla="*/ 84318 w 2131141"/>
                    <a:gd name="connsiteY433" fmla="*/ 2023727 h 2593174"/>
                    <a:gd name="connsiteX434" fmla="*/ 56481 w 2131141"/>
                    <a:gd name="connsiteY434" fmla="*/ 2027661 h 2593174"/>
                    <a:gd name="connsiteX435" fmla="*/ 56481 w 2131141"/>
                    <a:gd name="connsiteY435" fmla="*/ 2027661 h 2593174"/>
                    <a:gd name="connsiteX436" fmla="*/ 5547 w 2131141"/>
                    <a:gd name="connsiteY436" fmla="*/ 2059431 h 2593174"/>
                    <a:gd name="connsiteX437" fmla="*/ 5547 w 2131141"/>
                    <a:gd name="connsiteY437" fmla="*/ 2059431 h 2593174"/>
                    <a:gd name="connsiteX438" fmla="*/ 14826 w 2131141"/>
                    <a:gd name="connsiteY438" fmla="*/ 2069114 h 2593174"/>
                    <a:gd name="connsiteX439" fmla="*/ 14826 w 2131141"/>
                    <a:gd name="connsiteY439" fmla="*/ 2069114 h 2593174"/>
                    <a:gd name="connsiteX440" fmla="*/ 36511 w 2131141"/>
                    <a:gd name="connsiteY440" fmla="*/ 2129730 h 2593174"/>
                    <a:gd name="connsiteX441" fmla="*/ 36511 w 2131141"/>
                    <a:gd name="connsiteY441" fmla="*/ 2129730 h 2593174"/>
                    <a:gd name="connsiteX442" fmla="*/ 83309 w 2131141"/>
                    <a:gd name="connsiteY442" fmla="*/ 2088377 h 2593174"/>
                    <a:gd name="connsiteX443" fmla="*/ 83309 w 2131141"/>
                    <a:gd name="connsiteY443" fmla="*/ 2088377 h 2593174"/>
                    <a:gd name="connsiteX444" fmla="*/ 117399 w 2131141"/>
                    <a:gd name="connsiteY444" fmla="*/ 2121964 h 2593174"/>
                    <a:gd name="connsiteX445" fmla="*/ 117399 w 2131141"/>
                    <a:gd name="connsiteY445" fmla="*/ 2121964 h 2593174"/>
                    <a:gd name="connsiteX446" fmla="*/ 116492 w 2131141"/>
                    <a:gd name="connsiteY446" fmla="*/ 2132856 h 2593174"/>
                    <a:gd name="connsiteX447" fmla="*/ 116492 w 2131141"/>
                    <a:gd name="connsiteY447" fmla="*/ 2132856 h 2593174"/>
                    <a:gd name="connsiteX448" fmla="*/ 115786 w 2131141"/>
                    <a:gd name="connsiteY448" fmla="*/ 2140219 h 2593174"/>
                    <a:gd name="connsiteX449" fmla="*/ 115786 w 2131141"/>
                    <a:gd name="connsiteY449" fmla="*/ 2140219 h 2593174"/>
                    <a:gd name="connsiteX450" fmla="*/ 124863 w 2131141"/>
                    <a:gd name="connsiteY450" fmla="*/ 2152524 h 2593174"/>
                    <a:gd name="connsiteX451" fmla="*/ 124863 w 2131141"/>
                    <a:gd name="connsiteY451" fmla="*/ 2152524 h 2593174"/>
                    <a:gd name="connsiteX452" fmla="*/ 136260 w 2131141"/>
                    <a:gd name="connsiteY452" fmla="*/ 2150204 h 2593174"/>
                    <a:gd name="connsiteX453" fmla="*/ 136260 w 2131141"/>
                    <a:gd name="connsiteY453" fmla="*/ 2150204 h 2593174"/>
                    <a:gd name="connsiteX454" fmla="*/ 171157 w 2131141"/>
                    <a:gd name="connsiteY454" fmla="*/ 2115811 h 2593174"/>
                    <a:gd name="connsiteX455" fmla="*/ 171157 w 2131141"/>
                    <a:gd name="connsiteY455" fmla="*/ 2115811 h 2593174"/>
                    <a:gd name="connsiteX456" fmla="*/ 197380 w 2131141"/>
                    <a:gd name="connsiteY456" fmla="*/ 2114197 h 2593174"/>
                    <a:gd name="connsiteX457" fmla="*/ 197380 w 2131141"/>
                    <a:gd name="connsiteY457" fmla="*/ 2114197 h 2593174"/>
                    <a:gd name="connsiteX458" fmla="*/ 281900 w 2131141"/>
                    <a:gd name="connsiteY458" fmla="*/ 2145565 h 2593174"/>
                    <a:gd name="connsiteX459" fmla="*/ 281900 w 2131141"/>
                    <a:gd name="connsiteY459" fmla="*/ 2145565 h 2593174"/>
                    <a:gd name="connsiteX460" fmla="*/ 283413 w 2131141"/>
                    <a:gd name="connsiteY460" fmla="*/ 2158978 h 2593174"/>
                    <a:gd name="connsiteX461" fmla="*/ 283413 w 2131141"/>
                    <a:gd name="connsiteY461" fmla="*/ 2158978 h 2593174"/>
                    <a:gd name="connsiteX462" fmla="*/ 259913 w 2131141"/>
                    <a:gd name="connsiteY462" fmla="*/ 2248340 h 2593174"/>
                    <a:gd name="connsiteX463" fmla="*/ 259913 w 2131141"/>
                    <a:gd name="connsiteY463" fmla="*/ 2248340 h 2593174"/>
                    <a:gd name="connsiteX464" fmla="*/ 232277 w 2131141"/>
                    <a:gd name="connsiteY464" fmla="*/ 2286867 h 2593174"/>
                    <a:gd name="connsiteX465" fmla="*/ 232277 w 2131141"/>
                    <a:gd name="connsiteY465" fmla="*/ 2286867 h 2593174"/>
                    <a:gd name="connsiteX466" fmla="*/ 265460 w 2131141"/>
                    <a:gd name="connsiteY466" fmla="*/ 2330942 h 2593174"/>
                    <a:gd name="connsiteX467" fmla="*/ 265460 w 2131141"/>
                    <a:gd name="connsiteY467" fmla="*/ 2330942 h 2593174"/>
                    <a:gd name="connsiteX468" fmla="*/ 295717 w 2131141"/>
                    <a:gd name="connsiteY468" fmla="*/ 2294532 h 2593174"/>
                    <a:gd name="connsiteX469" fmla="*/ 295717 w 2131141"/>
                    <a:gd name="connsiteY469" fmla="*/ 2294532 h 2593174"/>
                    <a:gd name="connsiteX470" fmla="*/ 334750 w 2131141"/>
                    <a:gd name="connsiteY470" fmla="*/ 2255097 h 2593174"/>
                    <a:gd name="connsiteX471" fmla="*/ 334750 w 2131141"/>
                    <a:gd name="connsiteY471" fmla="*/ 2255097 h 2593174"/>
                    <a:gd name="connsiteX472" fmla="*/ 350786 w 2131141"/>
                    <a:gd name="connsiteY472" fmla="*/ 2266595 h 2593174"/>
                    <a:gd name="connsiteX473" fmla="*/ 350786 w 2131141"/>
                    <a:gd name="connsiteY473" fmla="*/ 2266595 h 2593174"/>
                    <a:gd name="connsiteX474" fmla="*/ 353509 w 2131141"/>
                    <a:gd name="connsiteY474" fmla="*/ 2285153 h 2593174"/>
                    <a:gd name="connsiteX475" fmla="*/ 353509 w 2131141"/>
                    <a:gd name="connsiteY475" fmla="*/ 2285153 h 2593174"/>
                    <a:gd name="connsiteX476" fmla="*/ 353207 w 2131141"/>
                    <a:gd name="connsiteY476" fmla="*/ 2298264 h 2593174"/>
                    <a:gd name="connsiteX477" fmla="*/ 353207 w 2131141"/>
                    <a:gd name="connsiteY477" fmla="*/ 2298264 h 2593174"/>
                    <a:gd name="connsiteX478" fmla="*/ 368739 w 2131141"/>
                    <a:gd name="connsiteY478" fmla="*/ 2325799 h 2593174"/>
                    <a:gd name="connsiteX479" fmla="*/ 368739 w 2131141"/>
                    <a:gd name="connsiteY479" fmla="*/ 2325799 h 2593174"/>
                    <a:gd name="connsiteX480" fmla="*/ 465059 w 2131141"/>
                    <a:gd name="connsiteY480" fmla="*/ 2369773 h 2593174"/>
                    <a:gd name="connsiteX481" fmla="*/ 465059 w 2131141"/>
                    <a:gd name="connsiteY481" fmla="*/ 2369773 h 2593174"/>
                    <a:gd name="connsiteX482" fmla="*/ 603941 w 2131141"/>
                    <a:gd name="connsiteY482" fmla="*/ 2421917 h 2593174"/>
                    <a:gd name="connsiteX483" fmla="*/ 603941 w 2131141"/>
                    <a:gd name="connsiteY483" fmla="*/ 2421917 h 2593174"/>
                    <a:gd name="connsiteX484" fmla="*/ 607169 w 2131141"/>
                    <a:gd name="connsiteY484" fmla="*/ 2421917 h 2593174"/>
                    <a:gd name="connsiteX485" fmla="*/ 607169 w 2131141"/>
                    <a:gd name="connsiteY485" fmla="*/ 2421917 h 2593174"/>
                    <a:gd name="connsiteX486" fmla="*/ 671516 w 2131141"/>
                    <a:gd name="connsiteY486" fmla="*/ 2403661 h 2593174"/>
                    <a:gd name="connsiteX487" fmla="*/ 671516 w 2131141"/>
                    <a:gd name="connsiteY487" fmla="*/ 2403661 h 2593174"/>
                    <a:gd name="connsiteX488" fmla="*/ 692596 w 2131141"/>
                    <a:gd name="connsiteY488" fmla="*/ 2417883 h 2593174"/>
                    <a:gd name="connsiteX489" fmla="*/ 692596 w 2131141"/>
                    <a:gd name="connsiteY489" fmla="*/ 2417883 h 2593174"/>
                    <a:gd name="connsiteX490" fmla="*/ 697740 w 2131141"/>
                    <a:gd name="connsiteY490" fmla="*/ 2438760 h 2593174"/>
                    <a:gd name="connsiteX491" fmla="*/ 697740 w 2131141"/>
                    <a:gd name="connsiteY491" fmla="*/ 2438760 h 2593174"/>
                    <a:gd name="connsiteX492" fmla="*/ 678980 w 2131141"/>
                    <a:gd name="connsiteY492" fmla="*/ 2482836 h 2593174"/>
                    <a:gd name="connsiteX493" fmla="*/ 678980 w 2131141"/>
                    <a:gd name="connsiteY493" fmla="*/ 2482836 h 2593174"/>
                    <a:gd name="connsiteX494" fmla="*/ 706413 w 2131141"/>
                    <a:gd name="connsiteY494" fmla="*/ 2496754 h 2593174"/>
                    <a:gd name="connsiteX495" fmla="*/ 706413 w 2131141"/>
                    <a:gd name="connsiteY495" fmla="*/ 2496754 h 2593174"/>
                    <a:gd name="connsiteX496" fmla="*/ 794665 w 2131141"/>
                    <a:gd name="connsiteY496" fmla="*/ 2587728 h 2593174"/>
                    <a:gd name="connsiteX497" fmla="*/ 794665 w 2131141"/>
                    <a:gd name="connsiteY497" fmla="*/ 2587728 h 2593174"/>
                    <a:gd name="connsiteX498" fmla="*/ 845497 w 2131141"/>
                    <a:gd name="connsiteY498" fmla="*/ 2559891 h 2593174"/>
                    <a:gd name="connsiteX499" fmla="*/ 845497 w 2131141"/>
                    <a:gd name="connsiteY499" fmla="*/ 2559891 h 2593174"/>
                    <a:gd name="connsiteX500" fmla="*/ 847716 w 2131141"/>
                    <a:gd name="connsiteY500" fmla="*/ 2560194 h 2593174"/>
                    <a:gd name="connsiteX501" fmla="*/ 847716 w 2131141"/>
                    <a:gd name="connsiteY501" fmla="*/ 2560194 h 2593174"/>
                    <a:gd name="connsiteX502" fmla="*/ 879184 w 2131141"/>
                    <a:gd name="connsiteY502" fmla="*/ 2572095 h 2593174"/>
                    <a:gd name="connsiteX503" fmla="*/ 879184 w 2131141"/>
                    <a:gd name="connsiteY503" fmla="*/ 2572095 h 2593174"/>
                    <a:gd name="connsiteX504" fmla="*/ 901272 w 2131141"/>
                    <a:gd name="connsiteY504" fmla="*/ 2568566 h 2593174"/>
                    <a:gd name="connsiteX505" fmla="*/ 901272 w 2131141"/>
                    <a:gd name="connsiteY505" fmla="*/ 2568566 h 2593174"/>
                    <a:gd name="connsiteX506" fmla="*/ 948877 w 2131141"/>
                    <a:gd name="connsiteY506" fmla="*/ 2521464 h 2593174"/>
                    <a:gd name="connsiteX507" fmla="*/ 948877 w 2131141"/>
                    <a:gd name="connsiteY507" fmla="*/ 2521464 h 2593174"/>
                    <a:gd name="connsiteX508" fmla="*/ 965721 w 2131141"/>
                    <a:gd name="connsiteY508" fmla="*/ 2448746 h 2593174"/>
                    <a:gd name="connsiteX509" fmla="*/ 965721 w 2131141"/>
                    <a:gd name="connsiteY509" fmla="*/ 2448746 h 2593174"/>
                    <a:gd name="connsiteX510" fmla="*/ 1009998 w 2131141"/>
                    <a:gd name="connsiteY510" fmla="*/ 2385104 h 2593174"/>
                    <a:gd name="connsiteX511" fmla="*/ 1009998 w 2131141"/>
                    <a:gd name="connsiteY511" fmla="*/ 2385104 h 2593174"/>
                    <a:gd name="connsiteX512" fmla="*/ 1061133 w 2131141"/>
                    <a:gd name="connsiteY512" fmla="*/ 2301189 h 2593174"/>
                    <a:gd name="connsiteX513" fmla="*/ 1061133 w 2131141"/>
                    <a:gd name="connsiteY513" fmla="*/ 2301189 h 2593174"/>
                    <a:gd name="connsiteX514" fmla="*/ 1125683 w 2131141"/>
                    <a:gd name="connsiteY514" fmla="*/ 2222620 h 2593174"/>
                    <a:gd name="connsiteX515" fmla="*/ 1125683 w 2131141"/>
                    <a:gd name="connsiteY515" fmla="*/ 2222620 h 2593174"/>
                    <a:gd name="connsiteX516" fmla="*/ 1160075 w 2131141"/>
                    <a:gd name="connsiteY516" fmla="*/ 2133058 h 2593174"/>
                    <a:gd name="connsiteX517" fmla="*/ 1160075 w 2131141"/>
                    <a:gd name="connsiteY517" fmla="*/ 2133058 h 2593174"/>
                    <a:gd name="connsiteX518" fmla="*/ 1185290 w 2131141"/>
                    <a:gd name="connsiteY518" fmla="*/ 2102095 h 2593174"/>
                    <a:gd name="connsiteX519" fmla="*/ 1185290 w 2131141"/>
                    <a:gd name="connsiteY519" fmla="*/ 2102095 h 2593174"/>
                    <a:gd name="connsiteX520" fmla="*/ 1180650 w 2131141"/>
                    <a:gd name="connsiteY520" fmla="*/ 2078594 h 2593174"/>
                    <a:gd name="connsiteX521" fmla="*/ 1180650 w 2131141"/>
                    <a:gd name="connsiteY521" fmla="*/ 2078594 h 2593174"/>
                    <a:gd name="connsiteX522" fmla="*/ 1155940 w 2131141"/>
                    <a:gd name="connsiteY522" fmla="*/ 1987620 h 2593174"/>
                    <a:gd name="connsiteX523" fmla="*/ 1155940 w 2131141"/>
                    <a:gd name="connsiteY523" fmla="*/ 1987620 h 2593174"/>
                    <a:gd name="connsiteX524" fmla="*/ 1067588 w 2131141"/>
                    <a:gd name="connsiteY524" fmla="*/ 1898360 h 2593174"/>
                    <a:gd name="connsiteX525" fmla="*/ 1067588 w 2131141"/>
                    <a:gd name="connsiteY525" fmla="*/ 1898360 h 2593174"/>
                    <a:gd name="connsiteX526" fmla="*/ 1003946 w 2131141"/>
                    <a:gd name="connsiteY526" fmla="*/ 1821909 h 2593174"/>
                    <a:gd name="connsiteX527" fmla="*/ 1003946 w 2131141"/>
                    <a:gd name="connsiteY527" fmla="*/ 1821909 h 2593174"/>
                    <a:gd name="connsiteX528" fmla="*/ 1010805 w 2131141"/>
                    <a:gd name="connsiteY528" fmla="*/ 1805066 h 2593174"/>
                    <a:gd name="connsiteX529" fmla="*/ 1010805 w 2131141"/>
                    <a:gd name="connsiteY529" fmla="*/ 1805066 h 2593174"/>
                    <a:gd name="connsiteX530" fmla="*/ 1059217 w 2131141"/>
                    <a:gd name="connsiteY530" fmla="*/ 1738298 h 2593174"/>
                    <a:gd name="connsiteX531" fmla="*/ 1059217 w 2131141"/>
                    <a:gd name="connsiteY531" fmla="*/ 1738298 h 2593174"/>
                    <a:gd name="connsiteX532" fmla="*/ 1059318 w 2131141"/>
                    <a:gd name="connsiteY532" fmla="*/ 1728413 h 2593174"/>
                    <a:gd name="connsiteX533" fmla="*/ 1059318 w 2131141"/>
                    <a:gd name="connsiteY533" fmla="*/ 1728413 h 2593174"/>
                    <a:gd name="connsiteX534" fmla="*/ 1040053 w 2131141"/>
                    <a:gd name="connsiteY534" fmla="*/ 1648937 h 2593174"/>
                    <a:gd name="connsiteX535" fmla="*/ 1040053 w 2131141"/>
                    <a:gd name="connsiteY535" fmla="*/ 1648937 h 2593174"/>
                    <a:gd name="connsiteX536" fmla="*/ 1042676 w 2131141"/>
                    <a:gd name="connsiteY536" fmla="*/ 1635422 h 2593174"/>
                    <a:gd name="connsiteX537" fmla="*/ 1042676 w 2131141"/>
                    <a:gd name="connsiteY537" fmla="*/ 1635422 h 2593174"/>
                    <a:gd name="connsiteX538" fmla="*/ 1091693 w 2131141"/>
                    <a:gd name="connsiteY538" fmla="*/ 1594877 h 2593174"/>
                    <a:gd name="connsiteX539" fmla="*/ 1091693 w 2131141"/>
                    <a:gd name="connsiteY539" fmla="*/ 1594877 h 2593174"/>
                    <a:gd name="connsiteX540" fmla="*/ 1109545 w 2131141"/>
                    <a:gd name="connsiteY540" fmla="*/ 1597802 h 2593174"/>
                    <a:gd name="connsiteX541" fmla="*/ 1109545 w 2131141"/>
                    <a:gd name="connsiteY541" fmla="*/ 1597802 h 2593174"/>
                    <a:gd name="connsiteX542" fmla="*/ 1189627 w 2131141"/>
                    <a:gd name="connsiteY542" fmla="*/ 1621200 h 2593174"/>
                    <a:gd name="connsiteX543" fmla="*/ 1189627 w 2131141"/>
                    <a:gd name="connsiteY543" fmla="*/ 1621200 h 2593174"/>
                    <a:gd name="connsiteX544" fmla="*/ 1230575 w 2131141"/>
                    <a:gd name="connsiteY544" fmla="*/ 1601634 h 2593174"/>
                    <a:gd name="connsiteX545" fmla="*/ 1230575 w 2131141"/>
                    <a:gd name="connsiteY545" fmla="*/ 1601634 h 2593174"/>
                    <a:gd name="connsiteX546" fmla="*/ 1323870 w 2131141"/>
                    <a:gd name="connsiteY546" fmla="*/ 1537085 h 2593174"/>
                    <a:gd name="connsiteX547" fmla="*/ 1323870 w 2131141"/>
                    <a:gd name="connsiteY547" fmla="*/ 1537085 h 2593174"/>
                    <a:gd name="connsiteX548" fmla="*/ 1370365 w 2131141"/>
                    <a:gd name="connsiteY548" fmla="*/ 1541523 h 2593174"/>
                    <a:gd name="connsiteX549" fmla="*/ 1370365 w 2131141"/>
                    <a:gd name="connsiteY549" fmla="*/ 1541523 h 2593174"/>
                    <a:gd name="connsiteX550" fmla="*/ 1427149 w 2131141"/>
                    <a:gd name="connsiteY550" fmla="*/ 1523771 h 2593174"/>
                    <a:gd name="connsiteX551" fmla="*/ 1427149 w 2131141"/>
                    <a:gd name="connsiteY551" fmla="*/ 1523771 h 2593174"/>
                    <a:gd name="connsiteX552" fmla="*/ 1561089 w 2131141"/>
                    <a:gd name="connsiteY552" fmla="*/ 1481915 h 2593174"/>
                    <a:gd name="connsiteX553" fmla="*/ 1561089 w 2131141"/>
                    <a:gd name="connsiteY553" fmla="*/ 1481915 h 2593174"/>
                    <a:gd name="connsiteX554" fmla="*/ 1606576 w 2131141"/>
                    <a:gd name="connsiteY554" fmla="*/ 1499061 h 2593174"/>
                    <a:gd name="connsiteX555" fmla="*/ 1606576 w 2131141"/>
                    <a:gd name="connsiteY555" fmla="*/ 1499061 h 2593174"/>
                    <a:gd name="connsiteX556" fmla="*/ 1644902 w 2131141"/>
                    <a:gd name="connsiteY556" fmla="*/ 1482520 h 2593174"/>
                    <a:gd name="connsiteX557" fmla="*/ 1644902 w 2131141"/>
                    <a:gd name="connsiteY557" fmla="*/ 1482520 h 2593174"/>
                    <a:gd name="connsiteX558" fmla="*/ 1768152 w 2131141"/>
                    <a:gd name="connsiteY558" fmla="*/ 1381157 h 2593174"/>
                    <a:gd name="connsiteX559" fmla="*/ 1768152 w 2131141"/>
                    <a:gd name="connsiteY559" fmla="*/ 1381157 h 2593174"/>
                    <a:gd name="connsiteX560" fmla="*/ 1788424 w 2131141"/>
                    <a:gd name="connsiteY560" fmla="*/ 1323870 h 2593174"/>
                    <a:gd name="connsiteX561" fmla="*/ 1788424 w 2131141"/>
                    <a:gd name="connsiteY561" fmla="*/ 1323870 h 2593174"/>
                    <a:gd name="connsiteX562" fmla="*/ 1778338 w 2131141"/>
                    <a:gd name="connsiteY562" fmla="*/ 1305312 h 2593174"/>
                    <a:gd name="connsiteX563" fmla="*/ 1778338 w 2131141"/>
                    <a:gd name="connsiteY563" fmla="*/ 1305312 h 2593174"/>
                    <a:gd name="connsiteX564" fmla="*/ 1751006 w 2131141"/>
                    <a:gd name="connsiteY564" fmla="*/ 1262144 h 2593174"/>
                    <a:gd name="connsiteX565" fmla="*/ 1751006 w 2131141"/>
                    <a:gd name="connsiteY565" fmla="*/ 1262144 h 2593174"/>
                    <a:gd name="connsiteX566" fmla="*/ 1768959 w 2131141"/>
                    <a:gd name="connsiteY566" fmla="*/ 1228659 h 2593174"/>
                    <a:gd name="connsiteX567" fmla="*/ 1768959 w 2131141"/>
                    <a:gd name="connsiteY567" fmla="*/ 1228659 h 2593174"/>
                    <a:gd name="connsiteX568" fmla="*/ 1792862 w 2131141"/>
                    <a:gd name="connsiteY568" fmla="*/ 1219077 h 2593174"/>
                    <a:gd name="connsiteX569" fmla="*/ 1792862 w 2131141"/>
                    <a:gd name="connsiteY569" fmla="*/ 1219077 h 2593174"/>
                    <a:gd name="connsiteX570" fmla="*/ 1832298 w 2131141"/>
                    <a:gd name="connsiteY570" fmla="*/ 1234206 h 2593174"/>
                    <a:gd name="connsiteX571" fmla="*/ 1832298 w 2131141"/>
                    <a:gd name="connsiteY571" fmla="*/ 1234206 h 2593174"/>
                    <a:gd name="connsiteX572" fmla="*/ 1840568 w 2131141"/>
                    <a:gd name="connsiteY572" fmla="*/ 1231282 h 2593174"/>
                    <a:gd name="connsiteX573" fmla="*/ 1840568 w 2131141"/>
                    <a:gd name="connsiteY573" fmla="*/ 1231282 h 2593174"/>
                    <a:gd name="connsiteX574" fmla="*/ 1872742 w 2131141"/>
                    <a:gd name="connsiteY574" fmla="*/ 1174801 h 2593174"/>
                    <a:gd name="connsiteX575" fmla="*/ 1872742 w 2131141"/>
                    <a:gd name="connsiteY575" fmla="*/ 1174801 h 2593174"/>
                    <a:gd name="connsiteX576" fmla="*/ 1867800 w 2131141"/>
                    <a:gd name="connsiteY576" fmla="*/ 1161084 h 2593174"/>
                    <a:gd name="connsiteX577" fmla="*/ 1867800 w 2131141"/>
                    <a:gd name="connsiteY577" fmla="*/ 1161084 h 2593174"/>
                    <a:gd name="connsiteX578" fmla="*/ 1825137 w 2131141"/>
                    <a:gd name="connsiteY578" fmla="*/ 1099661 h 2593174"/>
                    <a:gd name="connsiteX579" fmla="*/ 1825137 w 2131141"/>
                    <a:gd name="connsiteY579" fmla="*/ 1099661 h 2593174"/>
                    <a:gd name="connsiteX580" fmla="*/ 1834315 w 2131141"/>
                    <a:gd name="connsiteY580" fmla="*/ 1069505 h 2593174"/>
                    <a:gd name="connsiteX581" fmla="*/ 1834315 w 2131141"/>
                    <a:gd name="connsiteY581" fmla="*/ 1069505 h 2593174"/>
                    <a:gd name="connsiteX582" fmla="*/ 1852167 w 2131141"/>
                    <a:gd name="connsiteY582" fmla="*/ 1051552 h 2593174"/>
                    <a:gd name="connsiteX583" fmla="*/ 1852167 w 2131141"/>
                    <a:gd name="connsiteY583" fmla="*/ 1051552 h 2593174"/>
                    <a:gd name="connsiteX584" fmla="*/ 1865883 w 2131141"/>
                    <a:gd name="connsiteY584" fmla="*/ 1056090 h 2593174"/>
                    <a:gd name="connsiteX585" fmla="*/ 1865883 w 2131141"/>
                    <a:gd name="connsiteY585" fmla="*/ 1056090 h 2593174"/>
                    <a:gd name="connsiteX586" fmla="*/ 1911774 w 2131141"/>
                    <a:gd name="connsiteY586" fmla="*/ 1016654 h 2593174"/>
                    <a:gd name="connsiteX587" fmla="*/ 1911774 w 2131141"/>
                    <a:gd name="connsiteY587" fmla="*/ 1016654 h 2593174"/>
                    <a:gd name="connsiteX588" fmla="*/ 2030081 w 2131141"/>
                    <a:gd name="connsiteY588" fmla="*/ 917914 h 2593174"/>
                    <a:gd name="connsiteX589" fmla="*/ 2030081 w 2131141"/>
                    <a:gd name="connsiteY589" fmla="*/ 917914 h 2593174"/>
                    <a:gd name="connsiteX590" fmla="*/ 2093521 w 2131141"/>
                    <a:gd name="connsiteY590" fmla="*/ 826839 h 2593174"/>
                    <a:gd name="connsiteX591" fmla="*/ 2093521 w 2131141"/>
                    <a:gd name="connsiteY591" fmla="*/ 826839 h 2593174"/>
                    <a:gd name="connsiteX592" fmla="*/ 2127107 w 2131141"/>
                    <a:gd name="connsiteY592" fmla="*/ 660220 h 2593174"/>
                    <a:gd name="connsiteX593" fmla="*/ 2127107 w 2131141"/>
                    <a:gd name="connsiteY593" fmla="*/ 660220 h 2593174"/>
                    <a:gd name="connsiteX594" fmla="*/ 2107440 w 2131141"/>
                    <a:gd name="connsiteY594" fmla="*/ 641864 h 2593174"/>
                    <a:gd name="connsiteX595" fmla="*/ 2107440 w 2131141"/>
                    <a:gd name="connsiteY595" fmla="*/ 641864 h 2593174"/>
                    <a:gd name="connsiteX596" fmla="*/ 2109255 w 2131141"/>
                    <a:gd name="connsiteY596" fmla="*/ 639847 h 2593174"/>
                    <a:gd name="connsiteX597" fmla="*/ 2111071 w 2131141"/>
                    <a:gd name="connsiteY597" fmla="*/ 637829 h 2593174"/>
                    <a:gd name="connsiteX598" fmla="*/ 2131141 w 2131141"/>
                    <a:gd name="connsiteY598" fmla="*/ 658001 h 2593174"/>
                    <a:gd name="connsiteX599" fmla="*/ 2131141 w 2131141"/>
                    <a:gd name="connsiteY599" fmla="*/ 658001 h 2593174"/>
                    <a:gd name="connsiteX600" fmla="*/ 2098362 w 2131141"/>
                    <a:gd name="connsiteY600" fmla="*/ 829562 h 2593174"/>
                    <a:gd name="connsiteX601" fmla="*/ 2098362 w 2131141"/>
                    <a:gd name="connsiteY601" fmla="*/ 829562 h 2593174"/>
                    <a:gd name="connsiteX602" fmla="*/ 2034923 w 2131141"/>
                    <a:gd name="connsiteY602" fmla="*/ 920637 h 2593174"/>
                    <a:gd name="connsiteX603" fmla="*/ 2034923 w 2131141"/>
                    <a:gd name="connsiteY603" fmla="*/ 920637 h 2593174"/>
                    <a:gd name="connsiteX604" fmla="*/ 1916111 w 2131141"/>
                    <a:gd name="connsiteY604" fmla="*/ 1020286 h 2593174"/>
                    <a:gd name="connsiteX605" fmla="*/ 1916111 w 2131141"/>
                    <a:gd name="connsiteY605" fmla="*/ 1020286 h 2593174"/>
                    <a:gd name="connsiteX606" fmla="*/ 1865783 w 2131141"/>
                    <a:gd name="connsiteY606" fmla="*/ 1061738 h 2593174"/>
                    <a:gd name="connsiteX607" fmla="*/ 1865783 w 2131141"/>
                    <a:gd name="connsiteY607" fmla="*/ 1061738 h 2593174"/>
                    <a:gd name="connsiteX608" fmla="*/ 1852066 w 2131141"/>
                    <a:gd name="connsiteY608" fmla="*/ 1057200 h 2593174"/>
                    <a:gd name="connsiteX609" fmla="*/ 1852066 w 2131141"/>
                    <a:gd name="connsiteY609" fmla="*/ 1057200 h 2593174"/>
                    <a:gd name="connsiteX610" fmla="*/ 1839055 w 2131141"/>
                    <a:gd name="connsiteY610" fmla="*/ 1072328 h 2593174"/>
                    <a:gd name="connsiteX611" fmla="*/ 1839055 w 2131141"/>
                    <a:gd name="connsiteY611" fmla="*/ 1072328 h 2593174"/>
                    <a:gd name="connsiteX612" fmla="*/ 1830583 w 2131141"/>
                    <a:gd name="connsiteY612" fmla="*/ 1099661 h 2593174"/>
                    <a:gd name="connsiteX613" fmla="*/ 1830583 w 2131141"/>
                    <a:gd name="connsiteY613" fmla="*/ 1099661 h 2593174"/>
                    <a:gd name="connsiteX614" fmla="*/ 1871632 w 2131141"/>
                    <a:gd name="connsiteY614" fmla="*/ 1157050 h 2593174"/>
                    <a:gd name="connsiteX615" fmla="*/ 1871632 w 2131141"/>
                    <a:gd name="connsiteY615" fmla="*/ 1157050 h 2593174"/>
                    <a:gd name="connsiteX616" fmla="*/ 1878289 w 2131141"/>
                    <a:gd name="connsiteY616" fmla="*/ 1174801 h 2593174"/>
                    <a:gd name="connsiteX617" fmla="*/ 1878289 w 2131141"/>
                    <a:gd name="connsiteY617" fmla="*/ 1174801 h 2593174"/>
                    <a:gd name="connsiteX618" fmla="*/ 1843795 w 2131141"/>
                    <a:gd name="connsiteY618" fmla="*/ 1235820 h 2593174"/>
                    <a:gd name="connsiteX619" fmla="*/ 1843795 w 2131141"/>
                    <a:gd name="connsiteY619" fmla="*/ 1235820 h 2593174"/>
                    <a:gd name="connsiteX620" fmla="*/ 1832197 w 2131141"/>
                    <a:gd name="connsiteY620" fmla="*/ 1239854 h 2593174"/>
                    <a:gd name="connsiteX621" fmla="*/ 1832197 w 2131141"/>
                    <a:gd name="connsiteY621" fmla="*/ 1239854 h 2593174"/>
                    <a:gd name="connsiteX622" fmla="*/ 1792761 w 2131141"/>
                    <a:gd name="connsiteY622" fmla="*/ 1224725 h 2593174"/>
                    <a:gd name="connsiteX623" fmla="*/ 1792761 w 2131141"/>
                    <a:gd name="connsiteY623" fmla="*/ 1224725 h 2593174"/>
                    <a:gd name="connsiteX624" fmla="*/ 1772186 w 2131141"/>
                    <a:gd name="connsiteY624" fmla="*/ 1233097 h 2593174"/>
                    <a:gd name="connsiteX625" fmla="*/ 1772186 w 2131141"/>
                    <a:gd name="connsiteY625" fmla="*/ 1233097 h 2593174"/>
                    <a:gd name="connsiteX626" fmla="*/ 1756452 w 2131141"/>
                    <a:gd name="connsiteY626" fmla="*/ 1262144 h 2593174"/>
                    <a:gd name="connsiteX627" fmla="*/ 1756452 w 2131141"/>
                    <a:gd name="connsiteY627" fmla="*/ 1262144 h 2593174"/>
                    <a:gd name="connsiteX628" fmla="*/ 1779347 w 2131141"/>
                    <a:gd name="connsiteY628" fmla="*/ 1299764 h 2593174"/>
                    <a:gd name="connsiteX629" fmla="*/ 1779347 w 2131141"/>
                    <a:gd name="connsiteY629" fmla="*/ 1299764 h 2593174"/>
                    <a:gd name="connsiteX630" fmla="*/ 1794072 w 2131141"/>
                    <a:gd name="connsiteY630" fmla="*/ 1323769 h 2593174"/>
                    <a:gd name="connsiteX631" fmla="*/ 1794072 w 2131141"/>
                    <a:gd name="connsiteY631" fmla="*/ 1323769 h 2593174"/>
                    <a:gd name="connsiteX632" fmla="*/ 1772993 w 2131141"/>
                    <a:gd name="connsiteY632" fmla="*/ 1383881 h 2593174"/>
                    <a:gd name="connsiteX633" fmla="*/ 1772993 w 2131141"/>
                    <a:gd name="connsiteY633" fmla="*/ 1383881 h 2593174"/>
                    <a:gd name="connsiteX634" fmla="*/ 1648130 w 2131141"/>
                    <a:gd name="connsiteY634" fmla="*/ 1486958 h 2593174"/>
                    <a:gd name="connsiteX635" fmla="*/ 1648130 w 2131141"/>
                    <a:gd name="connsiteY635" fmla="*/ 1486958 h 2593174"/>
                    <a:gd name="connsiteX636" fmla="*/ 1606576 w 2131141"/>
                    <a:gd name="connsiteY636" fmla="*/ 1504608 h 2593174"/>
                    <a:gd name="connsiteX637" fmla="*/ 1606576 w 2131141"/>
                    <a:gd name="connsiteY637" fmla="*/ 1504608 h 2593174"/>
                    <a:gd name="connsiteX638" fmla="*/ 1561089 w 2131141"/>
                    <a:gd name="connsiteY638" fmla="*/ 1487563 h 2593174"/>
                    <a:gd name="connsiteX639" fmla="*/ 1561089 w 2131141"/>
                    <a:gd name="connsiteY639" fmla="*/ 1487563 h 2593174"/>
                    <a:gd name="connsiteX640" fmla="*/ 1430174 w 2131141"/>
                    <a:gd name="connsiteY640" fmla="*/ 1528411 h 2593174"/>
                    <a:gd name="connsiteX641" fmla="*/ 1430174 w 2131141"/>
                    <a:gd name="connsiteY641" fmla="*/ 1528411 h 2593174"/>
                    <a:gd name="connsiteX642" fmla="*/ 1370365 w 2131141"/>
                    <a:gd name="connsiteY642" fmla="*/ 1547070 h 2593174"/>
                    <a:gd name="connsiteX643" fmla="*/ 1370365 w 2131141"/>
                    <a:gd name="connsiteY643" fmla="*/ 1547070 h 2593174"/>
                    <a:gd name="connsiteX644" fmla="*/ 1323870 w 2131141"/>
                    <a:gd name="connsiteY644" fmla="*/ 1542632 h 2593174"/>
                    <a:gd name="connsiteX645" fmla="*/ 1323870 w 2131141"/>
                    <a:gd name="connsiteY645" fmla="*/ 1542632 h 2593174"/>
                    <a:gd name="connsiteX646" fmla="*/ 1235114 w 2131141"/>
                    <a:gd name="connsiteY646" fmla="*/ 1604861 h 2593174"/>
                    <a:gd name="connsiteX647" fmla="*/ 1235114 w 2131141"/>
                    <a:gd name="connsiteY647" fmla="*/ 1604861 h 2593174"/>
                    <a:gd name="connsiteX648" fmla="*/ 1189627 w 2131141"/>
                    <a:gd name="connsiteY648" fmla="*/ 1626748 h 2593174"/>
                    <a:gd name="connsiteX649" fmla="*/ 1189627 w 2131141"/>
                    <a:gd name="connsiteY649" fmla="*/ 1626748 h 2593174"/>
                    <a:gd name="connsiteX650" fmla="*/ 1107931 w 2131141"/>
                    <a:gd name="connsiteY650" fmla="*/ 1603147 h 2593174"/>
                    <a:gd name="connsiteX651" fmla="*/ 1107931 w 2131141"/>
                    <a:gd name="connsiteY651" fmla="*/ 1603147 h 2593174"/>
                    <a:gd name="connsiteX652" fmla="*/ 1091693 w 2131141"/>
                    <a:gd name="connsiteY652" fmla="*/ 1600525 h 2593174"/>
                    <a:gd name="connsiteX653" fmla="*/ 1091693 w 2131141"/>
                    <a:gd name="connsiteY653" fmla="*/ 1600525 h 2593174"/>
                    <a:gd name="connsiteX654" fmla="*/ 1047921 w 2131141"/>
                    <a:gd name="connsiteY654" fmla="*/ 1637237 h 2593174"/>
                    <a:gd name="connsiteX655" fmla="*/ 1047921 w 2131141"/>
                    <a:gd name="connsiteY655" fmla="*/ 1637237 h 2593174"/>
                    <a:gd name="connsiteX656" fmla="*/ 1045601 w 2131141"/>
                    <a:gd name="connsiteY656" fmla="*/ 1648836 h 2593174"/>
                    <a:gd name="connsiteX657" fmla="*/ 1045601 w 2131141"/>
                    <a:gd name="connsiteY657" fmla="*/ 1648836 h 2593174"/>
                    <a:gd name="connsiteX658" fmla="*/ 1064865 w 2131141"/>
                    <a:gd name="connsiteY658" fmla="*/ 1728312 h 2593174"/>
                    <a:gd name="connsiteX659" fmla="*/ 1064865 w 2131141"/>
                    <a:gd name="connsiteY659" fmla="*/ 1728312 h 2593174"/>
                    <a:gd name="connsiteX660" fmla="*/ 1064764 w 2131141"/>
                    <a:gd name="connsiteY660" fmla="*/ 1738298 h 2593174"/>
                    <a:gd name="connsiteX661" fmla="*/ 1064764 w 2131141"/>
                    <a:gd name="connsiteY661" fmla="*/ 1738298 h 2593174"/>
                    <a:gd name="connsiteX662" fmla="*/ 1013931 w 2131141"/>
                    <a:gd name="connsiteY662" fmla="*/ 1809504 h 2593174"/>
                    <a:gd name="connsiteX663" fmla="*/ 1013931 w 2131141"/>
                    <a:gd name="connsiteY663" fmla="*/ 1809504 h 2593174"/>
                    <a:gd name="connsiteX664" fmla="*/ 1009493 w 2131141"/>
                    <a:gd name="connsiteY664" fmla="*/ 1821707 h 2593174"/>
                    <a:gd name="connsiteX665" fmla="*/ 1009493 w 2131141"/>
                    <a:gd name="connsiteY665" fmla="*/ 1821707 h 2593174"/>
                    <a:gd name="connsiteX666" fmla="*/ 1067487 w 2131141"/>
                    <a:gd name="connsiteY666" fmla="*/ 1892611 h 2593174"/>
                    <a:gd name="connsiteX667" fmla="*/ 1067487 w 2131141"/>
                    <a:gd name="connsiteY667" fmla="*/ 1892611 h 2593174"/>
                    <a:gd name="connsiteX668" fmla="*/ 1161084 w 2131141"/>
                    <a:gd name="connsiteY668" fmla="*/ 1985602 h 2593174"/>
                    <a:gd name="connsiteX669" fmla="*/ 1161084 w 2131141"/>
                    <a:gd name="connsiteY669" fmla="*/ 1985602 h 2593174"/>
                    <a:gd name="connsiteX670" fmla="*/ 1185895 w 2131141"/>
                    <a:gd name="connsiteY670" fmla="*/ 2076577 h 2593174"/>
                    <a:gd name="connsiteX671" fmla="*/ 1185895 w 2131141"/>
                    <a:gd name="connsiteY671" fmla="*/ 2076577 h 2593174"/>
                    <a:gd name="connsiteX672" fmla="*/ 1190736 w 2131141"/>
                    <a:gd name="connsiteY672" fmla="*/ 2101893 h 2593174"/>
                    <a:gd name="connsiteX673" fmla="*/ 1190736 w 2131141"/>
                    <a:gd name="connsiteY673" fmla="*/ 2101893 h 2593174"/>
                    <a:gd name="connsiteX674" fmla="*/ 1162294 w 2131141"/>
                    <a:gd name="connsiteY674" fmla="*/ 2137899 h 2593174"/>
                    <a:gd name="connsiteX675" fmla="*/ 1162294 w 2131141"/>
                    <a:gd name="connsiteY675" fmla="*/ 2137899 h 2593174"/>
                    <a:gd name="connsiteX676" fmla="*/ 1130524 w 2131141"/>
                    <a:gd name="connsiteY676" fmla="*/ 2224940 h 2593174"/>
                    <a:gd name="connsiteX677" fmla="*/ 1130524 w 2131141"/>
                    <a:gd name="connsiteY677" fmla="*/ 2224940 h 2593174"/>
                    <a:gd name="connsiteX678" fmla="*/ 1062747 w 2131141"/>
                    <a:gd name="connsiteY678" fmla="*/ 2306333 h 2593174"/>
                    <a:gd name="connsiteX679" fmla="*/ 1062747 w 2131141"/>
                    <a:gd name="connsiteY679" fmla="*/ 2306333 h 2593174"/>
                    <a:gd name="connsiteX680" fmla="*/ 1014637 w 2131141"/>
                    <a:gd name="connsiteY680" fmla="*/ 2387827 h 2593174"/>
                    <a:gd name="connsiteX681" fmla="*/ 1014637 w 2131141"/>
                    <a:gd name="connsiteY681" fmla="*/ 2387827 h 2593174"/>
                    <a:gd name="connsiteX682" fmla="*/ 970663 w 2131141"/>
                    <a:gd name="connsiteY682" fmla="*/ 2451065 h 2593174"/>
                    <a:gd name="connsiteX683" fmla="*/ 970663 w 2131141"/>
                    <a:gd name="connsiteY683" fmla="*/ 2451065 h 2593174"/>
                    <a:gd name="connsiteX684" fmla="*/ 954324 w 2131141"/>
                    <a:gd name="connsiteY684" fmla="*/ 2522271 h 2593174"/>
                    <a:gd name="connsiteX685" fmla="*/ 954324 w 2131141"/>
                    <a:gd name="connsiteY685" fmla="*/ 2522271 h 2593174"/>
                    <a:gd name="connsiteX686" fmla="*/ 902684 w 2131141"/>
                    <a:gd name="connsiteY686" fmla="*/ 2573810 h 2593174"/>
                    <a:gd name="connsiteX687" fmla="*/ 902684 w 2131141"/>
                    <a:gd name="connsiteY687" fmla="*/ 2573810 h 2593174"/>
                    <a:gd name="connsiteX688" fmla="*/ 879083 w 2131141"/>
                    <a:gd name="connsiteY688" fmla="*/ 2577642 h 2593174"/>
                    <a:gd name="connsiteX689" fmla="*/ 879083 w 2131141"/>
                    <a:gd name="connsiteY689" fmla="*/ 2577642 h 2593174"/>
                    <a:gd name="connsiteX690" fmla="*/ 845800 w 2131141"/>
                    <a:gd name="connsiteY690" fmla="*/ 2565438 h 2593174"/>
                    <a:gd name="connsiteX691" fmla="*/ 845800 w 2131141"/>
                    <a:gd name="connsiteY691" fmla="*/ 2565438 h 2593174"/>
                    <a:gd name="connsiteX692" fmla="*/ 845296 w 2131141"/>
                    <a:gd name="connsiteY692" fmla="*/ 2565438 h 2593174"/>
                    <a:gd name="connsiteX693" fmla="*/ 794463 w 2131141"/>
                    <a:gd name="connsiteY693" fmla="*/ 2593174 h 2593174"/>
                    <a:gd name="connsiteX694" fmla="*/ 794463 w 2131141"/>
                    <a:gd name="connsiteY694" fmla="*/ 2593174 h 2593174"/>
                    <a:gd name="connsiteX695" fmla="*/ 706514 w 2131141"/>
                    <a:gd name="connsiteY695" fmla="*/ 2502402 h 2593174"/>
                    <a:gd name="connsiteX696" fmla="*/ 706514 w 2131141"/>
                    <a:gd name="connsiteY696" fmla="*/ 2502402 h 2593174"/>
                    <a:gd name="connsiteX697" fmla="*/ 1653274 w 2131141"/>
                    <a:gd name="connsiteY697" fmla="*/ 4337 h 2593174"/>
                    <a:gd name="connsiteX698" fmla="*/ 1654081 w 2131141"/>
                    <a:gd name="connsiteY698" fmla="*/ 605 h 2593174"/>
                    <a:gd name="connsiteX699" fmla="*/ 1654081 w 2131141"/>
                    <a:gd name="connsiteY699" fmla="*/ 605 h 2593174"/>
                    <a:gd name="connsiteX700" fmla="*/ 1654181 w 2131141"/>
                    <a:gd name="connsiteY700" fmla="*/ 504 h 2593174"/>
                    <a:gd name="connsiteX701" fmla="*/ 1655694 w 2131141"/>
                    <a:gd name="connsiteY701" fmla="*/ 2925 h 2593174"/>
                    <a:gd name="connsiteX702" fmla="*/ 1654484 w 2131141"/>
                    <a:gd name="connsiteY702" fmla="*/ 404 h 2593174"/>
                    <a:gd name="connsiteX703" fmla="*/ 1654585 w 2131141"/>
                    <a:gd name="connsiteY703" fmla="*/ 404 h 2593174"/>
                    <a:gd name="connsiteX704" fmla="*/ 1655694 w 2131141"/>
                    <a:gd name="connsiteY704" fmla="*/ 2925 h 2593174"/>
                    <a:gd name="connsiteX705" fmla="*/ 1655694 w 2131141"/>
                    <a:gd name="connsiteY705" fmla="*/ 0 h 2593174"/>
                    <a:gd name="connsiteX706" fmla="*/ 1658417 w 2131141"/>
                    <a:gd name="connsiteY706" fmla="*/ 2219 h 2593174"/>
                    <a:gd name="connsiteX707" fmla="*/ 1658417 w 2131141"/>
                    <a:gd name="connsiteY707" fmla="*/ 2219 h 2593174"/>
                    <a:gd name="connsiteX708" fmla="*/ 1657106 w 2131141"/>
                    <a:gd name="connsiteY708" fmla="*/ 5144 h 2593174"/>
                    <a:gd name="connsiteX709" fmla="*/ 1657106 w 2131141"/>
                    <a:gd name="connsiteY709" fmla="*/ 5144 h 2593174"/>
                    <a:gd name="connsiteX710" fmla="*/ 1657106 w 2131141"/>
                    <a:gd name="connsiteY710" fmla="*/ 5144 h 2593174"/>
                    <a:gd name="connsiteX711" fmla="*/ 1657106 w 2131141"/>
                    <a:gd name="connsiteY711" fmla="*/ 5144 h 2593174"/>
                    <a:gd name="connsiteX712" fmla="*/ 1656905 w 2131141"/>
                    <a:gd name="connsiteY712" fmla="*/ 5245 h 2593174"/>
                    <a:gd name="connsiteX713" fmla="*/ 1656905 w 2131141"/>
                    <a:gd name="connsiteY713" fmla="*/ 5245 h 2593174"/>
                    <a:gd name="connsiteX714" fmla="*/ 1656804 w 2131141"/>
                    <a:gd name="connsiteY714" fmla="*/ 5346 h 2593174"/>
                    <a:gd name="connsiteX715" fmla="*/ 1655694 w 2131141"/>
                    <a:gd name="connsiteY715" fmla="*/ 5547 h 2593174"/>
                    <a:gd name="connsiteX716" fmla="*/ 1655694 w 2131141"/>
                    <a:gd name="connsiteY716" fmla="*/ 5547 h 2593174"/>
                    <a:gd name="connsiteX717" fmla="*/ 1653274 w 2131141"/>
                    <a:gd name="connsiteY717" fmla="*/ 4337 h 2593174"/>
                    <a:gd name="connsiteX718" fmla="*/ 1653274 w 2131141"/>
                    <a:gd name="connsiteY718" fmla="*/ 4337 h 2593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Lst>
                  <a:rect l="l" t="t" r="r" b="b"/>
                  <a:pathLst>
                    <a:path w="2131141" h="2593174">
                      <a:moveTo>
                        <a:pt x="706514" y="2502402"/>
                      </a:moveTo>
                      <a:cubicBezTo>
                        <a:pt x="675046" y="2502402"/>
                        <a:pt x="673433" y="2483743"/>
                        <a:pt x="673433" y="2482836"/>
                      </a:cubicBezTo>
                      <a:lnTo>
                        <a:pt x="673433" y="2482836"/>
                      </a:lnTo>
                      <a:cubicBezTo>
                        <a:pt x="673433" y="2482029"/>
                        <a:pt x="673836" y="2481323"/>
                        <a:pt x="674240" y="2480818"/>
                      </a:cubicBezTo>
                      <a:lnTo>
                        <a:pt x="674240" y="2480818"/>
                      </a:lnTo>
                      <a:cubicBezTo>
                        <a:pt x="674340" y="2480617"/>
                        <a:pt x="674542" y="2480516"/>
                        <a:pt x="674643" y="2480415"/>
                      </a:cubicBezTo>
                      <a:lnTo>
                        <a:pt x="674643" y="2480415"/>
                      </a:lnTo>
                      <a:cubicBezTo>
                        <a:pt x="677366" y="2477087"/>
                        <a:pt x="692192" y="2458730"/>
                        <a:pt x="692091" y="2438861"/>
                      </a:cubicBezTo>
                      <a:lnTo>
                        <a:pt x="692091" y="2438861"/>
                      </a:lnTo>
                      <a:cubicBezTo>
                        <a:pt x="692091" y="2432911"/>
                        <a:pt x="690881" y="2426758"/>
                        <a:pt x="687553" y="2420707"/>
                      </a:cubicBezTo>
                      <a:lnTo>
                        <a:pt x="687553" y="2420707"/>
                      </a:lnTo>
                      <a:cubicBezTo>
                        <a:pt x="682510" y="2411730"/>
                        <a:pt x="677770" y="2409511"/>
                        <a:pt x="671416" y="2409410"/>
                      </a:cubicBezTo>
                      <a:lnTo>
                        <a:pt x="671416" y="2409410"/>
                      </a:lnTo>
                      <a:cubicBezTo>
                        <a:pt x="656892" y="2409007"/>
                        <a:pt x="634905" y="2425548"/>
                        <a:pt x="607068" y="2427666"/>
                      </a:cubicBezTo>
                      <a:lnTo>
                        <a:pt x="607068" y="2427666"/>
                      </a:lnTo>
                      <a:cubicBezTo>
                        <a:pt x="606160" y="2427666"/>
                        <a:pt x="605051" y="2427666"/>
                        <a:pt x="603840" y="2427666"/>
                      </a:cubicBezTo>
                      <a:lnTo>
                        <a:pt x="603840" y="2427666"/>
                      </a:lnTo>
                      <a:cubicBezTo>
                        <a:pt x="562287" y="2427565"/>
                        <a:pt x="481398" y="2382784"/>
                        <a:pt x="462739" y="2375118"/>
                      </a:cubicBezTo>
                      <a:lnTo>
                        <a:pt x="462739" y="2375118"/>
                      </a:lnTo>
                      <a:cubicBezTo>
                        <a:pt x="443374" y="2366646"/>
                        <a:pt x="393853" y="2344760"/>
                        <a:pt x="366016" y="2330942"/>
                      </a:cubicBezTo>
                      <a:lnTo>
                        <a:pt x="366016" y="2330942"/>
                      </a:lnTo>
                      <a:cubicBezTo>
                        <a:pt x="349878" y="2322975"/>
                        <a:pt x="347256" y="2310367"/>
                        <a:pt x="347458" y="2298466"/>
                      </a:cubicBezTo>
                      <a:lnTo>
                        <a:pt x="347458" y="2298466"/>
                      </a:lnTo>
                      <a:cubicBezTo>
                        <a:pt x="347458" y="2294028"/>
                        <a:pt x="347659" y="2289590"/>
                        <a:pt x="347659" y="2285355"/>
                      </a:cubicBezTo>
                      <a:lnTo>
                        <a:pt x="347659" y="2285355"/>
                      </a:lnTo>
                      <a:cubicBezTo>
                        <a:pt x="347659" y="2279606"/>
                        <a:pt x="347357" y="2274058"/>
                        <a:pt x="345340" y="2268814"/>
                      </a:cubicBezTo>
                      <a:lnTo>
                        <a:pt x="345340" y="2268814"/>
                      </a:lnTo>
                      <a:cubicBezTo>
                        <a:pt x="343020" y="2262964"/>
                        <a:pt x="339490" y="2261148"/>
                        <a:pt x="334548" y="2261047"/>
                      </a:cubicBezTo>
                      <a:lnTo>
                        <a:pt x="334548" y="2261047"/>
                      </a:lnTo>
                      <a:cubicBezTo>
                        <a:pt x="322848" y="2260745"/>
                        <a:pt x="304492" y="2275874"/>
                        <a:pt x="301063" y="2295945"/>
                      </a:cubicBezTo>
                      <a:lnTo>
                        <a:pt x="301063" y="2295945"/>
                      </a:lnTo>
                      <a:cubicBezTo>
                        <a:pt x="296121" y="2326101"/>
                        <a:pt x="288456" y="2337296"/>
                        <a:pt x="265258" y="2336792"/>
                      </a:cubicBezTo>
                      <a:lnTo>
                        <a:pt x="265258" y="2336792"/>
                      </a:lnTo>
                      <a:cubicBezTo>
                        <a:pt x="240749" y="2336490"/>
                        <a:pt x="226629" y="2310165"/>
                        <a:pt x="226629" y="2287170"/>
                      </a:cubicBezTo>
                      <a:lnTo>
                        <a:pt x="226629" y="2287170"/>
                      </a:lnTo>
                      <a:cubicBezTo>
                        <a:pt x="227638" y="2262459"/>
                        <a:pt x="255878" y="2261552"/>
                        <a:pt x="254265" y="2248642"/>
                      </a:cubicBezTo>
                      <a:lnTo>
                        <a:pt x="254265" y="2248642"/>
                      </a:lnTo>
                      <a:cubicBezTo>
                        <a:pt x="254668" y="2232202"/>
                        <a:pt x="277765" y="2190749"/>
                        <a:pt x="277664" y="2159281"/>
                      </a:cubicBezTo>
                      <a:lnTo>
                        <a:pt x="277664" y="2159281"/>
                      </a:lnTo>
                      <a:cubicBezTo>
                        <a:pt x="277664" y="2154944"/>
                        <a:pt x="277361" y="2150910"/>
                        <a:pt x="276353" y="2147279"/>
                      </a:cubicBezTo>
                      <a:lnTo>
                        <a:pt x="276353" y="2147279"/>
                      </a:lnTo>
                      <a:cubicBezTo>
                        <a:pt x="272016" y="2126199"/>
                        <a:pt x="227739" y="2119845"/>
                        <a:pt x="197279" y="2120249"/>
                      </a:cubicBezTo>
                      <a:lnTo>
                        <a:pt x="197279" y="2120249"/>
                      </a:lnTo>
                      <a:cubicBezTo>
                        <a:pt x="185781" y="2120249"/>
                        <a:pt x="176200" y="2121056"/>
                        <a:pt x="171964" y="2121762"/>
                      </a:cubicBezTo>
                      <a:lnTo>
                        <a:pt x="171964" y="2121762"/>
                      </a:lnTo>
                      <a:cubicBezTo>
                        <a:pt x="157945" y="2123477"/>
                        <a:pt x="140899" y="2153229"/>
                        <a:pt x="139790" y="2154541"/>
                      </a:cubicBezTo>
                      <a:lnTo>
                        <a:pt x="139790" y="2154541"/>
                      </a:lnTo>
                      <a:cubicBezTo>
                        <a:pt x="139588" y="2154642"/>
                        <a:pt x="132427" y="2158474"/>
                        <a:pt x="124863" y="2158474"/>
                      </a:cubicBezTo>
                      <a:lnTo>
                        <a:pt x="124863" y="2158474"/>
                      </a:lnTo>
                      <a:cubicBezTo>
                        <a:pt x="117702" y="2158474"/>
                        <a:pt x="110238" y="2153532"/>
                        <a:pt x="110238" y="2140622"/>
                      </a:cubicBezTo>
                      <a:lnTo>
                        <a:pt x="110238" y="2140622"/>
                      </a:lnTo>
                      <a:cubicBezTo>
                        <a:pt x="110238" y="2138202"/>
                        <a:pt x="110440" y="2135378"/>
                        <a:pt x="110944" y="2132554"/>
                      </a:cubicBezTo>
                      <a:lnTo>
                        <a:pt x="110944" y="2132554"/>
                      </a:lnTo>
                      <a:cubicBezTo>
                        <a:pt x="111550" y="2128620"/>
                        <a:pt x="111751" y="2125191"/>
                        <a:pt x="111751" y="2122266"/>
                      </a:cubicBezTo>
                      <a:lnTo>
                        <a:pt x="111751" y="2122266"/>
                      </a:lnTo>
                      <a:cubicBezTo>
                        <a:pt x="111550" y="2097657"/>
                        <a:pt x="95311" y="2094631"/>
                        <a:pt x="83309" y="2094227"/>
                      </a:cubicBezTo>
                      <a:lnTo>
                        <a:pt x="83309" y="2094227"/>
                      </a:lnTo>
                      <a:cubicBezTo>
                        <a:pt x="73022" y="2092714"/>
                        <a:pt x="56178" y="2134369"/>
                        <a:pt x="36511" y="2135680"/>
                      </a:cubicBezTo>
                      <a:lnTo>
                        <a:pt x="36511" y="2135680"/>
                      </a:lnTo>
                      <a:cubicBezTo>
                        <a:pt x="15431" y="2132352"/>
                        <a:pt x="27030" y="2074157"/>
                        <a:pt x="13919" y="2074863"/>
                      </a:cubicBezTo>
                      <a:lnTo>
                        <a:pt x="13919" y="2074863"/>
                      </a:lnTo>
                      <a:cubicBezTo>
                        <a:pt x="6455" y="2073551"/>
                        <a:pt x="0" y="2067702"/>
                        <a:pt x="0" y="2059734"/>
                      </a:cubicBezTo>
                      <a:lnTo>
                        <a:pt x="0" y="2059734"/>
                      </a:lnTo>
                      <a:cubicBezTo>
                        <a:pt x="404" y="2046925"/>
                        <a:pt x="14524" y="2032804"/>
                        <a:pt x="55069" y="2022517"/>
                      </a:cubicBezTo>
                      <a:lnTo>
                        <a:pt x="55069" y="2022517"/>
                      </a:lnTo>
                      <a:cubicBezTo>
                        <a:pt x="66768" y="2019390"/>
                        <a:pt x="76350" y="2018482"/>
                        <a:pt x="84318" y="2018482"/>
                      </a:cubicBezTo>
                      <a:lnTo>
                        <a:pt x="84318" y="2018482"/>
                      </a:lnTo>
                      <a:cubicBezTo>
                        <a:pt x="96017" y="2018482"/>
                        <a:pt x="104389" y="2020399"/>
                        <a:pt x="112054" y="2020399"/>
                      </a:cubicBezTo>
                      <a:lnTo>
                        <a:pt x="112054" y="2020399"/>
                      </a:lnTo>
                      <a:cubicBezTo>
                        <a:pt x="128393" y="2020399"/>
                        <a:pt x="144430" y="2012431"/>
                        <a:pt x="191430" y="1954438"/>
                      </a:cubicBezTo>
                      <a:lnTo>
                        <a:pt x="191430" y="1954438"/>
                      </a:lnTo>
                      <a:cubicBezTo>
                        <a:pt x="273226" y="1853982"/>
                        <a:pt x="348164" y="1475763"/>
                        <a:pt x="372773" y="1335368"/>
                      </a:cubicBezTo>
                      <a:lnTo>
                        <a:pt x="372773" y="1335368"/>
                      </a:lnTo>
                      <a:cubicBezTo>
                        <a:pt x="397584" y="1194771"/>
                        <a:pt x="425018" y="1007274"/>
                        <a:pt x="436314" y="970865"/>
                      </a:cubicBezTo>
                      <a:lnTo>
                        <a:pt x="436314" y="970865"/>
                      </a:lnTo>
                      <a:cubicBezTo>
                        <a:pt x="445997" y="940103"/>
                        <a:pt x="471312" y="919628"/>
                        <a:pt x="484323" y="919023"/>
                      </a:cubicBezTo>
                      <a:lnTo>
                        <a:pt x="484323" y="919023"/>
                      </a:lnTo>
                      <a:cubicBezTo>
                        <a:pt x="487349" y="918922"/>
                        <a:pt x="490677" y="920839"/>
                        <a:pt x="491181" y="924167"/>
                      </a:cubicBezTo>
                      <a:lnTo>
                        <a:pt x="491181" y="924167"/>
                      </a:lnTo>
                      <a:cubicBezTo>
                        <a:pt x="492997" y="931429"/>
                        <a:pt x="497535" y="938994"/>
                        <a:pt x="503385" y="938590"/>
                      </a:cubicBezTo>
                      <a:lnTo>
                        <a:pt x="503385" y="938590"/>
                      </a:lnTo>
                      <a:cubicBezTo>
                        <a:pt x="506007" y="938590"/>
                        <a:pt x="509739" y="937480"/>
                        <a:pt x="514177" y="933648"/>
                      </a:cubicBezTo>
                      <a:lnTo>
                        <a:pt x="514177" y="933648"/>
                      </a:lnTo>
                      <a:cubicBezTo>
                        <a:pt x="518110" y="930219"/>
                        <a:pt x="521237" y="928605"/>
                        <a:pt x="524364" y="928504"/>
                      </a:cubicBezTo>
                      <a:lnTo>
                        <a:pt x="524364" y="928504"/>
                      </a:lnTo>
                      <a:cubicBezTo>
                        <a:pt x="535660" y="930723"/>
                        <a:pt x="532937" y="945549"/>
                        <a:pt x="545040" y="952811"/>
                      </a:cubicBezTo>
                      <a:lnTo>
                        <a:pt x="545040" y="952811"/>
                      </a:lnTo>
                      <a:cubicBezTo>
                        <a:pt x="547259" y="953920"/>
                        <a:pt x="549074" y="954627"/>
                        <a:pt x="550284" y="954526"/>
                      </a:cubicBezTo>
                      <a:lnTo>
                        <a:pt x="550284" y="954526"/>
                      </a:lnTo>
                      <a:cubicBezTo>
                        <a:pt x="558353" y="954526"/>
                        <a:pt x="565716" y="932236"/>
                        <a:pt x="565716" y="913779"/>
                      </a:cubicBezTo>
                      <a:lnTo>
                        <a:pt x="565716" y="913779"/>
                      </a:lnTo>
                      <a:cubicBezTo>
                        <a:pt x="566523" y="894515"/>
                        <a:pt x="516093" y="832184"/>
                        <a:pt x="495720" y="825427"/>
                      </a:cubicBezTo>
                      <a:lnTo>
                        <a:pt x="495720" y="825427"/>
                      </a:lnTo>
                      <a:cubicBezTo>
                        <a:pt x="493299" y="824418"/>
                        <a:pt x="490980" y="824116"/>
                        <a:pt x="488660" y="824116"/>
                      </a:cubicBezTo>
                      <a:lnTo>
                        <a:pt x="488660" y="824116"/>
                      </a:lnTo>
                      <a:cubicBezTo>
                        <a:pt x="472421" y="823712"/>
                        <a:pt x="455881" y="846708"/>
                        <a:pt x="443979" y="870914"/>
                      </a:cubicBezTo>
                      <a:lnTo>
                        <a:pt x="443979" y="870914"/>
                      </a:lnTo>
                      <a:cubicBezTo>
                        <a:pt x="430162" y="897238"/>
                        <a:pt x="431574" y="945045"/>
                        <a:pt x="403132" y="952407"/>
                      </a:cubicBezTo>
                      <a:lnTo>
                        <a:pt x="403132" y="952407"/>
                      </a:lnTo>
                      <a:cubicBezTo>
                        <a:pt x="402224" y="952508"/>
                        <a:pt x="401417" y="952508"/>
                        <a:pt x="400610" y="952508"/>
                      </a:cubicBezTo>
                      <a:lnTo>
                        <a:pt x="400610" y="952508"/>
                      </a:lnTo>
                      <a:cubicBezTo>
                        <a:pt x="394458" y="952508"/>
                        <a:pt x="392037" y="946860"/>
                        <a:pt x="392037" y="941010"/>
                      </a:cubicBezTo>
                      <a:lnTo>
                        <a:pt x="392037" y="941010"/>
                      </a:lnTo>
                      <a:cubicBezTo>
                        <a:pt x="392138" y="916906"/>
                        <a:pt x="418361" y="854474"/>
                        <a:pt x="433288" y="778124"/>
                      </a:cubicBezTo>
                      <a:lnTo>
                        <a:pt x="433288" y="778124"/>
                      </a:lnTo>
                      <a:cubicBezTo>
                        <a:pt x="452552" y="679081"/>
                        <a:pt x="507722" y="364301"/>
                        <a:pt x="507722" y="293398"/>
                      </a:cubicBezTo>
                      <a:lnTo>
                        <a:pt x="507722" y="293398"/>
                      </a:lnTo>
                      <a:cubicBezTo>
                        <a:pt x="507924" y="221082"/>
                        <a:pt x="526482" y="157844"/>
                        <a:pt x="547359" y="142312"/>
                      </a:cubicBezTo>
                      <a:lnTo>
                        <a:pt x="547359" y="142312"/>
                      </a:lnTo>
                      <a:cubicBezTo>
                        <a:pt x="552201" y="138781"/>
                        <a:pt x="556638" y="136966"/>
                        <a:pt x="560875" y="136966"/>
                      </a:cubicBezTo>
                      <a:lnTo>
                        <a:pt x="560875" y="136966"/>
                      </a:lnTo>
                      <a:cubicBezTo>
                        <a:pt x="575196" y="137672"/>
                        <a:pt x="579937" y="154818"/>
                        <a:pt x="582256" y="171762"/>
                      </a:cubicBezTo>
                      <a:lnTo>
                        <a:pt x="582256" y="171762"/>
                      </a:lnTo>
                      <a:cubicBezTo>
                        <a:pt x="584475" y="191833"/>
                        <a:pt x="611506" y="213921"/>
                        <a:pt x="632484" y="219065"/>
                      </a:cubicBezTo>
                      <a:lnTo>
                        <a:pt x="632484" y="219065"/>
                      </a:lnTo>
                      <a:cubicBezTo>
                        <a:pt x="655782" y="225116"/>
                        <a:pt x="677871" y="246902"/>
                        <a:pt x="681501" y="259711"/>
                      </a:cubicBezTo>
                      <a:lnTo>
                        <a:pt x="681501" y="259711"/>
                      </a:lnTo>
                      <a:cubicBezTo>
                        <a:pt x="684527" y="271310"/>
                        <a:pt x="683922" y="294205"/>
                        <a:pt x="718920" y="318713"/>
                      </a:cubicBezTo>
                      <a:lnTo>
                        <a:pt x="718920" y="318713"/>
                      </a:lnTo>
                      <a:cubicBezTo>
                        <a:pt x="756843" y="345844"/>
                        <a:pt x="780444" y="488358"/>
                        <a:pt x="780847" y="547158"/>
                      </a:cubicBezTo>
                      <a:lnTo>
                        <a:pt x="780847" y="547158"/>
                      </a:lnTo>
                      <a:cubicBezTo>
                        <a:pt x="780948" y="604042"/>
                        <a:pt x="807171" y="624617"/>
                        <a:pt x="842976" y="649529"/>
                      </a:cubicBezTo>
                      <a:lnTo>
                        <a:pt x="842976" y="649529"/>
                      </a:lnTo>
                      <a:cubicBezTo>
                        <a:pt x="860727" y="662238"/>
                        <a:pt x="864560" y="693806"/>
                        <a:pt x="864761" y="724971"/>
                      </a:cubicBezTo>
                      <a:lnTo>
                        <a:pt x="864761" y="724971"/>
                      </a:lnTo>
                      <a:cubicBezTo>
                        <a:pt x="864761" y="743328"/>
                        <a:pt x="863248" y="761482"/>
                        <a:pt x="861534" y="775603"/>
                      </a:cubicBezTo>
                      <a:lnTo>
                        <a:pt x="861534" y="775603"/>
                      </a:lnTo>
                      <a:cubicBezTo>
                        <a:pt x="868090" y="755027"/>
                        <a:pt x="875856" y="723358"/>
                        <a:pt x="875856" y="688360"/>
                      </a:cubicBezTo>
                      <a:lnTo>
                        <a:pt x="875856" y="688360"/>
                      </a:lnTo>
                      <a:cubicBezTo>
                        <a:pt x="875856" y="680089"/>
                        <a:pt x="875352" y="671617"/>
                        <a:pt x="874444" y="663145"/>
                      </a:cubicBezTo>
                      <a:lnTo>
                        <a:pt x="874444" y="663145"/>
                      </a:lnTo>
                      <a:cubicBezTo>
                        <a:pt x="865568" y="592746"/>
                        <a:pt x="828452" y="600310"/>
                        <a:pt x="814836" y="590628"/>
                      </a:cubicBezTo>
                      <a:lnTo>
                        <a:pt x="814836" y="590628"/>
                      </a:lnTo>
                      <a:cubicBezTo>
                        <a:pt x="801624" y="578626"/>
                        <a:pt x="782763" y="363595"/>
                        <a:pt x="782158" y="362788"/>
                      </a:cubicBezTo>
                      <a:lnTo>
                        <a:pt x="782158" y="362788"/>
                      </a:lnTo>
                      <a:cubicBezTo>
                        <a:pt x="782057" y="361679"/>
                        <a:pt x="782562" y="360569"/>
                        <a:pt x="783570" y="360166"/>
                      </a:cubicBezTo>
                      <a:lnTo>
                        <a:pt x="783570" y="360166"/>
                      </a:lnTo>
                      <a:cubicBezTo>
                        <a:pt x="784478" y="359662"/>
                        <a:pt x="785587" y="359662"/>
                        <a:pt x="786596" y="360267"/>
                      </a:cubicBezTo>
                      <a:lnTo>
                        <a:pt x="786596" y="360267"/>
                      </a:lnTo>
                      <a:cubicBezTo>
                        <a:pt x="786596" y="360267"/>
                        <a:pt x="803439" y="372269"/>
                        <a:pt x="814937" y="371966"/>
                      </a:cubicBezTo>
                      <a:lnTo>
                        <a:pt x="814937" y="371966"/>
                      </a:lnTo>
                      <a:cubicBezTo>
                        <a:pt x="817862" y="371966"/>
                        <a:pt x="820081" y="371462"/>
                        <a:pt x="821796" y="370050"/>
                      </a:cubicBezTo>
                      <a:lnTo>
                        <a:pt x="821796" y="370050"/>
                      </a:lnTo>
                      <a:cubicBezTo>
                        <a:pt x="830066" y="363293"/>
                        <a:pt x="845497" y="357140"/>
                        <a:pt x="858004" y="357040"/>
                      </a:cubicBezTo>
                      <a:lnTo>
                        <a:pt x="858004" y="357040"/>
                      </a:lnTo>
                      <a:cubicBezTo>
                        <a:pt x="865165" y="357040"/>
                        <a:pt x="872124" y="359561"/>
                        <a:pt x="874545" y="366520"/>
                      </a:cubicBezTo>
                      <a:lnTo>
                        <a:pt x="874545" y="366520"/>
                      </a:lnTo>
                      <a:cubicBezTo>
                        <a:pt x="878882" y="379733"/>
                        <a:pt x="891892" y="391130"/>
                        <a:pt x="922755" y="393550"/>
                      </a:cubicBezTo>
                      <a:lnTo>
                        <a:pt x="922755" y="393550"/>
                      </a:lnTo>
                      <a:cubicBezTo>
                        <a:pt x="951500" y="395870"/>
                        <a:pt x="965015" y="422598"/>
                        <a:pt x="964914" y="442971"/>
                      </a:cubicBezTo>
                      <a:lnTo>
                        <a:pt x="964914" y="442971"/>
                      </a:lnTo>
                      <a:cubicBezTo>
                        <a:pt x="964914" y="446299"/>
                        <a:pt x="964712" y="449527"/>
                        <a:pt x="963905" y="452653"/>
                      </a:cubicBezTo>
                      <a:lnTo>
                        <a:pt x="963905" y="452653"/>
                      </a:lnTo>
                      <a:cubicBezTo>
                        <a:pt x="962292" y="458906"/>
                        <a:pt x="961586" y="463244"/>
                        <a:pt x="961586" y="466774"/>
                      </a:cubicBezTo>
                      <a:lnTo>
                        <a:pt x="961586" y="466774"/>
                      </a:lnTo>
                      <a:cubicBezTo>
                        <a:pt x="961586" y="473834"/>
                        <a:pt x="964309" y="478776"/>
                        <a:pt x="970865" y="491786"/>
                      </a:cubicBezTo>
                      <a:lnTo>
                        <a:pt x="970865" y="491786"/>
                      </a:lnTo>
                      <a:cubicBezTo>
                        <a:pt x="978227" y="505907"/>
                        <a:pt x="985388" y="511051"/>
                        <a:pt x="1000114" y="511252"/>
                      </a:cubicBezTo>
                      <a:lnTo>
                        <a:pt x="1000114" y="511252"/>
                      </a:lnTo>
                      <a:cubicBezTo>
                        <a:pt x="1004753" y="511252"/>
                        <a:pt x="1010099" y="510748"/>
                        <a:pt x="1015847" y="509740"/>
                      </a:cubicBezTo>
                      <a:lnTo>
                        <a:pt x="1015847" y="509740"/>
                      </a:lnTo>
                      <a:cubicBezTo>
                        <a:pt x="1017966" y="509134"/>
                        <a:pt x="1019882" y="508933"/>
                        <a:pt x="1021597" y="508933"/>
                      </a:cubicBezTo>
                      <a:lnTo>
                        <a:pt x="1021597" y="508933"/>
                      </a:lnTo>
                      <a:cubicBezTo>
                        <a:pt x="1048122" y="509336"/>
                        <a:pt x="1065470" y="543325"/>
                        <a:pt x="1074245" y="554016"/>
                      </a:cubicBezTo>
                      <a:lnTo>
                        <a:pt x="1074245" y="554016"/>
                      </a:lnTo>
                      <a:cubicBezTo>
                        <a:pt x="1078683" y="559664"/>
                        <a:pt x="1092904" y="565312"/>
                        <a:pt x="1106116" y="565212"/>
                      </a:cubicBezTo>
                      <a:lnTo>
                        <a:pt x="1106116" y="565212"/>
                      </a:lnTo>
                      <a:cubicBezTo>
                        <a:pt x="1115899" y="565212"/>
                        <a:pt x="1125077" y="562589"/>
                        <a:pt x="1130221" y="556336"/>
                      </a:cubicBezTo>
                      <a:lnTo>
                        <a:pt x="1130221" y="556336"/>
                      </a:lnTo>
                      <a:cubicBezTo>
                        <a:pt x="1135466" y="550083"/>
                        <a:pt x="1141316" y="547763"/>
                        <a:pt x="1147065" y="547864"/>
                      </a:cubicBezTo>
                      <a:lnTo>
                        <a:pt x="1147065" y="547864"/>
                      </a:lnTo>
                      <a:cubicBezTo>
                        <a:pt x="1158462" y="548066"/>
                        <a:pt x="1168951" y="555630"/>
                        <a:pt x="1180852" y="555428"/>
                      </a:cubicBezTo>
                      <a:lnTo>
                        <a:pt x="1180852" y="555428"/>
                      </a:lnTo>
                      <a:cubicBezTo>
                        <a:pt x="1197494" y="555731"/>
                        <a:pt x="1207075" y="535862"/>
                        <a:pt x="1211917" y="511756"/>
                      </a:cubicBezTo>
                      <a:lnTo>
                        <a:pt x="1211917" y="511756"/>
                      </a:lnTo>
                      <a:cubicBezTo>
                        <a:pt x="1217666" y="485331"/>
                        <a:pt x="1256597" y="464050"/>
                        <a:pt x="1279795" y="463647"/>
                      </a:cubicBezTo>
                      <a:lnTo>
                        <a:pt x="1279795" y="463647"/>
                      </a:lnTo>
                      <a:cubicBezTo>
                        <a:pt x="1299966" y="463748"/>
                        <a:pt x="1306522" y="452653"/>
                        <a:pt x="1340713" y="423203"/>
                      </a:cubicBezTo>
                      <a:lnTo>
                        <a:pt x="1340713" y="423203"/>
                      </a:lnTo>
                      <a:cubicBezTo>
                        <a:pt x="1364011" y="402930"/>
                        <a:pt x="1369054" y="396677"/>
                        <a:pt x="1369054" y="384271"/>
                      </a:cubicBezTo>
                      <a:lnTo>
                        <a:pt x="1369054" y="384271"/>
                      </a:lnTo>
                      <a:cubicBezTo>
                        <a:pt x="1369054" y="378522"/>
                        <a:pt x="1367945" y="370958"/>
                        <a:pt x="1366432" y="360569"/>
                      </a:cubicBezTo>
                      <a:lnTo>
                        <a:pt x="1366432" y="360569"/>
                      </a:lnTo>
                      <a:cubicBezTo>
                        <a:pt x="1365928" y="358250"/>
                        <a:pt x="1365827" y="356132"/>
                        <a:pt x="1365827" y="354216"/>
                      </a:cubicBezTo>
                      <a:lnTo>
                        <a:pt x="1365827" y="354216"/>
                      </a:lnTo>
                      <a:cubicBezTo>
                        <a:pt x="1366129" y="319621"/>
                        <a:pt x="1403245" y="281799"/>
                        <a:pt x="1440059" y="258702"/>
                      </a:cubicBezTo>
                      <a:lnTo>
                        <a:pt x="1440059" y="258702"/>
                      </a:lnTo>
                      <a:cubicBezTo>
                        <a:pt x="1478788" y="234597"/>
                        <a:pt x="1512475" y="217653"/>
                        <a:pt x="1533554" y="191833"/>
                      </a:cubicBezTo>
                      <a:lnTo>
                        <a:pt x="1533554" y="191833"/>
                      </a:lnTo>
                      <a:cubicBezTo>
                        <a:pt x="1554432" y="167022"/>
                        <a:pt x="1537589" y="148464"/>
                        <a:pt x="1552718" y="122039"/>
                      </a:cubicBezTo>
                      <a:lnTo>
                        <a:pt x="1552718" y="122039"/>
                      </a:lnTo>
                      <a:cubicBezTo>
                        <a:pt x="1562299" y="106204"/>
                        <a:pt x="1588825" y="78468"/>
                        <a:pt x="1614342" y="51740"/>
                      </a:cubicBezTo>
                      <a:lnTo>
                        <a:pt x="1614342" y="51740"/>
                      </a:lnTo>
                      <a:cubicBezTo>
                        <a:pt x="1625840" y="55069"/>
                        <a:pt x="1637338" y="57389"/>
                        <a:pt x="1647020" y="57389"/>
                      </a:cubicBezTo>
                      <a:lnTo>
                        <a:pt x="1647020" y="57389"/>
                      </a:lnTo>
                      <a:cubicBezTo>
                        <a:pt x="1691096" y="56884"/>
                        <a:pt x="1703703" y="71912"/>
                        <a:pt x="1710259" y="92992"/>
                      </a:cubicBezTo>
                      <a:lnTo>
                        <a:pt x="1710259" y="92992"/>
                      </a:lnTo>
                      <a:cubicBezTo>
                        <a:pt x="1710965" y="95412"/>
                        <a:pt x="1711267" y="98135"/>
                        <a:pt x="1711267" y="101262"/>
                      </a:cubicBezTo>
                      <a:lnTo>
                        <a:pt x="1711267" y="101262"/>
                      </a:lnTo>
                      <a:cubicBezTo>
                        <a:pt x="1711166" y="117803"/>
                        <a:pt x="1702190" y="143623"/>
                        <a:pt x="1702291" y="159155"/>
                      </a:cubicBezTo>
                      <a:lnTo>
                        <a:pt x="1702291" y="159155"/>
                      </a:lnTo>
                      <a:cubicBezTo>
                        <a:pt x="1702694" y="167930"/>
                        <a:pt x="1704106" y="171359"/>
                        <a:pt x="1710965" y="171561"/>
                      </a:cubicBezTo>
                      <a:lnTo>
                        <a:pt x="1710965" y="171561"/>
                      </a:lnTo>
                      <a:cubicBezTo>
                        <a:pt x="1738600" y="171258"/>
                        <a:pt x="1751812" y="171460"/>
                        <a:pt x="1751812" y="154112"/>
                      </a:cubicBezTo>
                      <a:lnTo>
                        <a:pt x="1751812" y="154112"/>
                      </a:lnTo>
                      <a:cubicBezTo>
                        <a:pt x="1753426" y="138075"/>
                        <a:pt x="1781465" y="133032"/>
                        <a:pt x="1811218" y="132528"/>
                      </a:cubicBezTo>
                      <a:lnTo>
                        <a:pt x="1811218" y="132528"/>
                      </a:lnTo>
                      <a:cubicBezTo>
                        <a:pt x="1832600" y="132528"/>
                        <a:pt x="1855293" y="136159"/>
                        <a:pt x="1870321" y="145035"/>
                      </a:cubicBezTo>
                      <a:lnTo>
                        <a:pt x="1870321" y="145035"/>
                      </a:lnTo>
                      <a:cubicBezTo>
                        <a:pt x="1905319" y="166720"/>
                        <a:pt x="1892611" y="197683"/>
                        <a:pt x="1913690" y="205247"/>
                      </a:cubicBezTo>
                      <a:lnTo>
                        <a:pt x="1913690" y="205247"/>
                      </a:lnTo>
                      <a:cubicBezTo>
                        <a:pt x="1939309" y="217754"/>
                        <a:pt x="1929626" y="257795"/>
                        <a:pt x="1950302" y="262333"/>
                      </a:cubicBezTo>
                      <a:lnTo>
                        <a:pt x="1950302" y="262333"/>
                      </a:lnTo>
                      <a:cubicBezTo>
                        <a:pt x="1974306" y="269192"/>
                        <a:pt x="2004564" y="286035"/>
                        <a:pt x="2022013" y="303383"/>
                      </a:cubicBezTo>
                      <a:lnTo>
                        <a:pt x="2022013" y="303383"/>
                      </a:lnTo>
                      <a:cubicBezTo>
                        <a:pt x="2031998" y="313469"/>
                        <a:pt x="2047126" y="332833"/>
                        <a:pt x="2047227" y="351997"/>
                      </a:cubicBezTo>
                      <a:lnTo>
                        <a:pt x="2047227" y="351997"/>
                      </a:lnTo>
                      <a:cubicBezTo>
                        <a:pt x="2047328" y="365512"/>
                        <a:pt x="2038957" y="378321"/>
                        <a:pt x="2017474" y="385280"/>
                      </a:cubicBezTo>
                      <a:lnTo>
                        <a:pt x="2017474" y="385280"/>
                      </a:lnTo>
                      <a:cubicBezTo>
                        <a:pt x="1985502" y="395567"/>
                        <a:pt x="1973903" y="407872"/>
                        <a:pt x="1974205" y="415336"/>
                      </a:cubicBezTo>
                      <a:lnTo>
                        <a:pt x="1974205" y="415336"/>
                      </a:lnTo>
                      <a:cubicBezTo>
                        <a:pt x="1974205" y="419471"/>
                        <a:pt x="1977433" y="423707"/>
                        <a:pt x="1984291" y="427338"/>
                      </a:cubicBezTo>
                      <a:lnTo>
                        <a:pt x="1984291" y="427338"/>
                      </a:lnTo>
                      <a:cubicBezTo>
                        <a:pt x="1998109" y="434196"/>
                        <a:pt x="2008296" y="452956"/>
                        <a:pt x="2008397" y="470808"/>
                      </a:cubicBezTo>
                      <a:lnTo>
                        <a:pt x="2008397" y="470808"/>
                      </a:lnTo>
                      <a:cubicBezTo>
                        <a:pt x="2008397" y="481499"/>
                        <a:pt x="2004463" y="492190"/>
                        <a:pt x="1994680" y="499250"/>
                      </a:cubicBezTo>
                      <a:lnTo>
                        <a:pt x="1994680" y="499250"/>
                      </a:lnTo>
                      <a:cubicBezTo>
                        <a:pt x="1988931" y="503385"/>
                        <a:pt x="1987317" y="506814"/>
                        <a:pt x="1987216" y="510143"/>
                      </a:cubicBezTo>
                      <a:lnTo>
                        <a:pt x="1987216" y="510143"/>
                      </a:lnTo>
                      <a:cubicBezTo>
                        <a:pt x="1986611" y="519926"/>
                        <a:pt x="2005875" y="533844"/>
                        <a:pt x="2018785" y="548873"/>
                      </a:cubicBezTo>
                      <a:lnTo>
                        <a:pt x="2018785" y="548873"/>
                      </a:lnTo>
                      <a:cubicBezTo>
                        <a:pt x="2029375" y="561480"/>
                        <a:pt x="2032199" y="563699"/>
                        <a:pt x="2039058" y="563699"/>
                      </a:cubicBezTo>
                      <a:lnTo>
                        <a:pt x="2039058" y="563699"/>
                      </a:lnTo>
                      <a:cubicBezTo>
                        <a:pt x="2043395" y="563800"/>
                        <a:pt x="2049749" y="562589"/>
                        <a:pt x="2060036" y="561278"/>
                      </a:cubicBezTo>
                      <a:lnTo>
                        <a:pt x="2060036" y="561278"/>
                      </a:lnTo>
                      <a:cubicBezTo>
                        <a:pt x="2064272" y="560572"/>
                        <a:pt x="2068004" y="560269"/>
                        <a:pt x="2071131" y="560269"/>
                      </a:cubicBezTo>
                      <a:lnTo>
                        <a:pt x="2071131" y="560269"/>
                      </a:lnTo>
                      <a:cubicBezTo>
                        <a:pt x="2083738" y="560370"/>
                        <a:pt x="2086865" y="567834"/>
                        <a:pt x="2086865" y="578626"/>
                      </a:cubicBezTo>
                      <a:lnTo>
                        <a:pt x="2086865" y="578626"/>
                      </a:lnTo>
                      <a:cubicBezTo>
                        <a:pt x="2086865" y="582156"/>
                        <a:pt x="2086764" y="586089"/>
                        <a:pt x="2086764" y="590830"/>
                      </a:cubicBezTo>
                      <a:lnTo>
                        <a:pt x="2086764" y="590830"/>
                      </a:lnTo>
                      <a:cubicBezTo>
                        <a:pt x="2086562" y="611405"/>
                        <a:pt x="2069618" y="618364"/>
                        <a:pt x="2071030" y="622600"/>
                      </a:cubicBezTo>
                      <a:lnTo>
                        <a:pt x="2071030" y="622600"/>
                      </a:lnTo>
                      <a:cubicBezTo>
                        <a:pt x="2071030" y="623407"/>
                        <a:pt x="2071332" y="624517"/>
                        <a:pt x="2072845" y="626332"/>
                      </a:cubicBezTo>
                      <a:lnTo>
                        <a:pt x="2072845" y="626332"/>
                      </a:lnTo>
                      <a:cubicBezTo>
                        <a:pt x="2080208" y="636720"/>
                        <a:pt x="2098060" y="627239"/>
                        <a:pt x="2111373" y="637930"/>
                      </a:cubicBezTo>
                      <a:lnTo>
                        <a:pt x="2111373" y="637930"/>
                      </a:lnTo>
                      <a:lnTo>
                        <a:pt x="2109558" y="639948"/>
                      </a:lnTo>
                      <a:lnTo>
                        <a:pt x="2107742" y="641965"/>
                      </a:lnTo>
                      <a:cubicBezTo>
                        <a:pt x="2099472" y="633392"/>
                        <a:pt x="2080712" y="643175"/>
                        <a:pt x="2068609" y="629761"/>
                      </a:cubicBezTo>
                      <a:lnTo>
                        <a:pt x="2068609" y="629761"/>
                      </a:lnTo>
                      <a:cubicBezTo>
                        <a:pt x="2066491" y="627340"/>
                        <a:pt x="2065483" y="624920"/>
                        <a:pt x="2065483" y="622398"/>
                      </a:cubicBezTo>
                      <a:lnTo>
                        <a:pt x="2065483" y="622398"/>
                      </a:lnTo>
                      <a:cubicBezTo>
                        <a:pt x="2066895" y="611102"/>
                        <a:pt x="2081318" y="608480"/>
                        <a:pt x="2081116" y="590628"/>
                      </a:cubicBezTo>
                      <a:lnTo>
                        <a:pt x="2081116" y="590628"/>
                      </a:lnTo>
                      <a:cubicBezTo>
                        <a:pt x="2081116" y="585787"/>
                        <a:pt x="2081217" y="581752"/>
                        <a:pt x="2081217" y="578424"/>
                      </a:cubicBezTo>
                      <a:lnTo>
                        <a:pt x="2081217" y="578424"/>
                      </a:lnTo>
                      <a:cubicBezTo>
                        <a:pt x="2080410" y="567228"/>
                        <a:pt x="2081519" y="566321"/>
                        <a:pt x="2071131" y="565615"/>
                      </a:cubicBezTo>
                      <a:lnTo>
                        <a:pt x="2071131" y="565615"/>
                      </a:lnTo>
                      <a:cubicBezTo>
                        <a:pt x="2068408" y="565615"/>
                        <a:pt x="2064978" y="565817"/>
                        <a:pt x="2060742" y="566523"/>
                      </a:cubicBezTo>
                      <a:lnTo>
                        <a:pt x="2060742" y="566523"/>
                      </a:lnTo>
                      <a:cubicBezTo>
                        <a:pt x="2050757" y="567733"/>
                        <a:pt x="2044403" y="568944"/>
                        <a:pt x="2039058" y="569044"/>
                      </a:cubicBezTo>
                      <a:lnTo>
                        <a:pt x="2039058" y="569044"/>
                      </a:lnTo>
                      <a:cubicBezTo>
                        <a:pt x="2029880" y="569044"/>
                        <a:pt x="2024635" y="564405"/>
                        <a:pt x="2014549" y="551999"/>
                      </a:cubicBezTo>
                      <a:lnTo>
                        <a:pt x="2014549" y="551999"/>
                      </a:lnTo>
                      <a:cubicBezTo>
                        <a:pt x="2002648" y="537274"/>
                        <a:pt x="1982375" y="525070"/>
                        <a:pt x="1981770" y="509740"/>
                      </a:cubicBezTo>
                      <a:lnTo>
                        <a:pt x="1981770" y="509740"/>
                      </a:lnTo>
                      <a:cubicBezTo>
                        <a:pt x="1981770" y="504192"/>
                        <a:pt x="1984997" y="498847"/>
                        <a:pt x="1991553" y="494308"/>
                      </a:cubicBezTo>
                      <a:lnTo>
                        <a:pt x="1991553" y="494308"/>
                      </a:lnTo>
                      <a:cubicBezTo>
                        <a:pt x="1999622" y="488559"/>
                        <a:pt x="2002850" y="479885"/>
                        <a:pt x="2002850" y="470404"/>
                      </a:cubicBezTo>
                      <a:lnTo>
                        <a:pt x="2002850" y="470404"/>
                      </a:lnTo>
                      <a:cubicBezTo>
                        <a:pt x="2002950" y="454671"/>
                        <a:pt x="1993066" y="437222"/>
                        <a:pt x="1981871" y="431876"/>
                      </a:cubicBezTo>
                      <a:lnTo>
                        <a:pt x="1981871" y="431876"/>
                      </a:lnTo>
                      <a:cubicBezTo>
                        <a:pt x="1974004" y="427943"/>
                        <a:pt x="1968759" y="422194"/>
                        <a:pt x="1968759" y="414932"/>
                      </a:cubicBezTo>
                      <a:lnTo>
                        <a:pt x="1968759" y="414932"/>
                      </a:lnTo>
                      <a:cubicBezTo>
                        <a:pt x="1969264" y="402325"/>
                        <a:pt x="1983485" y="390424"/>
                        <a:pt x="2015860" y="379733"/>
                      </a:cubicBezTo>
                      <a:lnTo>
                        <a:pt x="2015860" y="379733"/>
                      </a:lnTo>
                      <a:cubicBezTo>
                        <a:pt x="2035830" y="372874"/>
                        <a:pt x="2041680" y="362788"/>
                        <a:pt x="2041781" y="351694"/>
                      </a:cubicBezTo>
                      <a:lnTo>
                        <a:pt x="2041781" y="351694"/>
                      </a:lnTo>
                      <a:cubicBezTo>
                        <a:pt x="2041882" y="335658"/>
                        <a:pt x="2027761" y="316494"/>
                        <a:pt x="2018180" y="307013"/>
                      </a:cubicBezTo>
                      <a:lnTo>
                        <a:pt x="2018180" y="307013"/>
                      </a:lnTo>
                      <a:cubicBezTo>
                        <a:pt x="2001841" y="290674"/>
                        <a:pt x="1971785" y="273932"/>
                        <a:pt x="1948890" y="267376"/>
                      </a:cubicBezTo>
                      <a:lnTo>
                        <a:pt x="1948890" y="267376"/>
                      </a:lnTo>
                      <a:cubicBezTo>
                        <a:pt x="1922566" y="258299"/>
                        <a:pt x="1932753" y="217754"/>
                        <a:pt x="1911572" y="210190"/>
                      </a:cubicBezTo>
                      <a:lnTo>
                        <a:pt x="1911572" y="210190"/>
                      </a:lnTo>
                      <a:cubicBezTo>
                        <a:pt x="1885551" y="197683"/>
                        <a:pt x="1899873" y="168131"/>
                        <a:pt x="1867497" y="149674"/>
                      </a:cubicBezTo>
                      <a:lnTo>
                        <a:pt x="1867497" y="149674"/>
                      </a:lnTo>
                      <a:cubicBezTo>
                        <a:pt x="1854184" y="141606"/>
                        <a:pt x="1832197" y="137773"/>
                        <a:pt x="1811319" y="137773"/>
                      </a:cubicBezTo>
                      <a:lnTo>
                        <a:pt x="1811319" y="137773"/>
                      </a:lnTo>
                      <a:cubicBezTo>
                        <a:pt x="1782070" y="137773"/>
                        <a:pt x="1757561" y="146346"/>
                        <a:pt x="1757461" y="153910"/>
                      </a:cubicBezTo>
                      <a:lnTo>
                        <a:pt x="1757461" y="153910"/>
                      </a:lnTo>
                      <a:cubicBezTo>
                        <a:pt x="1757360" y="176805"/>
                        <a:pt x="1737188" y="176805"/>
                        <a:pt x="1711066" y="176805"/>
                      </a:cubicBezTo>
                      <a:lnTo>
                        <a:pt x="1711066" y="176805"/>
                      </a:lnTo>
                      <a:cubicBezTo>
                        <a:pt x="1700576" y="176805"/>
                        <a:pt x="1696945" y="168131"/>
                        <a:pt x="1696744" y="158852"/>
                      </a:cubicBezTo>
                      <a:lnTo>
                        <a:pt x="1696744" y="158852"/>
                      </a:lnTo>
                      <a:cubicBezTo>
                        <a:pt x="1696844" y="141706"/>
                        <a:pt x="1705821" y="115987"/>
                        <a:pt x="1705720" y="100960"/>
                      </a:cubicBezTo>
                      <a:lnTo>
                        <a:pt x="1705720" y="100960"/>
                      </a:lnTo>
                      <a:cubicBezTo>
                        <a:pt x="1705720" y="98236"/>
                        <a:pt x="1705518" y="95917"/>
                        <a:pt x="1705014" y="94303"/>
                      </a:cubicBezTo>
                      <a:lnTo>
                        <a:pt x="1705014" y="94303"/>
                      </a:lnTo>
                      <a:cubicBezTo>
                        <a:pt x="1698156" y="74837"/>
                        <a:pt x="1690390" y="62936"/>
                        <a:pt x="1647121" y="62633"/>
                      </a:cubicBezTo>
                      <a:lnTo>
                        <a:pt x="1647121" y="62633"/>
                      </a:lnTo>
                      <a:cubicBezTo>
                        <a:pt x="1636632" y="62633"/>
                        <a:pt x="1624832" y="60213"/>
                        <a:pt x="1615754" y="55977"/>
                      </a:cubicBezTo>
                      <a:lnTo>
                        <a:pt x="1615754" y="55977"/>
                      </a:lnTo>
                      <a:cubicBezTo>
                        <a:pt x="1593061" y="81897"/>
                        <a:pt x="1566333" y="109936"/>
                        <a:pt x="1557559" y="124661"/>
                      </a:cubicBezTo>
                      <a:lnTo>
                        <a:pt x="1557559" y="124661"/>
                      </a:lnTo>
                      <a:cubicBezTo>
                        <a:pt x="1543741" y="146648"/>
                        <a:pt x="1560685" y="166921"/>
                        <a:pt x="1538093" y="194960"/>
                      </a:cubicBezTo>
                      <a:lnTo>
                        <a:pt x="1538093" y="194960"/>
                      </a:lnTo>
                      <a:cubicBezTo>
                        <a:pt x="1515803" y="222292"/>
                        <a:pt x="1481713" y="239136"/>
                        <a:pt x="1443286" y="263241"/>
                      </a:cubicBezTo>
                      <a:lnTo>
                        <a:pt x="1443286" y="263241"/>
                      </a:lnTo>
                      <a:cubicBezTo>
                        <a:pt x="1407179" y="285430"/>
                        <a:pt x="1371374" y="323252"/>
                        <a:pt x="1371677" y="353913"/>
                      </a:cubicBezTo>
                      <a:lnTo>
                        <a:pt x="1371677" y="353913"/>
                      </a:lnTo>
                      <a:cubicBezTo>
                        <a:pt x="1371677" y="355728"/>
                        <a:pt x="1371777" y="357544"/>
                        <a:pt x="1372181" y="359359"/>
                      </a:cubicBezTo>
                      <a:lnTo>
                        <a:pt x="1372181" y="359359"/>
                      </a:lnTo>
                      <a:cubicBezTo>
                        <a:pt x="1373694" y="369949"/>
                        <a:pt x="1374904" y="377514"/>
                        <a:pt x="1374904" y="383969"/>
                      </a:cubicBezTo>
                      <a:lnTo>
                        <a:pt x="1374904" y="383969"/>
                      </a:lnTo>
                      <a:cubicBezTo>
                        <a:pt x="1374904" y="398795"/>
                        <a:pt x="1367642" y="407166"/>
                        <a:pt x="1344647" y="427035"/>
                      </a:cubicBezTo>
                      <a:lnTo>
                        <a:pt x="1344647" y="427035"/>
                      </a:lnTo>
                      <a:cubicBezTo>
                        <a:pt x="1311161" y="455679"/>
                        <a:pt x="1303294" y="468791"/>
                        <a:pt x="1280097" y="468892"/>
                      </a:cubicBezTo>
                      <a:lnTo>
                        <a:pt x="1280097" y="468892"/>
                      </a:lnTo>
                      <a:cubicBezTo>
                        <a:pt x="1259824" y="468488"/>
                        <a:pt x="1221498" y="490576"/>
                        <a:pt x="1217565" y="512361"/>
                      </a:cubicBezTo>
                      <a:lnTo>
                        <a:pt x="1217565" y="512361"/>
                      </a:lnTo>
                      <a:cubicBezTo>
                        <a:pt x="1212723" y="536669"/>
                        <a:pt x="1202940" y="560169"/>
                        <a:pt x="1181054" y="560471"/>
                      </a:cubicBezTo>
                      <a:lnTo>
                        <a:pt x="1181054" y="560471"/>
                      </a:lnTo>
                      <a:cubicBezTo>
                        <a:pt x="1167135" y="560370"/>
                        <a:pt x="1155940" y="552705"/>
                        <a:pt x="1147266" y="552806"/>
                      </a:cubicBezTo>
                      <a:lnTo>
                        <a:pt x="1147266" y="552806"/>
                      </a:lnTo>
                      <a:cubicBezTo>
                        <a:pt x="1142929" y="553008"/>
                        <a:pt x="1139198" y="554218"/>
                        <a:pt x="1134760" y="559463"/>
                      </a:cubicBezTo>
                      <a:lnTo>
                        <a:pt x="1134760" y="559463"/>
                      </a:lnTo>
                      <a:cubicBezTo>
                        <a:pt x="1127801" y="567430"/>
                        <a:pt x="1117009" y="570255"/>
                        <a:pt x="1106318" y="570255"/>
                      </a:cubicBezTo>
                      <a:lnTo>
                        <a:pt x="1106318" y="570255"/>
                      </a:lnTo>
                      <a:cubicBezTo>
                        <a:pt x="1091592" y="570154"/>
                        <a:pt x="1076766" y="564909"/>
                        <a:pt x="1070210" y="556941"/>
                      </a:cubicBezTo>
                      <a:lnTo>
                        <a:pt x="1070210" y="556941"/>
                      </a:lnTo>
                      <a:cubicBezTo>
                        <a:pt x="1061032" y="544939"/>
                        <a:pt x="1043180" y="513572"/>
                        <a:pt x="1021798" y="513975"/>
                      </a:cubicBezTo>
                      <a:lnTo>
                        <a:pt x="1021798" y="513975"/>
                      </a:lnTo>
                      <a:cubicBezTo>
                        <a:pt x="1020184" y="513975"/>
                        <a:pt x="1018772" y="514076"/>
                        <a:pt x="1017461" y="514480"/>
                      </a:cubicBezTo>
                      <a:lnTo>
                        <a:pt x="1017461" y="514480"/>
                      </a:lnTo>
                      <a:cubicBezTo>
                        <a:pt x="1011006" y="515589"/>
                        <a:pt x="1005358" y="516295"/>
                        <a:pt x="1000315" y="516295"/>
                      </a:cubicBezTo>
                      <a:lnTo>
                        <a:pt x="1000315" y="516295"/>
                      </a:lnTo>
                      <a:cubicBezTo>
                        <a:pt x="983976" y="516396"/>
                        <a:pt x="973487" y="508933"/>
                        <a:pt x="966124" y="493602"/>
                      </a:cubicBezTo>
                      <a:lnTo>
                        <a:pt x="966124" y="493602"/>
                      </a:lnTo>
                      <a:cubicBezTo>
                        <a:pt x="959770" y="480894"/>
                        <a:pt x="956240" y="475044"/>
                        <a:pt x="956139" y="466168"/>
                      </a:cubicBezTo>
                      <a:lnTo>
                        <a:pt x="956139" y="466168"/>
                      </a:lnTo>
                      <a:cubicBezTo>
                        <a:pt x="956139" y="461831"/>
                        <a:pt x="957047" y="457091"/>
                        <a:pt x="958661" y="450636"/>
                      </a:cubicBezTo>
                      <a:lnTo>
                        <a:pt x="958661" y="450636"/>
                      </a:lnTo>
                      <a:cubicBezTo>
                        <a:pt x="959367" y="448115"/>
                        <a:pt x="959568" y="445391"/>
                        <a:pt x="959568" y="442366"/>
                      </a:cubicBezTo>
                      <a:lnTo>
                        <a:pt x="959568" y="442366"/>
                      </a:lnTo>
                      <a:cubicBezTo>
                        <a:pt x="959568" y="424009"/>
                        <a:pt x="947465" y="400308"/>
                        <a:pt x="922553" y="398593"/>
                      </a:cubicBezTo>
                      <a:lnTo>
                        <a:pt x="922553" y="398593"/>
                      </a:lnTo>
                      <a:cubicBezTo>
                        <a:pt x="890682" y="396173"/>
                        <a:pt x="874646" y="383464"/>
                        <a:pt x="869502" y="367731"/>
                      </a:cubicBezTo>
                      <a:lnTo>
                        <a:pt x="869502" y="367731"/>
                      </a:lnTo>
                      <a:cubicBezTo>
                        <a:pt x="868291" y="363999"/>
                        <a:pt x="864459" y="362082"/>
                        <a:pt x="858206" y="362082"/>
                      </a:cubicBezTo>
                      <a:lnTo>
                        <a:pt x="858206" y="362082"/>
                      </a:lnTo>
                      <a:cubicBezTo>
                        <a:pt x="847716" y="361982"/>
                        <a:pt x="832386" y="367932"/>
                        <a:pt x="825527" y="373782"/>
                      </a:cubicBezTo>
                      <a:lnTo>
                        <a:pt x="825527" y="373782"/>
                      </a:lnTo>
                      <a:cubicBezTo>
                        <a:pt x="822502" y="376203"/>
                        <a:pt x="818770" y="377009"/>
                        <a:pt x="815139" y="377009"/>
                      </a:cubicBezTo>
                      <a:lnTo>
                        <a:pt x="815139" y="377009"/>
                      </a:lnTo>
                      <a:cubicBezTo>
                        <a:pt x="805457" y="376808"/>
                        <a:pt x="794766" y="371261"/>
                        <a:pt x="788613" y="367529"/>
                      </a:cubicBezTo>
                      <a:lnTo>
                        <a:pt x="788613" y="367529"/>
                      </a:lnTo>
                      <a:cubicBezTo>
                        <a:pt x="792345" y="402224"/>
                        <a:pt x="810701" y="581652"/>
                        <a:pt x="818568" y="585585"/>
                      </a:cubicBezTo>
                      <a:lnTo>
                        <a:pt x="818568" y="585585"/>
                      </a:lnTo>
                      <a:cubicBezTo>
                        <a:pt x="827141" y="592544"/>
                        <a:pt x="872528" y="589115"/>
                        <a:pt x="880294" y="662036"/>
                      </a:cubicBezTo>
                      <a:lnTo>
                        <a:pt x="880294" y="662036"/>
                      </a:lnTo>
                      <a:cubicBezTo>
                        <a:pt x="881302" y="670810"/>
                        <a:pt x="881706" y="679484"/>
                        <a:pt x="881706" y="687856"/>
                      </a:cubicBezTo>
                      <a:lnTo>
                        <a:pt x="881706" y="687856"/>
                      </a:lnTo>
                      <a:cubicBezTo>
                        <a:pt x="881706" y="749480"/>
                        <a:pt x="858105" y="801220"/>
                        <a:pt x="858105" y="801422"/>
                      </a:cubicBezTo>
                      <a:lnTo>
                        <a:pt x="858105" y="801422"/>
                      </a:lnTo>
                      <a:cubicBezTo>
                        <a:pt x="857399" y="802633"/>
                        <a:pt x="855987" y="803238"/>
                        <a:pt x="854676" y="802935"/>
                      </a:cubicBezTo>
                      <a:lnTo>
                        <a:pt x="854676" y="802935"/>
                      </a:lnTo>
                      <a:cubicBezTo>
                        <a:pt x="853465" y="802532"/>
                        <a:pt x="852457" y="801120"/>
                        <a:pt x="852860" y="799808"/>
                      </a:cubicBezTo>
                      <a:lnTo>
                        <a:pt x="852860" y="799808"/>
                      </a:lnTo>
                      <a:cubicBezTo>
                        <a:pt x="852860" y="799808"/>
                        <a:pt x="852860" y="799506"/>
                        <a:pt x="852961" y="799002"/>
                      </a:cubicBezTo>
                      <a:lnTo>
                        <a:pt x="852961" y="799002"/>
                      </a:lnTo>
                      <a:lnTo>
                        <a:pt x="852961" y="799002"/>
                      </a:lnTo>
                      <a:cubicBezTo>
                        <a:pt x="852961" y="799002"/>
                        <a:pt x="852961" y="798901"/>
                        <a:pt x="852961" y="798901"/>
                      </a:cubicBezTo>
                      <a:lnTo>
                        <a:pt x="852961" y="798901"/>
                      </a:lnTo>
                      <a:cubicBezTo>
                        <a:pt x="853869" y="793152"/>
                        <a:pt x="859416" y="758860"/>
                        <a:pt x="859416" y="724366"/>
                      </a:cubicBezTo>
                      <a:lnTo>
                        <a:pt x="859416" y="724366"/>
                      </a:lnTo>
                      <a:cubicBezTo>
                        <a:pt x="859618" y="693605"/>
                        <a:pt x="854575" y="662944"/>
                        <a:pt x="840152" y="653664"/>
                      </a:cubicBezTo>
                      <a:lnTo>
                        <a:pt x="840152" y="653664"/>
                      </a:lnTo>
                      <a:cubicBezTo>
                        <a:pt x="804246" y="629055"/>
                        <a:pt x="775401" y="605454"/>
                        <a:pt x="775502" y="546553"/>
                      </a:cubicBezTo>
                      <a:lnTo>
                        <a:pt x="775502" y="546553"/>
                      </a:lnTo>
                      <a:cubicBezTo>
                        <a:pt x="776006" y="489467"/>
                        <a:pt x="749984" y="345037"/>
                        <a:pt x="716096" y="322747"/>
                      </a:cubicBezTo>
                      <a:lnTo>
                        <a:pt x="716096" y="322747"/>
                      </a:lnTo>
                      <a:cubicBezTo>
                        <a:pt x="679383" y="297634"/>
                        <a:pt x="678879" y="270705"/>
                        <a:pt x="676358" y="260417"/>
                      </a:cubicBezTo>
                      <a:lnTo>
                        <a:pt x="676358" y="260417"/>
                      </a:lnTo>
                      <a:cubicBezTo>
                        <a:pt x="674441" y="251239"/>
                        <a:pt x="652252" y="228747"/>
                        <a:pt x="631476" y="223805"/>
                      </a:cubicBezTo>
                      <a:lnTo>
                        <a:pt x="631476" y="223805"/>
                      </a:lnTo>
                      <a:cubicBezTo>
                        <a:pt x="608480" y="217956"/>
                        <a:pt x="580340" y="195968"/>
                        <a:pt x="577012" y="171863"/>
                      </a:cubicBezTo>
                      <a:lnTo>
                        <a:pt x="577012" y="171863"/>
                      </a:lnTo>
                      <a:cubicBezTo>
                        <a:pt x="574894" y="154919"/>
                        <a:pt x="569044" y="141303"/>
                        <a:pt x="561177" y="142009"/>
                      </a:cubicBezTo>
                      <a:lnTo>
                        <a:pt x="561177" y="142009"/>
                      </a:lnTo>
                      <a:cubicBezTo>
                        <a:pt x="558656" y="142009"/>
                        <a:pt x="555226" y="143018"/>
                        <a:pt x="550990" y="146144"/>
                      </a:cubicBezTo>
                      <a:lnTo>
                        <a:pt x="550990" y="146144"/>
                      </a:lnTo>
                      <a:cubicBezTo>
                        <a:pt x="533441" y="158247"/>
                        <a:pt x="513370" y="221788"/>
                        <a:pt x="513572" y="292793"/>
                      </a:cubicBezTo>
                      <a:lnTo>
                        <a:pt x="513572" y="292793"/>
                      </a:lnTo>
                      <a:cubicBezTo>
                        <a:pt x="513572" y="365209"/>
                        <a:pt x="458301" y="679283"/>
                        <a:pt x="439037" y="778628"/>
                      </a:cubicBezTo>
                      <a:lnTo>
                        <a:pt x="439037" y="778628"/>
                      </a:lnTo>
                      <a:cubicBezTo>
                        <a:pt x="424010" y="855180"/>
                        <a:pt x="397786" y="919124"/>
                        <a:pt x="397988" y="940506"/>
                      </a:cubicBezTo>
                      <a:lnTo>
                        <a:pt x="397988" y="940506"/>
                      </a:lnTo>
                      <a:cubicBezTo>
                        <a:pt x="398291" y="945953"/>
                        <a:pt x="398896" y="946356"/>
                        <a:pt x="401014" y="946356"/>
                      </a:cubicBezTo>
                      <a:lnTo>
                        <a:pt x="401014" y="946356"/>
                      </a:lnTo>
                      <a:cubicBezTo>
                        <a:pt x="401619" y="946356"/>
                        <a:pt x="402224" y="946356"/>
                        <a:pt x="402728" y="946356"/>
                      </a:cubicBezTo>
                      <a:lnTo>
                        <a:pt x="402728" y="946356"/>
                      </a:lnTo>
                      <a:cubicBezTo>
                        <a:pt x="424312" y="942826"/>
                        <a:pt x="425724" y="896633"/>
                        <a:pt x="439441" y="867989"/>
                      </a:cubicBezTo>
                      <a:lnTo>
                        <a:pt x="439441" y="867989"/>
                      </a:lnTo>
                      <a:cubicBezTo>
                        <a:pt x="451746" y="843682"/>
                        <a:pt x="467782" y="818467"/>
                        <a:pt x="489063" y="818064"/>
                      </a:cubicBezTo>
                      <a:lnTo>
                        <a:pt x="489063" y="818064"/>
                      </a:lnTo>
                      <a:cubicBezTo>
                        <a:pt x="491988" y="818064"/>
                        <a:pt x="494913" y="818467"/>
                        <a:pt x="498040" y="819779"/>
                      </a:cubicBezTo>
                      <a:lnTo>
                        <a:pt x="498040" y="819779"/>
                      </a:lnTo>
                      <a:cubicBezTo>
                        <a:pt x="521842" y="829360"/>
                        <a:pt x="570759" y="888665"/>
                        <a:pt x="571565" y="913375"/>
                      </a:cubicBezTo>
                      <a:lnTo>
                        <a:pt x="571565" y="913375"/>
                      </a:lnTo>
                      <a:cubicBezTo>
                        <a:pt x="571061" y="932438"/>
                        <a:pt x="566724" y="958257"/>
                        <a:pt x="550587" y="959770"/>
                      </a:cubicBezTo>
                      <a:lnTo>
                        <a:pt x="550587" y="959770"/>
                      </a:lnTo>
                      <a:cubicBezTo>
                        <a:pt x="547864" y="959669"/>
                        <a:pt x="545141" y="958661"/>
                        <a:pt x="542417" y="957047"/>
                      </a:cubicBezTo>
                      <a:lnTo>
                        <a:pt x="542417" y="957047"/>
                      </a:lnTo>
                      <a:cubicBezTo>
                        <a:pt x="529003" y="947264"/>
                        <a:pt x="527087" y="931631"/>
                        <a:pt x="524566" y="933850"/>
                      </a:cubicBezTo>
                      <a:lnTo>
                        <a:pt x="524566" y="933850"/>
                      </a:lnTo>
                      <a:cubicBezTo>
                        <a:pt x="523759" y="933749"/>
                        <a:pt x="521540" y="934556"/>
                        <a:pt x="518110" y="937682"/>
                      </a:cubicBezTo>
                      <a:lnTo>
                        <a:pt x="518110" y="937682"/>
                      </a:lnTo>
                      <a:cubicBezTo>
                        <a:pt x="512765" y="942019"/>
                        <a:pt x="507924" y="944037"/>
                        <a:pt x="503587" y="944037"/>
                      </a:cubicBezTo>
                      <a:lnTo>
                        <a:pt x="503587" y="944037"/>
                      </a:lnTo>
                      <a:cubicBezTo>
                        <a:pt x="492795" y="943734"/>
                        <a:pt x="488055" y="932942"/>
                        <a:pt x="486037" y="925276"/>
                      </a:cubicBezTo>
                      <a:lnTo>
                        <a:pt x="486037" y="925276"/>
                      </a:lnTo>
                      <a:cubicBezTo>
                        <a:pt x="485836" y="924571"/>
                        <a:pt x="486037" y="924571"/>
                        <a:pt x="484525" y="924470"/>
                      </a:cubicBezTo>
                      <a:lnTo>
                        <a:pt x="484525" y="924470"/>
                      </a:lnTo>
                      <a:cubicBezTo>
                        <a:pt x="476557" y="923965"/>
                        <a:pt x="450132" y="943532"/>
                        <a:pt x="441761" y="972176"/>
                      </a:cubicBezTo>
                      <a:lnTo>
                        <a:pt x="441761" y="972176"/>
                      </a:lnTo>
                      <a:cubicBezTo>
                        <a:pt x="430868" y="1007375"/>
                        <a:pt x="403233" y="1195477"/>
                        <a:pt x="378421" y="1335973"/>
                      </a:cubicBezTo>
                      <a:lnTo>
                        <a:pt x="378421" y="1335973"/>
                      </a:lnTo>
                      <a:cubicBezTo>
                        <a:pt x="353409" y="1476872"/>
                        <a:pt x="279479" y="1854285"/>
                        <a:pt x="195867" y="1957765"/>
                      </a:cubicBezTo>
                      <a:lnTo>
                        <a:pt x="195867" y="1957765"/>
                      </a:lnTo>
                      <a:cubicBezTo>
                        <a:pt x="148867" y="2015659"/>
                        <a:pt x="131419" y="2025644"/>
                        <a:pt x="112054" y="2025644"/>
                      </a:cubicBezTo>
                      <a:lnTo>
                        <a:pt x="112054" y="2025644"/>
                      </a:lnTo>
                      <a:cubicBezTo>
                        <a:pt x="103481" y="2025644"/>
                        <a:pt x="95311" y="2023727"/>
                        <a:pt x="84318" y="2023727"/>
                      </a:cubicBezTo>
                      <a:lnTo>
                        <a:pt x="84318" y="2023727"/>
                      </a:lnTo>
                      <a:cubicBezTo>
                        <a:pt x="76854" y="2023727"/>
                        <a:pt x="67878" y="2024635"/>
                        <a:pt x="56481" y="2027661"/>
                      </a:cubicBezTo>
                      <a:lnTo>
                        <a:pt x="56481" y="2027661"/>
                      </a:lnTo>
                      <a:cubicBezTo>
                        <a:pt x="16339" y="2037545"/>
                        <a:pt x="5144" y="2051665"/>
                        <a:pt x="5547" y="2059431"/>
                      </a:cubicBezTo>
                      <a:lnTo>
                        <a:pt x="5547" y="2059431"/>
                      </a:lnTo>
                      <a:cubicBezTo>
                        <a:pt x="5547" y="2064273"/>
                        <a:pt x="9481" y="2068105"/>
                        <a:pt x="14826" y="2069114"/>
                      </a:cubicBezTo>
                      <a:lnTo>
                        <a:pt x="14826" y="2069114"/>
                      </a:lnTo>
                      <a:cubicBezTo>
                        <a:pt x="34796" y="2075468"/>
                        <a:pt x="24509" y="2133159"/>
                        <a:pt x="36511" y="2129730"/>
                      </a:cubicBezTo>
                      <a:lnTo>
                        <a:pt x="36511" y="2129730"/>
                      </a:lnTo>
                      <a:cubicBezTo>
                        <a:pt x="49925" y="2131041"/>
                        <a:pt x="66163" y="2089891"/>
                        <a:pt x="83309" y="2088377"/>
                      </a:cubicBezTo>
                      <a:lnTo>
                        <a:pt x="83309" y="2088377"/>
                      </a:lnTo>
                      <a:cubicBezTo>
                        <a:pt x="96118" y="2088377"/>
                        <a:pt x="117299" y="2093824"/>
                        <a:pt x="117399" y="2121964"/>
                      </a:cubicBezTo>
                      <a:lnTo>
                        <a:pt x="117399" y="2121964"/>
                      </a:lnTo>
                      <a:cubicBezTo>
                        <a:pt x="117399" y="2125292"/>
                        <a:pt x="117097" y="2128822"/>
                        <a:pt x="116492" y="2132856"/>
                      </a:cubicBezTo>
                      <a:lnTo>
                        <a:pt x="116492" y="2132856"/>
                      </a:lnTo>
                      <a:cubicBezTo>
                        <a:pt x="115987" y="2135781"/>
                        <a:pt x="115786" y="2138202"/>
                        <a:pt x="115786" y="2140219"/>
                      </a:cubicBezTo>
                      <a:lnTo>
                        <a:pt x="115786" y="2140219"/>
                      </a:lnTo>
                      <a:cubicBezTo>
                        <a:pt x="116290" y="2151213"/>
                        <a:pt x="119820" y="2152120"/>
                        <a:pt x="124863" y="2152524"/>
                      </a:cubicBezTo>
                      <a:lnTo>
                        <a:pt x="124863" y="2152524"/>
                      </a:lnTo>
                      <a:cubicBezTo>
                        <a:pt x="130007" y="2152524"/>
                        <a:pt x="136159" y="2149801"/>
                        <a:pt x="136260" y="2150204"/>
                      </a:cubicBezTo>
                      <a:lnTo>
                        <a:pt x="136260" y="2150204"/>
                      </a:lnTo>
                      <a:cubicBezTo>
                        <a:pt x="137773" y="2147783"/>
                        <a:pt x="152902" y="2119341"/>
                        <a:pt x="171157" y="2115811"/>
                      </a:cubicBezTo>
                      <a:lnTo>
                        <a:pt x="171157" y="2115811"/>
                      </a:lnTo>
                      <a:cubicBezTo>
                        <a:pt x="175998" y="2115004"/>
                        <a:pt x="185580" y="2114197"/>
                        <a:pt x="197380" y="2114197"/>
                      </a:cubicBezTo>
                      <a:lnTo>
                        <a:pt x="197380" y="2114197"/>
                      </a:lnTo>
                      <a:cubicBezTo>
                        <a:pt x="228243" y="2114601"/>
                        <a:pt x="274134" y="2118434"/>
                        <a:pt x="281900" y="2145565"/>
                      </a:cubicBezTo>
                      <a:lnTo>
                        <a:pt x="281900" y="2145565"/>
                      </a:lnTo>
                      <a:cubicBezTo>
                        <a:pt x="282908" y="2149801"/>
                        <a:pt x="283413" y="2154238"/>
                        <a:pt x="283413" y="2158978"/>
                      </a:cubicBezTo>
                      <a:lnTo>
                        <a:pt x="283413" y="2158978"/>
                      </a:lnTo>
                      <a:cubicBezTo>
                        <a:pt x="283312" y="2192161"/>
                        <a:pt x="259610" y="2235429"/>
                        <a:pt x="259913" y="2248340"/>
                      </a:cubicBezTo>
                      <a:lnTo>
                        <a:pt x="259913" y="2248340"/>
                      </a:lnTo>
                      <a:cubicBezTo>
                        <a:pt x="258299" y="2268309"/>
                        <a:pt x="231269" y="2267502"/>
                        <a:pt x="232277" y="2286867"/>
                      </a:cubicBezTo>
                      <a:lnTo>
                        <a:pt x="232277" y="2286867"/>
                      </a:lnTo>
                      <a:cubicBezTo>
                        <a:pt x="232378" y="2308048"/>
                        <a:pt x="245691" y="2330842"/>
                        <a:pt x="265460" y="2330942"/>
                      </a:cubicBezTo>
                      <a:lnTo>
                        <a:pt x="265460" y="2330942"/>
                      </a:lnTo>
                      <a:cubicBezTo>
                        <a:pt x="286438" y="2330337"/>
                        <a:pt x="289666" y="2324891"/>
                        <a:pt x="295717" y="2294532"/>
                      </a:cubicBezTo>
                      <a:lnTo>
                        <a:pt x="295717" y="2294532"/>
                      </a:lnTo>
                      <a:cubicBezTo>
                        <a:pt x="299953" y="2271940"/>
                        <a:pt x="319117" y="2255399"/>
                        <a:pt x="334750" y="2255097"/>
                      </a:cubicBezTo>
                      <a:lnTo>
                        <a:pt x="334750" y="2255097"/>
                      </a:lnTo>
                      <a:cubicBezTo>
                        <a:pt x="341507" y="2254996"/>
                        <a:pt x="347962" y="2258829"/>
                        <a:pt x="350786" y="2266595"/>
                      </a:cubicBezTo>
                      <a:lnTo>
                        <a:pt x="350786" y="2266595"/>
                      </a:lnTo>
                      <a:cubicBezTo>
                        <a:pt x="353106" y="2272848"/>
                        <a:pt x="353509" y="2279202"/>
                        <a:pt x="353509" y="2285153"/>
                      </a:cubicBezTo>
                      <a:lnTo>
                        <a:pt x="353509" y="2285153"/>
                      </a:lnTo>
                      <a:cubicBezTo>
                        <a:pt x="353509" y="2289691"/>
                        <a:pt x="353207" y="2294129"/>
                        <a:pt x="353207" y="2298264"/>
                      </a:cubicBezTo>
                      <a:lnTo>
                        <a:pt x="353207" y="2298264"/>
                      </a:lnTo>
                      <a:cubicBezTo>
                        <a:pt x="353409" y="2309762"/>
                        <a:pt x="354821" y="2318436"/>
                        <a:pt x="368739" y="2325799"/>
                      </a:cubicBezTo>
                      <a:lnTo>
                        <a:pt x="368739" y="2325799"/>
                      </a:lnTo>
                      <a:cubicBezTo>
                        <a:pt x="396273" y="2339516"/>
                        <a:pt x="445795" y="2361503"/>
                        <a:pt x="465059" y="2369773"/>
                      </a:cubicBezTo>
                      <a:lnTo>
                        <a:pt x="465059" y="2369773"/>
                      </a:lnTo>
                      <a:cubicBezTo>
                        <a:pt x="483919" y="2377943"/>
                        <a:pt x="565413" y="2422119"/>
                        <a:pt x="603941" y="2421917"/>
                      </a:cubicBezTo>
                      <a:lnTo>
                        <a:pt x="603941" y="2421917"/>
                      </a:lnTo>
                      <a:cubicBezTo>
                        <a:pt x="604950" y="2421917"/>
                        <a:pt x="606160" y="2421917"/>
                        <a:pt x="607169" y="2421917"/>
                      </a:cubicBezTo>
                      <a:lnTo>
                        <a:pt x="607169" y="2421917"/>
                      </a:lnTo>
                      <a:cubicBezTo>
                        <a:pt x="632787" y="2420202"/>
                        <a:pt x="653664" y="2403964"/>
                        <a:pt x="671516" y="2403661"/>
                      </a:cubicBezTo>
                      <a:lnTo>
                        <a:pt x="671516" y="2403661"/>
                      </a:lnTo>
                      <a:cubicBezTo>
                        <a:pt x="679585" y="2403560"/>
                        <a:pt x="687149" y="2407797"/>
                        <a:pt x="692596" y="2417883"/>
                      </a:cubicBezTo>
                      <a:lnTo>
                        <a:pt x="692596" y="2417883"/>
                      </a:lnTo>
                      <a:cubicBezTo>
                        <a:pt x="696227" y="2424741"/>
                        <a:pt x="697740" y="2431801"/>
                        <a:pt x="697740" y="2438760"/>
                      </a:cubicBezTo>
                      <a:lnTo>
                        <a:pt x="697740" y="2438760"/>
                      </a:lnTo>
                      <a:cubicBezTo>
                        <a:pt x="697639" y="2459033"/>
                        <a:pt x="685031" y="2476381"/>
                        <a:pt x="678980" y="2482836"/>
                      </a:cubicBezTo>
                      <a:lnTo>
                        <a:pt x="678980" y="2482836"/>
                      </a:lnTo>
                      <a:cubicBezTo>
                        <a:pt x="679283" y="2484146"/>
                        <a:pt x="679081" y="2496350"/>
                        <a:pt x="706413" y="2496754"/>
                      </a:cubicBezTo>
                      <a:lnTo>
                        <a:pt x="706413" y="2496754"/>
                      </a:lnTo>
                      <a:cubicBezTo>
                        <a:pt x="740201" y="2498469"/>
                        <a:pt x="767836" y="2589443"/>
                        <a:pt x="794665" y="2587728"/>
                      </a:cubicBezTo>
                      <a:lnTo>
                        <a:pt x="794665" y="2587728"/>
                      </a:lnTo>
                      <a:cubicBezTo>
                        <a:pt x="822199" y="2587930"/>
                        <a:pt x="831276" y="2561505"/>
                        <a:pt x="845497" y="2559891"/>
                      </a:cubicBezTo>
                      <a:lnTo>
                        <a:pt x="845497" y="2559891"/>
                      </a:lnTo>
                      <a:cubicBezTo>
                        <a:pt x="846002" y="2559891"/>
                        <a:pt x="847010" y="2559891"/>
                        <a:pt x="847716" y="2560194"/>
                      </a:cubicBezTo>
                      <a:lnTo>
                        <a:pt x="847716" y="2560194"/>
                      </a:lnTo>
                      <a:cubicBezTo>
                        <a:pt x="857802" y="2563119"/>
                        <a:pt x="861534" y="2572095"/>
                        <a:pt x="879184" y="2572095"/>
                      </a:cubicBezTo>
                      <a:lnTo>
                        <a:pt x="879184" y="2572095"/>
                      </a:lnTo>
                      <a:cubicBezTo>
                        <a:pt x="884832" y="2572095"/>
                        <a:pt x="892094" y="2571087"/>
                        <a:pt x="901272" y="2568566"/>
                      </a:cubicBezTo>
                      <a:lnTo>
                        <a:pt x="901272" y="2568566"/>
                      </a:lnTo>
                      <a:cubicBezTo>
                        <a:pt x="938086" y="2558278"/>
                        <a:pt x="948877" y="2521565"/>
                        <a:pt x="948877" y="2521464"/>
                      </a:cubicBezTo>
                      <a:lnTo>
                        <a:pt x="948877" y="2521464"/>
                      </a:lnTo>
                      <a:cubicBezTo>
                        <a:pt x="948877" y="2521162"/>
                        <a:pt x="951500" y="2476986"/>
                        <a:pt x="965721" y="2448746"/>
                      </a:cubicBezTo>
                      <a:lnTo>
                        <a:pt x="965721" y="2448746"/>
                      </a:lnTo>
                      <a:cubicBezTo>
                        <a:pt x="979841" y="2420606"/>
                        <a:pt x="993759" y="2412134"/>
                        <a:pt x="1009998" y="2385104"/>
                      </a:cubicBezTo>
                      <a:lnTo>
                        <a:pt x="1009998" y="2385104"/>
                      </a:lnTo>
                      <a:cubicBezTo>
                        <a:pt x="1026438" y="2358376"/>
                        <a:pt x="1033800" y="2310972"/>
                        <a:pt x="1061133" y="2301189"/>
                      </a:cubicBezTo>
                      <a:lnTo>
                        <a:pt x="1061133" y="2301189"/>
                      </a:lnTo>
                      <a:cubicBezTo>
                        <a:pt x="1084230" y="2293726"/>
                        <a:pt x="1109343" y="2255601"/>
                        <a:pt x="1125683" y="2222620"/>
                      </a:cubicBezTo>
                      <a:lnTo>
                        <a:pt x="1125683" y="2222620"/>
                      </a:lnTo>
                      <a:cubicBezTo>
                        <a:pt x="1142122" y="2190850"/>
                        <a:pt x="1132743" y="2146371"/>
                        <a:pt x="1160075" y="2133058"/>
                      </a:cubicBezTo>
                      <a:lnTo>
                        <a:pt x="1160075" y="2133058"/>
                      </a:lnTo>
                      <a:cubicBezTo>
                        <a:pt x="1177322" y="2125191"/>
                        <a:pt x="1185189" y="2117324"/>
                        <a:pt x="1185290" y="2102095"/>
                      </a:cubicBezTo>
                      <a:lnTo>
                        <a:pt x="1185290" y="2102095"/>
                      </a:lnTo>
                      <a:cubicBezTo>
                        <a:pt x="1185290" y="2095640"/>
                        <a:pt x="1183777" y="2087772"/>
                        <a:pt x="1180650" y="2078594"/>
                      </a:cubicBezTo>
                      <a:lnTo>
                        <a:pt x="1180650" y="2078594"/>
                      </a:lnTo>
                      <a:cubicBezTo>
                        <a:pt x="1169657" y="2045210"/>
                        <a:pt x="1163908" y="2009204"/>
                        <a:pt x="1155940" y="1987620"/>
                      </a:cubicBezTo>
                      <a:lnTo>
                        <a:pt x="1155940" y="1987620"/>
                      </a:lnTo>
                      <a:cubicBezTo>
                        <a:pt x="1148275" y="1966238"/>
                        <a:pt x="1106015" y="1897654"/>
                        <a:pt x="1067588" y="1898360"/>
                      </a:cubicBezTo>
                      <a:lnTo>
                        <a:pt x="1067588" y="1898360"/>
                      </a:lnTo>
                      <a:cubicBezTo>
                        <a:pt x="1031783" y="1897755"/>
                        <a:pt x="1004450" y="1849544"/>
                        <a:pt x="1003946" y="1821909"/>
                      </a:cubicBezTo>
                      <a:lnTo>
                        <a:pt x="1003946" y="1821909"/>
                      </a:lnTo>
                      <a:cubicBezTo>
                        <a:pt x="1003946" y="1814849"/>
                        <a:pt x="1005762" y="1808495"/>
                        <a:pt x="1010805" y="1805066"/>
                      </a:cubicBezTo>
                      <a:lnTo>
                        <a:pt x="1010805" y="1805066"/>
                      </a:lnTo>
                      <a:cubicBezTo>
                        <a:pt x="1033599" y="1789332"/>
                        <a:pt x="1055384" y="1817370"/>
                        <a:pt x="1059217" y="1738298"/>
                      </a:cubicBezTo>
                      <a:lnTo>
                        <a:pt x="1059217" y="1738298"/>
                      </a:lnTo>
                      <a:cubicBezTo>
                        <a:pt x="1059318" y="1734868"/>
                        <a:pt x="1059318" y="1731540"/>
                        <a:pt x="1059318" y="1728413"/>
                      </a:cubicBezTo>
                      <a:lnTo>
                        <a:pt x="1059318" y="1728413"/>
                      </a:lnTo>
                      <a:cubicBezTo>
                        <a:pt x="1059318" y="1670924"/>
                        <a:pt x="1040760" y="1669713"/>
                        <a:pt x="1040053" y="1648937"/>
                      </a:cubicBezTo>
                      <a:lnTo>
                        <a:pt x="1040053" y="1648937"/>
                      </a:lnTo>
                      <a:cubicBezTo>
                        <a:pt x="1040053" y="1645004"/>
                        <a:pt x="1040860" y="1640667"/>
                        <a:pt x="1042676" y="1635422"/>
                      </a:cubicBezTo>
                      <a:lnTo>
                        <a:pt x="1042676" y="1635422"/>
                      </a:lnTo>
                      <a:cubicBezTo>
                        <a:pt x="1051552" y="1608593"/>
                        <a:pt x="1070109" y="1594877"/>
                        <a:pt x="1091693" y="1594877"/>
                      </a:cubicBezTo>
                      <a:lnTo>
                        <a:pt x="1091693" y="1594877"/>
                      </a:lnTo>
                      <a:cubicBezTo>
                        <a:pt x="1097442" y="1594877"/>
                        <a:pt x="1103393" y="1595785"/>
                        <a:pt x="1109545" y="1597802"/>
                      </a:cubicBezTo>
                      <a:lnTo>
                        <a:pt x="1109545" y="1597802"/>
                      </a:lnTo>
                      <a:cubicBezTo>
                        <a:pt x="1128002" y="1603450"/>
                        <a:pt x="1160681" y="1621200"/>
                        <a:pt x="1189627" y="1621200"/>
                      </a:cubicBezTo>
                      <a:lnTo>
                        <a:pt x="1189627" y="1621200"/>
                      </a:lnTo>
                      <a:cubicBezTo>
                        <a:pt x="1205260" y="1621100"/>
                        <a:pt x="1219481" y="1616258"/>
                        <a:pt x="1230575" y="1601634"/>
                      </a:cubicBezTo>
                      <a:lnTo>
                        <a:pt x="1230575" y="1601634"/>
                      </a:lnTo>
                      <a:cubicBezTo>
                        <a:pt x="1263960" y="1557055"/>
                        <a:pt x="1297545" y="1537186"/>
                        <a:pt x="1323870" y="1537085"/>
                      </a:cubicBezTo>
                      <a:lnTo>
                        <a:pt x="1323870" y="1537085"/>
                      </a:lnTo>
                      <a:cubicBezTo>
                        <a:pt x="1337486" y="1537085"/>
                        <a:pt x="1352513" y="1541523"/>
                        <a:pt x="1370365" y="1541523"/>
                      </a:cubicBezTo>
                      <a:lnTo>
                        <a:pt x="1370365" y="1541523"/>
                      </a:lnTo>
                      <a:cubicBezTo>
                        <a:pt x="1386604" y="1541523"/>
                        <a:pt x="1405162" y="1537791"/>
                        <a:pt x="1427149" y="1523771"/>
                      </a:cubicBezTo>
                      <a:lnTo>
                        <a:pt x="1427149" y="1523771"/>
                      </a:lnTo>
                      <a:cubicBezTo>
                        <a:pt x="1474754" y="1492909"/>
                        <a:pt x="1535572" y="1482016"/>
                        <a:pt x="1561089" y="1481915"/>
                      </a:cubicBezTo>
                      <a:lnTo>
                        <a:pt x="1561089" y="1481915"/>
                      </a:lnTo>
                      <a:cubicBezTo>
                        <a:pt x="1579748" y="1482420"/>
                        <a:pt x="1588421" y="1499364"/>
                        <a:pt x="1606576" y="1499061"/>
                      </a:cubicBezTo>
                      <a:lnTo>
                        <a:pt x="1606576" y="1499061"/>
                      </a:lnTo>
                      <a:cubicBezTo>
                        <a:pt x="1615552" y="1499061"/>
                        <a:pt x="1627555" y="1495127"/>
                        <a:pt x="1644902" y="1482520"/>
                      </a:cubicBezTo>
                      <a:lnTo>
                        <a:pt x="1644902" y="1482520"/>
                      </a:lnTo>
                      <a:cubicBezTo>
                        <a:pt x="1697853" y="1443589"/>
                        <a:pt x="1738499" y="1432595"/>
                        <a:pt x="1768152" y="1381157"/>
                      </a:cubicBezTo>
                      <a:lnTo>
                        <a:pt x="1768152" y="1381157"/>
                      </a:lnTo>
                      <a:cubicBezTo>
                        <a:pt x="1783179" y="1355236"/>
                        <a:pt x="1788525" y="1336275"/>
                        <a:pt x="1788424" y="1323870"/>
                      </a:cubicBezTo>
                      <a:lnTo>
                        <a:pt x="1788424" y="1323870"/>
                      </a:lnTo>
                      <a:cubicBezTo>
                        <a:pt x="1788424" y="1311464"/>
                        <a:pt x="1783482" y="1306219"/>
                        <a:pt x="1778338" y="1305312"/>
                      </a:cubicBezTo>
                      <a:lnTo>
                        <a:pt x="1778338" y="1305312"/>
                      </a:lnTo>
                      <a:cubicBezTo>
                        <a:pt x="1767143" y="1302690"/>
                        <a:pt x="1751308" y="1283929"/>
                        <a:pt x="1751006" y="1262144"/>
                      </a:cubicBezTo>
                      <a:lnTo>
                        <a:pt x="1751006" y="1262144"/>
                      </a:lnTo>
                      <a:cubicBezTo>
                        <a:pt x="1750905" y="1250747"/>
                        <a:pt x="1755948" y="1238443"/>
                        <a:pt x="1768959" y="1228659"/>
                      </a:cubicBezTo>
                      <a:lnTo>
                        <a:pt x="1768959" y="1228659"/>
                      </a:lnTo>
                      <a:cubicBezTo>
                        <a:pt x="1777834" y="1221902"/>
                        <a:pt x="1785802" y="1219077"/>
                        <a:pt x="1792862" y="1219077"/>
                      </a:cubicBezTo>
                      <a:lnTo>
                        <a:pt x="1792862" y="1219077"/>
                      </a:lnTo>
                      <a:cubicBezTo>
                        <a:pt x="1810815" y="1219481"/>
                        <a:pt x="1822313" y="1234811"/>
                        <a:pt x="1832298" y="1234206"/>
                      </a:cubicBezTo>
                      <a:lnTo>
                        <a:pt x="1832298" y="1234206"/>
                      </a:lnTo>
                      <a:cubicBezTo>
                        <a:pt x="1834920" y="1234206"/>
                        <a:pt x="1837643" y="1233601"/>
                        <a:pt x="1840568" y="1231282"/>
                      </a:cubicBezTo>
                      <a:lnTo>
                        <a:pt x="1840568" y="1231282"/>
                      </a:lnTo>
                      <a:cubicBezTo>
                        <a:pt x="1856605" y="1219380"/>
                        <a:pt x="1873044" y="1192854"/>
                        <a:pt x="1872742" y="1174801"/>
                      </a:cubicBezTo>
                      <a:lnTo>
                        <a:pt x="1872742" y="1174801"/>
                      </a:lnTo>
                      <a:cubicBezTo>
                        <a:pt x="1872742" y="1168951"/>
                        <a:pt x="1871128" y="1164210"/>
                        <a:pt x="1867800" y="1161084"/>
                      </a:cubicBezTo>
                      <a:lnTo>
                        <a:pt x="1867800" y="1161084"/>
                      </a:lnTo>
                      <a:cubicBezTo>
                        <a:pt x="1855697" y="1148678"/>
                        <a:pt x="1825237" y="1130625"/>
                        <a:pt x="1825137" y="1099661"/>
                      </a:cubicBezTo>
                      <a:lnTo>
                        <a:pt x="1825137" y="1099661"/>
                      </a:lnTo>
                      <a:cubicBezTo>
                        <a:pt x="1825137" y="1090483"/>
                        <a:pt x="1827759" y="1080498"/>
                        <a:pt x="1834315" y="1069505"/>
                      </a:cubicBezTo>
                      <a:lnTo>
                        <a:pt x="1834315" y="1069505"/>
                      </a:lnTo>
                      <a:cubicBezTo>
                        <a:pt x="1842182" y="1056493"/>
                        <a:pt x="1846418" y="1051854"/>
                        <a:pt x="1852167" y="1051552"/>
                      </a:cubicBezTo>
                      <a:lnTo>
                        <a:pt x="1852167" y="1051552"/>
                      </a:lnTo>
                      <a:cubicBezTo>
                        <a:pt x="1858521" y="1052056"/>
                        <a:pt x="1860841" y="1056393"/>
                        <a:pt x="1865883" y="1056090"/>
                      </a:cubicBezTo>
                      <a:lnTo>
                        <a:pt x="1865883" y="1056090"/>
                      </a:lnTo>
                      <a:cubicBezTo>
                        <a:pt x="1872238" y="1056393"/>
                        <a:pt x="1885248" y="1049736"/>
                        <a:pt x="1911774" y="1016654"/>
                      </a:cubicBezTo>
                      <a:lnTo>
                        <a:pt x="1911774" y="1016654"/>
                      </a:lnTo>
                      <a:cubicBezTo>
                        <a:pt x="1978341" y="933850"/>
                        <a:pt x="2018382" y="940506"/>
                        <a:pt x="2030081" y="917914"/>
                      </a:cubicBezTo>
                      <a:lnTo>
                        <a:pt x="2030081" y="917914"/>
                      </a:lnTo>
                      <a:cubicBezTo>
                        <a:pt x="2044504" y="892296"/>
                        <a:pt x="2066088" y="878882"/>
                        <a:pt x="2093521" y="826839"/>
                      </a:cubicBezTo>
                      <a:lnTo>
                        <a:pt x="2093521" y="826839"/>
                      </a:lnTo>
                      <a:cubicBezTo>
                        <a:pt x="2111172" y="793455"/>
                        <a:pt x="2121157" y="710448"/>
                        <a:pt x="2127107" y="660220"/>
                      </a:cubicBezTo>
                      <a:lnTo>
                        <a:pt x="2127107" y="660220"/>
                      </a:lnTo>
                      <a:cubicBezTo>
                        <a:pt x="2119745" y="656388"/>
                        <a:pt x="2114500" y="648117"/>
                        <a:pt x="2107440" y="641864"/>
                      </a:cubicBezTo>
                      <a:lnTo>
                        <a:pt x="2107440" y="641864"/>
                      </a:lnTo>
                      <a:lnTo>
                        <a:pt x="2109255" y="639847"/>
                      </a:lnTo>
                      <a:lnTo>
                        <a:pt x="2111071" y="637829"/>
                      </a:lnTo>
                      <a:cubicBezTo>
                        <a:pt x="2118635" y="644688"/>
                        <a:pt x="2124283" y="652757"/>
                        <a:pt x="2131141" y="658001"/>
                      </a:cubicBezTo>
                      <a:lnTo>
                        <a:pt x="2131141" y="658001"/>
                      </a:lnTo>
                      <a:cubicBezTo>
                        <a:pt x="2126502" y="711255"/>
                        <a:pt x="2117021" y="794060"/>
                        <a:pt x="2098362" y="829562"/>
                      </a:cubicBezTo>
                      <a:lnTo>
                        <a:pt x="2098362" y="829562"/>
                      </a:lnTo>
                      <a:cubicBezTo>
                        <a:pt x="2070626" y="882210"/>
                        <a:pt x="2048236" y="896532"/>
                        <a:pt x="2034923" y="920637"/>
                      </a:cubicBezTo>
                      <a:lnTo>
                        <a:pt x="2034923" y="920637"/>
                      </a:lnTo>
                      <a:cubicBezTo>
                        <a:pt x="2019088" y="947566"/>
                        <a:pt x="1981972" y="937783"/>
                        <a:pt x="1916111" y="1020286"/>
                      </a:cubicBezTo>
                      <a:lnTo>
                        <a:pt x="1916111" y="1020286"/>
                      </a:lnTo>
                      <a:cubicBezTo>
                        <a:pt x="1889182" y="1053367"/>
                        <a:pt x="1875768" y="1061536"/>
                        <a:pt x="1865783" y="1061738"/>
                      </a:cubicBezTo>
                      <a:lnTo>
                        <a:pt x="1865783" y="1061738"/>
                      </a:lnTo>
                      <a:cubicBezTo>
                        <a:pt x="1857916" y="1061536"/>
                        <a:pt x="1853982" y="1056695"/>
                        <a:pt x="1852066" y="1057200"/>
                      </a:cubicBezTo>
                      <a:lnTo>
                        <a:pt x="1852066" y="1057200"/>
                      </a:lnTo>
                      <a:cubicBezTo>
                        <a:pt x="1850755" y="1056897"/>
                        <a:pt x="1846519" y="1059217"/>
                        <a:pt x="1839055" y="1072328"/>
                      </a:cubicBezTo>
                      <a:lnTo>
                        <a:pt x="1839055" y="1072328"/>
                      </a:lnTo>
                      <a:cubicBezTo>
                        <a:pt x="1832903" y="1082515"/>
                        <a:pt x="1830583" y="1091593"/>
                        <a:pt x="1830583" y="1099661"/>
                      </a:cubicBezTo>
                      <a:lnTo>
                        <a:pt x="1830583" y="1099661"/>
                      </a:lnTo>
                      <a:cubicBezTo>
                        <a:pt x="1830381" y="1126590"/>
                        <a:pt x="1858319" y="1143938"/>
                        <a:pt x="1871632" y="1157050"/>
                      </a:cubicBezTo>
                      <a:lnTo>
                        <a:pt x="1871632" y="1157050"/>
                      </a:lnTo>
                      <a:cubicBezTo>
                        <a:pt x="1876373" y="1161589"/>
                        <a:pt x="1878289" y="1167942"/>
                        <a:pt x="1878289" y="1174801"/>
                      </a:cubicBezTo>
                      <a:lnTo>
                        <a:pt x="1878289" y="1174801"/>
                      </a:lnTo>
                      <a:cubicBezTo>
                        <a:pt x="1878087" y="1195779"/>
                        <a:pt x="1861143" y="1222608"/>
                        <a:pt x="1843795" y="1235820"/>
                      </a:cubicBezTo>
                      <a:lnTo>
                        <a:pt x="1843795" y="1235820"/>
                      </a:lnTo>
                      <a:cubicBezTo>
                        <a:pt x="1839862" y="1238543"/>
                        <a:pt x="1835928" y="1239854"/>
                        <a:pt x="1832197" y="1239854"/>
                      </a:cubicBezTo>
                      <a:lnTo>
                        <a:pt x="1832197" y="1239854"/>
                      </a:lnTo>
                      <a:cubicBezTo>
                        <a:pt x="1817774" y="1239249"/>
                        <a:pt x="1807386" y="1224322"/>
                        <a:pt x="1792761" y="1224725"/>
                      </a:cubicBezTo>
                      <a:lnTo>
                        <a:pt x="1792761" y="1224725"/>
                      </a:lnTo>
                      <a:cubicBezTo>
                        <a:pt x="1787012" y="1224725"/>
                        <a:pt x="1780456" y="1226844"/>
                        <a:pt x="1772186" y="1233097"/>
                      </a:cubicBezTo>
                      <a:lnTo>
                        <a:pt x="1772186" y="1233097"/>
                      </a:lnTo>
                      <a:cubicBezTo>
                        <a:pt x="1760486" y="1242073"/>
                        <a:pt x="1756553" y="1252159"/>
                        <a:pt x="1756452" y="1262144"/>
                      </a:cubicBezTo>
                      <a:lnTo>
                        <a:pt x="1756452" y="1262144"/>
                      </a:lnTo>
                      <a:cubicBezTo>
                        <a:pt x="1756049" y="1280904"/>
                        <a:pt x="1772589" y="1298857"/>
                        <a:pt x="1779347" y="1299764"/>
                      </a:cubicBezTo>
                      <a:lnTo>
                        <a:pt x="1779347" y="1299764"/>
                      </a:lnTo>
                      <a:cubicBezTo>
                        <a:pt x="1788021" y="1301378"/>
                        <a:pt x="1794173" y="1309951"/>
                        <a:pt x="1794072" y="1323769"/>
                      </a:cubicBezTo>
                      <a:lnTo>
                        <a:pt x="1794072" y="1323769"/>
                      </a:lnTo>
                      <a:cubicBezTo>
                        <a:pt x="1794072" y="1337687"/>
                        <a:pt x="1788323" y="1357355"/>
                        <a:pt x="1772993" y="1383881"/>
                      </a:cubicBezTo>
                      <a:lnTo>
                        <a:pt x="1772993" y="1383881"/>
                      </a:lnTo>
                      <a:cubicBezTo>
                        <a:pt x="1742029" y="1437134"/>
                        <a:pt x="1700072" y="1448632"/>
                        <a:pt x="1648130" y="1486958"/>
                      </a:cubicBezTo>
                      <a:lnTo>
                        <a:pt x="1648130" y="1486958"/>
                      </a:lnTo>
                      <a:cubicBezTo>
                        <a:pt x="1630379" y="1499969"/>
                        <a:pt x="1617267" y="1504608"/>
                        <a:pt x="1606576" y="1504608"/>
                      </a:cubicBezTo>
                      <a:lnTo>
                        <a:pt x="1606576" y="1504608"/>
                      </a:lnTo>
                      <a:cubicBezTo>
                        <a:pt x="1584892" y="1504205"/>
                        <a:pt x="1575512" y="1486958"/>
                        <a:pt x="1561089" y="1487563"/>
                      </a:cubicBezTo>
                      <a:lnTo>
                        <a:pt x="1561089" y="1487563"/>
                      </a:lnTo>
                      <a:cubicBezTo>
                        <a:pt x="1536883" y="1487563"/>
                        <a:pt x="1476368" y="1498456"/>
                        <a:pt x="1430174" y="1528411"/>
                      </a:cubicBezTo>
                      <a:lnTo>
                        <a:pt x="1430174" y="1528411"/>
                      </a:lnTo>
                      <a:cubicBezTo>
                        <a:pt x="1407280" y="1543035"/>
                        <a:pt x="1387309" y="1547070"/>
                        <a:pt x="1370365" y="1547070"/>
                      </a:cubicBezTo>
                      <a:lnTo>
                        <a:pt x="1370365" y="1547070"/>
                      </a:lnTo>
                      <a:cubicBezTo>
                        <a:pt x="1351606" y="1547070"/>
                        <a:pt x="1336275" y="1542531"/>
                        <a:pt x="1323870" y="1542632"/>
                      </a:cubicBezTo>
                      <a:lnTo>
                        <a:pt x="1323870" y="1542632"/>
                      </a:lnTo>
                      <a:cubicBezTo>
                        <a:pt x="1300470" y="1542531"/>
                        <a:pt x="1267893" y="1561190"/>
                        <a:pt x="1235114" y="1604861"/>
                      </a:cubicBezTo>
                      <a:lnTo>
                        <a:pt x="1235114" y="1604861"/>
                      </a:lnTo>
                      <a:cubicBezTo>
                        <a:pt x="1222910" y="1620999"/>
                        <a:pt x="1206470" y="1626748"/>
                        <a:pt x="1189627" y="1626748"/>
                      </a:cubicBezTo>
                      <a:lnTo>
                        <a:pt x="1189627" y="1626748"/>
                      </a:lnTo>
                      <a:cubicBezTo>
                        <a:pt x="1158663" y="1626647"/>
                        <a:pt x="1125279" y="1608291"/>
                        <a:pt x="1107931" y="1603147"/>
                      </a:cubicBezTo>
                      <a:lnTo>
                        <a:pt x="1107931" y="1603147"/>
                      </a:lnTo>
                      <a:cubicBezTo>
                        <a:pt x="1102283" y="1601332"/>
                        <a:pt x="1096938" y="1600525"/>
                        <a:pt x="1091693" y="1600525"/>
                      </a:cubicBezTo>
                      <a:lnTo>
                        <a:pt x="1091693" y="1600525"/>
                      </a:lnTo>
                      <a:cubicBezTo>
                        <a:pt x="1072530" y="1600525"/>
                        <a:pt x="1056594" y="1611922"/>
                        <a:pt x="1047921" y="1637237"/>
                      </a:cubicBezTo>
                      <a:lnTo>
                        <a:pt x="1047921" y="1637237"/>
                      </a:lnTo>
                      <a:cubicBezTo>
                        <a:pt x="1046206" y="1642078"/>
                        <a:pt x="1045601" y="1645810"/>
                        <a:pt x="1045601" y="1648836"/>
                      </a:cubicBezTo>
                      <a:lnTo>
                        <a:pt x="1045601" y="1648836"/>
                      </a:lnTo>
                      <a:cubicBezTo>
                        <a:pt x="1044895" y="1664368"/>
                        <a:pt x="1064865" y="1669915"/>
                        <a:pt x="1064865" y="1728312"/>
                      </a:cubicBezTo>
                      <a:lnTo>
                        <a:pt x="1064865" y="1728312"/>
                      </a:lnTo>
                      <a:cubicBezTo>
                        <a:pt x="1064865" y="1731540"/>
                        <a:pt x="1064865" y="1734767"/>
                        <a:pt x="1064764" y="1738298"/>
                      </a:cubicBezTo>
                      <a:lnTo>
                        <a:pt x="1064764" y="1738298"/>
                      </a:lnTo>
                      <a:cubicBezTo>
                        <a:pt x="1063150" y="1819186"/>
                        <a:pt x="1029766" y="1797603"/>
                        <a:pt x="1013931" y="1809504"/>
                      </a:cubicBezTo>
                      <a:lnTo>
                        <a:pt x="1013931" y="1809504"/>
                      </a:lnTo>
                      <a:cubicBezTo>
                        <a:pt x="1011006" y="1811218"/>
                        <a:pt x="1009493" y="1815454"/>
                        <a:pt x="1009493" y="1821707"/>
                      </a:cubicBezTo>
                      <a:lnTo>
                        <a:pt x="1009493" y="1821707"/>
                      </a:lnTo>
                      <a:cubicBezTo>
                        <a:pt x="1009493" y="1846418"/>
                        <a:pt x="1037129" y="1892409"/>
                        <a:pt x="1067487" y="1892611"/>
                      </a:cubicBezTo>
                      <a:lnTo>
                        <a:pt x="1067487" y="1892611"/>
                      </a:lnTo>
                      <a:cubicBezTo>
                        <a:pt x="1111764" y="1893317"/>
                        <a:pt x="1152208" y="1962909"/>
                        <a:pt x="1161084" y="1985602"/>
                      </a:cubicBezTo>
                      <a:lnTo>
                        <a:pt x="1161084" y="1985602"/>
                      </a:lnTo>
                      <a:cubicBezTo>
                        <a:pt x="1169455" y="2008094"/>
                        <a:pt x="1175002" y="2043697"/>
                        <a:pt x="1185895" y="2076577"/>
                      </a:cubicBezTo>
                      <a:lnTo>
                        <a:pt x="1185895" y="2076577"/>
                      </a:lnTo>
                      <a:cubicBezTo>
                        <a:pt x="1189122" y="2086360"/>
                        <a:pt x="1190736" y="2094631"/>
                        <a:pt x="1190736" y="2101893"/>
                      </a:cubicBezTo>
                      <a:lnTo>
                        <a:pt x="1190736" y="2101893"/>
                      </a:lnTo>
                      <a:cubicBezTo>
                        <a:pt x="1190938" y="2119644"/>
                        <a:pt x="1180146" y="2130234"/>
                        <a:pt x="1162294" y="2137899"/>
                      </a:cubicBezTo>
                      <a:lnTo>
                        <a:pt x="1162294" y="2137899"/>
                      </a:lnTo>
                      <a:cubicBezTo>
                        <a:pt x="1140105" y="2146674"/>
                        <a:pt x="1147266" y="2190346"/>
                        <a:pt x="1130524" y="2224940"/>
                      </a:cubicBezTo>
                      <a:lnTo>
                        <a:pt x="1130524" y="2224940"/>
                      </a:lnTo>
                      <a:cubicBezTo>
                        <a:pt x="1113680" y="2258325"/>
                        <a:pt x="1089374" y="2297256"/>
                        <a:pt x="1062747" y="2306333"/>
                      </a:cubicBezTo>
                      <a:lnTo>
                        <a:pt x="1062747" y="2306333"/>
                      </a:lnTo>
                      <a:cubicBezTo>
                        <a:pt x="1040558" y="2313091"/>
                        <a:pt x="1031279" y="2359485"/>
                        <a:pt x="1014637" y="2387827"/>
                      </a:cubicBezTo>
                      <a:lnTo>
                        <a:pt x="1014637" y="2387827"/>
                      </a:lnTo>
                      <a:cubicBezTo>
                        <a:pt x="997794" y="2415765"/>
                        <a:pt x="984178" y="2424136"/>
                        <a:pt x="970663" y="2451065"/>
                      </a:cubicBezTo>
                      <a:lnTo>
                        <a:pt x="970663" y="2451065"/>
                      </a:lnTo>
                      <a:cubicBezTo>
                        <a:pt x="957148" y="2477793"/>
                        <a:pt x="954324" y="2521565"/>
                        <a:pt x="954324" y="2522271"/>
                      </a:cubicBezTo>
                      <a:lnTo>
                        <a:pt x="954324" y="2522271"/>
                      </a:lnTo>
                      <a:cubicBezTo>
                        <a:pt x="954223" y="2522473"/>
                        <a:pt x="942927" y="2562211"/>
                        <a:pt x="902684" y="2573810"/>
                      </a:cubicBezTo>
                      <a:lnTo>
                        <a:pt x="902684" y="2573810"/>
                      </a:lnTo>
                      <a:cubicBezTo>
                        <a:pt x="893002" y="2576331"/>
                        <a:pt x="885437" y="2577642"/>
                        <a:pt x="879083" y="2577642"/>
                      </a:cubicBezTo>
                      <a:lnTo>
                        <a:pt x="879083" y="2577642"/>
                      </a:lnTo>
                      <a:cubicBezTo>
                        <a:pt x="859315" y="2577642"/>
                        <a:pt x="852759" y="2566850"/>
                        <a:pt x="845800" y="2565438"/>
                      </a:cubicBezTo>
                      <a:lnTo>
                        <a:pt x="845800" y="2565438"/>
                      </a:lnTo>
                      <a:lnTo>
                        <a:pt x="845296" y="2565438"/>
                      </a:lnTo>
                      <a:cubicBezTo>
                        <a:pt x="838538" y="2563825"/>
                        <a:pt x="824922" y="2592872"/>
                        <a:pt x="794463" y="2593174"/>
                      </a:cubicBezTo>
                      <a:lnTo>
                        <a:pt x="794463" y="2593174"/>
                      </a:lnTo>
                      <a:cubicBezTo>
                        <a:pt x="760978" y="2591561"/>
                        <a:pt x="733343" y="2500687"/>
                        <a:pt x="706514" y="2502402"/>
                      </a:cubicBezTo>
                      <a:lnTo>
                        <a:pt x="706514" y="2502402"/>
                      </a:lnTo>
                      <a:close/>
                      <a:moveTo>
                        <a:pt x="1653274" y="4337"/>
                      </a:moveTo>
                      <a:cubicBezTo>
                        <a:pt x="1652467" y="3026"/>
                        <a:pt x="1652769" y="1412"/>
                        <a:pt x="1654081" y="605"/>
                      </a:cubicBezTo>
                      <a:lnTo>
                        <a:pt x="1654081" y="605"/>
                      </a:lnTo>
                      <a:lnTo>
                        <a:pt x="1654181" y="504"/>
                      </a:lnTo>
                      <a:lnTo>
                        <a:pt x="1655694" y="2925"/>
                      </a:lnTo>
                      <a:lnTo>
                        <a:pt x="1654484" y="404"/>
                      </a:lnTo>
                      <a:lnTo>
                        <a:pt x="1654585" y="404"/>
                      </a:lnTo>
                      <a:lnTo>
                        <a:pt x="1655694" y="2925"/>
                      </a:lnTo>
                      <a:lnTo>
                        <a:pt x="1655694" y="0"/>
                      </a:lnTo>
                      <a:cubicBezTo>
                        <a:pt x="1657106" y="0"/>
                        <a:pt x="1658115" y="908"/>
                        <a:pt x="1658417" y="2219"/>
                      </a:cubicBezTo>
                      <a:lnTo>
                        <a:pt x="1658417" y="2219"/>
                      </a:lnTo>
                      <a:cubicBezTo>
                        <a:pt x="1658619" y="3429"/>
                        <a:pt x="1658115" y="4539"/>
                        <a:pt x="1657106" y="5144"/>
                      </a:cubicBezTo>
                      <a:lnTo>
                        <a:pt x="1657106" y="5144"/>
                      </a:lnTo>
                      <a:lnTo>
                        <a:pt x="1657106" y="5144"/>
                      </a:lnTo>
                      <a:lnTo>
                        <a:pt x="1657106" y="5144"/>
                      </a:lnTo>
                      <a:cubicBezTo>
                        <a:pt x="1657005" y="5245"/>
                        <a:pt x="1657005" y="5245"/>
                        <a:pt x="1656905" y="5245"/>
                      </a:cubicBezTo>
                      <a:lnTo>
                        <a:pt x="1656905" y="5245"/>
                      </a:lnTo>
                      <a:lnTo>
                        <a:pt x="1656804" y="5346"/>
                      </a:lnTo>
                      <a:cubicBezTo>
                        <a:pt x="1656400" y="5547"/>
                        <a:pt x="1655997" y="5547"/>
                        <a:pt x="1655694" y="5547"/>
                      </a:cubicBezTo>
                      <a:lnTo>
                        <a:pt x="1655694" y="5547"/>
                      </a:lnTo>
                      <a:cubicBezTo>
                        <a:pt x="1654787" y="5749"/>
                        <a:pt x="1653778" y="5245"/>
                        <a:pt x="1653274" y="4337"/>
                      </a:cubicBezTo>
                      <a:lnTo>
                        <a:pt x="1653274" y="4337"/>
                      </a:lnTo>
                      <a:close/>
                    </a:path>
                  </a:pathLst>
                </a:custGeom>
                <a:solidFill>
                  <a:srgbClr val="ABDEF6"/>
                </a:solidFill>
                <a:ln w="10085" cap="flat">
                  <a:solidFill>
                    <a:srgbClr val="FFFFFF"/>
                  </a:solidFill>
                  <a:prstDash val="solid"/>
                  <a:miter/>
                </a:ln>
              </p:spPr>
              <p:txBody>
                <a:bodyPr rtlCol="0" anchor="ctr"/>
                <a:lstStyle/>
                <a:p>
                  <a:endParaRPr lang="fr-FR" sz="900"/>
                </a:p>
              </p:txBody>
            </p:sp>
          </p:grpSp>
          <p:grpSp>
            <p:nvGrpSpPr>
              <p:cNvPr id="95" name="Graphique 17">
                <a:extLst>
                  <a:ext uri="{FF2B5EF4-FFF2-40B4-BE49-F238E27FC236}">
                    <a16:creationId xmlns:a16="http://schemas.microsoft.com/office/drawing/2014/main" id="{80CCB933-16FD-0920-A128-4DAFD128B6B2}"/>
                  </a:ext>
                </a:extLst>
              </p:cNvPr>
              <p:cNvGrpSpPr/>
              <p:nvPr/>
            </p:nvGrpSpPr>
            <p:grpSpPr>
              <a:xfrm>
                <a:off x="3558442" y="9664381"/>
                <a:ext cx="2425245" cy="2179250"/>
                <a:chOff x="3558442" y="9664381"/>
                <a:chExt cx="2425245" cy="2179250"/>
              </a:xfrm>
              <a:solidFill>
                <a:srgbClr val="ABDEF6"/>
              </a:solidFill>
            </p:grpSpPr>
            <p:sp>
              <p:nvSpPr>
                <p:cNvPr id="96" name="Forme libre : forme 95">
                  <a:extLst>
                    <a:ext uri="{FF2B5EF4-FFF2-40B4-BE49-F238E27FC236}">
                      <a16:creationId xmlns:a16="http://schemas.microsoft.com/office/drawing/2014/main" id="{D8A17C42-1F4D-CCD8-ACFC-395331E93537}"/>
                    </a:ext>
                  </a:extLst>
                </p:cNvPr>
                <p:cNvSpPr/>
                <p:nvPr/>
              </p:nvSpPr>
              <p:spPr>
                <a:xfrm>
                  <a:off x="3560862" y="9667237"/>
                  <a:ext cx="2420316" cy="2173989"/>
                </a:xfrm>
                <a:custGeom>
                  <a:avLst/>
                  <a:gdLst>
                    <a:gd name="connsiteX0" fmla="*/ 2358073 w 2420316"/>
                    <a:gd name="connsiteY0" fmla="*/ 865234 h 2173989"/>
                    <a:gd name="connsiteX1" fmla="*/ 2315108 w 2420316"/>
                    <a:gd name="connsiteY1" fmla="*/ 822167 h 2173989"/>
                    <a:gd name="connsiteX2" fmla="*/ 2348794 w 2420316"/>
                    <a:gd name="connsiteY2" fmla="*/ 773049 h 2173989"/>
                    <a:gd name="connsiteX3" fmla="*/ 2310367 w 2420316"/>
                    <a:gd name="connsiteY3" fmla="*/ 768409 h 2173989"/>
                    <a:gd name="connsiteX4" fmla="*/ 2281219 w 2420316"/>
                    <a:gd name="connsiteY4" fmla="*/ 742388 h 2173989"/>
                    <a:gd name="connsiteX5" fmla="*/ 2256610 w 2420316"/>
                    <a:gd name="connsiteY5" fmla="*/ 713139 h 2173989"/>
                    <a:gd name="connsiteX6" fmla="*/ 2199826 w 2420316"/>
                    <a:gd name="connsiteY6" fmla="*/ 690143 h 2173989"/>
                    <a:gd name="connsiteX7" fmla="*/ 2229075 w 2420316"/>
                    <a:gd name="connsiteY7" fmla="*/ 576577 h 2173989"/>
                    <a:gd name="connsiteX8" fmla="*/ 2201440 w 2420316"/>
                    <a:gd name="connsiteY8" fmla="*/ 516667 h 2173989"/>
                    <a:gd name="connsiteX9" fmla="*/ 2184597 w 2420316"/>
                    <a:gd name="connsiteY9" fmla="*/ 447578 h 2173989"/>
                    <a:gd name="connsiteX10" fmla="*/ 2126199 w 2420316"/>
                    <a:gd name="connsiteY10" fmla="*/ 372338 h 2173989"/>
                    <a:gd name="connsiteX11" fmla="*/ 2112281 w 2420316"/>
                    <a:gd name="connsiteY11" fmla="*/ 337945 h 2173989"/>
                    <a:gd name="connsiteX12" fmla="*/ 2111777 w 2420316"/>
                    <a:gd name="connsiteY12" fmla="*/ 338349 h 2173989"/>
                    <a:gd name="connsiteX13" fmla="*/ 2071131 w 2420316"/>
                    <a:gd name="connsiteY13" fmla="*/ 274807 h 2173989"/>
                    <a:gd name="connsiteX14" fmla="*/ 2050757 w 2420316"/>
                    <a:gd name="connsiteY14" fmla="*/ 223975 h 2173989"/>
                    <a:gd name="connsiteX15" fmla="*/ 2020197 w 2420316"/>
                    <a:gd name="connsiteY15" fmla="*/ 142582 h 2173989"/>
                    <a:gd name="connsiteX16" fmla="*/ 1964221 w 2420316"/>
                    <a:gd name="connsiteY16" fmla="*/ 101936 h 2173989"/>
                    <a:gd name="connsiteX17" fmla="*/ 1867598 w 2420316"/>
                    <a:gd name="connsiteY17" fmla="*/ 223975 h 2173989"/>
                    <a:gd name="connsiteX18" fmla="*/ 1801536 w 2420316"/>
                    <a:gd name="connsiteY18" fmla="*/ 333306 h 2173989"/>
                    <a:gd name="connsiteX19" fmla="*/ 1651458 w 2420316"/>
                    <a:gd name="connsiteY19" fmla="*/ 356200 h 2173989"/>
                    <a:gd name="connsiteX20" fmla="*/ 1598003 w 2420316"/>
                    <a:gd name="connsiteY20" fmla="*/ 358722 h 2173989"/>
                    <a:gd name="connsiteX21" fmla="*/ 1587816 w 2420316"/>
                    <a:gd name="connsiteY21" fmla="*/ 269664 h 2173989"/>
                    <a:gd name="connsiteX22" fmla="*/ 1598003 w 2420316"/>
                    <a:gd name="connsiteY22" fmla="*/ 203601 h 2173989"/>
                    <a:gd name="connsiteX23" fmla="*/ 1557357 w 2420316"/>
                    <a:gd name="connsiteY23" fmla="*/ 162956 h 2173989"/>
                    <a:gd name="connsiteX24" fmla="*/ 1559879 w 2420316"/>
                    <a:gd name="connsiteY24" fmla="*/ 127251 h 2173989"/>
                    <a:gd name="connsiteX25" fmla="*/ 1560685 w 2420316"/>
                    <a:gd name="connsiteY25" fmla="*/ 54331 h 2173989"/>
                    <a:gd name="connsiteX26" fmla="*/ 1528612 w 2420316"/>
                    <a:gd name="connsiteY26" fmla="*/ 61794 h 2173989"/>
                    <a:gd name="connsiteX27" fmla="*/ 1483327 w 2420316"/>
                    <a:gd name="connsiteY27" fmla="*/ 82269 h 2173989"/>
                    <a:gd name="connsiteX28" fmla="*/ 1447623 w 2420316"/>
                    <a:gd name="connsiteY28" fmla="*/ 72485 h 2173989"/>
                    <a:gd name="connsiteX29" fmla="*/ 1391546 w 2420316"/>
                    <a:gd name="connsiteY29" fmla="*/ 103853 h 2173989"/>
                    <a:gd name="connsiteX30" fmla="*/ 1293310 w 2420316"/>
                    <a:gd name="connsiteY30" fmla="*/ 28309 h 2173989"/>
                    <a:gd name="connsiteX31" fmla="*/ 1233904 w 2420316"/>
                    <a:gd name="connsiteY31" fmla="*/ 271 h 2173989"/>
                    <a:gd name="connsiteX32" fmla="*/ 1197191 w 2420316"/>
                    <a:gd name="connsiteY32" fmla="*/ 15399 h 2173989"/>
                    <a:gd name="connsiteX33" fmla="*/ 1187005 w 2420316"/>
                    <a:gd name="connsiteY33" fmla="*/ 14895 h 2173989"/>
                    <a:gd name="connsiteX34" fmla="*/ 1187105 w 2420316"/>
                    <a:gd name="connsiteY34" fmla="*/ 14996 h 2173989"/>
                    <a:gd name="connsiteX35" fmla="*/ 1154730 w 2420316"/>
                    <a:gd name="connsiteY35" fmla="*/ 185447 h 2173989"/>
                    <a:gd name="connsiteX36" fmla="*/ 1091390 w 2420316"/>
                    <a:gd name="connsiteY36" fmla="*/ 276421 h 2173989"/>
                    <a:gd name="connsiteX37" fmla="*/ 972781 w 2420316"/>
                    <a:gd name="connsiteY37" fmla="*/ 375666 h 2173989"/>
                    <a:gd name="connsiteX38" fmla="*/ 895624 w 2420316"/>
                    <a:gd name="connsiteY38" fmla="*/ 428112 h 2173989"/>
                    <a:gd name="connsiteX39" fmla="*/ 928706 w 2420316"/>
                    <a:gd name="connsiteY39" fmla="*/ 516364 h 2173989"/>
                    <a:gd name="connsiteX40" fmla="*/ 901171 w 2420316"/>
                    <a:gd name="connsiteY40" fmla="*/ 590797 h 2173989"/>
                    <a:gd name="connsiteX41" fmla="*/ 829461 w 2420316"/>
                    <a:gd name="connsiteY41" fmla="*/ 588074 h 2173989"/>
                    <a:gd name="connsiteX42" fmla="*/ 837731 w 2420316"/>
                    <a:gd name="connsiteY42" fmla="*/ 659785 h 2173989"/>
                    <a:gd name="connsiteX43" fmla="*/ 829461 w 2420316"/>
                    <a:gd name="connsiteY43" fmla="*/ 739766 h 2173989"/>
                    <a:gd name="connsiteX44" fmla="*/ 705405 w 2420316"/>
                    <a:gd name="connsiteY44" fmla="*/ 842036 h 2173989"/>
                    <a:gd name="connsiteX45" fmla="*/ 619978 w 2420316"/>
                    <a:gd name="connsiteY45" fmla="*/ 842036 h 2173989"/>
                    <a:gd name="connsiteX46" fmla="*/ 487651 w 2420316"/>
                    <a:gd name="connsiteY46" fmla="*/ 883388 h 2173989"/>
                    <a:gd name="connsiteX47" fmla="*/ 382859 w 2420316"/>
                    <a:gd name="connsiteY47" fmla="*/ 897105 h 2173989"/>
                    <a:gd name="connsiteX48" fmla="*/ 291885 w 2420316"/>
                    <a:gd name="connsiteY48" fmla="*/ 960545 h 2173989"/>
                    <a:gd name="connsiteX49" fmla="*/ 167828 w 2420316"/>
                    <a:gd name="connsiteY49" fmla="*/ 957721 h 2173989"/>
                    <a:gd name="connsiteX50" fmla="*/ 104389 w 2420316"/>
                    <a:gd name="connsiteY50" fmla="*/ 993526 h 2173989"/>
                    <a:gd name="connsiteX51" fmla="*/ 120929 w 2420316"/>
                    <a:gd name="connsiteY51" fmla="*/ 1095594 h 2173989"/>
                    <a:gd name="connsiteX52" fmla="*/ 71307 w 2420316"/>
                    <a:gd name="connsiteY52" fmla="*/ 1164582 h 2173989"/>
                    <a:gd name="connsiteX53" fmla="*/ 126477 w 2420316"/>
                    <a:gd name="connsiteY53" fmla="*/ 1252833 h 2173989"/>
                    <a:gd name="connsiteX54" fmla="*/ 217451 w 2420316"/>
                    <a:gd name="connsiteY54" fmla="*/ 1344009 h 2173989"/>
                    <a:gd name="connsiteX55" fmla="*/ 242262 w 2420316"/>
                    <a:gd name="connsiteY55" fmla="*/ 1434984 h 2173989"/>
                    <a:gd name="connsiteX56" fmla="*/ 220174 w 2420316"/>
                    <a:gd name="connsiteY56" fmla="*/ 1492876 h 2173989"/>
                    <a:gd name="connsiteX57" fmla="*/ 187093 w 2420316"/>
                    <a:gd name="connsiteY57" fmla="*/ 1581128 h 2173989"/>
                    <a:gd name="connsiteX58" fmla="*/ 120929 w 2420316"/>
                    <a:gd name="connsiteY58" fmla="*/ 1661108 h 2173989"/>
                    <a:gd name="connsiteX59" fmla="*/ 71307 w 2420316"/>
                    <a:gd name="connsiteY59" fmla="*/ 1743813 h 2173989"/>
                    <a:gd name="connsiteX60" fmla="*/ 27131 w 2420316"/>
                    <a:gd name="connsiteY60" fmla="*/ 1807252 h 2173989"/>
                    <a:gd name="connsiteX61" fmla="*/ 10590 w 2420316"/>
                    <a:gd name="connsiteY61" fmla="*/ 1878963 h 2173989"/>
                    <a:gd name="connsiteX62" fmla="*/ 0 w 2420316"/>
                    <a:gd name="connsiteY62" fmla="*/ 1899941 h 2173989"/>
                    <a:gd name="connsiteX63" fmla="*/ 86032 w 2420316"/>
                    <a:gd name="connsiteY63" fmla="*/ 1943210 h 2173989"/>
                    <a:gd name="connsiteX64" fmla="*/ 132125 w 2420316"/>
                    <a:gd name="connsiteY64" fmla="*/ 1993942 h 2173989"/>
                    <a:gd name="connsiteX65" fmla="*/ 185882 w 2420316"/>
                    <a:gd name="connsiteY65" fmla="*/ 2043060 h 2173989"/>
                    <a:gd name="connsiteX66" fmla="*/ 305601 w 2420316"/>
                    <a:gd name="connsiteY66" fmla="*/ 2003120 h 2173989"/>
                    <a:gd name="connsiteX67" fmla="*/ 382355 w 2420316"/>
                    <a:gd name="connsiteY67" fmla="*/ 2040034 h 2173989"/>
                    <a:gd name="connsiteX68" fmla="*/ 429960 w 2420316"/>
                    <a:gd name="connsiteY68" fmla="*/ 2024703 h 2173989"/>
                    <a:gd name="connsiteX69" fmla="*/ 509840 w 2420316"/>
                    <a:gd name="connsiteY69" fmla="*/ 2044674 h 2173989"/>
                    <a:gd name="connsiteX70" fmla="*/ 626533 w 2420316"/>
                    <a:gd name="connsiteY70" fmla="*/ 2041547 h 2173989"/>
                    <a:gd name="connsiteX71" fmla="*/ 625021 w 2420316"/>
                    <a:gd name="connsiteY71" fmla="*/ 1977098 h 2173989"/>
                    <a:gd name="connsiteX72" fmla="*/ 635712 w 2420316"/>
                    <a:gd name="connsiteY72" fmla="*/ 1911036 h 2173989"/>
                    <a:gd name="connsiteX73" fmla="*/ 689469 w 2420316"/>
                    <a:gd name="connsiteY73" fmla="*/ 1920315 h 2173989"/>
                    <a:gd name="connsiteX74" fmla="*/ 769349 w 2420316"/>
                    <a:gd name="connsiteY74" fmla="*/ 1958742 h 2173989"/>
                    <a:gd name="connsiteX75" fmla="*/ 883017 w 2420316"/>
                    <a:gd name="connsiteY75" fmla="*/ 1970946 h 2173989"/>
                    <a:gd name="connsiteX76" fmla="*/ 952105 w 2420316"/>
                    <a:gd name="connsiteY76" fmla="*/ 2035394 h 2173989"/>
                    <a:gd name="connsiteX77" fmla="*/ 1045802 w 2420316"/>
                    <a:gd name="connsiteY77" fmla="*/ 2037008 h 2173989"/>
                    <a:gd name="connsiteX78" fmla="*/ 1117916 w 2420316"/>
                    <a:gd name="connsiteY78" fmla="*/ 2116888 h 2173989"/>
                    <a:gd name="connsiteX79" fmla="*/ 1160882 w 2420316"/>
                    <a:gd name="connsiteY79" fmla="*/ 2100045 h 2173989"/>
                    <a:gd name="connsiteX80" fmla="*/ 1213026 w 2420316"/>
                    <a:gd name="connsiteY80" fmla="*/ 2109223 h 2173989"/>
                    <a:gd name="connsiteX81" fmla="*/ 1283627 w 2420316"/>
                    <a:gd name="connsiteY81" fmla="*/ 2101457 h 2173989"/>
                    <a:gd name="connsiteX82" fmla="*/ 1332745 w 2420316"/>
                    <a:gd name="connsiteY82" fmla="*/ 2161367 h 2173989"/>
                    <a:gd name="connsiteX83" fmla="*/ 1467896 w 2420316"/>
                    <a:gd name="connsiteY83" fmla="*/ 2161367 h 2173989"/>
                    <a:gd name="connsiteX84" fmla="*/ 1483226 w 2420316"/>
                    <a:gd name="connsiteY84" fmla="*/ 2092279 h 2173989"/>
                    <a:gd name="connsiteX85" fmla="*/ 1561492 w 2420316"/>
                    <a:gd name="connsiteY85" fmla="*/ 2086127 h 2173989"/>
                    <a:gd name="connsiteX86" fmla="*/ 1587615 w 2420316"/>
                    <a:gd name="connsiteY86" fmla="*/ 2066157 h 2173989"/>
                    <a:gd name="connsiteX87" fmla="*/ 1544548 w 2420316"/>
                    <a:gd name="connsiteY87" fmla="*/ 2032470 h 2173989"/>
                    <a:gd name="connsiteX88" fmla="*/ 1484638 w 2420316"/>
                    <a:gd name="connsiteY88" fmla="*/ 2038622 h 2173989"/>
                    <a:gd name="connsiteX89" fmla="*/ 1429368 w 2420316"/>
                    <a:gd name="connsiteY89" fmla="*/ 2003220 h 2173989"/>
                    <a:gd name="connsiteX90" fmla="*/ 1444698 w 2420316"/>
                    <a:gd name="connsiteY90" fmla="*/ 1924955 h 2173989"/>
                    <a:gd name="connsiteX91" fmla="*/ 1481612 w 2420316"/>
                    <a:gd name="connsiteY91" fmla="*/ 1820566 h 2173989"/>
                    <a:gd name="connsiteX92" fmla="*/ 1466282 w 2420316"/>
                    <a:gd name="connsiteY92" fmla="*/ 1731508 h 2173989"/>
                    <a:gd name="connsiteX93" fmla="*/ 1421702 w 2420316"/>
                    <a:gd name="connsiteY93" fmla="*/ 1683903 h 2173989"/>
                    <a:gd name="connsiteX94" fmla="*/ 1328106 w 2420316"/>
                    <a:gd name="connsiteY94" fmla="*/ 1639424 h 2173989"/>
                    <a:gd name="connsiteX95" fmla="*/ 1324979 w 2420316"/>
                    <a:gd name="connsiteY95" fmla="*/ 1519705 h 2173989"/>
                    <a:gd name="connsiteX96" fmla="*/ 1383376 w 2420316"/>
                    <a:gd name="connsiteY96" fmla="*/ 1444464 h 2173989"/>
                    <a:gd name="connsiteX97" fmla="*/ 1434007 w 2420316"/>
                    <a:gd name="connsiteY97" fmla="*/ 1449104 h 2173989"/>
                    <a:gd name="connsiteX98" fmla="*/ 1470921 w 2420316"/>
                    <a:gd name="connsiteY98" fmla="*/ 1439825 h 2173989"/>
                    <a:gd name="connsiteX99" fmla="*/ 1536984 w 2420316"/>
                    <a:gd name="connsiteY99" fmla="*/ 1436799 h 2173989"/>
                    <a:gd name="connsiteX100" fmla="*/ 1607585 w 2420316"/>
                    <a:gd name="connsiteY100" fmla="*/ 1438312 h 2173989"/>
                    <a:gd name="connsiteX101" fmla="*/ 1629067 w 2420316"/>
                    <a:gd name="connsiteY101" fmla="*/ 1482892 h 2173989"/>
                    <a:gd name="connsiteX102" fmla="*/ 1644398 w 2420316"/>
                    <a:gd name="connsiteY102" fmla="*/ 1439926 h 2173989"/>
                    <a:gd name="connsiteX103" fmla="*/ 1678186 w 2420316"/>
                    <a:gd name="connsiteY103" fmla="*/ 1410777 h 2173989"/>
                    <a:gd name="connsiteX104" fmla="*/ 1758066 w 2420316"/>
                    <a:gd name="connsiteY104" fmla="*/ 1413804 h 2173989"/>
                    <a:gd name="connsiteX105" fmla="*/ 1836332 w 2420316"/>
                    <a:gd name="connsiteY105" fmla="*/ 1410777 h 2173989"/>
                    <a:gd name="connsiteX106" fmla="*/ 1905420 w 2420316"/>
                    <a:gd name="connsiteY106" fmla="*/ 1406138 h 2173989"/>
                    <a:gd name="connsiteX107" fmla="*/ 1913085 w 2420316"/>
                    <a:gd name="connsiteY107" fmla="*/ 1350867 h 2173989"/>
                    <a:gd name="connsiteX108" fmla="*/ 1885450 w 2420316"/>
                    <a:gd name="connsiteY108" fmla="*/ 1260196 h 2173989"/>
                    <a:gd name="connsiteX109" fmla="*/ 1963817 w 2420316"/>
                    <a:gd name="connsiteY109" fmla="*/ 1251018 h 2173989"/>
                    <a:gd name="connsiteX110" fmla="*/ 2019088 w 2420316"/>
                    <a:gd name="connsiteY110" fmla="*/ 1229434 h 2173989"/>
                    <a:gd name="connsiteX111" fmla="*/ 2077485 w 2420316"/>
                    <a:gd name="connsiteY111" fmla="*/ 1207951 h 2173989"/>
                    <a:gd name="connsiteX112" fmla="*/ 2155751 w 2420316"/>
                    <a:gd name="connsiteY112" fmla="*/ 1186367 h 2173989"/>
                    <a:gd name="connsiteX113" fmla="*/ 2160290 w 2420316"/>
                    <a:gd name="connsiteY113" fmla="*/ 1120406 h 2173989"/>
                    <a:gd name="connsiteX114" fmla="*/ 2178747 w 2420316"/>
                    <a:gd name="connsiteY114" fmla="*/ 1060496 h 2173989"/>
                    <a:gd name="connsiteX115" fmla="*/ 2260140 w 2420316"/>
                    <a:gd name="connsiteY115" fmla="*/ 1080466 h 2173989"/>
                    <a:gd name="connsiteX116" fmla="*/ 2289389 w 2420316"/>
                    <a:gd name="connsiteY116" fmla="*/ 1014403 h 2173989"/>
                    <a:gd name="connsiteX117" fmla="*/ 2387625 w 2420316"/>
                    <a:gd name="connsiteY117" fmla="*/ 943802 h 2173989"/>
                    <a:gd name="connsiteX118" fmla="*/ 2419900 w 2420316"/>
                    <a:gd name="connsiteY118" fmla="*/ 905375 h 2173989"/>
                    <a:gd name="connsiteX119" fmla="*/ 2358073 w 2420316"/>
                    <a:gd name="connsiteY119" fmla="*/ 865234 h 2173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2420316" h="2173989">
                      <a:moveTo>
                        <a:pt x="2358073" y="865234"/>
                      </a:moveTo>
                      <a:cubicBezTo>
                        <a:pt x="2321260" y="866746"/>
                        <a:pt x="2316620" y="834472"/>
                        <a:pt x="2315108" y="822167"/>
                      </a:cubicBezTo>
                      <a:cubicBezTo>
                        <a:pt x="2313595" y="809963"/>
                        <a:pt x="2353434" y="786866"/>
                        <a:pt x="2348794" y="773049"/>
                      </a:cubicBezTo>
                      <a:cubicBezTo>
                        <a:pt x="2344256" y="759332"/>
                        <a:pt x="2324286" y="760744"/>
                        <a:pt x="2310367" y="768409"/>
                      </a:cubicBezTo>
                      <a:cubicBezTo>
                        <a:pt x="2296549" y="776075"/>
                        <a:pt x="2278193" y="766897"/>
                        <a:pt x="2281219" y="742388"/>
                      </a:cubicBezTo>
                      <a:cubicBezTo>
                        <a:pt x="2284245" y="717880"/>
                        <a:pt x="2267401" y="714752"/>
                        <a:pt x="2256610" y="713139"/>
                      </a:cubicBezTo>
                      <a:cubicBezTo>
                        <a:pt x="2245919" y="711626"/>
                        <a:pt x="2213644" y="723931"/>
                        <a:pt x="2199826" y="690143"/>
                      </a:cubicBezTo>
                      <a:cubicBezTo>
                        <a:pt x="2186009" y="656355"/>
                        <a:pt x="2222923" y="604212"/>
                        <a:pt x="2229075" y="576577"/>
                      </a:cubicBezTo>
                      <a:cubicBezTo>
                        <a:pt x="2235228" y="549042"/>
                        <a:pt x="2235228" y="535123"/>
                        <a:pt x="2201440" y="516667"/>
                      </a:cubicBezTo>
                      <a:cubicBezTo>
                        <a:pt x="2167652" y="498209"/>
                        <a:pt x="2187622" y="464422"/>
                        <a:pt x="2184597" y="447578"/>
                      </a:cubicBezTo>
                      <a:cubicBezTo>
                        <a:pt x="2181571" y="430735"/>
                        <a:pt x="2152322" y="404612"/>
                        <a:pt x="2126199" y="372338"/>
                      </a:cubicBezTo>
                      <a:cubicBezTo>
                        <a:pt x="2118333" y="362655"/>
                        <a:pt x="2114298" y="350351"/>
                        <a:pt x="2112281" y="337945"/>
                      </a:cubicBezTo>
                      <a:cubicBezTo>
                        <a:pt x="2112079" y="338046"/>
                        <a:pt x="2111978" y="338349"/>
                        <a:pt x="2111777" y="338349"/>
                      </a:cubicBezTo>
                      <a:cubicBezTo>
                        <a:pt x="2091403" y="345913"/>
                        <a:pt x="2068609" y="305368"/>
                        <a:pt x="2071131" y="274807"/>
                      </a:cubicBezTo>
                      <a:cubicBezTo>
                        <a:pt x="2073652" y="244247"/>
                        <a:pt x="2060944" y="246769"/>
                        <a:pt x="2050757" y="223975"/>
                      </a:cubicBezTo>
                      <a:cubicBezTo>
                        <a:pt x="2040571" y="201080"/>
                        <a:pt x="2040571" y="150146"/>
                        <a:pt x="2020197" y="142582"/>
                      </a:cubicBezTo>
                      <a:cubicBezTo>
                        <a:pt x="1999824" y="135018"/>
                        <a:pt x="1982072" y="99314"/>
                        <a:pt x="1964221" y="101936"/>
                      </a:cubicBezTo>
                      <a:cubicBezTo>
                        <a:pt x="1946469" y="104458"/>
                        <a:pt x="1870119" y="173142"/>
                        <a:pt x="1867598" y="223975"/>
                      </a:cubicBezTo>
                      <a:cubicBezTo>
                        <a:pt x="1865076" y="274807"/>
                        <a:pt x="1819388" y="315454"/>
                        <a:pt x="1801536" y="333306"/>
                      </a:cubicBezTo>
                      <a:cubicBezTo>
                        <a:pt x="1783684" y="351157"/>
                        <a:pt x="1676975" y="323119"/>
                        <a:pt x="1651458" y="356200"/>
                      </a:cubicBezTo>
                      <a:cubicBezTo>
                        <a:pt x="1626042" y="389282"/>
                        <a:pt x="1598003" y="391804"/>
                        <a:pt x="1598003" y="358722"/>
                      </a:cubicBezTo>
                      <a:cubicBezTo>
                        <a:pt x="1598003" y="325640"/>
                        <a:pt x="1572587" y="287415"/>
                        <a:pt x="1587816" y="269664"/>
                      </a:cubicBezTo>
                      <a:cubicBezTo>
                        <a:pt x="1603046" y="251913"/>
                        <a:pt x="1615855" y="213788"/>
                        <a:pt x="1598003" y="203601"/>
                      </a:cubicBezTo>
                      <a:cubicBezTo>
                        <a:pt x="1580252" y="193415"/>
                        <a:pt x="1557357" y="170520"/>
                        <a:pt x="1557357" y="162956"/>
                      </a:cubicBezTo>
                      <a:cubicBezTo>
                        <a:pt x="1557357" y="155391"/>
                        <a:pt x="1559879" y="127251"/>
                        <a:pt x="1559879" y="127251"/>
                      </a:cubicBezTo>
                      <a:lnTo>
                        <a:pt x="1560685" y="54331"/>
                      </a:lnTo>
                      <a:cubicBezTo>
                        <a:pt x="1554836" y="54432"/>
                        <a:pt x="1535975" y="55440"/>
                        <a:pt x="1528612" y="61794"/>
                      </a:cubicBezTo>
                      <a:cubicBezTo>
                        <a:pt x="1520039" y="69358"/>
                        <a:pt x="1496237" y="85496"/>
                        <a:pt x="1483327" y="82269"/>
                      </a:cubicBezTo>
                      <a:cubicBezTo>
                        <a:pt x="1470316" y="79041"/>
                        <a:pt x="1467089" y="65022"/>
                        <a:pt x="1447623" y="72485"/>
                      </a:cubicBezTo>
                      <a:cubicBezTo>
                        <a:pt x="1428258" y="80049"/>
                        <a:pt x="1422812" y="102743"/>
                        <a:pt x="1391546" y="103853"/>
                      </a:cubicBezTo>
                      <a:cubicBezTo>
                        <a:pt x="1360179" y="104962"/>
                        <a:pt x="1305110" y="45556"/>
                        <a:pt x="1293310" y="28309"/>
                      </a:cubicBezTo>
                      <a:cubicBezTo>
                        <a:pt x="1281408" y="11063"/>
                        <a:pt x="1256597" y="2389"/>
                        <a:pt x="1233904" y="271"/>
                      </a:cubicBezTo>
                      <a:cubicBezTo>
                        <a:pt x="1211211" y="-1949"/>
                        <a:pt x="1209093" y="10054"/>
                        <a:pt x="1197191" y="15399"/>
                      </a:cubicBezTo>
                      <a:cubicBezTo>
                        <a:pt x="1193359" y="17114"/>
                        <a:pt x="1190131" y="16408"/>
                        <a:pt x="1187005" y="14895"/>
                      </a:cubicBezTo>
                      <a:cubicBezTo>
                        <a:pt x="1187105" y="14895"/>
                        <a:pt x="1187105" y="14996"/>
                        <a:pt x="1187105" y="14996"/>
                      </a:cubicBezTo>
                      <a:cubicBezTo>
                        <a:pt x="1182567" y="68047"/>
                        <a:pt x="1172884" y="150953"/>
                        <a:pt x="1154730" y="185447"/>
                      </a:cubicBezTo>
                      <a:cubicBezTo>
                        <a:pt x="1127095" y="237792"/>
                        <a:pt x="1105107" y="251610"/>
                        <a:pt x="1091390" y="276421"/>
                      </a:cubicBezTo>
                      <a:cubicBezTo>
                        <a:pt x="1077573" y="301132"/>
                        <a:pt x="1038944" y="292962"/>
                        <a:pt x="972781" y="375666"/>
                      </a:cubicBezTo>
                      <a:cubicBezTo>
                        <a:pt x="906617" y="458370"/>
                        <a:pt x="923158" y="381214"/>
                        <a:pt x="895624" y="428112"/>
                      </a:cubicBezTo>
                      <a:cubicBezTo>
                        <a:pt x="868090" y="475012"/>
                        <a:pt x="912165" y="499823"/>
                        <a:pt x="928706" y="516364"/>
                      </a:cubicBezTo>
                      <a:cubicBezTo>
                        <a:pt x="945246" y="532905"/>
                        <a:pt x="923158" y="574256"/>
                        <a:pt x="901171" y="590797"/>
                      </a:cubicBezTo>
                      <a:cubicBezTo>
                        <a:pt x="879083" y="607338"/>
                        <a:pt x="865366" y="560540"/>
                        <a:pt x="829461" y="588074"/>
                      </a:cubicBezTo>
                      <a:cubicBezTo>
                        <a:pt x="793555" y="615710"/>
                        <a:pt x="824014" y="656961"/>
                        <a:pt x="837731" y="659785"/>
                      </a:cubicBezTo>
                      <a:cubicBezTo>
                        <a:pt x="851549" y="662508"/>
                        <a:pt x="859819" y="687420"/>
                        <a:pt x="829461" y="739766"/>
                      </a:cubicBezTo>
                      <a:cubicBezTo>
                        <a:pt x="799103" y="792111"/>
                        <a:pt x="757851" y="803407"/>
                        <a:pt x="705405" y="842036"/>
                      </a:cubicBezTo>
                      <a:cubicBezTo>
                        <a:pt x="653059" y="880564"/>
                        <a:pt x="644789" y="842036"/>
                        <a:pt x="619978" y="842036"/>
                      </a:cubicBezTo>
                      <a:cubicBezTo>
                        <a:pt x="595167" y="842036"/>
                        <a:pt x="534550" y="853030"/>
                        <a:pt x="487651" y="883388"/>
                      </a:cubicBezTo>
                      <a:cubicBezTo>
                        <a:pt x="440752" y="913747"/>
                        <a:pt x="407670" y="897105"/>
                        <a:pt x="382859" y="897105"/>
                      </a:cubicBezTo>
                      <a:cubicBezTo>
                        <a:pt x="358048" y="897105"/>
                        <a:pt x="324966" y="916369"/>
                        <a:pt x="291885" y="960545"/>
                      </a:cubicBezTo>
                      <a:cubicBezTo>
                        <a:pt x="258803" y="1004620"/>
                        <a:pt x="195363" y="966092"/>
                        <a:pt x="167828" y="957721"/>
                      </a:cubicBezTo>
                      <a:cubicBezTo>
                        <a:pt x="140294" y="949450"/>
                        <a:pt x="115483" y="960545"/>
                        <a:pt x="104389" y="993526"/>
                      </a:cubicBezTo>
                      <a:cubicBezTo>
                        <a:pt x="93395" y="1026607"/>
                        <a:pt x="123653" y="1015614"/>
                        <a:pt x="120929" y="1095594"/>
                      </a:cubicBezTo>
                      <a:cubicBezTo>
                        <a:pt x="118206" y="1175575"/>
                        <a:pt x="90571" y="1150764"/>
                        <a:pt x="71307" y="1164582"/>
                      </a:cubicBezTo>
                      <a:cubicBezTo>
                        <a:pt x="52043" y="1178399"/>
                        <a:pt x="85024" y="1252833"/>
                        <a:pt x="126477" y="1252833"/>
                      </a:cubicBezTo>
                      <a:cubicBezTo>
                        <a:pt x="167828" y="1252833"/>
                        <a:pt x="209181" y="1321921"/>
                        <a:pt x="217451" y="1344009"/>
                      </a:cubicBezTo>
                      <a:cubicBezTo>
                        <a:pt x="225722" y="1365996"/>
                        <a:pt x="231269" y="1401902"/>
                        <a:pt x="242262" y="1434984"/>
                      </a:cubicBezTo>
                      <a:cubicBezTo>
                        <a:pt x="253256" y="1468065"/>
                        <a:pt x="244986" y="1481883"/>
                        <a:pt x="220174" y="1492876"/>
                      </a:cubicBezTo>
                      <a:cubicBezTo>
                        <a:pt x="195363" y="1503870"/>
                        <a:pt x="203633" y="1548046"/>
                        <a:pt x="187093" y="1581128"/>
                      </a:cubicBezTo>
                      <a:cubicBezTo>
                        <a:pt x="170552" y="1614310"/>
                        <a:pt x="145740" y="1652838"/>
                        <a:pt x="120929" y="1661108"/>
                      </a:cubicBezTo>
                      <a:cubicBezTo>
                        <a:pt x="96118" y="1669379"/>
                        <a:pt x="87848" y="1716278"/>
                        <a:pt x="71307" y="1743813"/>
                      </a:cubicBezTo>
                      <a:cubicBezTo>
                        <a:pt x="54766" y="1771347"/>
                        <a:pt x="40949" y="1779718"/>
                        <a:pt x="27131" y="1807252"/>
                      </a:cubicBezTo>
                      <a:cubicBezTo>
                        <a:pt x="13313" y="1834787"/>
                        <a:pt x="10590" y="1878963"/>
                        <a:pt x="10590" y="1878963"/>
                      </a:cubicBezTo>
                      <a:cubicBezTo>
                        <a:pt x="10590" y="1878963"/>
                        <a:pt x="7766" y="1888746"/>
                        <a:pt x="0" y="1899941"/>
                      </a:cubicBezTo>
                      <a:cubicBezTo>
                        <a:pt x="19466" y="1909120"/>
                        <a:pt x="65659" y="1931309"/>
                        <a:pt x="86032" y="1943210"/>
                      </a:cubicBezTo>
                      <a:cubicBezTo>
                        <a:pt x="112155" y="1958440"/>
                        <a:pt x="115180" y="1960053"/>
                        <a:pt x="132125" y="1993942"/>
                      </a:cubicBezTo>
                      <a:cubicBezTo>
                        <a:pt x="148968" y="2027730"/>
                        <a:pt x="156633" y="2021476"/>
                        <a:pt x="185882" y="2043060"/>
                      </a:cubicBezTo>
                      <a:cubicBezTo>
                        <a:pt x="215031" y="2064644"/>
                        <a:pt x="274941" y="2009272"/>
                        <a:pt x="305601" y="2003120"/>
                      </a:cubicBezTo>
                      <a:cubicBezTo>
                        <a:pt x="336262" y="1996967"/>
                        <a:pt x="370050" y="2020064"/>
                        <a:pt x="382355" y="2040034"/>
                      </a:cubicBezTo>
                      <a:cubicBezTo>
                        <a:pt x="394660" y="2059904"/>
                        <a:pt x="417655" y="2044674"/>
                        <a:pt x="429960" y="2024703"/>
                      </a:cubicBezTo>
                      <a:cubicBezTo>
                        <a:pt x="442265" y="2004734"/>
                        <a:pt x="482205" y="2033882"/>
                        <a:pt x="509840" y="2044674"/>
                      </a:cubicBezTo>
                      <a:cubicBezTo>
                        <a:pt x="537475" y="2055466"/>
                        <a:pt x="609589" y="2047699"/>
                        <a:pt x="626533" y="2041547"/>
                      </a:cubicBezTo>
                      <a:cubicBezTo>
                        <a:pt x="643377" y="2035394"/>
                        <a:pt x="637325" y="1986276"/>
                        <a:pt x="625021" y="1977098"/>
                      </a:cubicBezTo>
                      <a:cubicBezTo>
                        <a:pt x="612716" y="1967920"/>
                        <a:pt x="615842" y="1927980"/>
                        <a:pt x="635712" y="1911036"/>
                      </a:cubicBezTo>
                      <a:cubicBezTo>
                        <a:pt x="655682" y="1894092"/>
                        <a:pt x="674139" y="1920315"/>
                        <a:pt x="689469" y="1920315"/>
                      </a:cubicBezTo>
                      <a:cubicBezTo>
                        <a:pt x="704800" y="1920315"/>
                        <a:pt x="753918" y="1935646"/>
                        <a:pt x="769349" y="1958742"/>
                      </a:cubicBezTo>
                      <a:cubicBezTo>
                        <a:pt x="784680" y="1981839"/>
                        <a:pt x="849128" y="1966307"/>
                        <a:pt x="883017" y="1970946"/>
                      </a:cubicBezTo>
                      <a:cubicBezTo>
                        <a:pt x="916804" y="1975585"/>
                        <a:pt x="927495" y="2026217"/>
                        <a:pt x="952105" y="2035394"/>
                      </a:cubicBezTo>
                      <a:cubicBezTo>
                        <a:pt x="976613" y="2044573"/>
                        <a:pt x="985892" y="2030856"/>
                        <a:pt x="1045802" y="2037008"/>
                      </a:cubicBezTo>
                      <a:cubicBezTo>
                        <a:pt x="1105713" y="2043161"/>
                        <a:pt x="1101073" y="2101457"/>
                        <a:pt x="1117916" y="2116888"/>
                      </a:cubicBezTo>
                      <a:cubicBezTo>
                        <a:pt x="1134760" y="2132320"/>
                        <a:pt x="1151704" y="2112350"/>
                        <a:pt x="1160882" y="2100045"/>
                      </a:cubicBezTo>
                      <a:cubicBezTo>
                        <a:pt x="1170060" y="2087740"/>
                        <a:pt x="1190030" y="2078461"/>
                        <a:pt x="1213026" y="2109223"/>
                      </a:cubicBezTo>
                      <a:cubicBezTo>
                        <a:pt x="1236022" y="2139884"/>
                        <a:pt x="1259118" y="2103071"/>
                        <a:pt x="1283627" y="2101457"/>
                      </a:cubicBezTo>
                      <a:cubicBezTo>
                        <a:pt x="1308135" y="2099944"/>
                        <a:pt x="1308135" y="2138371"/>
                        <a:pt x="1332745" y="2161367"/>
                      </a:cubicBezTo>
                      <a:cubicBezTo>
                        <a:pt x="1357354" y="2184464"/>
                        <a:pt x="1460230" y="2170545"/>
                        <a:pt x="1467896" y="2161367"/>
                      </a:cubicBezTo>
                      <a:cubicBezTo>
                        <a:pt x="1475460" y="2152189"/>
                        <a:pt x="1475561" y="2107610"/>
                        <a:pt x="1483226" y="2092279"/>
                      </a:cubicBezTo>
                      <a:cubicBezTo>
                        <a:pt x="1490891" y="2076949"/>
                        <a:pt x="1547675" y="2083000"/>
                        <a:pt x="1561492" y="2086127"/>
                      </a:cubicBezTo>
                      <a:cubicBezTo>
                        <a:pt x="1575310" y="2089253"/>
                        <a:pt x="1587615" y="2076848"/>
                        <a:pt x="1587615" y="2066157"/>
                      </a:cubicBezTo>
                      <a:cubicBezTo>
                        <a:pt x="1587615" y="2055466"/>
                        <a:pt x="1570671" y="2047699"/>
                        <a:pt x="1544548" y="2032470"/>
                      </a:cubicBezTo>
                      <a:cubicBezTo>
                        <a:pt x="1518426" y="2017139"/>
                        <a:pt x="1498456" y="2030856"/>
                        <a:pt x="1484638" y="2038622"/>
                      </a:cubicBezTo>
                      <a:cubicBezTo>
                        <a:pt x="1470921" y="2046287"/>
                        <a:pt x="1452363" y="2033983"/>
                        <a:pt x="1429368" y="2003220"/>
                      </a:cubicBezTo>
                      <a:cubicBezTo>
                        <a:pt x="1406372" y="1972560"/>
                        <a:pt x="1420189" y="1940386"/>
                        <a:pt x="1444698" y="1924955"/>
                      </a:cubicBezTo>
                      <a:cubicBezTo>
                        <a:pt x="1469308" y="1909523"/>
                        <a:pt x="1481612" y="1855866"/>
                        <a:pt x="1481612" y="1820566"/>
                      </a:cubicBezTo>
                      <a:cubicBezTo>
                        <a:pt x="1481612" y="1785265"/>
                        <a:pt x="1470820" y="1745326"/>
                        <a:pt x="1466282" y="1731508"/>
                      </a:cubicBezTo>
                      <a:cubicBezTo>
                        <a:pt x="1461642" y="1717791"/>
                        <a:pt x="1453977" y="1694694"/>
                        <a:pt x="1421702" y="1683903"/>
                      </a:cubicBezTo>
                      <a:cubicBezTo>
                        <a:pt x="1389428" y="1673111"/>
                        <a:pt x="1352614" y="1667059"/>
                        <a:pt x="1328106" y="1639424"/>
                      </a:cubicBezTo>
                      <a:cubicBezTo>
                        <a:pt x="1303496" y="1611889"/>
                        <a:pt x="1305009" y="1533523"/>
                        <a:pt x="1324979" y="1519705"/>
                      </a:cubicBezTo>
                      <a:cubicBezTo>
                        <a:pt x="1344949" y="1505887"/>
                        <a:pt x="1375711" y="1478252"/>
                        <a:pt x="1383376" y="1444464"/>
                      </a:cubicBezTo>
                      <a:cubicBezTo>
                        <a:pt x="1391142" y="1410676"/>
                        <a:pt x="1421803" y="1441439"/>
                        <a:pt x="1434007" y="1449104"/>
                      </a:cubicBezTo>
                      <a:cubicBezTo>
                        <a:pt x="1446312" y="1456769"/>
                        <a:pt x="1467795" y="1452130"/>
                        <a:pt x="1470921" y="1439825"/>
                      </a:cubicBezTo>
                      <a:cubicBezTo>
                        <a:pt x="1473947" y="1427520"/>
                        <a:pt x="1500170" y="1424495"/>
                        <a:pt x="1536984" y="1436799"/>
                      </a:cubicBezTo>
                      <a:cubicBezTo>
                        <a:pt x="1573898" y="1449104"/>
                        <a:pt x="1593767" y="1445977"/>
                        <a:pt x="1607585" y="1438312"/>
                      </a:cubicBezTo>
                      <a:cubicBezTo>
                        <a:pt x="1621402" y="1430647"/>
                        <a:pt x="1624428" y="1467561"/>
                        <a:pt x="1629067" y="1482892"/>
                      </a:cubicBezTo>
                      <a:cubicBezTo>
                        <a:pt x="1633707" y="1498222"/>
                        <a:pt x="1650550" y="1470586"/>
                        <a:pt x="1644398" y="1439926"/>
                      </a:cubicBezTo>
                      <a:cubicBezTo>
                        <a:pt x="1638246" y="1409164"/>
                        <a:pt x="1652063" y="1410777"/>
                        <a:pt x="1678186" y="1410777"/>
                      </a:cubicBezTo>
                      <a:cubicBezTo>
                        <a:pt x="1704308" y="1410777"/>
                        <a:pt x="1725690" y="1418443"/>
                        <a:pt x="1758066" y="1413804"/>
                      </a:cubicBezTo>
                      <a:cubicBezTo>
                        <a:pt x="1790341" y="1409164"/>
                        <a:pt x="1811722" y="1403012"/>
                        <a:pt x="1836332" y="1410777"/>
                      </a:cubicBezTo>
                      <a:cubicBezTo>
                        <a:pt x="1860942" y="1418443"/>
                        <a:pt x="1882424" y="1421468"/>
                        <a:pt x="1905420" y="1406138"/>
                      </a:cubicBezTo>
                      <a:cubicBezTo>
                        <a:pt x="1928416" y="1390808"/>
                        <a:pt x="1929929" y="1370838"/>
                        <a:pt x="1913085" y="1350867"/>
                      </a:cubicBezTo>
                      <a:cubicBezTo>
                        <a:pt x="1896141" y="1330999"/>
                        <a:pt x="1882323" y="1298623"/>
                        <a:pt x="1885450" y="1260196"/>
                      </a:cubicBezTo>
                      <a:cubicBezTo>
                        <a:pt x="1888577" y="1221769"/>
                        <a:pt x="1925390" y="1223383"/>
                        <a:pt x="1963817" y="1251018"/>
                      </a:cubicBezTo>
                      <a:cubicBezTo>
                        <a:pt x="2002244" y="1278653"/>
                        <a:pt x="2011321" y="1229434"/>
                        <a:pt x="2019088" y="1229434"/>
                      </a:cubicBezTo>
                      <a:cubicBezTo>
                        <a:pt x="2026753" y="1229434"/>
                        <a:pt x="2065180" y="1229434"/>
                        <a:pt x="2077485" y="1207951"/>
                      </a:cubicBezTo>
                      <a:cubicBezTo>
                        <a:pt x="2089789" y="1186569"/>
                        <a:pt x="2109659" y="1183341"/>
                        <a:pt x="2155751" y="1186367"/>
                      </a:cubicBezTo>
                      <a:cubicBezTo>
                        <a:pt x="2201843" y="1189393"/>
                        <a:pt x="2172594" y="1141990"/>
                        <a:pt x="2160290" y="1120406"/>
                      </a:cubicBezTo>
                      <a:cubicBezTo>
                        <a:pt x="2147985" y="1098822"/>
                        <a:pt x="2168056" y="1072800"/>
                        <a:pt x="2178747" y="1060496"/>
                      </a:cubicBezTo>
                      <a:cubicBezTo>
                        <a:pt x="2189438" y="1048191"/>
                        <a:pt x="2232504" y="1077339"/>
                        <a:pt x="2260140" y="1080466"/>
                      </a:cubicBezTo>
                      <a:cubicBezTo>
                        <a:pt x="2287775" y="1083592"/>
                        <a:pt x="2292314" y="1043653"/>
                        <a:pt x="2289389" y="1014403"/>
                      </a:cubicBezTo>
                      <a:cubicBezTo>
                        <a:pt x="2286363" y="985155"/>
                        <a:pt x="2366041" y="945416"/>
                        <a:pt x="2387625" y="943802"/>
                      </a:cubicBezTo>
                      <a:cubicBezTo>
                        <a:pt x="2409209" y="942290"/>
                        <a:pt x="2422926" y="919294"/>
                        <a:pt x="2419900" y="905375"/>
                      </a:cubicBezTo>
                      <a:cubicBezTo>
                        <a:pt x="2416571" y="891356"/>
                        <a:pt x="2394987" y="863721"/>
                        <a:pt x="2358073" y="865234"/>
                      </a:cubicBezTo>
                      <a:close/>
                    </a:path>
                  </a:pathLst>
                </a:custGeom>
                <a:solidFill>
                  <a:schemeClr val="bg1">
                    <a:lumMod val="75000"/>
                  </a:schemeClr>
                </a:solidFill>
                <a:ln w="10085" cap="flat">
                  <a:solidFill>
                    <a:srgbClr val="FFFFFF"/>
                  </a:solidFill>
                  <a:prstDash val="solid"/>
                  <a:miter/>
                </a:ln>
              </p:spPr>
              <p:txBody>
                <a:bodyPr rtlCol="0" anchor="ctr"/>
                <a:lstStyle/>
                <a:p>
                  <a:endParaRPr lang="fr-FR" sz="900"/>
                </a:p>
              </p:txBody>
            </p:sp>
            <p:sp>
              <p:nvSpPr>
                <p:cNvPr id="97" name="Forme libre : forme 96">
                  <a:extLst>
                    <a:ext uri="{FF2B5EF4-FFF2-40B4-BE49-F238E27FC236}">
                      <a16:creationId xmlns:a16="http://schemas.microsoft.com/office/drawing/2014/main" id="{CBCB4BA6-73AF-BBEB-18F1-4FDAC31ACB11}"/>
                    </a:ext>
                  </a:extLst>
                </p:cNvPr>
                <p:cNvSpPr/>
                <p:nvPr/>
              </p:nvSpPr>
              <p:spPr>
                <a:xfrm>
                  <a:off x="3558442" y="9664381"/>
                  <a:ext cx="2425245" cy="2179250"/>
                </a:xfrm>
                <a:custGeom>
                  <a:avLst/>
                  <a:gdLst>
                    <a:gd name="connsiteX0" fmla="*/ 1333048 w 2425245"/>
                    <a:gd name="connsiteY0" fmla="*/ 2165938 h 2179250"/>
                    <a:gd name="connsiteX1" fmla="*/ 1287258 w 2425245"/>
                    <a:gd name="connsiteY1" fmla="*/ 2106532 h 2179250"/>
                    <a:gd name="connsiteX2" fmla="*/ 1287258 w 2425245"/>
                    <a:gd name="connsiteY2" fmla="*/ 2106532 h 2179250"/>
                    <a:gd name="connsiteX3" fmla="*/ 1285947 w 2425245"/>
                    <a:gd name="connsiteY3" fmla="*/ 2106734 h 2179250"/>
                    <a:gd name="connsiteX4" fmla="*/ 1285947 w 2425245"/>
                    <a:gd name="connsiteY4" fmla="*/ 2106734 h 2179250"/>
                    <a:gd name="connsiteX5" fmla="*/ 1235417 w 2425245"/>
                    <a:gd name="connsiteY5" fmla="*/ 2126502 h 2179250"/>
                    <a:gd name="connsiteX6" fmla="*/ 1235417 w 2425245"/>
                    <a:gd name="connsiteY6" fmla="*/ 2126502 h 2179250"/>
                    <a:gd name="connsiteX7" fmla="*/ 1212925 w 2425245"/>
                    <a:gd name="connsiteY7" fmla="*/ 2113189 h 2179250"/>
                    <a:gd name="connsiteX8" fmla="*/ 1212925 w 2425245"/>
                    <a:gd name="connsiteY8" fmla="*/ 2113189 h 2179250"/>
                    <a:gd name="connsiteX9" fmla="*/ 1183878 w 2425245"/>
                    <a:gd name="connsiteY9" fmla="*/ 2093622 h 2179250"/>
                    <a:gd name="connsiteX10" fmla="*/ 1183878 w 2425245"/>
                    <a:gd name="connsiteY10" fmla="*/ 2093622 h 2179250"/>
                    <a:gd name="connsiteX11" fmla="*/ 1165118 w 2425245"/>
                    <a:gd name="connsiteY11" fmla="*/ 2104111 h 2179250"/>
                    <a:gd name="connsiteX12" fmla="*/ 1165118 w 2425245"/>
                    <a:gd name="connsiteY12" fmla="*/ 2104111 h 2179250"/>
                    <a:gd name="connsiteX13" fmla="*/ 1132843 w 2425245"/>
                    <a:gd name="connsiteY13" fmla="*/ 2127511 h 2179250"/>
                    <a:gd name="connsiteX14" fmla="*/ 1132843 w 2425245"/>
                    <a:gd name="connsiteY14" fmla="*/ 2127511 h 2179250"/>
                    <a:gd name="connsiteX15" fmla="*/ 1118118 w 2425245"/>
                    <a:gd name="connsiteY15" fmla="*/ 2121358 h 2179250"/>
                    <a:gd name="connsiteX16" fmla="*/ 1118118 w 2425245"/>
                    <a:gd name="connsiteY16" fmla="*/ 2121358 h 2179250"/>
                    <a:gd name="connsiteX17" fmla="*/ 1047517 w 2425245"/>
                    <a:gd name="connsiteY17" fmla="*/ 2042184 h 2179250"/>
                    <a:gd name="connsiteX18" fmla="*/ 1047517 w 2425245"/>
                    <a:gd name="connsiteY18" fmla="*/ 2042184 h 2179250"/>
                    <a:gd name="connsiteX19" fmla="*/ 1017966 w 2425245"/>
                    <a:gd name="connsiteY19" fmla="*/ 2040470 h 2179250"/>
                    <a:gd name="connsiteX20" fmla="*/ 1017966 w 2425245"/>
                    <a:gd name="connsiteY20" fmla="*/ 2040470 h 2179250"/>
                    <a:gd name="connsiteX21" fmla="*/ 971772 w 2425245"/>
                    <a:gd name="connsiteY21" fmla="*/ 2043798 h 2179250"/>
                    <a:gd name="connsiteX22" fmla="*/ 971772 w 2425245"/>
                    <a:gd name="connsiteY22" fmla="*/ 2043798 h 2179250"/>
                    <a:gd name="connsiteX23" fmla="*/ 953114 w 2425245"/>
                    <a:gd name="connsiteY23" fmla="*/ 2040470 h 2179250"/>
                    <a:gd name="connsiteX24" fmla="*/ 953114 w 2425245"/>
                    <a:gd name="connsiteY24" fmla="*/ 2040470 h 2179250"/>
                    <a:gd name="connsiteX25" fmla="*/ 884631 w 2425245"/>
                    <a:gd name="connsiteY25" fmla="*/ 1976122 h 2179250"/>
                    <a:gd name="connsiteX26" fmla="*/ 884631 w 2425245"/>
                    <a:gd name="connsiteY26" fmla="*/ 1976122 h 2179250"/>
                    <a:gd name="connsiteX27" fmla="*/ 868392 w 2425245"/>
                    <a:gd name="connsiteY27" fmla="*/ 1975113 h 2179250"/>
                    <a:gd name="connsiteX28" fmla="*/ 868392 w 2425245"/>
                    <a:gd name="connsiteY28" fmla="*/ 1975113 h 2179250"/>
                    <a:gd name="connsiteX29" fmla="*/ 816248 w 2425245"/>
                    <a:gd name="connsiteY29" fmla="*/ 1977030 h 2179250"/>
                    <a:gd name="connsiteX30" fmla="*/ 816248 w 2425245"/>
                    <a:gd name="connsiteY30" fmla="*/ 1977030 h 2179250"/>
                    <a:gd name="connsiteX31" fmla="*/ 769147 w 2425245"/>
                    <a:gd name="connsiteY31" fmla="*/ 1962707 h 2179250"/>
                    <a:gd name="connsiteX32" fmla="*/ 769147 w 2425245"/>
                    <a:gd name="connsiteY32" fmla="*/ 1962707 h 2179250"/>
                    <a:gd name="connsiteX33" fmla="*/ 691688 w 2425245"/>
                    <a:gd name="connsiteY33" fmla="*/ 1925491 h 2179250"/>
                    <a:gd name="connsiteX34" fmla="*/ 691688 w 2425245"/>
                    <a:gd name="connsiteY34" fmla="*/ 1925491 h 2179250"/>
                    <a:gd name="connsiteX35" fmla="*/ 652252 w 2425245"/>
                    <a:gd name="connsiteY35" fmla="*/ 1910463 h 2179250"/>
                    <a:gd name="connsiteX36" fmla="*/ 652252 w 2425245"/>
                    <a:gd name="connsiteY36" fmla="*/ 1910463 h 2179250"/>
                    <a:gd name="connsiteX37" fmla="*/ 639847 w 2425245"/>
                    <a:gd name="connsiteY37" fmla="*/ 1915607 h 2179250"/>
                    <a:gd name="connsiteX38" fmla="*/ 639847 w 2425245"/>
                    <a:gd name="connsiteY38" fmla="*/ 1915607 h 2179250"/>
                    <a:gd name="connsiteX39" fmla="*/ 622802 w 2425245"/>
                    <a:gd name="connsiteY39" fmla="*/ 1957664 h 2179250"/>
                    <a:gd name="connsiteX40" fmla="*/ 622802 w 2425245"/>
                    <a:gd name="connsiteY40" fmla="*/ 1957664 h 2179250"/>
                    <a:gd name="connsiteX41" fmla="*/ 628853 w 2425245"/>
                    <a:gd name="connsiteY41" fmla="*/ 1977231 h 2179250"/>
                    <a:gd name="connsiteX42" fmla="*/ 628853 w 2425245"/>
                    <a:gd name="connsiteY42" fmla="*/ 1977231 h 2179250"/>
                    <a:gd name="connsiteX43" fmla="*/ 641864 w 2425245"/>
                    <a:gd name="connsiteY43" fmla="*/ 2018079 h 2179250"/>
                    <a:gd name="connsiteX44" fmla="*/ 641864 w 2425245"/>
                    <a:gd name="connsiteY44" fmla="*/ 2018079 h 2179250"/>
                    <a:gd name="connsiteX45" fmla="*/ 629660 w 2425245"/>
                    <a:gd name="connsiteY45" fmla="*/ 2046521 h 2179250"/>
                    <a:gd name="connsiteX46" fmla="*/ 629660 w 2425245"/>
                    <a:gd name="connsiteY46" fmla="*/ 2046521 h 2179250"/>
                    <a:gd name="connsiteX47" fmla="*/ 554924 w 2425245"/>
                    <a:gd name="connsiteY47" fmla="*/ 2055195 h 2179250"/>
                    <a:gd name="connsiteX48" fmla="*/ 554924 w 2425245"/>
                    <a:gd name="connsiteY48" fmla="*/ 2055195 h 2179250"/>
                    <a:gd name="connsiteX49" fmla="*/ 511050 w 2425245"/>
                    <a:gd name="connsiteY49" fmla="*/ 2049647 h 2179250"/>
                    <a:gd name="connsiteX50" fmla="*/ 511050 w 2425245"/>
                    <a:gd name="connsiteY50" fmla="*/ 2049647 h 2179250"/>
                    <a:gd name="connsiteX51" fmla="*/ 445492 w 2425245"/>
                    <a:gd name="connsiteY51" fmla="*/ 2023021 h 2179250"/>
                    <a:gd name="connsiteX52" fmla="*/ 445492 w 2425245"/>
                    <a:gd name="connsiteY52" fmla="*/ 2023021 h 2179250"/>
                    <a:gd name="connsiteX53" fmla="*/ 434600 w 2425245"/>
                    <a:gd name="connsiteY53" fmla="*/ 2028467 h 2179250"/>
                    <a:gd name="connsiteX54" fmla="*/ 434600 w 2425245"/>
                    <a:gd name="connsiteY54" fmla="*/ 2028467 h 2179250"/>
                    <a:gd name="connsiteX55" fmla="*/ 399602 w 2425245"/>
                    <a:gd name="connsiteY55" fmla="*/ 2054388 h 2179250"/>
                    <a:gd name="connsiteX56" fmla="*/ 399602 w 2425245"/>
                    <a:gd name="connsiteY56" fmla="*/ 2054388 h 2179250"/>
                    <a:gd name="connsiteX57" fmla="*/ 382355 w 2425245"/>
                    <a:gd name="connsiteY57" fmla="*/ 2043798 h 2179250"/>
                    <a:gd name="connsiteX58" fmla="*/ 382355 w 2425245"/>
                    <a:gd name="connsiteY58" fmla="*/ 2043798 h 2179250"/>
                    <a:gd name="connsiteX59" fmla="*/ 318310 w 2425245"/>
                    <a:gd name="connsiteY59" fmla="*/ 2007287 h 2179250"/>
                    <a:gd name="connsiteX60" fmla="*/ 318310 w 2425245"/>
                    <a:gd name="connsiteY60" fmla="*/ 2007287 h 2179250"/>
                    <a:gd name="connsiteX61" fmla="*/ 308526 w 2425245"/>
                    <a:gd name="connsiteY61" fmla="*/ 2008195 h 2179250"/>
                    <a:gd name="connsiteX62" fmla="*/ 308526 w 2425245"/>
                    <a:gd name="connsiteY62" fmla="*/ 2008195 h 2179250"/>
                    <a:gd name="connsiteX63" fmla="*/ 204440 w 2425245"/>
                    <a:gd name="connsiteY63" fmla="*/ 2053077 h 2179250"/>
                    <a:gd name="connsiteX64" fmla="*/ 204440 w 2425245"/>
                    <a:gd name="connsiteY64" fmla="*/ 2053077 h 2179250"/>
                    <a:gd name="connsiteX65" fmla="*/ 186589 w 2425245"/>
                    <a:gd name="connsiteY65" fmla="*/ 2047731 h 2179250"/>
                    <a:gd name="connsiteX66" fmla="*/ 186589 w 2425245"/>
                    <a:gd name="connsiteY66" fmla="*/ 2047731 h 2179250"/>
                    <a:gd name="connsiteX67" fmla="*/ 132024 w 2425245"/>
                    <a:gd name="connsiteY67" fmla="*/ 1997504 h 2179250"/>
                    <a:gd name="connsiteX68" fmla="*/ 132024 w 2425245"/>
                    <a:gd name="connsiteY68" fmla="*/ 1997504 h 2179250"/>
                    <a:gd name="connsiteX69" fmla="*/ 87041 w 2425245"/>
                    <a:gd name="connsiteY69" fmla="*/ 1948083 h 2179250"/>
                    <a:gd name="connsiteX70" fmla="*/ 87041 w 2425245"/>
                    <a:gd name="connsiteY70" fmla="*/ 1948083 h 2179250"/>
                    <a:gd name="connsiteX71" fmla="*/ 1210 w 2425245"/>
                    <a:gd name="connsiteY71" fmla="*/ 1904916 h 2179250"/>
                    <a:gd name="connsiteX72" fmla="*/ 1210 w 2425245"/>
                    <a:gd name="connsiteY72" fmla="*/ 1904916 h 2179250"/>
                    <a:gd name="connsiteX73" fmla="*/ 0 w 2425245"/>
                    <a:gd name="connsiteY73" fmla="*/ 1900781 h 2179250"/>
                    <a:gd name="connsiteX74" fmla="*/ 10187 w 2425245"/>
                    <a:gd name="connsiteY74" fmla="*/ 1881214 h 2179250"/>
                    <a:gd name="connsiteX75" fmla="*/ 10187 w 2425245"/>
                    <a:gd name="connsiteY75" fmla="*/ 1881214 h 2179250"/>
                    <a:gd name="connsiteX76" fmla="*/ 27030 w 2425245"/>
                    <a:gd name="connsiteY76" fmla="*/ 1808495 h 2179250"/>
                    <a:gd name="connsiteX77" fmla="*/ 27030 w 2425245"/>
                    <a:gd name="connsiteY77" fmla="*/ 1808495 h 2179250"/>
                    <a:gd name="connsiteX78" fmla="*/ 71307 w 2425245"/>
                    <a:gd name="connsiteY78" fmla="*/ 1744954 h 2179250"/>
                    <a:gd name="connsiteX79" fmla="*/ 71307 w 2425245"/>
                    <a:gd name="connsiteY79" fmla="*/ 1744954 h 2179250"/>
                    <a:gd name="connsiteX80" fmla="*/ 122442 w 2425245"/>
                    <a:gd name="connsiteY80" fmla="*/ 1661141 h 2179250"/>
                    <a:gd name="connsiteX81" fmla="*/ 122442 w 2425245"/>
                    <a:gd name="connsiteY81" fmla="*/ 1661141 h 2179250"/>
                    <a:gd name="connsiteX82" fmla="*/ 187093 w 2425245"/>
                    <a:gd name="connsiteY82" fmla="*/ 1582471 h 2179250"/>
                    <a:gd name="connsiteX83" fmla="*/ 187093 w 2425245"/>
                    <a:gd name="connsiteY83" fmla="*/ 1582471 h 2179250"/>
                    <a:gd name="connsiteX84" fmla="*/ 221485 w 2425245"/>
                    <a:gd name="connsiteY84" fmla="*/ 1492909 h 2179250"/>
                    <a:gd name="connsiteX85" fmla="*/ 221485 w 2425245"/>
                    <a:gd name="connsiteY85" fmla="*/ 1492909 h 2179250"/>
                    <a:gd name="connsiteX86" fmla="*/ 246700 w 2425245"/>
                    <a:gd name="connsiteY86" fmla="*/ 1461945 h 2179250"/>
                    <a:gd name="connsiteX87" fmla="*/ 246700 w 2425245"/>
                    <a:gd name="connsiteY87" fmla="*/ 1461945 h 2179250"/>
                    <a:gd name="connsiteX88" fmla="*/ 242061 w 2425245"/>
                    <a:gd name="connsiteY88" fmla="*/ 1438445 h 2179250"/>
                    <a:gd name="connsiteX89" fmla="*/ 242061 w 2425245"/>
                    <a:gd name="connsiteY89" fmla="*/ 1438445 h 2179250"/>
                    <a:gd name="connsiteX90" fmla="*/ 217249 w 2425245"/>
                    <a:gd name="connsiteY90" fmla="*/ 1347672 h 2179250"/>
                    <a:gd name="connsiteX91" fmla="*/ 217249 w 2425245"/>
                    <a:gd name="connsiteY91" fmla="*/ 1347672 h 2179250"/>
                    <a:gd name="connsiteX92" fmla="*/ 128897 w 2425245"/>
                    <a:gd name="connsiteY92" fmla="*/ 1258312 h 2179250"/>
                    <a:gd name="connsiteX93" fmla="*/ 128897 w 2425245"/>
                    <a:gd name="connsiteY93" fmla="*/ 1258312 h 2179250"/>
                    <a:gd name="connsiteX94" fmla="*/ 65256 w 2425245"/>
                    <a:gd name="connsiteY94" fmla="*/ 1181962 h 2179250"/>
                    <a:gd name="connsiteX95" fmla="*/ 65256 w 2425245"/>
                    <a:gd name="connsiteY95" fmla="*/ 1181962 h 2179250"/>
                    <a:gd name="connsiteX96" fmla="*/ 72114 w 2425245"/>
                    <a:gd name="connsiteY96" fmla="*/ 1165118 h 2179250"/>
                    <a:gd name="connsiteX97" fmla="*/ 72114 w 2425245"/>
                    <a:gd name="connsiteY97" fmla="*/ 1165118 h 2179250"/>
                    <a:gd name="connsiteX98" fmla="*/ 120627 w 2425245"/>
                    <a:gd name="connsiteY98" fmla="*/ 1098450 h 2179250"/>
                    <a:gd name="connsiteX99" fmla="*/ 120627 w 2425245"/>
                    <a:gd name="connsiteY99" fmla="*/ 1098450 h 2179250"/>
                    <a:gd name="connsiteX100" fmla="*/ 120627 w 2425245"/>
                    <a:gd name="connsiteY100" fmla="*/ 1088264 h 2179250"/>
                    <a:gd name="connsiteX101" fmla="*/ 120627 w 2425245"/>
                    <a:gd name="connsiteY101" fmla="*/ 1088264 h 2179250"/>
                    <a:gd name="connsiteX102" fmla="*/ 101565 w 2425245"/>
                    <a:gd name="connsiteY102" fmla="*/ 1008888 h 2179250"/>
                    <a:gd name="connsiteX103" fmla="*/ 101565 w 2425245"/>
                    <a:gd name="connsiteY103" fmla="*/ 1008888 h 2179250"/>
                    <a:gd name="connsiteX104" fmla="*/ 104187 w 2425245"/>
                    <a:gd name="connsiteY104" fmla="*/ 995272 h 2179250"/>
                    <a:gd name="connsiteX105" fmla="*/ 104187 w 2425245"/>
                    <a:gd name="connsiteY105" fmla="*/ 995272 h 2179250"/>
                    <a:gd name="connsiteX106" fmla="*/ 153204 w 2425245"/>
                    <a:gd name="connsiteY106" fmla="*/ 954828 h 2179250"/>
                    <a:gd name="connsiteX107" fmla="*/ 153204 w 2425245"/>
                    <a:gd name="connsiteY107" fmla="*/ 954828 h 2179250"/>
                    <a:gd name="connsiteX108" fmla="*/ 170955 w 2425245"/>
                    <a:gd name="connsiteY108" fmla="*/ 957753 h 2179250"/>
                    <a:gd name="connsiteX109" fmla="*/ 170955 w 2425245"/>
                    <a:gd name="connsiteY109" fmla="*/ 957753 h 2179250"/>
                    <a:gd name="connsiteX110" fmla="*/ 251138 w 2425245"/>
                    <a:gd name="connsiteY110" fmla="*/ 981051 h 2179250"/>
                    <a:gd name="connsiteX111" fmla="*/ 251138 w 2425245"/>
                    <a:gd name="connsiteY111" fmla="*/ 981051 h 2179250"/>
                    <a:gd name="connsiteX112" fmla="*/ 292187 w 2425245"/>
                    <a:gd name="connsiteY112" fmla="*/ 961585 h 2179250"/>
                    <a:gd name="connsiteX113" fmla="*/ 292187 w 2425245"/>
                    <a:gd name="connsiteY113" fmla="*/ 961585 h 2179250"/>
                    <a:gd name="connsiteX114" fmla="*/ 385482 w 2425245"/>
                    <a:gd name="connsiteY114" fmla="*/ 896935 h 2179250"/>
                    <a:gd name="connsiteX115" fmla="*/ 385482 w 2425245"/>
                    <a:gd name="connsiteY115" fmla="*/ 896935 h 2179250"/>
                    <a:gd name="connsiteX116" fmla="*/ 431876 w 2425245"/>
                    <a:gd name="connsiteY116" fmla="*/ 901373 h 2179250"/>
                    <a:gd name="connsiteX117" fmla="*/ 431876 w 2425245"/>
                    <a:gd name="connsiteY117" fmla="*/ 901373 h 2179250"/>
                    <a:gd name="connsiteX118" fmla="*/ 488660 w 2425245"/>
                    <a:gd name="connsiteY118" fmla="*/ 883622 h 2179250"/>
                    <a:gd name="connsiteX119" fmla="*/ 488660 w 2425245"/>
                    <a:gd name="connsiteY119" fmla="*/ 883622 h 2179250"/>
                    <a:gd name="connsiteX120" fmla="*/ 622600 w 2425245"/>
                    <a:gd name="connsiteY120" fmla="*/ 841766 h 2179250"/>
                    <a:gd name="connsiteX121" fmla="*/ 622600 w 2425245"/>
                    <a:gd name="connsiteY121" fmla="*/ 841766 h 2179250"/>
                    <a:gd name="connsiteX122" fmla="*/ 668087 w 2425245"/>
                    <a:gd name="connsiteY122" fmla="*/ 858911 h 2179250"/>
                    <a:gd name="connsiteX123" fmla="*/ 668087 w 2425245"/>
                    <a:gd name="connsiteY123" fmla="*/ 858911 h 2179250"/>
                    <a:gd name="connsiteX124" fmla="*/ 706413 w 2425245"/>
                    <a:gd name="connsiteY124" fmla="*/ 842371 h 2179250"/>
                    <a:gd name="connsiteX125" fmla="*/ 706413 w 2425245"/>
                    <a:gd name="connsiteY125" fmla="*/ 842371 h 2179250"/>
                    <a:gd name="connsiteX126" fmla="*/ 829663 w 2425245"/>
                    <a:gd name="connsiteY126" fmla="*/ 741008 h 2179250"/>
                    <a:gd name="connsiteX127" fmla="*/ 829663 w 2425245"/>
                    <a:gd name="connsiteY127" fmla="*/ 741008 h 2179250"/>
                    <a:gd name="connsiteX128" fmla="*/ 849935 w 2425245"/>
                    <a:gd name="connsiteY128" fmla="*/ 683720 h 2179250"/>
                    <a:gd name="connsiteX129" fmla="*/ 849935 w 2425245"/>
                    <a:gd name="connsiteY129" fmla="*/ 683720 h 2179250"/>
                    <a:gd name="connsiteX130" fmla="*/ 839849 w 2425245"/>
                    <a:gd name="connsiteY130" fmla="*/ 665162 h 2179250"/>
                    <a:gd name="connsiteX131" fmla="*/ 839849 w 2425245"/>
                    <a:gd name="connsiteY131" fmla="*/ 665162 h 2179250"/>
                    <a:gd name="connsiteX132" fmla="*/ 812416 w 2425245"/>
                    <a:gd name="connsiteY132" fmla="*/ 621995 h 2179250"/>
                    <a:gd name="connsiteX133" fmla="*/ 812416 w 2425245"/>
                    <a:gd name="connsiteY133" fmla="*/ 621995 h 2179250"/>
                    <a:gd name="connsiteX134" fmla="*/ 830369 w 2425245"/>
                    <a:gd name="connsiteY134" fmla="*/ 588509 h 2179250"/>
                    <a:gd name="connsiteX135" fmla="*/ 830369 w 2425245"/>
                    <a:gd name="connsiteY135" fmla="*/ 588509 h 2179250"/>
                    <a:gd name="connsiteX136" fmla="*/ 854373 w 2425245"/>
                    <a:gd name="connsiteY136" fmla="*/ 578827 h 2179250"/>
                    <a:gd name="connsiteX137" fmla="*/ 854373 w 2425245"/>
                    <a:gd name="connsiteY137" fmla="*/ 578827 h 2179250"/>
                    <a:gd name="connsiteX138" fmla="*/ 893909 w 2425245"/>
                    <a:gd name="connsiteY138" fmla="*/ 594258 h 2179250"/>
                    <a:gd name="connsiteX139" fmla="*/ 893909 w 2425245"/>
                    <a:gd name="connsiteY139" fmla="*/ 594258 h 2179250"/>
                    <a:gd name="connsiteX140" fmla="*/ 902180 w 2425245"/>
                    <a:gd name="connsiteY140" fmla="*/ 591233 h 2179250"/>
                    <a:gd name="connsiteX141" fmla="*/ 902180 w 2425245"/>
                    <a:gd name="connsiteY141" fmla="*/ 591233 h 2179250"/>
                    <a:gd name="connsiteX142" fmla="*/ 934455 w 2425245"/>
                    <a:gd name="connsiteY142" fmla="*/ 534752 h 2179250"/>
                    <a:gd name="connsiteX143" fmla="*/ 934455 w 2425245"/>
                    <a:gd name="connsiteY143" fmla="*/ 534752 h 2179250"/>
                    <a:gd name="connsiteX144" fmla="*/ 929512 w 2425245"/>
                    <a:gd name="connsiteY144" fmla="*/ 521035 h 2179250"/>
                    <a:gd name="connsiteX145" fmla="*/ 929512 w 2425245"/>
                    <a:gd name="connsiteY145" fmla="*/ 521035 h 2179250"/>
                    <a:gd name="connsiteX146" fmla="*/ 886849 w 2425245"/>
                    <a:gd name="connsiteY146" fmla="*/ 459613 h 2179250"/>
                    <a:gd name="connsiteX147" fmla="*/ 886849 w 2425245"/>
                    <a:gd name="connsiteY147" fmla="*/ 459613 h 2179250"/>
                    <a:gd name="connsiteX148" fmla="*/ 896028 w 2425245"/>
                    <a:gd name="connsiteY148" fmla="*/ 429456 h 2179250"/>
                    <a:gd name="connsiteX149" fmla="*/ 896028 w 2425245"/>
                    <a:gd name="connsiteY149" fmla="*/ 429456 h 2179250"/>
                    <a:gd name="connsiteX150" fmla="*/ 913879 w 2425245"/>
                    <a:gd name="connsiteY150" fmla="*/ 411402 h 2179250"/>
                    <a:gd name="connsiteX151" fmla="*/ 913879 w 2425245"/>
                    <a:gd name="connsiteY151" fmla="*/ 411402 h 2179250"/>
                    <a:gd name="connsiteX152" fmla="*/ 927697 w 2425245"/>
                    <a:gd name="connsiteY152" fmla="*/ 416143 h 2179250"/>
                    <a:gd name="connsiteX153" fmla="*/ 927697 w 2425245"/>
                    <a:gd name="connsiteY153" fmla="*/ 416143 h 2179250"/>
                    <a:gd name="connsiteX154" fmla="*/ 973487 w 2425245"/>
                    <a:gd name="connsiteY154" fmla="*/ 376706 h 2179250"/>
                    <a:gd name="connsiteX155" fmla="*/ 973487 w 2425245"/>
                    <a:gd name="connsiteY155" fmla="*/ 376706 h 2179250"/>
                    <a:gd name="connsiteX156" fmla="*/ 1091693 w 2425245"/>
                    <a:gd name="connsiteY156" fmla="*/ 277865 h 2179250"/>
                    <a:gd name="connsiteX157" fmla="*/ 1091693 w 2425245"/>
                    <a:gd name="connsiteY157" fmla="*/ 277865 h 2179250"/>
                    <a:gd name="connsiteX158" fmla="*/ 1155032 w 2425245"/>
                    <a:gd name="connsiteY158" fmla="*/ 186891 h 2179250"/>
                    <a:gd name="connsiteX159" fmla="*/ 1155032 w 2425245"/>
                    <a:gd name="connsiteY159" fmla="*/ 186891 h 2179250"/>
                    <a:gd name="connsiteX160" fmla="*/ 1187912 w 2425245"/>
                    <a:gd name="connsiteY160" fmla="*/ 19668 h 2179250"/>
                    <a:gd name="connsiteX161" fmla="*/ 1187912 w 2425245"/>
                    <a:gd name="connsiteY161" fmla="*/ 19668 h 2179250"/>
                    <a:gd name="connsiteX162" fmla="*/ 1187610 w 2425245"/>
                    <a:gd name="connsiteY162" fmla="*/ 16137 h 2179250"/>
                    <a:gd name="connsiteX163" fmla="*/ 1187610 w 2425245"/>
                    <a:gd name="connsiteY163" fmla="*/ 16137 h 2179250"/>
                    <a:gd name="connsiteX164" fmla="*/ 1190938 w 2425245"/>
                    <a:gd name="connsiteY164" fmla="*/ 15129 h 2179250"/>
                    <a:gd name="connsiteX165" fmla="*/ 1190938 w 2425245"/>
                    <a:gd name="connsiteY165" fmla="*/ 15129 h 2179250"/>
                    <a:gd name="connsiteX166" fmla="*/ 1195577 w 2425245"/>
                    <a:gd name="connsiteY166" fmla="*/ 16339 h 2179250"/>
                    <a:gd name="connsiteX167" fmla="*/ 1195577 w 2425245"/>
                    <a:gd name="connsiteY167" fmla="*/ 16339 h 2179250"/>
                    <a:gd name="connsiteX168" fmla="*/ 1198906 w 2425245"/>
                    <a:gd name="connsiteY168" fmla="*/ 15633 h 2179250"/>
                    <a:gd name="connsiteX169" fmla="*/ 1198906 w 2425245"/>
                    <a:gd name="connsiteY169" fmla="*/ 15633 h 2179250"/>
                    <a:gd name="connsiteX170" fmla="*/ 1231584 w 2425245"/>
                    <a:gd name="connsiteY170" fmla="*/ 0 h 2179250"/>
                    <a:gd name="connsiteX171" fmla="*/ 1231584 w 2425245"/>
                    <a:gd name="connsiteY171" fmla="*/ 0 h 2179250"/>
                    <a:gd name="connsiteX172" fmla="*/ 1237030 w 2425245"/>
                    <a:gd name="connsiteY172" fmla="*/ 403 h 2179250"/>
                    <a:gd name="connsiteX173" fmla="*/ 1237030 w 2425245"/>
                    <a:gd name="connsiteY173" fmla="*/ 403 h 2179250"/>
                    <a:gd name="connsiteX174" fmla="*/ 1298554 w 2425245"/>
                    <a:gd name="connsiteY174" fmla="*/ 29451 h 2179250"/>
                    <a:gd name="connsiteX175" fmla="*/ 1298554 w 2425245"/>
                    <a:gd name="connsiteY175" fmla="*/ 29451 h 2179250"/>
                    <a:gd name="connsiteX176" fmla="*/ 1393563 w 2425245"/>
                    <a:gd name="connsiteY176" fmla="*/ 103884 h 2179250"/>
                    <a:gd name="connsiteX177" fmla="*/ 1393563 w 2425245"/>
                    <a:gd name="connsiteY177" fmla="*/ 103884 h 2179250"/>
                    <a:gd name="connsiteX178" fmla="*/ 1394370 w 2425245"/>
                    <a:gd name="connsiteY178" fmla="*/ 103985 h 2179250"/>
                    <a:gd name="connsiteX179" fmla="*/ 1394370 w 2425245"/>
                    <a:gd name="connsiteY179" fmla="*/ 103985 h 2179250"/>
                    <a:gd name="connsiteX180" fmla="*/ 1449540 w 2425245"/>
                    <a:gd name="connsiteY180" fmla="*/ 72921 h 2179250"/>
                    <a:gd name="connsiteX181" fmla="*/ 1449540 w 2425245"/>
                    <a:gd name="connsiteY181" fmla="*/ 72921 h 2179250"/>
                    <a:gd name="connsiteX182" fmla="*/ 1460836 w 2425245"/>
                    <a:gd name="connsiteY182" fmla="*/ 70399 h 2179250"/>
                    <a:gd name="connsiteX183" fmla="*/ 1460836 w 2425245"/>
                    <a:gd name="connsiteY183" fmla="*/ 70399 h 2179250"/>
                    <a:gd name="connsiteX184" fmla="*/ 1486756 w 2425245"/>
                    <a:gd name="connsiteY184" fmla="*/ 82502 h 2179250"/>
                    <a:gd name="connsiteX185" fmla="*/ 1486756 w 2425245"/>
                    <a:gd name="connsiteY185" fmla="*/ 82502 h 2179250"/>
                    <a:gd name="connsiteX186" fmla="*/ 1489984 w 2425245"/>
                    <a:gd name="connsiteY186" fmla="*/ 82805 h 2179250"/>
                    <a:gd name="connsiteX187" fmla="*/ 1489984 w 2425245"/>
                    <a:gd name="connsiteY187" fmla="*/ 82805 h 2179250"/>
                    <a:gd name="connsiteX188" fmla="*/ 1529823 w 2425245"/>
                    <a:gd name="connsiteY188" fmla="*/ 62633 h 2179250"/>
                    <a:gd name="connsiteX189" fmla="*/ 1529823 w 2425245"/>
                    <a:gd name="connsiteY189" fmla="*/ 62633 h 2179250"/>
                    <a:gd name="connsiteX190" fmla="*/ 1566435 w 2425245"/>
                    <a:gd name="connsiteY190" fmla="*/ 57288 h 2179250"/>
                    <a:gd name="connsiteX191" fmla="*/ 1566435 w 2425245"/>
                    <a:gd name="connsiteY191" fmla="*/ 57288 h 2179250"/>
                    <a:gd name="connsiteX192" fmla="*/ 1565627 w 2425245"/>
                    <a:gd name="connsiteY192" fmla="*/ 130511 h 2179250"/>
                    <a:gd name="connsiteX193" fmla="*/ 1563106 w 2425245"/>
                    <a:gd name="connsiteY193" fmla="*/ 166013 h 2179250"/>
                    <a:gd name="connsiteX194" fmla="*/ 1563106 w 2425245"/>
                    <a:gd name="connsiteY194" fmla="*/ 166013 h 2179250"/>
                    <a:gd name="connsiteX195" fmla="*/ 1602340 w 2425245"/>
                    <a:gd name="connsiteY195" fmla="*/ 204239 h 2179250"/>
                    <a:gd name="connsiteX196" fmla="*/ 1602340 w 2425245"/>
                    <a:gd name="connsiteY196" fmla="*/ 204239 h 2179250"/>
                    <a:gd name="connsiteX197" fmla="*/ 1612426 w 2425245"/>
                    <a:gd name="connsiteY197" fmla="*/ 225318 h 2179250"/>
                    <a:gd name="connsiteX198" fmla="*/ 1612426 w 2425245"/>
                    <a:gd name="connsiteY198" fmla="*/ 225318 h 2179250"/>
                    <a:gd name="connsiteX199" fmla="*/ 1592859 w 2425245"/>
                    <a:gd name="connsiteY199" fmla="*/ 274638 h 2179250"/>
                    <a:gd name="connsiteX200" fmla="*/ 1592859 w 2425245"/>
                    <a:gd name="connsiteY200" fmla="*/ 274638 h 2179250"/>
                    <a:gd name="connsiteX201" fmla="*/ 1588724 w 2425245"/>
                    <a:gd name="connsiteY201" fmla="*/ 287951 h 2179250"/>
                    <a:gd name="connsiteX202" fmla="*/ 1588724 w 2425245"/>
                    <a:gd name="connsiteY202" fmla="*/ 287951 h 2179250"/>
                    <a:gd name="connsiteX203" fmla="*/ 1603752 w 2425245"/>
                    <a:gd name="connsiteY203" fmla="*/ 361881 h 2179250"/>
                    <a:gd name="connsiteX204" fmla="*/ 1603752 w 2425245"/>
                    <a:gd name="connsiteY204" fmla="*/ 361881 h 2179250"/>
                    <a:gd name="connsiteX205" fmla="*/ 1616964 w 2425245"/>
                    <a:gd name="connsiteY205" fmla="*/ 382556 h 2179250"/>
                    <a:gd name="connsiteX206" fmla="*/ 1616964 w 2425245"/>
                    <a:gd name="connsiteY206" fmla="*/ 382556 h 2179250"/>
                    <a:gd name="connsiteX207" fmla="*/ 1652164 w 2425245"/>
                    <a:gd name="connsiteY207" fmla="*/ 357544 h 2179250"/>
                    <a:gd name="connsiteX208" fmla="*/ 1652164 w 2425245"/>
                    <a:gd name="connsiteY208" fmla="*/ 357544 h 2179250"/>
                    <a:gd name="connsiteX209" fmla="*/ 1720748 w 2425245"/>
                    <a:gd name="connsiteY209" fmla="*/ 338885 h 2179250"/>
                    <a:gd name="connsiteX210" fmla="*/ 1720748 w 2425245"/>
                    <a:gd name="connsiteY210" fmla="*/ 338885 h 2179250"/>
                    <a:gd name="connsiteX211" fmla="*/ 1769160 w 2425245"/>
                    <a:gd name="connsiteY211" fmla="*/ 339994 h 2179250"/>
                    <a:gd name="connsiteX212" fmla="*/ 1769160 w 2425245"/>
                    <a:gd name="connsiteY212" fmla="*/ 339994 h 2179250"/>
                    <a:gd name="connsiteX213" fmla="*/ 1802444 w 2425245"/>
                    <a:gd name="connsiteY213" fmla="*/ 334346 h 2179250"/>
                    <a:gd name="connsiteX214" fmla="*/ 1802444 w 2425245"/>
                    <a:gd name="connsiteY214" fmla="*/ 334346 h 2179250"/>
                    <a:gd name="connsiteX215" fmla="*/ 1867699 w 2425245"/>
                    <a:gd name="connsiteY215" fmla="*/ 226730 h 2179250"/>
                    <a:gd name="connsiteX216" fmla="*/ 1867699 w 2425245"/>
                    <a:gd name="connsiteY216" fmla="*/ 226730 h 2179250"/>
                    <a:gd name="connsiteX217" fmla="*/ 1965834 w 2425245"/>
                    <a:gd name="connsiteY217" fmla="*/ 102371 h 2179250"/>
                    <a:gd name="connsiteX218" fmla="*/ 1965834 w 2425245"/>
                    <a:gd name="connsiteY218" fmla="*/ 102371 h 2179250"/>
                    <a:gd name="connsiteX219" fmla="*/ 1968961 w 2425245"/>
                    <a:gd name="connsiteY219" fmla="*/ 101766 h 2179250"/>
                    <a:gd name="connsiteX220" fmla="*/ 1968961 w 2425245"/>
                    <a:gd name="connsiteY220" fmla="*/ 101766 h 2179250"/>
                    <a:gd name="connsiteX221" fmla="*/ 2024030 w 2425245"/>
                    <a:gd name="connsiteY221" fmla="*/ 142916 h 2179250"/>
                    <a:gd name="connsiteX222" fmla="*/ 2024030 w 2425245"/>
                    <a:gd name="connsiteY222" fmla="*/ 142916 h 2179250"/>
                    <a:gd name="connsiteX223" fmla="*/ 2056103 w 2425245"/>
                    <a:gd name="connsiteY223" fmla="*/ 225822 h 2179250"/>
                    <a:gd name="connsiteX224" fmla="*/ 2056103 w 2425245"/>
                    <a:gd name="connsiteY224" fmla="*/ 225822 h 2179250"/>
                    <a:gd name="connsiteX225" fmla="*/ 2076981 w 2425245"/>
                    <a:gd name="connsiteY225" fmla="*/ 270402 h 2179250"/>
                    <a:gd name="connsiteX226" fmla="*/ 2076981 w 2425245"/>
                    <a:gd name="connsiteY226" fmla="*/ 270402 h 2179250"/>
                    <a:gd name="connsiteX227" fmla="*/ 2076779 w 2425245"/>
                    <a:gd name="connsiteY227" fmla="*/ 278268 h 2179250"/>
                    <a:gd name="connsiteX228" fmla="*/ 2076779 w 2425245"/>
                    <a:gd name="connsiteY228" fmla="*/ 278268 h 2179250"/>
                    <a:gd name="connsiteX229" fmla="*/ 2076577 w 2425245"/>
                    <a:gd name="connsiteY229" fmla="*/ 282404 h 2179250"/>
                    <a:gd name="connsiteX230" fmla="*/ 2076577 w 2425245"/>
                    <a:gd name="connsiteY230" fmla="*/ 282404 h 2179250"/>
                    <a:gd name="connsiteX231" fmla="*/ 2109457 w 2425245"/>
                    <a:gd name="connsiteY231" fmla="*/ 339389 h 2179250"/>
                    <a:gd name="connsiteX232" fmla="*/ 2109457 w 2425245"/>
                    <a:gd name="connsiteY232" fmla="*/ 339389 h 2179250"/>
                    <a:gd name="connsiteX233" fmla="*/ 2112785 w 2425245"/>
                    <a:gd name="connsiteY233" fmla="*/ 339288 h 2179250"/>
                    <a:gd name="connsiteX234" fmla="*/ 2112785 w 2425245"/>
                    <a:gd name="connsiteY234" fmla="*/ 339288 h 2179250"/>
                    <a:gd name="connsiteX235" fmla="*/ 2113290 w 2425245"/>
                    <a:gd name="connsiteY235" fmla="*/ 338885 h 2179250"/>
                    <a:gd name="connsiteX236" fmla="*/ 2116013 w 2425245"/>
                    <a:gd name="connsiteY236" fmla="*/ 338380 h 2179250"/>
                    <a:gd name="connsiteX237" fmla="*/ 2116013 w 2425245"/>
                    <a:gd name="connsiteY237" fmla="*/ 338380 h 2179250"/>
                    <a:gd name="connsiteX238" fmla="*/ 2117828 w 2425245"/>
                    <a:gd name="connsiteY238" fmla="*/ 340600 h 2179250"/>
                    <a:gd name="connsiteX239" fmla="*/ 2117828 w 2425245"/>
                    <a:gd name="connsiteY239" fmla="*/ 340600 h 2179250"/>
                    <a:gd name="connsiteX240" fmla="*/ 2131142 w 2425245"/>
                    <a:gd name="connsiteY240" fmla="*/ 373580 h 2179250"/>
                    <a:gd name="connsiteX241" fmla="*/ 2131142 w 2425245"/>
                    <a:gd name="connsiteY241" fmla="*/ 373580 h 2179250"/>
                    <a:gd name="connsiteX242" fmla="*/ 2190144 w 2425245"/>
                    <a:gd name="connsiteY242" fmla="*/ 450132 h 2179250"/>
                    <a:gd name="connsiteX243" fmla="*/ 2190144 w 2425245"/>
                    <a:gd name="connsiteY243" fmla="*/ 450132 h 2179250"/>
                    <a:gd name="connsiteX244" fmla="*/ 2190346 w 2425245"/>
                    <a:gd name="connsiteY244" fmla="*/ 454570 h 2179250"/>
                    <a:gd name="connsiteX245" fmla="*/ 2190346 w 2425245"/>
                    <a:gd name="connsiteY245" fmla="*/ 454570 h 2179250"/>
                    <a:gd name="connsiteX246" fmla="*/ 2187017 w 2425245"/>
                    <a:gd name="connsiteY246" fmla="*/ 486340 h 2179250"/>
                    <a:gd name="connsiteX247" fmla="*/ 2187017 w 2425245"/>
                    <a:gd name="connsiteY247" fmla="*/ 486340 h 2179250"/>
                    <a:gd name="connsiteX248" fmla="*/ 2205575 w 2425245"/>
                    <a:gd name="connsiteY248" fmla="*/ 517202 h 2179250"/>
                    <a:gd name="connsiteX249" fmla="*/ 2205575 w 2425245"/>
                    <a:gd name="connsiteY249" fmla="*/ 517202 h 2179250"/>
                    <a:gd name="connsiteX250" fmla="*/ 2237850 w 2425245"/>
                    <a:gd name="connsiteY250" fmla="*/ 557950 h 2179250"/>
                    <a:gd name="connsiteX251" fmla="*/ 2237850 w 2425245"/>
                    <a:gd name="connsiteY251" fmla="*/ 557950 h 2179250"/>
                    <a:gd name="connsiteX252" fmla="*/ 2234723 w 2425245"/>
                    <a:gd name="connsiteY252" fmla="*/ 580239 h 2179250"/>
                    <a:gd name="connsiteX253" fmla="*/ 2234723 w 2425245"/>
                    <a:gd name="connsiteY253" fmla="*/ 580239 h 2179250"/>
                    <a:gd name="connsiteX254" fmla="*/ 2202348 w 2425245"/>
                    <a:gd name="connsiteY254" fmla="*/ 676156 h 2179250"/>
                    <a:gd name="connsiteX255" fmla="*/ 2202348 w 2425245"/>
                    <a:gd name="connsiteY255" fmla="*/ 676156 h 2179250"/>
                    <a:gd name="connsiteX256" fmla="*/ 2205172 w 2425245"/>
                    <a:gd name="connsiteY256" fmla="*/ 692192 h 2179250"/>
                    <a:gd name="connsiteX257" fmla="*/ 2205172 w 2425245"/>
                    <a:gd name="connsiteY257" fmla="*/ 692192 h 2179250"/>
                    <a:gd name="connsiteX258" fmla="*/ 2238959 w 2425245"/>
                    <a:gd name="connsiteY258" fmla="*/ 714179 h 2179250"/>
                    <a:gd name="connsiteX259" fmla="*/ 2238959 w 2425245"/>
                    <a:gd name="connsiteY259" fmla="*/ 714179 h 2179250"/>
                    <a:gd name="connsiteX260" fmla="*/ 2257114 w 2425245"/>
                    <a:gd name="connsiteY260" fmla="*/ 713271 h 2179250"/>
                    <a:gd name="connsiteX261" fmla="*/ 2257114 w 2425245"/>
                    <a:gd name="connsiteY261" fmla="*/ 713271 h 2179250"/>
                    <a:gd name="connsiteX262" fmla="*/ 2259736 w 2425245"/>
                    <a:gd name="connsiteY262" fmla="*/ 713473 h 2179250"/>
                    <a:gd name="connsiteX263" fmla="*/ 2259736 w 2425245"/>
                    <a:gd name="connsiteY263" fmla="*/ 713473 h 2179250"/>
                    <a:gd name="connsiteX264" fmla="*/ 2287170 w 2425245"/>
                    <a:gd name="connsiteY264" fmla="*/ 739696 h 2179250"/>
                    <a:gd name="connsiteX265" fmla="*/ 2287170 w 2425245"/>
                    <a:gd name="connsiteY265" fmla="*/ 739696 h 2179250"/>
                    <a:gd name="connsiteX266" fmla="*/ 2286766 w 2425245"/>
                    <a:gd name="connsiteY266" fmla="*/ 745849 h 2179250"/>
                    <a:gd name="connsiteX267" fmla="*/ 2286766 w 2425245"/>
                    <a:gd name="connsiteY267" fmla="*/ 745849 h 2179250"/>
                    <a:gd name="connsiteX268" fmla="*/ 2286464 w 2425245"/>
                    <a:gd name="connsiteY268" fmla="*/ 750287 h 2179250"/>
                    <a:gd name="connsiteX269" fmla="*/ 2286464 w 2425245"/>
                    <a:gd name="connsiteY269" fmla="*/ 750287 h 2179250"/>
                    <a:gd name="connsiteX270" fmla="*/ 2303307 w 2425245"/>
                    <a:gd name="connsiteY270" fmla="*/ 771064 h 2179250"/>
                    <a:gd name="connsiteX271" fmla="*/ 2303307 w 2425245"/>
                    <a:gd name="connsiteY271" fmla="*/ 771064 h 2179250"/>
                    <a:gd name="connsiteX272" fmla="*/ 2311779 w 2425245"/>
                    <a:gd name="connsiteY272" fmla="*/ 768946 h 2179250"/>
                    <a:gd name="connsiteX273" fmla="*/ 2311779 w 2425245"/>
                    <a:gd name="connsiteY273" fmla="*/ 768946 h 2179250"/>
                    <a:gd name="connsiteX274" fmla="*/ 2334069 w 2425245"/>
                    <a:gd name="connsiteY274" fmla="*/ 762692 h 2179250"/>
                    <a:gd name="connsiteX275" fmla="*/ 2334069 w 2425245"/>
                    <a:gd name="connsiteY275" fmla="*/ 762692 h 2179250"/>
                    <a:gd name="connsiteX276" fmla="*/ 2354241 w 2425245"/>
                    <a:gd name="connsiteY276" fmla="*/ 775401 h 2179250"/>
                    <a:gd name="connsiteX277" fmla="*/ 2354241 w 2425245"/>
                    <a:gd name="connsiteY277" fmla="*/ 775401 h 2179250"/>
                    <a:gd name="connsiteX278" fmla="*/ 2354543 w 2425245"/>
                    <a:gd name="connsiteY278" fmla="*/ 778325 h 2179250"/>
                    <a:gd name="connsiteX279" fmla="*/ 2354543 w 2425245"/>
                    <a:gd name="connsiteY279" fmla="*/ 778325 h 2179250"/>
                    <a:gd name="connsiteX280" fmla="*/ 2320453 w 2425245"/>
                    <a:gd name="connsiteY280" fmla="*/ 824418 h 2179250"/>
                    <a:gd name="connsiteX281" fmla="*/ 2320453 w 2425245"/>
                    <a:gd name="connsiteY281" fmla="*/ 824418 h 2179250"/>
                    <a:gd name="connsiteX282" fmla="*/ 2320554 w 2425245"/>
                    <a:gd name="connsiteY282" fmla="*/ 824821 h 2179250"/>
                    <a:gd name="connsiteX283" fmla="*/ 2320554 w 2425245"/>
                    <a:gd name="connsiteY283" fmla="*/ 824821 h 2179250"/>
                    <a:gd name="connsiteX284" fmla="*/ 2358174 w 2425245"/>
                    <a:gd name="connsiteY284" fmla="*/ 865366 h 2179250"/>
                    <a:gd name="connsiteX285" fmla="*/ 2358174 w 2425245"/>
                    <a:gd name="connsiteY285" fmla="*/ 865366 h 2179250"/>
                    <a:gd name="connsiteX286" fmla="*/ 2360191 w 2425245"/>
                    <a:gd name="connsiteY286" fmla="*/ 865366 h 2179250"/>
                    <a:gd name="connsiteX287" fmla="*/ 2360191 w 2425245"/>
                    <a:gd name="connsiteY287" fmla="*/ 865366 h 2179250"/>
                    <a:gd name="connsiteX288" fmla="*/ 2363620 w 2425245"/>
                    <a:gd name="connsiteY288" fmla="*/ 865265 h 2179250"/>
                    <a:gd name="connsiteX289" fmla="*/ 2363620 w 2425245"/>
                    <a:gd name="connsiteY289" fmla="*/ 865265 h 2179250"/>
                    <a:gd name="connsiteX290" fmla="*/ 2424741 w 2425245"/>
                    <a:gd name="connsiteY290" fmla="*/ 907424 h 2179250"/>
                    <a:gd name="connsiteX291" fmla="*/ 2424741 w 2425245"/>
                    <a:gd name="connsiteY291" fmla="*/ 907424 h 2179250"/>
                    <a:gd name="connsiteX292" fmla="*/ 2425245 w 2425245"/>
                    <a:gd name="connsiteY292" fmla="*/ 912064 h 2179250"/>
                    <a:gd name="connsiteX293" fmla="*/ 2425245 w 2425245"/>
                    <a:gd name="connsiteY293" fmla="*/ 912064 h 2179250"/>
                    <a:gd name="connsiteX294" fmla="*/ 2389945 w 2425245"/>
                    <a:gd name="connsiteY294" fmla="*/ 949180 h 2179250"/>
                    <a:gd name="connsiteX295" fmla="*/ 2389945 w 2425245"/>
                    <a:gd name="connsiteY295" fmla="*/ 949180 h 2179250"/>
                    <a:gd name="connsiteX296" fmla="*/ 2294230 w 2425245"/>
                    <a:gd name="connsiteY296" fmla="*/ 1015343 h 2179250"/>
                    <a:gd name="connsiteX297" fmla="*/ 2294230 w 2425245"/>
                    <a:gd name="connsiteY297" fmla="*/ 1015343 h 2179250"/>
                    <a:gd name="connsiteX298" fmla="*/ 2294331 w 2425245"/>
                    <a:gd name="connsiteY298" fmla="*/ 1016856 h 2179250"/>
                    <a:gd name="connsiteX299" fmla="*/ 2294331 w 2425245"/>
                    <a:gd name="connsiteY299" fmla="*/ 1016856 h 2179250"/>
                    <a:gd name="connsiteX300" fmla="*/ 2295138 w 2425245"/>
                    <a:gd name="connsiteY300" fmla="*/ 1032388 h 2179250"/>
                    <a:gd name="connsiteX301" fmla="*/ 2295138 w 2425245"/>
                    <a:gd name="connsiteY301" fmla="*/ 1032388 h 2179250"/>
                    <a:gd name="connsiteX302" fmla="*/ 2265384 w 2425245"/>
                    <a:gd name="connsiteY302" fmla="*/ 1086045 h 2179250"/>
                    <a:gd name="connsiteX303" fmla="*/ 2265384 w 2425245"/>
                    <a:gd name="connsiteY303" fmla="*/ 1086045 h 2179250"/>
                    <a:gd name="connsiteX304" fmla="*/ 2262157 w 2425245"/>
                    <a:gd name="connsiteY304" fmla="*/ 1085843 h 2179250"/>
                    <a:gd name="connsiteX305" fmla="*/ 2262157 w 2425245"/>
                    <a:gd name="connsiteY305" fmla="*/ 1085843 h 2179250"/>
                    <a:gd name="connsiteX306" fmla="*/ 2189236 w 2425245"/>
                    <a:gd name="connsiteY306" fmla="*/ 1062848 h 2179250"/>
                    <a:gd name="connsiteX307" fmla="*/ 2189236 w 2425245"/>
                    <a:gd name="connsiteY307" fmla="*/ 1062848 h 2179250"/>
                    <a:gd name="connsiteX308" fmla="*/ 2183185 w 2425245"/>
                    <a:gd name="connsiteY308" fmla="*/ 1064865 h 2179250"/>
                    <a:gd name="connsiteX309" fmla="*/ 2183185 w 2425245"/>
                    <a:gd name="connsiteY309" fmla="*/ 1064865 h 2179250"/>
                    <a:gd name="connsiteX310" fmla="*/ 2161500 w 2425245"/>
                    <a:gd name="connsiteY310" fmla="*/ 1108032 h 2179250"/>
                    <a:gd name="connsiteX311" fmla="*/ 2161500 w 2425245"/>
                    <a:gd name="connsiteY311" fmla="*/ 1108032 h 2179250"/>
                    <a:gd name="connsiteX312" fmla="*/ 2165030 w 2425245"/>
                    <a:gd name="connsiteY312" fmla="*/ 1121547 h 2179250"/>
                    <a:gd name="connsiteX313" fmla="*/ 2165030 w 2425245"/>
                    <a:gd name="connsiteY313" fmla="*/ 1121547 h 2179250"/>
                    <a:gd name="connsiteX314" fmla="*/ 2185706 w 2425245"/>
                    <a:gd name="connsiteY314" fmla="*/ 1172582 h 2179250"/>
                    <a:gd name="connsiteX315" fmla="*/ 2185706 w 2425245"/>
                    <a:gd name="connsiteY315" fmla="*/ 1172582 h 2179250"/>
                    <a:gd name="connsiteX316" fmla="*/ 2162004 w 2425245"/>
                    <a:gd name="connsiteY316" fmla="*/ 1191846 h 2179250"/>
                    <a:gd name="connsiteX317" fmla="*/ 2162004 w 2425245"/>
                    <a:gd name="connsiteY317" fmla="*/ 1191846 h 2179250"/>
                    <a:gd name="connsiteX318" fmla="*/ 2157768 w 2425245"/>
                    <a:gd name="connsiteY318" fmla="*/ 1191745 h 2179250"/>
                    <a:gd name="connsiteX319" fmla="*/ 2157768 w 2425245"/>
                    <a:gd name="connsiteY319" fmla="*/ 1191745 h 2179250"/>
                    <a:gd name="connsiteX320" fmla="*/ 2132755 w 2425245"/>
                    <a:gd name="connsiteY320" fmla="*/ 1190635 h 2179250"/>
                    <a:gd name="connsiteX321" fmla="*/ 2132755 w 2425245"/>
                    <a:gd name="connsiteY321" fmla="*/ 1190635 h 2179250"/>
                    <a:gd name="connsiteX322" fmla="*/ 2082124 w 2425245"/>
                    <a:gd name="connsiteY322" fmla="*/ 1211815 h 2179250"/>
                    <a:gd name="connsiteX323" fmla="*/ 2082124 w 2425245"/>
                    <a:gd name="connsiteY323" fmla="*/ 1211815 h 2179250"/>
                    <a:gd name="connsiteX324" fmla="*/ 2021306 w 2425245"/>
                    <a:gd name="connsiteY324" fmla="*/ 1234710 h 2179250"/>
                    <a:gd name="connsiteX325" fmla="*/ 2021306 w 2425245"/>
                    <a:gd name="connsiteY325" fmla="*/ 1234710 h 2179250"/>
                    <a:gd name="connsiteX326" fmla="*/ 1987317 w 2425245"/>
                    <a:gd name="connsiteY326" fmla="*/ 1264666 h 2179250"/>
                    <a:gd name="connsiteX327" fmla="*/ 1987317 w 2425245"/>
                    <a:gd name="connsiteY327" fmla="*/ 1264666 h 2179250"/>
                    <a:gd name="connsiteX328" fmla="*/ 1964422 w 2425245"/>
                    <a:gd name="connsiteY328" fmla="*/ 1255689 h 2179250"/>
                    <a:gd name="connsiteX329" fmla="*/ 1964422 w 2425245"/>
                    <a:gd name="connsiteY329" fmla="*/ 1255689 h 2179250"/>
                    <a:gd name="connsiteX330" fmla="*/ 1916111 w 2425245"/>
                    <a:gd name="connsiteY330" fmla="*/ 1235921 h 2179250"/>
                    <a:gd name="connsiteX331" fmla="*/ 1916111 w 2425245"/>
                    <a:gd name="connsiteY331" fmla="*/ 1235921 h 2179250"/>
                    <a:gd name="connsiteX332" fmla="*/ 1890392 w 2425245"/>
                    <a:gd name="connsiteY332" fmla="*/ 1262951 h 2179250"/>
                    <a:gd name="connsiteX333" fmla="*/ 1890392 w 2425245"/>
                    <a:gd name="connsiteY333" fmla="*/ 1262951 h 2179250"/>
                    <a:gd name="connsiteX334" fmla="*/ 1889888 w 2425245"/>
                    <a:gd name="connsiteY334" fmla="*/ 1273238 h 2179250"/>
                    <a:gd name="connsiteX335" fmla="*/ 1889888 w 2425245"/>
                    <a:gd name="connsiteY335" fmla="*/ 1273238 h 2179250"/>
                    <a:gd name="connsiteX336" fmla="*/ 1917422 w 2425245"/>
                    <a:gd name="connsiteY336" fmla="*/ 1351505 h 2179250"/>
                    <a:gd name="connsiteX337" fmla="*/ 1917422 w 2425245"/>
                    <a:gd name="connsiteY337" fmla="*/ 1351505 h 2179250"/>
                    <a:gd name="connsiteX338" fmla="*/ 1929323 w 2425245"/>
                    <a:gd name="connsiteY338" fmla="*/ 1379241 h 2179250"/>
                    <a:gd name="connsiteX339" fmla="*/ 1929323 w 2425245"/>
                    <a:gd name="connsiteY339" fmla="*/ 1379241 h 2179250"/>
                    <a:gd name="connsiteX340" fmla="*/ 1909152 w 2425245"/>
                    <a:gd name="connsiteY340" fmla="*/ 1410810 h 2179250"/>
                    <a:gd name="connsiteX341" fmla="*/ 1909152 w 2425245"/>
                    <a:gd name="connsiteY341" fmla="*/ 1410810 h 2179250"/>
                    <a:gd name="connsiteX342" fmla="*/ 1872439 w 2425245"/>
                    <a:gd name="connsiteY342" fmla="*/ 1422207 h 2179250"/>
                    <a:gd name="connsiteX343" fmla="*/ 1872439 w 2425245"/>
                    <a:gd name="connsiteY343" fmla="*/ 1422207 h 2179250"/>
                    <a:gd name="connsiteX344" fmla="*/ 1837643 w 2425245"/>
                    <a:gd name="connsiteY344" fmla="*/ 1415752 h 2179250"/>
                    <a:gd name="connsiteX345" fmla="*/ 1837643 w 2425245"/>
                    <a:gd name="connsiteY345" fmla="*/ 1415752 h 2179250"/>
                    <a:gd name="connsiteX346" fmla="*/ 1813538 w 2425245"/>
                    <a:gd name="connsiteY346" fmla="*/ 1412121 h 2179250"/>
                    <a:gd name="connsiteX347" fmla="*/ 1813538 w 2425245"/>
                    <a:gd name="connsiteY347" fmla="*/ 1412121 h 2179250"/>
                    <a:gd name="connsiteX348" fmla="*/ 1760587 w 2425245"/>
                    <a:gd name="connsiteY348" fmla="*/ 1418878 h 2179250"/>
                    <a:gd name="connsiteX349" fmla="*/ 1760587 w 2425245"/>
                    <a:gd name="connsiteY349" fmla="*/ 1418878 h 2179250"/>
                    <a:gd name="connsiteX350" fmla="*/ 1739306 w 2425245"/>
                    <a:gd name="connsiteY350" fmla="*/ 1420290 h 2179250"/>
                    <a:gd name="connsiteX351" fmla="*/ 1739306 w 2425245"/>
                    <a:gd name="connsiteY351" fmla="*/ 1420290 h 2179250"/>
                    <a:gd name="connsiteX352" fmla="*/ 1680506 w 2425245"/>
                    <a:gd name="connsiteY352" fmla="*/ 1415853 h 2179250"/>
                    <a:gd name="connsiteX353" fmla="*/ 1680506 w 2425245"/>
                    <a:gd name="connsiteY353" fmla="*/ 1415853 h 2179250"/>
                    <a:gd name="connsiteX354" fmla="*/ 1673344 w 2425245"/>
                    <a:gd name="connsiteY354" fmla="*/ 1415651 h 2179250"/>
                    <a:gd name="connsiteX355" fmla="*/ 1673344 w 2425245"/>
                    <a:gd name="connsiteY355" fmla="*/ 1415651 h 2179250"/>
                    <a:gd name="connsiteX356" fmla="*/ 1647928 w 2425245"/>
                    <a:gd name="connsiteY356" fmla="*/ 1429872 h 2179250"/>
                    <a:gd name="connsiteX357" fmla="*/ 1647928 w 2425245"/>
                    <a:gd name="connsiteY357" fmla="*/ 1429872 h 2179250"/>
                    <a:gd name="connsiteX358" fmla="*/ 1649441 w 2425245"/>
                    <a:gd name="connsiteY358" fmla="*/ 1441773 h 2179250"/>
                    <a:gd name="connsiteX359" fmla="*/ 1649441 w 2425245"/>
                    <a:gd name="connsiteY359" fmla="*/ 1441773 h 2179250"/>
                    <a:gd name="connsiteX360" fmla="*/ 1650651 w 2425245"/>
                    <a:gd name="connsiteY360" fmla="*/ 1455692 h 2179250"/>
                    <a:gd name="connsiteX361" fmla="*/ 1650651 w 2425245"/>
                    <a:gd name="connsiteY361" fmla="*/ 1455692 h 2179250"/>
                    <a:gd name="connsiteX362" fmla="*/ 1635119 w 2425245"/>
                    <a:gd name="connsiteY362" fmla="*/ 1492304 h 2179250"/>
                    <a:gd name="connsiteX363" fmla="*/ 1635119 w 2425245"/>
                    <a:gd name="connsiteY363" fmla="*/ 1492304 h 2179250"/>
                    <a:gd name="connsiteX364" fmla="*/ 1628664 w 2425245"/>
                    <a:gd name="connsiteY364" fmla="*/ 1485949 h 2179250"/>
                    <a:gd name="connsiteX365" fmla="*/ 1628664 w 2425245"/>
                    <a:gd name="connsiteY365" fmla="*/ 1485949 h 2179250"/>
                    <a:gd name="connsiteX366" fmla="*/ 1613334 w 2425245"/>
                    <a:gd name="connsiteY366" fmla="*/ 1442277 h 2179250"/>
                    <a:gd name="connsiteX367" fmla="*/ 1613334 w 2425245"/>
                    <a:gd name="connsiteY367" fmla="*/ 1442277 h 2179250"/>
                    <a:gd name="connsiteX368" fmla="*/ 1611014 w 2425245"/>
                    <a:gd name="connsiteY368" fmla="*/ 1443085 h 2179250"/>
                    <a:gd name="connsiteX369" fmla="*/ 1611014 w 2425245"/>
                    <a:gd name="connsiteY369" fmla="*/ 1443085 h 2179250"/>
                    <a:gd name="connsiteX370" fmla="*/ 1581664 w 2425245"/>
                    <a:gd name="connsiteY370" fmla="*/ 1450144 h 2179250"/>
                    <a:gd name="connsiteX371" fmla="*/ 1581664 w 2425245"/>
                    <a:gd name="connsiteY371" fmla="*/ 1450144 h 2179250"/>
                    <a:gd name="connsiteX372" fmla="*/ 1538295 w 2425245"/>
                    <a:gd name="connsiteY372" fmla="*/ 1441874 h 2179250"/>
                    <a:gd name="connsiteX373" fmla="*/ 1538295 w 2425245"/>
                    <a:gd name="connsiteY373" fmla="*/ 1441874 h 2179250"/>
                    <a:gd name="connsiteX374" fmla="*/ 1497851 w 2425245"/>
                    <a:gd name="connsiteY374" fmla="*/ 1434007 h 2179250"/>
                    <a:gd name="connsiteX375" fmla="*/ 1497851 w 2425245"/>
                    <a:gd name="connsiteY375" fmla="*/ 1434007 h 2179250"/>
                    <a:gd name="connsiteX376" fmla="*/ 1475863 w 2425245"/>
                    <a:gd name="connsiteY376" fmla="*/ 1442883 h 2179250"/>
                    <a:gd name="connsiteX377" fmla="*/ 1475863 w 2425245"/>
                    <a:gd name="connsiteY377" fmla="*/ 1442883 h 2179250"/>
                    <a:gd name="connsiteX378" fmla="*/ 1450548 w 2425245"/>
                    <a:gd name="connsiteY378" fmla="*/ 1457910 h 2179250"/>
                    <a:gd name="connsiteX379" fmla="*/ 1450548 w 2425245"/>
                    <a:gd name="connsiteY379" fmla="*/ 1457910 h 2179250"/>
                    <a:gd name="connsiteX380" fmla="*/ 1434814 w 2425245"/>
                    <a:gd name="connsiteY380" fmla="*/ 1453776 h 2179250"/>
                    <a:gd name="connsiteX381" fmla="*/ 1434814 w 2425245"/>
                    <a:gd name="connsiteY381" fmla="*/ 1453776 h 2179250"/>
                    <a:gd name="connsiteX382" fmla="*/ 1399917 w 2425245"/>
                    <a:gd name="connsiteY382" fmla="*/ 1433906 h 2179250"/>
                    <a:gd name="connsiteX383" fmla="*/ 1399917 w 2425245"/>
                    <a:gd name="connsiteY383" fmla="*/ 1433906 h 2179250"/>
                    <a:gd name="connsiteX384" fmla="*/ 1388419 w 2425245"/>
                    <a:gd name="connsiteY384" fmla="*/ 1447421 h 2179250"/>
                    <a:gd name="connsiteX385" fmla="*/ 1388419 w 2425245"/>
                    <a:gd name="connsiteY385" fmla="*/ 1447421 h 2179250"/>
                    <a:gd name="connsiteX386" fmla="*/ 1328912 w 2425245"/>
                    <a:gd name="connsiteY386" fmla="*/ 1524376 h 2179250"/>
                    <a:gd name="connsiteX387" fmla="*/ 1328912 w 2425245"/>
                    <a:gd name="connsiteY387" fmla="*/ 1524376 h 2179250"/>
                    <a:gd name="connsiteX388" fmla="*/ 1314994 w 2425245"/>
                    <a:gd name="connsiteY388" fmla="*/ 1575411 h 2179250"/>
                    <a:gd name="connsiteX389" fmla="*/ 1314994 w 2425245"/>
                    <a:gd name="connsiteY389" fmla="*/ 1575411 h 2179250"/>
                    <a:gd name="connsiteX390" fmla="*/ 1332644 w 2425245"/>
                    <a:gd name="connsiteY390" fmla="*/ 1640061 h 2179250"/>
                    <a:gd name="connsiteX391" fmla="*/ 1332644 w 2425245"/>
                    <a:gd name="connsiteY391" fmla="*/ 1640061 h 2179250"/>
                    <a:gd name="connsiteX392" fmla="*/ 1425031 w 2425245"/>
                    <a:gd name="connsiteY392" fmla="*/ 1683632 h 2179250"/>
                    <a:gd name="connsiteX393" fmla="*/ 1425031 w 2425245"/>
                    <a:gd name="connsiteY393" fmla="*/ 1683632 h 2179250"/>
                    <a:gd name="connsiteX394" fmla="*/ 1471426 w 2425245"/>
                    <a:gd name="connsiteY394" fmla="*/ 1733053 h 2179250"/>
                    <a:gd name="connsiteX395" fmla="*/ 1471426 w 2425245"/>
                    <a:gd name="connsiteY395" fmla="*/ 1733053 h 2179250"/>
                    <a:gd name="connsiteX396" fmla="*/ 1486857 w 2425245"/>
                    <a:gd name="connsiteY396" fmla="*/ 1822918 h 2179250"/>
                    <a:gd name="connsiteX397" fmla="*/ 1486857 w 2425245"/>
                    <a:gd name="connsiteY397" fmla="*/ 1822918 h 2179250"/>
                    <a:gd name="connsiteX398" fmla="*/ 1448632 w 2425245"/>
                    <a:gd name="connsiteY398" fmla="*/ 1929626 h 2179250"/>
                    <a:gd name="connsiteX399" fmla="*/ 1448632 w 2425245"/>
                    <a:gd name="connsiteY399" fmla="*/ 1929626 h 2179250"/>
                    <a:gd name="connsiteX400" fmla="*/ 1422812 w 2425245"/>
                    <a:gd name="connsiteY400" fmla="*/ 1972793 h 2179250"/>
                    <a:gd name="connsiteX401" fmla="*/ 1422812 w 2425245"/>
                    <a:gd name="connsiteY401" fmla="*/ 1972793 h 2179250"/>
                    <a:gd name="connsiteX402" fmla="*/ 1434108 w 2425245"/>
                    <a:gd name="connsiteY402" fmla="*/ 2003858 h 2179250"/>
                    <a:gd name="connsiteX403" fmla="*/ 1434108 w 2425245"/>
                    <a:gd name="connsiteY403" fmla="*/ 2003858 h 2179250"/>
                    <a:gd name="connsiteX404" fmla="*/ 1478587 w 2425245"/>
                    <a:gd name="connsiteY404" fmla="*/ 2040268 h 2179250"/>
                    <a:gd name="connsiteX405" fmla="*/ 1478587 w 2425245"/>
                    <a:gd name="connsiteY405" fmla="*/ 2040268 h 2179250"/>
                    <a:gd name="connsiteX406" fmla="*/ 1485748 w 2425245"/>
                    <a:gd name="connsiteY406" fmla="*/ 2038553 h 2179250"/>
                    <a:gd name="connsiteX407" fmla="*/ 1485748 w 2425245"/>
                    <a:gd name="connsiteY407" fmla="*/ 2038553 h 2179250"/>
                    <a:gd name="connsiteX408" fmla="*/ 1523267 w 2425245"/>
                    <a:gd name="connsiteY408" fmla="*/ 2025038 h 2179250"/>
                    <a:gd name="connsiteX409" fmla="*/ 1523267 w 2425245"/>
                    <a:gd name="connsiteY409" fmla="*/ 2025038 h 2179250"/>
                    <a:gd name="connsiteX410" fmla="*/ 1548381 w 2425245"/>
                    <a:gd name="connsiteY410" fmla="*/ 2032401 h 2179250"/>
                    <a:gd name="connsiteX411" fmla="*/ 1548381 w 2425245"/>
                    <a:gd name="connsiteY411" fmla="*/ 2032401 h 2179250"/>
                    <a:gd name="connsiteX412" fmla="*/ 1592859 w 2425245"/>
                    <a:gd name="connsiteY412" fmla="*/ 2068609 h 2179250"/>
                    <a:gd name="connsiteX413" fmla="*/ 1592859 w 2425245"/>
                    <a:gd name="connsiteY413" fmla="*/ 2068609 h 2179250"/>
                    <a:gd name="connsiteX414" fmla="*/ 1568351 w 2425245"/>
                    <a:gd name="connsiteY414" fmla="*/ 2091706 h 2179250"/>
                    <a:gd name="connsiteX415" fmla="*/ 1568351 w 2425245"/>
                    <a:gd name="connsiteY415" fmla="*/ 2091706 h 2179250"/>
                    <a:gd name="connsiteX416" fmla="*/ 1563308 w 2425245"/>
                    <a:gd name="connsiteY416" fmla="*/ 2091302 h 2179250"/>
                    <a:gd name="connsiteX417" fmla="*/ 1563308 w 2425245"/>
                    <a:gd name="connsiteY417" fmla="*/ 2091302 h 2179250"/>
                    <a:gd name="connsiteX418" fmla="*/ 1522662 w 2425245"/>
                    <a:gd name="connsiteY418" fmla="*/ 2087469 h 2179250"/>
                    <a:gd name="connsiteX419" fmla="*/ 1522662 w 2425245"/>
                    <a:gd name="connsiteY419" fmla="*/ 2087469 h 2179250"/>
                    <a:gd name="connsiteX420" fmla="*/ 1488269 w 2425245"/>
                    <a:gd name="connsiteY420" fmla="*/ 2095942 h 2179250"/>
                    <a:gd name="connsiteX421" fmla="*/ 1488269 w 2425245"/>
                    <a:gd name="connsiteY421" fmla="*/ 2095942 h 2179250"/>
                    <a:gd name="connsiteX422" fmla="*/ 1472535 w 2425245"/>
                    <a:gd name="connsiteY422" fmla="*/ 2165736 h 2179250"/>
                    <a:gd name="connsiteX423" fmla="*/ 1472535 w 2425245"/>
                    <a:gd name="connsiteY423" fmla="*/ 2165736 h 2179250"/>
                    <a:gd name="connsiteX424" fmla="*/ 1392050 w 2425245"/>
                    <a:gd name="connsiteY424" fmla="*/ 2179251 h 2179250"/>
                    <a:gd name="connsiteX425" fmla="*/ 1392050 w 2425245"/>
                    <a:gd name="connsiteY425" fmla="*/ 2179251 h 2179250"/>
                    <a:gd name="connsiteX426" fmla="*/ 1333048 w 2425245"/>
                    <a:gd name="connsiteY426" fmla="*/ 2165938 h 2179250"/>
                    <a:gd name="connsiteX427" fmla="*/ 1333048 w 2425245"/>
                    <a:gd name="connsiteY427" fmla="*/ 2165938 h 2179250"/>
                    <a:gd name="connsiteX428" fmla="*/ 1467896 w 2425245"/>
                    <a:gd name="connsiteY428" fmla="*/ 2162105 h 2179250"/>
                    <a:gd name="connsiteX429" fmla="*/ 1482924 w 2425245"/>
                    <a:gd name="connsiteY429" fmla="*/ 2093521 h 2179250"/>
                    <a:gd name="connsiteX430" fmla="*/ 1482924 w 2425245"/>
                    <a:gd name="connsiteY430" fmla="*/ 2093521 h 2179250"/>
                    <a:gd name="connsiteX431" fmla="*/ 1522359 w 2425245"/>
                    <a:gd name="connsiteY431" fmla="*/ 2081922 h 2179250"/>
                    <a:gd name="connsiteX432" fmla="*/ 1522359 w 2425245"/>
                    <a:gd name="connsiteY432" fmla="*/ 2081922 h 2179250"/>
                    <a:gd name="connsiteX433" fmla="*/ 1564316 w 2425245"/>
                    <a:gd name="connsiteY433" fmla="*/ 2085957 h 2179250"/>
                    <a:gd name="connsiteX434" fmla="*/ 1564316 w 2425245"/>
                    <a:gd name="connsiteY434" fmla="*/ 2085957 h 2179250"/>
                    <a:gd name="connsiteX435" fmla="*/ 1568149 w 2425245"/>
                    <a:gd name="connsiteY435" fmla="*/ 2086259 h 2179250"/>
                    <a:gd name="connsiteX436" fmla="*/ 1568149 w 2425245"/>
                    <a:gd name="connsiteY436" fmla="*/ 2086259 h 2179250"/>
                    <a:gd name="connsiteX437" fmla="*/ 1587110 w 2425245"/>
                    <a:gd name="connsiteY437" fmla="*/ 2068609 h 2179250"/>
                    <a:gd name="connsiteX438" fmla="*/ 1587110 w 2425245"/>
                    <a:gd name="connsiteY438" fmla="*/ 2068609 h 2179250"/>
                    <a:gd name="connsiteX439" fmla="*/ 1545456 w 2425245"/>
                    <a:gd name="connsiteY439" fmla="*/ 2037242 h 2179250"/>
                    <a:gd name="connsiteX440" fmla="*/ 1545456 w 2425245"/>
                    <a:gd name="connsiteY440" fmla="*/ 2037242 h 2179250"/>
                    <a:gd name="connsiteX441" fmla="*/ 1523166 w 2425245"/>
                    <a:gd name="connsiteY441" fmla="*/ 2030686 h 2179250"/>
                    <a:gd name="connsiteX442" fmla="*/ 1523166 w 2425245"/>
                    <a:gd name="connsiteY442" fmla="*/ 2030686 h 2179250"/>
                    <a:gd name="connsiteX443" fmla="*/ 1488370 w 2425245"/>
                    <a:gd name="connsiteY443" fmla="*/ 2043495 h 2179250"/>
                    <a:gd name="connsiteX444" fmla="*/ 1488370 w 2425245"/>
                    <a:gd name="connsiteY444" fmla="*/ 2043495 h 2179250"/>
                    <a:gd name="connsiteX445" fmla="*/ 1478486 w 2425245"/>
                    <a:gd name="connsiteY445" fmla="*/ 2045916 h 2179250"/>
                    <a:gd name="connsiteX446" fmla="*/ 1478486 w 2425245"/>
                    <a:gd name="connsiteY446" fmla="*/ 2045916 h 2179250"/>
                    <a:gd name="connsiteX447" fmla="*/ 1429569 w 2425245"/>
                    <a:gd name="connsiteY447" fmla="*/ 2007287 h 2179250"/>
                    <a:gd name="connsiteX448" fmla="*/ 1429569 w 2425245"/>
                    <a:gd name="connsiteY448" fmla="*/ 2007287 h 2179250"/>
                    <a:gd name="connsiteX449" fmla="*/ 1417265 w 2425245"/>
                    <a:gd name="connsiteY449" fmla="*/ 1972894 h 2179250"/>
                    <a:gd name="connsiteX450" fmla="*/ 1417265 w 2425245"/>
                    <a:gd name="connsiteY450" fmla="*/ 1972894 h 2179250"/>
                    <a:gd name="connsiteX451" fmla="*/ 1445707 w 2425245"/>
                    <a:gd name="connsiteY451" fmla="*/ 1924986 h 2179250"/>
                    <a:gd name="connsiteX452" fmla="*/ 1445707 w 2425245"/>
                    <a:gd name="connsiteY452" fmla="*/ 1924986 h 2179250"/>
                    <a:gd name="connsiteX453" fmla="*/ 1481310 w 2425245"/>
                    <a:gd name="connsiteY453" fmla="*/ 1822918 h 2179250"/>
                    <a:gd name="connsiteX454" fmla="*/ 1481310 w 2425245"/>
                    <a:gd name="connsiteY454" fmla="*/ 1822918 h 2179250"/>
                    <a:gd name="connsiteX455" fmla="*/ 1466080 w 2425245"/>
                    <a:gd name="connsiteY455" fmla="*/ 1734666 h 2179250"/>
                    <a:gd name="connsiteX456" fmla="*/ 1466080 w 2425245"/>
                    <a:gd name="connsiteY456" fmla="*/ 1734666 h 2179250"/>
                    <a:gd name="connsiteX457" fmla="*/ 1423215 w 2425245"/>
                    <a:gd name="connsiteY457" fmla="*/ 1688877 h 2179250"/>
                    <a:gd name="connsiteX458" fmla="*/ 1423215 w 2425245"/>
                    <a:gd name="connsiteY458" fmla="*/ 1688877 h 2179250"/>
                    <a:gd name="connsiteX459" fmla="*/ 1328307 w 2425245"/>
                    <a:gd name="connsiteY459" fmla="*/ 1643591 h 2179250"/>
                    <a:gd name="connsiteX460" fmla="*/ 1328307 w 2425245"/>
                    <a:gd name="connsiteY460" fmla="*/ 1643591 h 2179250"/>
                    <a:gd name="connsiteX461" fmla="*/ 1309346 w 2425245"/>
                    <a:gd name="connsiteY461" fmla="*/ 1575310 h 2179250"/>
                    <a:gd name="connsiteX462" fmla="*/ 1309346 w 2425245"/>
                    <a:gd name="connsiteY462" fmla="*/ 1575310 h 2179250"/>
                    <a:gd name="connsiteX463" fmla="*/ 1325786 w 2425245"/>
                    <a:gd name="connsiteY463" fmla="*/ 1519636 h 2179250"/>
                    <a:gd name="connsiteX464" fmla="*/ 1325786 w 2425245"/>
                    <a:gd name="connsiteY464" fmla="*/ 1519636 h 2179250"/>
                    <a:gd name="connsiteX465" fmla="*/ 1383073 w 2425245"/>
                    <a:gd name="connsiteY465" fmla="*/ 1446110 h 2179250"/>
                    <a:gd name="connsiteX466" fmla="*/ 1383073 w 2425245"/>
                    <a:gd name="connsiteY466" fmla="*/ 1446110 h 2179250"/>
                    <a:gd name="connsiteX467" fmla="*/ 1400018 w 2425245"/>
                    <a:gd name="connsiteY467" fmla="*/ 1428258 h 2179250"/>
                    <a:gd name="connsiteX468" fmla="*/ 1400018 w 2425245"/>
                    <a:gd name="connsiteY468" fmla="*/ 1428258 h 2179250"/>
                    <a:gd name="connsiteX469" fmla="*/ 1437941 w 2425245"/>
                    <a:gd name="connsiteY469" fmla="*/ 1448934 h 2179250"/>
                    <a:gd name="connsiteX470" fmla="*/ 1437941 w 2425245"/>
                    <a:gd name="connsiteY470" fmla="*/ 1448934 h 2179250"/>
                    <a:gd name="connsiteX471" fmla="*/ 1450750 w 2425245"/>
                    <a:gd name="connsiteY471" fmla="*/ 1452161 h 2179250"/>
                    <a:gd name="connsiteX472" fmla="*/ 1450750 w 2425245"/>
                    <a:gd name="connsiteY472" fmla="*/ 1452161 h 2179250"/>
                    <a:gd name="connsiteX473" fmla="*/ 1470720 w 2425245"/>
                    <a:gd name="connsiteY473" fmla="*/ 1441470 h 2179250"/>
                    <a:gd name="connsiteX474" fmla="*/ 1470720 w 2425245"/>
                    <a:gd name="connsiteY474" fmla="*/ 1441470 h 2179250"/>
                    <a:gd name="connsiteX475" fmla="*/ 1498052 w 2425245"/>
                    <a:gd name="connsiteY475" fmla="*/ 1428359 h 2179250"/>
                    <a:gd name="connsiteX476" fmla="*/ 1498052 w 2425245"/>
                    <a:gd name="connsiteY476" fmla="*/ 1428359 h 2179250"/>
                    <a:gd name="connsiteX477" fmla="*/ 1540211 w 2425245"/>
                    <a:gd name="connsiteY477" fmla="*/ 1436428 h 2179250"/>
                    <a:gd name="connsiteX478" fmla="*/ 1540211 w 2425245"/>
                    <a:gd name="connsiteY478" fmla="*/ 1436428 h 2179250"/>
                    <a:gd name="connsiteX479" fmla="*/ 1581866 w 2425245"/>
                    <a:gd name="connsiteY479" fmla="*/ 1444496 h 2179250"/>
                    <a:gd name="connsiteX480" fmla="*/ 1581866 w 2425245"/>
                    <a:gd name="connsiteY480" fmla="*/ 1444496 h 2179250"/>
                    <a:gd name="connsiteX481" fmla="*/ 1608492 w 2425245"/>
                    <a:gd name="connsiteY481" fmla="*/ 1438142 h 2179250"/>
                    <a:gd name="connsiteX482" fmla="*/ 1608492 w 2425245"/>
                    <a:gd name="connsiteY482" fmla="*/ 1438142 h 2179250"/>
                    <a:gd name="connsiteX483" fmla="*/ 1613535 w 2425245"/>
                    <a:gd name="connsiteY483" fmla="*/ 1436629 h 2179250"/>
                    <a:gd name="connsiteX484" fmla="*/ 1613535 w 2425245"/>
                    <a:gd name="connsiteY484" fmla="*/ 1436629 h 2179250"/>
                    <a:gd name="connsiteX485" fmla="*/ 1634111 w 2425245"/>
                    <a:gd name="connsiteY485" fmla="*/ 1484234 h 2179250"/>
                    <a:gd name="connsiteX486" fmla="*/ 1634111 w 2425245"/>
                    <a:gd name="connsiteY486" fmla="*/ 1484234 h 2179250"/>
                    <a:gd name="connsiteX487" fmla="*/ 1635220 w 2425245"/>
                    <a:gd name="connsiteY487" fmla="*/ 1486555 h 2179250"/>
                    <a:gd name="connsiteX488" fmla="*/ 1635220 w 2425245"/>
                    <a:gd name="connsiteY488" fmla="*/ 1486555 h 2179250"/>
                    <a:gd name="connsiteX489" fmla="*/ 1645104 w 2425245"/>
                    <a:gd name="connsiteY489" fmla="*/ 1455490 h 2179250"/>
                    <a:gd name="connsiteX490" fmla="*/ 1645104 w 2425245"/>
                    <a:gd name="connsiteY490" fmla="*/ 1455490 h 2179250"/>
                    <a:gd name="connsiteX491" fmla="*/ 1643894 w 2425245"/>
                    <a:gd name="connsiteY491" fmla="*/ 1442580 h 2179250"/>
                    <a:gd name="connsiteX492" fmla="*/ 1643894 w 2425245"/>
                    <a:gd name="connsiteY492" fmla="*/ 1442580 h 2179250"/>
                    <a:gd name="connsiteX493" fmla="*/ 1642381 w 2425245"/>
                    <a:gd name="connsiteY493" fmla="*/ 1429670 h 2179250"/>
                    <a:gd name="connsiteX494" fmla="*/ 1642381 w 2425245"/>
                    <a:gd name="connsiteY494" fmla="*/ 1429670 h 2179250"/>
                    <a:gd name="connsiteX495" fmla="*/ 1673344 w 2425245"/>
                    <a:gd name="connsiteY495" fmla="*/ 1409801 h 2179250"/>
                    <a:gd name="connsiteX496" fmla="*/ 1673344 w 2425245"/>
                    <a:gd name="connsiteY496" fmla="*/ 1409801 h 2179250"/>
                    <a:gd name="connsiteX497" fmla="*/ 1680506 w 2425245"/>
                    <a:gd name="connsiteY497" fmla="*/ 1410104 h 2179250"/>
                    <a:gd name="connsiteX498" fmla="*/ 1680506 w 2425245"/>
                    <a:gd name="connsiteY498" fmla="*/ 1410104 h 2179250"/>
                    <a:gd name="connsiteX499" fmla="*/ 1739306 w 2425245"/>
                    <a:gd name="connsiteY499" fmla="*/ 1414541 h 2179250"/>
                    <a:gd name="connsiteX500" fmla="*/ 1739306 w 2425245"/>
                    <a:gd name="connsiteY500" fmla="*/ 1414541 h 2179250"/>
                    <a:gd name="connsiteX501" fmla="*/ 1759780 w 2425245"/>
                    <a:gd name="connsiteY501" fmla="*/ 1413230 h 2179250"/>
                    <a:gd name="connsiteX502" fmla="*/ 1759780 w 2425245"/>
                    <a:gd name="connsiteY502" fmla="*/ 1413230 h 2179250"/>
                    <a:gd name="connsiteX503" fmla="*/ 1813538 w 2425245"/>
                    <a:gd name="connsiteY503" fmla="*/ 1406372 h 2179250"/>
                    <a:gd name="connsiteX504" fmla="*/ 1813538 w 2425245"/>
                    <a:gd name="connsiteY504" fmla="*/ 1406372 h 2179250"/>
                    <a:gd name="connsiteX505" fmla="*/ 1839358 w 2425245"/>
                    <a:gd name="connsiteY505" fmla="*/ 1410305 h 2179250"/>
                    <a:gd name="connsiteX506" fmla="*/ 1839358 w 2425245"/>
                    <a:gd name="connsiteY506" fmla="*/ 1410305 h 2179250"/>
                    <a:gd name="connsiteX507" fmla="*/ 1872439 w 2425245"/>
                    <a:gd name="connsiteY507" fmla="*/ 1416357 h 2179250"/>
                    <a:gd name="connsiteX508" fmla="*/ 1872439 w 2425245"/>
                    <a:gd name="connsiteY508" fmla="*/ 1416357 h 2179250"/>
                    <a:gd name="connsiteX509" fmla="*/ 1906126 w 2425245"/>
                    <a:gd name="connsiteY509" fmla="*/ 1405968 h 2179250"/>
                    <a:gd name="connsiteX510" fmla="*/ 1906126 w 2425245"/>
                    <a:gd name="connsiteY510" fmla="*/ 1405968 h 2179250"/>
                    <a:gd name="connsiteX511" fmla="*/ 1923877 w 2425245"/>
                    <a:gd name="connsiteY511" fmla="*/ 1379039 h 2179250"/>
                    <a:gd name="connsiteX512" fmla="*/ 1923877 w 2425245"/>
                    <a:gd name="connsiteY512" fmla="*/ 1379039 h 2179250"/>
                    <a:gd name="connsiteX513" fmla="*/ 1913287 w 2425245"/>
                    <a:gd name="connsiteY513" fmla="*/ 1354833 h 2179250"/>
                    <a:gd name="connsiteX514" fmla="*/ 1913287 w 2425245"/>
                    <a:gd name="connsiteY514" fmla="*/ 1354833 h 2179250"/>
                    <a:gd name="connsiteX515" fmla="*/ 1884442 w 2425245"/>
                    <a:gd name="connsiteY515" fmla="*/ 1272936 h 2179250"/>
                    <a:gd name="connsiteX516" fmla="*/ 1884442 w 2425245"/>
                    <a:gd name="connsiteY516" fmla="*/ 1272936 h 2179250"/>
                    <a:gd name="connsiteX517" fmla="*/ 1884946 w 2425245"/>
                    <a:gd name="connsiteY517" fmla="*/ 1262144 h 2179250"/>
                    <a:gd name="connsiteX518" fmla="*/ 1884946 w 2425245"/>
                    <a:gd name="connsiteY518" fmla="*/ 1262144 h 2179250"/>
                    <a:gd name="connsiteX519" fmla="*/ 1916111 w 2425245"/>
                    <a:gd name="connsiteY519" fmla="*/ 1230071 h 2179250"/>
                    <a:gd name="connsiteX520" fmla="*/ 1916111 w 2425245"/>
                    <a:gd name="connsiteY520" fmla="*/ 1230071 h 2179250"/>
                    <a:gd name="connsiteX521" fmla="*/ 1967549 w 2425245"/>
                    <a:gd name="connsiteY521" fmla="*/ 1250948 h 2179250"/>
                    <a:gd name="connsiteX522" fmla="*/ 1967549 w 2425245"/>
                    <a:gd name="connsiteY522" fmla="*/ 1250948 h 2179250"/>
                    <a:gd name="connsiteX523" fmla="*/ 1987216 w 2425245"/>
                    <a:gd name="connsiteY523" fmla="*/ 1258816 h 2179250"/>
                    <a:gd name="connsiteX524" fmla="*/ 1987216 w 2425245"/>
                    <a:gd name="connsiteY524" fmla="*/ 1258816 h 2179250"/>
                    <a:gd name="connsiteX525" fmla="*/ 2021206 w 2425245"/>
                    <a:gd name="connsiteY525" fmla="*/ 1228860 h 2179250"/>
                    <a:gd name="connsiteX526" fmla="*/ 2021206 w 2425245"/>
                    <a:gd name="connsiteY526" fmla="*/ 1228860 h 2179250"/>
                    <a:gd name="connsiteX527" fmla="*/ 2077182 w 2425245"/>
                    <a:gd name="connsiteY527" fmla="*/ 1208790 h 2179250"/>
                    <a:gd name="connsiteX528" fmla="*/ 2077182 w 2425245"/>
                    <a:gd name="connsiteY528" fmla="*/ 1208790 h 2179250"/>
                    <a:gd name="connsiteX529" fmla="*/ 2132654 w 2425245"/>
                    <a:gd name="connsiteY529" fmla="*/ 1184886 h 2179250"/>
                    <a:gd name="connsiteX530" fmla="*/ 2132654 w 2425245"/>
                    <a:gd name="connsiteY530" fmla="*/ 1184886 h 2179250"/>
                    <a:gd name="connsiteX531" fmla="*/ 2157970 w 2425245"/>
                    <a:gd name="connsiteY531" fmla="*/ 1185895 h 2179250"/>
                    <a:gd name="connsiteX532" fmla="*/ 2157970 w 2425245"/>
                    <a:gd name="connsiteY532" fmla="*/ 1185895 h 2179250"/>
                    <a:gd name="connsiteX533" fmla="*/ 2161903 w 2425245"/>
                    <a:gd name="connsiteY533" fmla="*/ 1185996 h 2179250"/>
                    <a:gd name="connsiteX534" fmla="*/ 2161903 w 2425245"/>
                    <a:gd name="connsiteY534" fmla="*/ 1185996 h 2179250"/>
                    <a:gd name="connsiteX535" fmla="*/ 2180058 w 2425245"/>
                    <a:gd name="connsiteY535" fmla="*/ 1172279 h 2179250"/>
                    <a:gd name="connsiteX536" fmla="*/ 2180058 w 2425245"/>
                    <a:gd name="connsiteY536" fmla="*/ 1172279 h 2179250"/>
                    <a:gd name="connsiteX537" fmla="*/ 2159987 w 2425245"/>
                    <a:gd name="connsiteY537" fmla="*/ 1124069 h 2179250"/>
                    <a:gd name="connsiteX538" fmla="*/ 2159987 w 2425245"/>
                    <a:gd name="connsiteY538" fmla="*/ 1124069 h 2179250"/>
                    <a:gd name="connsiteX539" fmla="*/ 2155751 w 2425245"/>
                    <a:gd name="connsiteY539" fmla="*/ 1107830 h 2179250"/>
                    <a:gd name="connsiteX540" fmla="*/ 2155751 w 2425245"/>
                    <a:gd name="connsiteY540" fmla="*/ 1107830 h 2179250"/>
                    <a:gd name="connsiteX541" fmla="*/ 2178747 w 2425245"/>
                    <a:gd name="connsiteY541" fmla="*/ 1061032 h 2179250"/>
                    <a:gd name="connsiteX542" fmla="*/ 2178747 w 2425245"/>
                    <a:gd name="connsiteY542" fmla="*/ 1061032 h 2179250"/>
                    <a:gd name="connsiteX543" fmla="*/ 2189034 w 2425245"/>
                    <a:gd name="connsiteY543" fmla="*/ 1057099 h 2179250"/>
                    <a:gd name="connsiteX544" fmla="*/ 2189034 w 2425245"/>
                    <a:gd name="connsiteY544" fmla="*/ 1057099 h 2179250"/>
                    <a:gd name="connsiteX545" fmla="*/ 2262459 w 2425245"/>
                    <a:gd name="connsiteY545" fmla="*/ 1080094 h 2179250"/>
                    <a:gd name="connsiteX546" fmla="*/ 2262459 w 2425245"/>
                    <a:gd name="connsiteY546" fmla="*/ 1080094 h 2179250"/>
                    <a:gd name="connsiteX547" fmla="*/ 2265082 w 2425245"/>
                    <a:gd name="connsiteY547" fmla="*/ 1080094 h 2179250"/>
                    <a:gd name="connsiteX548" fmla="*/ 2265082 w 2425245"/>
                    <a:gd name="connsiteY548" fmla="*/ 1080094 h 2179250"/>
                    <a:gd name="connsiteX549" fmla="*/ 2289288 w 2425245"/>
                    <a:gd name="connsiteY549" fmla="*/ 1032086 h 2179250"/>
                    <a:gd name="connsiteX550" fmla="*/ 2289288 w 2425245"/>
                    <a:gd name="connsiteY550" fmla="*/ 1032086 h 2179250"/>
                    <a:gd name="connsiteX551" fmla="*/ 2288582 w 2425245"/>
                    <a:gd name="connsiteY551" fmla="*/ 1017158 h 2179250"/>
                    <a:gd name="connsiteX552" fmla="*/ 2288582 w 2425245"/>
                    <a:gd name="connsiteY552" fmla="*/ 1017158 h 2179250"/>
                    <a:gd name="connsiteX553" fmla="*/ 2288481 w 2425245"/>
                    <a:gd name="connsiteY553" fmla="*/ 1015141 h 2179250"/>
                    <a:gd name="connsiteX554" fmla="*/ 2288481 w 2425245"/>
                    <a:gd name="connsiteY554" fmla="*/ 1015141 h 2179250"/>
                    <a:gd name="connsiteX555" fmla="*/ 2389340 w 2425245"/>
                    <a:gd name="connsiteY555" fmla="*/ 943330 h 2179250"/>
                    <a:gd name="connsiteX556" fmla="*/ 2389340 w 2425245"/>
                    <a:gd name="connsiteY556" fmla="*/ 943330 h 2179250"/>
                    <a:gd name="connsiteX557" fmla="*/ 2419395 w 2425245"/>
                    <a:gd name="connsiteY557" fmla="*/ 911862 h 2179250"/>
                    <a:gd name="connsiteX558" fmla="*/ 2419395 w 2425245"/>
                    <a:gd name="connsiteY558" fmla="*/ 911862 h 2179250"/>
                    <a:gd name="connsiteX559" fmla="*/ 2419093 w 2425245"/>
                    <a:gd name="connsiteY559" fmla="*/ 908332 h 2179250"/>
                    <a:gd name="connsiteX560" fmla="*/ 2419093 w 2425245"/>
                    <a:gd name="connsiteY560" fmla="*/ 908332 h 2179250"/>
                    <a:gd name="connsiteX561" fmla="*/ 2363419 w 2425245"/>
                    <a:gd name="connsiteY561" fmla="*/ 870611 h 2179250"/>
                    <a:gd name="connsiteX562" fmla="*/ 2363419 w 2425245"/>
                    <a:gd name="connsiteY562" fmla="*/ 870611 h 2179250"/>
                    <a:gd name="connsiteX563" fmla="*/ 2360897 w 2425245"/>
                    <a:gd name="connsiteY563" fmla="*/ 870611 h 2179250"/>
                    <a:gd name="connsiteX564" fmla="*/ 2360897 w 2425245"/>
                    <a:gd name="connsiteY564" fmla="*/ 870611 h 2179250"/>
                    <a:gd name="connsiteX565" fmla="*/ 2360393 w 2425245"/>
                    <a:gd name="connsiteY565" fmla="*/ 867888 h 2179250"/>
                    <a:gd name="connsiteX566" fmla="*/ 2360393 w 2425245"/>
                    <a:gd name="connsiteY566" fmla="*/ 870812 h 2179250"/>
                    <a:gd name="connsiteX567" fmla="*/ 2357872 w 2425245"/>
                    <a:gd name="connsiteY567" fmla="*/ 870812 h 2179250"/>
                    <a:gd name="connsiteX568" fmla="*/ 2357872 w 2425245"/>
                    <a:gd name="connsiteY568" fmla="*/ 870812 h 2179250"/>
                    <a:gd name="connsiteX569" fmla="*/ 2314704 w 2425245"/>
                    <a:gd name="connsiteY569" fmla="*/ 825527 h 2179250"/>
                    <a:gd name="connsiteX570" fmla="*/ 2314704 w 2425245"/>
                    <a:gd name="connsiteY570" fmla="*/ 825527 h 2179250"/>
                    <a:gd name="connsiteX571" fmla="*/ 2314603 w 2425245"/>
                    <a:gd name="connsiteY571" fmla="*/ 824216 h 2179250"/>
                    <a:gd name="connsiteX572" fmla="*/ 2314603 w 2425245"/>
                    <a:gd name="connsiteY572" fmla="*/ 824216 h 2179250"/>
                    <a:gd name="connsiteX573" fmla="*/ 2348694 w 2425245"/>
                    <a:gd name="connsiteY573" fmla="*/ 778123 h 2179250"/>
                    <a:gd name="connsiteX574" fmla="*/ 2348694 w 2425245"/>
                    <a:gd name="connsiteY574" fmla="*/ 778123 h 2179250"/>
                    <a:gd name="connsiteX575" fmla="*/ 2348492 w 2425245"/>
                    <a:gd name="connsiteY575" fmla="*/ 776813 h 2179250"/>
                    <a:gd name="connsiteX576" fmla="*/ 2348492 w 2425245"/>
                    <a:gd name="connsiteY576" fmla="*/ 776813 h 2179250"/>
                    <a:gd name="connsiteX577" fmla="*/ 2333766 w 2425245"/>
                    <a:gd name="connsiteY577" fmla="*/ 768139 h 2179250"/>
                    <a:gd name="connsiteX578" fmla="*/ 2333766 w 2425245"/>
                    <a:gd name="connsiteY578" fmla="*/ 768139 h 2179250"/>
                    <a:gd name="connsiteX579" fmla="*/ 2314200 w 2425245"/>
                    <a:gd name="connsiteY579" fmla="*/ 773686 h 2179250"/>
                    <a:gd name="connsiteX580" fmla="*/ 2314200 w 2425245"/>
                    <a:gd name="connsiteY580" fmla="*/ 773686 h 2179250"/>
                    <a:gd name="connsiteX581" fmla="*/ 2302904 w 2425245"/>
                    <a:gd name="connsiteY581" fmla="*/ 776611 h 2179250"/>
                    <a:gd name="connsiteX582" fmla="*/ 2302904 w 2425245"/>
                    <a:gd name="connsiteY582" fmla="*/ 776611 h 2179250"/>
                    <a:gd name="connsiteX583" fmla="*/ 2280412 w 2425245"/>
                    <a:gd name="connsiteY583" fmla="*/ 750186 h 2179250"/>
                    <a:gd name="connsiteX584" fmla="*/ 2280412 w 2425245"/>
                    <a:gd name="connsiteY584" fmla="*/ 750186 h 2179250"/>
                    <a:gd name="connsiteX585" fmla="*/ 2280917 w 2425245"/>
                    <a:gd name="connsiteY585" fmla="*/ 744840 h 2179250"/>
                    <a:gd name="connsiteX586" fmla="*/ 2280917 w 2425245"/>
                    <a:gd name="connsiteY586" fmla="*/ 744840 h 2179250"/>
                    <a:gd name="connsiteX587" fmla="*/ 2281219 w 2425245"/>
                    <a:gd name="connsiteY587" fmla="*/ 739596 h 2179250"/>
                    <a:gd name="connsiteX588" fmla="*/ 2281219 w 2425245"/>
                    <a:gd name="connsiteY588" fmla="*/ 739596 h 2179250"/>
                    <a:gd name="connsiteX589" fmla="*/ 2258627 w 2425245"/>
                    <a:gd name="connsiteY589" fmla="*/ 718819 h 2179250"/>
                    <a:gd name="connsiteX590" fmla="*/ 2258627 w 2425245"/>
                    <a:gd name="connsiteY590" fmla="*/ 718819 h 2179250"/>
                    <a:gd name="connsiteX591" fmla="*/ 2256711 w 2425245"/>
                    <a:gd name="connsiteY591" fmla="*/ 718617 h 2179250"/>
                    <a:gd name="connsiteX592" fmla="*/ 2256711 w 2425245"/>
                    <a:gd name="connsiteY592" fmla="*/ 718617 h 2179250"/>
                    <a:gd name="connsiteX593" fmla="*/ 2238556 w 2425245"/>
                    <a:gd name="connsiteY593" fmla="*/ 719626 h 2179250"/>
                    <a:gd name="connsiteX594" fmla="*/ 2238556 w 2425245"/>
                    <a:gd name="connsiteY594" fmla="*/ 719626 h 2179250"/>
                    <a:gd name="connsiteX595" fmla="*/ 2199725 w 2425245"/>
                    <a:gd name="connsiteY595" fmla="*/ 694109 h 2179250"/>
                    <a:gd name="connsiteX596" fmla="*/ 2199725 w 2425245"/>
                    <a:gd name="connsiteY596" fmla="*/ 694109 h 2179250"/>
                    <a:gd name="connsiteX597" fmla="*/ 2196397 w 2425245"/>
                    <a:gd name="connsiteY597" fmla="*/ 676055 h 2179250"/>
                    <a:gd name="connsiteX598" fmla="*/ 2196397 w 2425245"/>
                    <a:gd name="connsiteY598" fmla="*/ 676055 h 2179250"/>
                    <a:gd name="connsiteX599" fmla="*/ 2228773 w 2425245"/>
                    <a:gd name="connsiteY599" fmla="*/ 578827 h 2179250"/>
                    <a:gd name="connsiteX600" fmla="*/ 2228773 w 2425245"/>
                    <a:gd name="connsiteY600" fmla="*/ 578827 h 2179250"/>
                    <a:gd name="connsiteX601" fmla="*/ 2231799 w 2425245"/>
                    <a:gd name="connsiteY601" fmla="*/ 557849 h 2179250"/>
                    <a:gd name="connsiteX602" fmla="*/ 2231799 w 2425245"/>
                    <a:gd name="connsiteY602" fmla="*/ 557849 h 2179250"/>
                    <a:gd name="connsiteX603" fmla="*/ 2202549 w 2425245"/>
                    <a:gd name="connsiteY603" fmla="*/ 521943 h 2179250"/>
                    <a:gd name="connsiteX604" fmla="*/ 2202549 w 2425245"/>
                    <a:gd name="connsiteY604" fmla="*/ 521943 h 2179250"/>
                    <a:gd name="connsiteX605" fmla="*/ 2180966 w 2425245"/>
                    <a:gd name="connsiteY605" fmla="*/ 486239 h 2179250"/>
                    <a:gd name="connsiteX606" fmla="*/ 2180966 w 2425245"/>
                    <a:gd name="connsiteY606" fmla="*/ 486239 h 2179250"/>
                    <a:gd name="connsiteX607" fmla="*/ 2184395 w 2425245"/>
                    <a:gd name="connsiteY607" fmla="*/ 454469 h 2179250"/>
                    <a:gd name="connsiteX608" fmla="*/ 2184395 w 2425245"/>
                    <a:gd name="connsiteY608" fmla="*/ 454469 h 2179250"/>
                    <a:gd name="connsiteX609" fmla="*/ 2184193 w 2425245"/>
                    <a:gd name="connsiteY609" fmla="*/ 451039 h 2179250"/>
                    <a:gd name="connsiteX610" fmla="*/ 2184193 w 2425245"/>
                    <a:gd name="connsiteY610" fmla="*/ 451039 h 2179250"/>
                    <a:gd name="connsiteX611" fmla="*/ 2126401 w 2425245"/>
                    <a:gd name="connsiteY611" fmla="*/ 377009 h 2179250"/>
                    <a:gd name="connsiteX612" fmla="*/ 2126401 w 2425245"/>
                    <a:gd name="connsiteY612" fmla="*/ 377009 h 2179250"/>
                    <a:gd name="connsiteX613" fmla="*/ 2112483 w 2425245"/>
                    <a:gd name="connsiteY613" fmla="*/ 344634 h 2179250"/>
                    <a:gd name="connsiteX614" fmla="*/ 2112483 w 2425245"/>
                    <a:gd name="connsiteY614" fmla="*/ 344634 h 2179250"/>
                    <a:gd name="connsiteX615" fmla="*/ 2109054 w 2425245"/>
                    <a:gd name="connsiteY615" fmla="*/ 344936 h 2179250"/>
                    <a:gd name="connsiteX616" fmla="*/ 2109054 w 2425245"/>
                    <a:gd name="connsiteY616" fmla="*/ 344936 h 2179250"/>
                    <a:gd name="connsiteX617" fmla="*/ 2070425 w 2425245"/>
                    <a:gd name="connsiteY617" fmla="*/ 282303 h 2179250"/>
                    <a:gd name="connsiteX618" fmla="*/ 2070425 w 2425245"/>
                    <a:gd name="connsiteY618" fmla="*/ 282303 h 2179250"/>
                    <a:gd name="connsiteX619" fmla="*/ 2070626 w 2425245"/>
                    <a:gd name="connsiteY619" fmla="*/ 277462 h 2179250"/>
                    <a:gd name="connsiteX620" fmla="*/ 2070626 w 2425245"/>
                    <a:gd name="connsiteY620" fmla="*/ 277462 h 2179250"/>
                    <a:gd name="connsiteX621" fmla="*/ 2071030 w 2425245"/>
                    <a:gd name="connsiteY621" fmla="*/ 270301 h 2179250"/>
                    <a:gd name="connsiteX622" fmla="*/ 2071030 w 2425245"/>
                    <a:gd name="connsiteY622" fmla="*/ 270301 h 2179250"/>
                    <a:gd name="connsiteX623" fmla="*/ 2050656 w 2425245"/>
                    <a:gd name="connsiteY623" fmla="*/ 227940 h 2179250"/>
                    <a:gd name="connsiteX624" fmla="*/ 2050656 w 2425245"/>
                    <a:gd name="connsiteY624" fmla="*/ 227940 h 2179250"/>
                    <a:gd name="connsiteX625" fmla="*/ 2021609 w 2425245"/>
                    <a:gd name="connsiteY625" fmla="*/ 147959 h 2179250"/>
                    <a:gd name="connsiteX626" fmla="*/ 2021609 w 2425245"/>
                    <a:gd name="connsiteY626" fmla="*/ 147959 h 2179250"/>
                    <a:gd name="connsiteX627" fmla="*/ 1968558 w 2425245"/>
                    <a:gd name="connsiteY627" fmla="*/ 107314 h 2179250"/>
                    <a:gd name="connsiteX628" fmla="*/ 1968558 w 2425245"/>
                    <a:gd name="connsiteY628" fmla="*/ 107314 h 2179250"/>
                    <a:gd name="connsiteX629" fmla="*/ 1967045 w 2425245"/>
                    <a:gd name="connsiteY629" fmla="*/ 107414 h 2179250"/>
                    <a:gd name="connsiteX630" fmla="*/ 1967045 w 2425245"/>
                    <a:gd name="connsiteY630" fmla="*/ 107414 h 2179250"/>
                    <a:gd name="connsiteX631" fmla="*/ 1872843 w 2425245"/>
                    <a:gd name="connsiteY631" fmla="*/ 226932 h 2179250"/>
                    <a:gd name="connsiteX632" fmla="*/ 1872843 w 2425245"/>
                    <a:gd name="connsiteY632" fmla="*/ 226932 h 2179250"/>
                    <a:gd name="connsiteX633" fmla="*/ 1805974 w 2425245"/>
                    <a:gd name="connsiteY633" fmla="*/ 338078 h 2179250"/>
                    <a:gd name="connsiteX634" fmla="*/ 1805974 w 2425245"/>
                    <a:gd name="connsiteY634" fmla="*/ 338078 h 2179250"/>
                    <a:gd name="connsiteX635" fmla="*/ 1768757 w 2425245"/>
                    <a:gd name="connsiteY635" fmla="*/ 345340 h 2179250"/>
                    <a:gd name="connsiteX636" fmla="*/ 1768757 w 2425245"/>
                    <a:gd name="connsiteY636" fmla="*/ 345340 h 2179250"/>
                    <a:gd name="connsiteX637" fmla="*/ 1720344 w 2425245"/>
                    <a:gd name="connsiteY637" fmla="*/ 344331 h 2179250"/>
                    <a:gd name="connsiteX638" fmla="*/ 1720344 w 2425245"/>
                    <a:gd name="connsiteY638" fmla="*/ 344331 h 2179250"/>
                    <a:gd name="connsiteX639" fmla="*/ 1656098 w 2425245"/>
                    <a:gd name="connsiteY639" fmla="*/ 360771 h 2179250"/>
                    <a:gd name="connsiteX640" fmla="*/ 1656098 w 2425245"/>
                    <a:gd name="connsiteY640" fmla="*/ 360771 h 2179250"/>
                    <a:gd name="connsiteX641" fmla="*/ 1616460 w 2425245"/>
                    <a:gd name="connsiteY641" fmla="*/ 387902 h 2179250"/>
                    <a:gd name="connsiteX642" fmla="*/ 1616460 w 2425245"/>
                    <a:gd name="connsiteY642" fmla="*/ 387902 h 2179250"/>
                    <a:gd name="connsiteX643" fmla="*/ 1597700 w 2425245"/>
                    <a:gd name="connsiteY643" fmla="*/ 361679 h 2179250"/>
                    <a:gd name="connsiteX644" fmla="*/ 1597700 w 2425245"/>
                    <a:gd name="connsiteY644" fmla="*/ 361679 h 2179250"/>
                    <a:gd name="connsiteX645" fmla="*/ 1582673 w 2425245"/>
                    <a:gd name="connsiteY645" fmla="*/ 287749 h 2179250"/>
                    <a:gd name="connsiteX646" fmla="*/ 1582673 w 2425245"/>
                    <a:gd name="connsiteY646" fmla="*/ 287749 h 2179250"/>
                    <a:gd name="connsiteX647" fmla="*/ 1588321 w 2425245"/>
                    <a:gd name="connsiteY647" fmla="*/ 270805 h 2179250"/>
                    <a:gd name="connsiteX648" fmla="*/ 1588321 w 2425245"/>
                    <a:gd name="connsiteY648" fmla="*/ 270805 h 2179250"/>
                    <a:gd name="connsiteX649" fmla="*/ 1606374 w 2425245"/>
                    <a:gd name="connsiteY649" fmla="*/ 225217 h 2179250"/>
                    <a:gd name="connsiteX650" fmla="*/ 1606374 w 2425245"/>
                    <a:gd name="connsiteY650" fmla="*/ 225217 h 2179250"/>
                    <a:gd name="connsiteX651" fmla="*/ 1599113 w 2425245"/>
                    <a:gd name="connsiteY651" fmla="*/ 208979 h 2179250"/>
                    <a:gd name="connsiteX652" fmla="*/ 1599113 w 2425245"/>
                    <a:gd name="connsiteY652" fmla="*/ 208979 h 2179250"/>
                    <a:gd name="connsiteX653" fmla="*/ 1557054 w 2425245"/>
                    <a:gd name="connsiteY653" fmla="*/ 165912 h 2179250"/>
                    <a:gd name="connsiteX654" fmla="*/ 1557054 w 2425245"/>
                    <a:gd name="connsiteY654" fmla="*/ 165912 h 2179250"/>
                    <a:gd name="connsiteX655" fmla="*/ 1559576 w 2425245"/>
                    <a:gd name="connsiteY655" fmla="*/ 130107 h 2179250"/>
                    <a:gd name="connsiteX656" fmla="*/ 1559576 w 2425245"/>
                    <a:gd name="connsiteY656" fmla="*/ 130107 h 2179250"/>
                    <a:gd name="connsiteX657" fmla="*/ 1563106 w 2425245"/>
                    <a:gd name="connsiteY657" fmla="*/ 59910 h 2179250"/>
                    <a:gd name="connsiteX658" fmla="*/ 1532949 w 2425245"/>
                    <a:gd name="connsiteY658" fmla="*/ 66869 h 2179250"/>
                    <a:gd name="connsiteX659" fmla="*/ 1532949 w 2425245"/>
                    <a:gd name="connsiteY659" fmla="*/ 66869 h 2179250"/>
                    <a:gd name="connsiteX660" fmla="*/ 1489479 w 2425245"/>
                    <a:gd name="connsiteY660" fmla="*/ 88352 h 2179250"/>
                    <a:gd name="connsiteX661" fmla="*/ 1489479 w 2425245"/>
                    <a:gd name="connsiteY661" fmla="*/ 88352 h 2179250"/>
                    <a:gd name="connsiteX662" fmla="*/ 1485143 w 2425245"/>
                    <a:gd name="connsiteY662" fmla="*/ 87948 h 2179250"/>
                    <a:gd name="connsiteX663" fmla="*/ 1485143 w 2425245"/>
                    <a:gd name="connsiteY663" fmla="*/ 87948 h 2179250"/>
                    <a:gd name="connsiteX664" fmla="*/ 1460331 w 2425245"/>
                    <a:gd name="connsiteY664" fmla="*/ 75946 h 2179250"/>
                    <a:gd name="connsiteX665" fmla="*/ 1460331 w 2425245"/>
                    <a:gd name="connsiteY665" fmla="*/ 75946 h 2179250"/>
                    <a:gd name="connsiteX666" fmla="*/ 1451153 w 2425245"/>
                    <a:gd name="connsiteY666" fmla="*/ 77963 h 2179250"/>
                    <a:gd name="connsiteX667" fmla="*/ 1451153 w 2425245"/>
                    <a:gd name="connsiteY667" fmla="*/ 77963 h 2179250"/>
                    <a:gd name="connsiteX668" fmla="*/ 1394067 w 2425245"/>
                    <a:gd name="connsiteY668" fmla="*/ 109532 h 2179250"/>
                    <a:gd name="connsiteX669" fmla="*/ 1394067 w 2425245"/>
                    <a:gd name="connsiteY669" fmla="*/ 109532 h 2179250"/>
                    <a:gd name="connsiteX670" fmla="*/ 1393159 w 2425245"/>
                    <a:gd name="connsiteY670" fmla="*/ 109532 h 2179250"/>
                    <a:gd name="connsiteX671" fmla="*/ 1293612 w 2425245"/>
                    <a:gd name="connsiteY671" fmla="*/ 32779 h 2179250"/>
                    <a:gd name="connsiteX672" fmla="*/ 1293612 w 2425245"/>
                    <a:gd name="connsiteY672" fmla="*/ 32779 h 2179250"/>
                    <a:gd name="connsiteX673" fmla="*/ 1236123 w 2425245"/>
                    <a:gd name="connsiteY673" fmla="*/ 5950 h 2179250"/>
                    <a:gd name="connsiteX674" fmla="*/ 1236123 w 2425245"/>
                    <a:gd name="connsiteY674" fmla="*/ 5950 h 2179250"/>
                    <a:gd name="connsiteX675" fmla="*/ 1231281 w 2425245"/>
                    <a:gd name="connsiteY675" fmla="*/ 5648 h 2179250"/>
                    <a:gd name="connsiteX676" fmla="*/ 1231281 w 2425245"/>
                    <a:gd name="connsiteY676" fmla="*/ 5648 h 2179250"/>
                    <a:gd name="connsiteX677" fmla="*/ 1200923 w 2425245"/>
                    <a:gd name="connsiteY677" fmla="*/ 20878 h 2179250"/>
                    <a:gd name="connsiteX678" fmla="*/ 1200923 w 2425245"/>
                    <a:gd name="connsiteY678" fmla="*/ 20878 h 2179250"/>
                    <a:gd name="connsiteX679" fmla="*/ 1195275 w 2425245"/>
                    <a:gd name="connsiteY679" fmla="*/ 21987 h 2179250"/>
                    <a:gd name="connsiteX680" fmla="*/ 1195275 w 2425245"/>
                    <a:gd name="connsiteY680" fmla="*/ 21987 h 2179250"/>
                    <a:gd name="connsiteX681" fmla="*/ 1192249 w 2425245"/>
                    <a:gd name="connsiteY681" fmla="*/ 21584 h 2179250"/>
                    <a:gd name="connsiteX682" fmla="*/ 1192249 w 2425245"/>
                    <a:gd name="connsiteY682" fmla="*/ 21584 h 2179250"/>
                    <a:gd name="connsiteX683" fmla="*/ 1159773 w 2425245"/>
                    <a:gd name="connsiteY683" fmla="*/ 189513 h 2179250"/>
                    <a:gd name="connsiteX684" fmla="*/ 1159773 w 2425245"/>
                    <a:gd name="connsiteY684" fmla="*/ 189513 h 2179250"/>
                    <a:gd name="connsiteX685" fmla="*/ 1096434 w 2425245"/>
                    <a:gd name="connsiteY685" fmla="*/ 280589 h 2179250"/>
                    <a:gd name="connsiteX686" fmla="*/ 1096434 w 2425245"/>
                    <a:gd name="connsiteY686" fmla="*/ 280589 h 2179250"/>
                    <a:gd name="connsiteX687" fmla="*/ 977521 w 2425245"/>
                    <a:gd name="connsiteY687" fmla="*/ 380338 h 2179250"/>
                    <a:gd name="connsiteX688" fmla="*/ 977521 w 2425245"/>
                    <a:gd name="connsiteY688" fmla="*/ 380338 h 2179250"/>
                    <a:gd name="connsiteX689" fmla="*/ 927394 w 2425245"/>
                    <a:gd name="connsiteY689" fmla="*/ 421992 h 2179250"/>
                    <a:gd name="connsiteX690" fmla="*/ 927394 w 2425245"/>
                    <a:gd name="connsiteY690" fmla="*/ 421992 h 2179250"/>
                    <a:gd name="connsiteX691" fmla="*/ 913577 w 2425245"/>
                    <a:gd name="connsiteY691" fmla="*/ 417151 h 2179250"/>
                    <a:gd name="connsiteX692" fmla="*/ 913577 w 2425245"/>
                    <a:gd name="connsiteY692" fmla="*/ 417151 h 2179250"/>
                    <a:gd name="connsiteX693" fmla="*/ 900566 w 2425245"/>
                    <a:gd name="connsiteY693" fmla="*/ 432381 h 2179250"/>
                    <a:gd name="connsiteX694" fmla="*/ 900566 w 2425245"/>
                    <a:gd name="connsiteY694" fmla="*/ 432381 h 2179250"/>
                    <a:gd name="connsiteX695" fmla="*/ 892094 w 2425245"/>
                    <a:gd name="connsiteY695" fmla="*/ 459814 h 2179250"/>
                    <a:gd name="connsiteX696" fmla="*/ 892094 w 2425245"/>
                    <a:gd name="connsiteY696" fmla="*/ 459814 h 2179250"/>
                    <a:gd name="connsiteX697" fmla="*/ 933144 w 2425245"/>
                    <a:gd name="connsiteY697" fmla="*/ 517202 h 2179250"/>
                    <a:gd name="connsiteX698" fmla="*/ 933144 w 2425245"/>
                    <a:gd name="connsiteY698" fmla="*/ 517202 h 2179250"/>
                    <a:gd name="connsiteX699" fmla="*/ 939699 w 2425245"/>
                    <a:gd name="connsiteY699" fmla="*/ 534954 h 2179250"/>
                    <a:gd name="connsiteX700" fmla="*/ 939699 w 2425245"/>
                    <a:gd name="connsiteY700" fmla="*/ 534954 h 2179250"/>
                    <a:gd name="connsiteX701" fmla="*/ 905306 w 2425245"/>
                    <a:gd name="connsiteY701" fmla="*/ 595973 h 2179250"/>
                    <a:gd name="connsiteX702" fmla="*/ 905306 w 2425245"/>
                    <a:gd name="connsiteY702" fmla="*/ 595973 h 2179250"/>
                    <a:gd name="connsiteX703" fmla="*/ 893708 w 2425245"/>
                    <a:gd name="connsiteY703" fmla="*/ 600008 h 2179250"/>
                    <a:gd name="connsiteX704" fmla="*/ 893708 w 2425245"/>
                    <a:gd name="connsiteY704" fmla="*/ 600008 h 2179250"/>
                    <a:gd name="connsiteX705" fmla="*/ 854171 w 2425245"/>
                    <a:gd name="connsiteY705" fmla="*/ 584677 h 2179250"/>
                    <a:gd name="connsiteX706" fmla="*/ 854171 w 2425245"/>
                    <a:gd name="connsiteY706" fmla="*/ 584677 h 2179250"/>
                    <a:gd name="connsiteX707" fmla="*/ 833697 w 2425245"/>
                    <a:gd name="connsiteY707" fmla="*/ 593250 h 2179250"/>
                    <a:gd name="connsiteX708" fmla="*/ 833697 w 2425245"/>
                    <a:gd name="connsiteY708" fmla="*/ 593250 h 2179250"/>
                    <a:gd name="connsiteX709" fmla="*/ 817862 w 2425245"/>
                    <a:gd name="connsiteY709" fmla="*/ 622297 h 2179250"/>
                    <a:gd name="connsiteX710" fmla="*/ 817862 w 2425245"/>
                    <a:gd name="connsiteY710" fmla="*/ 622297 h 2179250"/>
                    <a:gd name="connsiteX711" fmla="*/ 840757 w 2425245"/>
                    <a:gd name="connsiteY711" fmla="*/ 659918 h 2179250"/>
                    <a:gd name="connsiteX712" fmla="*/ 840757 w 2425245"/>
                    <a:gd name="connsiteY712" fmla="*/ 659918 h 2179250"/>
                    <a:gd name="connsiteX713" fmla="*/ 855382 w 2425245"/>
                    <a:gd name="connsiteY713" fmla="*/ 684023 h 2179250"/>
                    <a:gd name="connsiteX714" fmla="*/ 855382 w 2425245"/>
                    <a:gd name="connsiteY714" fmla="*/ 684023 h 2179250"/>
                    <a:gd name="connsiteX715" fmla="*/ 834302 w 2425245"/>
                    <a:gd name="connsiteY715" fmla="*/ 744134 h 2179250"/>
                    <a:gd name="connsiteX716" fmla="*/ 834302 w 2425245"/>
                    <a:gd name="connsiteY716" fmla="*/ 744134 h 2179250"/>
                    <a:gd name="connsiteX717" fmla="*/ 709439 w 2425245"/>
                    <a:gd name="connsiteY717" fmla="*/ 847212 h 2179250"/>
                    <a:gd name="connsiteX718" fmla="*/ 709439 w 2425245"/>
                    <a:gd name="connsiteY718" fmla="*/ 847212 h 2179250"/>
                    <a:gd name="connsiteX719" fmla="*/ 667886 w 2425245"/>
                    <a:gd name="connsiteY719" fmla="*/ 864862 h 2179250"/>
                    <a:gd name="connsiteX720" fmla="*/ 667886 w 2425245"/>
                    <a:gd name="connsiteY720" fmla="*/ 864862 h 2179250"/>
                    <a:gd name="connsiteX721" fmla="*/ 622398 w 2425245"/>
                    <a:gd name="connsiteY721" fmla="*/ 847817 h 2179250"/>
                    <a:gd name="connsiteX722" fmla="*/ 622398 w 2425245"/>
                    <a:gd name="connsiteY722" fmla="*/ 847817 h 2179250"/>
                    <a:gd name="connsiteX723" fmla="*/ 491484 w 2425245"/>
                    <a:gd name="connsiteY723" fmla="*/ 888665 h 2179250"/>
                    <a:gd name="connsiteX724" fmla="*/ 491484 w 2425245"/>
                    <a:gd name="connsiteY724" fmla="*/ 888665 h 2179250"/>
                    <a:gd name="connsiteX725" fmla="*/ 431675 w 2425245"/>
                    <a:gd name="connsiteY725" fmla="*/ 907324 h 2179250"/>
                    <a:gd name="connsiteX726" fmla="*/ 431675 w 2425245"/>
                    <a:gd name="connsiteY726" fmla="*/ 907324 h 2179250"/>
                    <a:gd name="connsiteX727" fmla="*/ 385280 w 2425245"/>
                    <a:gd name="connsiteY727" fmla="*/ 902886 h 2179250"/>
                    <a:gd name="connsiteX728" fmla="*/ 385280 w 2425245"/>
                    <a:gd name="connsiteY728" fmla="*/ 902886 h 2179250"/>
                    <a:gd name="connsiteX729" fmla="*/ 296423 w 2425245"/>
                    <a:gd name="connsiteY729" fmla="*/ 965217 h 2179250"/>
                    <a:gd name="connsiteX730" fmla="*/ 296423 w 2425245"/>
                    <a:gd name="connsiteY730" fmla="*/ 965217 h 2179250"/>
                    <a:gd name="connsiteX731" fmla="*/ 251037 w 2425245"/>
                    <a:gd name="connsiteY731" fmla="*/ 987002 h 2179250"/>
                    <a:gd name="connsiteX732" fmla="*/ 251037 w 2425245"/>
                    <a:gd name="connsiteY732" fmla="*/ 987002 h 2179250"/>
                    <a:gd name="connsiteX733" fmla="*/ 169341 w 2425245"/>
                    <a:gd name="connsiteY733" fmla="*/ 963401 h 2179250"/>
                    <a:gd name="connsiteX734" fmla="*/ 169341 w 2425245"/>
                    <a:gd name="connsiteY734" fmla="*/ 963401 h 2179250"/>
                    <a:gd name="connsiteX735" fmla="*/ 153204 w 2425245"/>
                    <a:gd name="connsiteY735" fmla="*/ 960779 h 2179250"/>
                    <a:gd name="connsiteX736" fmla="*/ 153204 w 2425245"/>
                    <a:gd name="connsiteY736" fmla="*/ 960779 h 2179250"/>
                    <a:gd name="connsiteX737" fmla="*/ 109432 w 2425245"/>
                    <a:gd name="connsiteY737" fmla="*/ 997491 h 2179250"/>
                    <a:gd name="connsiteX738" fmla="*/ 109432 w 2425245"/>
                    <a:gd name="connsiteY738" fmla="*/ 997491 h 2179250"/>
                    <a:gd name="connsiteX739" fmla="*/ 107011 w 2425245"/>
                    <a:gd name="connsiteY739" fmla="*/ 1009191 h 2179250"/>
                    <a:gd name="connsiteX740" fmla="*/ 107011 w 2425245"/>
                    <a:gd name="connsiteY740" fmla="*/ 1009191 h 2179250"/>
                    <a:gd name="connsiteX741" fmla="*/ 126275 w 2425245"/>
                    <a:gd name="connsiteY741" fmla="*/ 1088566 h 2179250"/>
                    <a:gd name="connsiteX742" fmla="*/ 126275 w 2425245"/>
                    <a:gd name="connsiteY742" fmla="*/ 1088566 h 2179250"/>
                    <a:gd name="connsiteX743" fmla="*/ 126174 w 2425245"/>
                    <a:gd name="connsiteY743" fmla="*/ 1098753 h 2179250"/>
                    <a:gd name="connsiteX744" fmla="*/ 126174 w 2425245"/>
                    <a:gd name="connsiteY744" fmla="*/ 1098753 h 2179250"/>
                    <a:gd name="connsiteX745" fmla="*/ 75341 w 2425245"/>
                    <a:gd name="connsiteY745" fmla="*/ 1169858 h 2179250"/>
                    <a:gd name="connsiteX746" fmla="*/ 75341 w 2425245"/>
                    <a:gd name="connsiteY746" fmla="*/ 1169858 h 2179250"/>
                    <a:gd name="connsiteX747" fmla="*/ 70702 w 2425245"/>
                    <a:gd name="connsiteY747" fmla="*/ 1182163 h 2179250"/>
                    <a:gd name="connsiteX748" fmla="*/ 70702 w 2425245"/>
                    <a:gd name="connsiteY748" fmla="*/ 1182163 h 2179250"/>
                    <a:gd name="connsiteX749" fmla="*/ 128796 w 2425245"/>
                    <a:gd name="connsiteY749" fmla="*/ 1252966 h 2179250"/>
                    <a:gd name="connsiteX750" fmla="*/ 128796 w 2425245"/>
                    <a:gd name="connsiteY750" fmla="*/ 1252966 h 2179250"/>
                    <a:gd name="connsiteX751" fmla="*/ 222292 w 2425245"/>
                    <a:gd name="connsiteY751" fmla="*/ 1345958 h 2179250"/>
                    <a:gd name="connsiteX752" fmla="*/ 222292 w 2425245"/>
                    <a:gd name="connsiteY752" fmla="*/ 1345958 h 2179250"/>
                    <a:gd name="connsiteX753" fmla="*/ 247204 w 2425245"/>
                    <a:gd name="connsiteY753" fmla="*/ 1437033 h 2179250"/>
                    <a:gd name="connsiteX754" fmla="*/ 247204 w 2425245"/>
                    <a:gd name="connsiteY754" fmla="*/ 1437033 h 2179250"/>
                    <a:gd name="connsiteX755" fmla="*/ 252046 w 2425245"/>
                    <a:gd name="connsiteY755" fmla="*/ 1462247 h 2179250"/>
                    <a:gd name="connsiteX756" fmla="*/ 252046 w 2425245"/>
                    <a:gd name="connsiteY756" fmla="*/ 1462247 h 2179250"/>
                    <a:gd name="connsiteX757" fmla="*/ 223603 w 2425245"/>
                    <a:gd name="connsiteY757" fmla="*/ 1498254 h 2179250"/>
                    <a:gd name="connsiteX758" fmla="*/ 223603 w 2425245"/>
                    <a:gd name="connsiteY758" fmla="*/ 1498254 h 2179250"/>
                    <a:gd name="connsiteX759" fmla="*/ 191833 w 2425245"/>
                    <a:gd name="connsiteY759" fmla="*/ 1585194 h 2179250"/>
                    <a:gd name="connsiteX760" fmla="*/ 191833 w 2425245"/>
                    <a:gd name="connsiteY760" fmla="*/ 1585194 h 2179250"/>
                    <a:gd name="connsiteX761" fmla="*/ 124157 w 2425245"/>
                    <a:gd name="connsiteY761" fmla="*/ 1666587 h 2179250"/>
                    <a:gd name="connsiteX762" fmla="*/ 124157 w 2425245"/>
                    <a:gd name="connsiteY762" fmla="*/ 1666587 h 2179250"/>
                    <a:gd name="connsiteX763" fmla="*/ 76047 w 2425245"/>
                    <a:gd name="connsiteY763" fmla="*/ 1748081 h 2179250"/>
                    <a:gd name="connsiteX764" fmla="*/ 76047 w 2425245"/>
                    <a:gd name="connsiteY764" fmla="*/ 1748081 h 2179250"/>
                    <a:gd name="connsiteX765" fmla="*/ 31972 w 2425245"/>
                    <a:gd name="connsiteY765" fmla="*/ 1811319 h 2179250"/>
                    <a:gd name="connsiteX766" fmla="*/ 31972 w 2425245"/>
                    <a:gd name="connsiteY766" fmla="*/ 1811319 h 2179250"/>
                    <a:gd name="connsiteX767" fmla="*/ 15633 w 2425245"/>
                    <a:gd name="connsiteY767" fmla="*/ 1882626 h 2179250"/>
                    <a:gd name="connsiteX768" fmla="*/ 15633 w 2425245"/>
                    <a:gd name="connsiteY768" fmla="*/ 1882626 h 2179250"/>
                    <a:gd name="connsiteX769" fmla="*/ 6556 w 2425245"/>
                    <a:gd name="connsiteY769" fmla="*/ 1901688 h 2179250"/>
                    <a:gd name="connsiteX770" fmla="*/ 6556 w 2425245"/>
                    <a:gd name="connsiteY770" fmla="*/ 1901688 h 2179250"/>
                    <a:gd name="connsiteX771" fmla="*/ 89865 w 2425245"/>
                    <a:gd name="connsiteY771" fmla="*/ 1943646 h 2179250"/>
                    <a:gd name="connsiteX772" fmla="*/ 89865 w 2425245"/>
                    <a:gd name="connsiteY772" fmla="*/ 1943646 h 2179250"/>
                    <a:gd name="connsiteX773" fmla="*/ 137067 w 2425245"/>
                    <a:gd name="connsiteY773" fmla="*/ 1995486 h 2179250"/>
                    <a:gd name="connsiteX774" fmla="*/ 137067 w 2425245"/>
                    <a:gd name="connsiteY774" fmla="*/ 1995486 h 2179250"/>
                    <a:gd name="connsiteX775" fmla="*/ 189917 w 2425245"/>
                    <a:gd name="connsiteY775" fmla="*/ 2043596 h 2179250"/>
                    <a:gd name="connsiteX776" fmla="*/ 189917 w 2425245"/>
                    <a:gd name="connsiteY776" fmla="*/ 2043596 h 2179250"/>
                    <a:gd name="connsiteX777" fmla="*/ 204541 w 2425245"/>
                    <a:gd name="connsiteY777" fmla="*/ 2047933 h 2179250"/>
                    <a:gd name="connsiteX778" fmla="*/ 204541 w 2425245"/>
                    <a:gd name="connsiteY778" fmla="*/ 2047933 h 2179250"/>
                    <a:gd name="connsiteX779" fmla="*/ 307518 w 2425245"/>
                    <a:gd name="connsiteY779" fmla="*/ 2003152 h 2179250"/>
                    <a:gd name="connsiteX780" fmla="*/ 307518 w 2425245"/>
                    <a:gd name="connsiteY780" fmla="*/ 2003152 h 2179250"/>
                    <a:gd name="connsiteX781" fmla="*/ 318511 w 2425245"/>
                    <a:gd name="connsiteY781" fmla="*/ 2002143 h 2179250"/>
                    <a:gd name="connsiteX782" fmla="*/ 318511 w 2425245"/>
                    <a:gd name="connsiteY782" fmla="*/ 2002143 h 2179250"/>
                    <a:gd name="connsiteX783" fmla="*/ 387297 w 2425245"/>
                    <a:gd name="connsiteY783" fmla="*/ 2041377 h 2179250"/>
                    <a:gd name="connsiteX784" fmla="*/ 387297 w 2425245"/>
                    <a:gd name="connsiteY784" fmla="*/ 2041377 h 2179250"/>
                    <a:gd name="connsiteX785" fmla="*/ 399803 w 2425245"/>
                    <a:gd name="connsiteY785" fmla="*/ 2049244 h 2179250"/>
                    <a:gd name="connsiteX786" fmla="*/ 399803 w 2425245"/>
                    <a:gd name="connsiteY786" fmla="*/ 2049244 h 2179250"/>
                    <a:gd name="connsiteX787" fmla="*/ 430061 w 2425245"/>
                    <a:gd name="connsiteY787" fmla="*/ 2026047 h 2179250"/>
                    <a:gd name="connsiteX788" fmla="*/ 430061 w 2425245"/>
                    <a:gd name="connsiteY788" fmla="*/ 2026047 h 2179250"/>
                    <a:gd name="connsiteX789" fmla="*/ 445694 w 2425245"/>
                    <a:gd name="connsiteY789" fmla="*/ 2017776 h 2179250"/>
                    <a:gd name="connsiteX790" fmla="*/ 445694 w 2425245"/>
                    <a:gd name="connsiteY790" fmla="*/ 2017776 h 2179250"/>
                    <a:gd name="connsiteX791" fmla="*/ 513269 w 2425245"/>
                    <a:gd name="connsiteY791" fmla="*/ 2044806 h 2179250"/>
                    <a:gd name="connsiteX792" fmla="*/ 513269 w 2425245"/>
                    <a:gd name="connsiteY792" fmla="*/ 2044806 h 2179250"/>
                    <a:gd name="connsiteX793" fmla="*/ 555025 w 2425245"/>
                    <a:gd name="connsiteY793" fmla="*/ 2049950 h 2179250"/>
                    <a:gd name="connsiteX794" fmla="*/ 555025 w 2425245"/>
                    <a:gd name="connsiteY794" fmla="*/ 2049950 h 2179250"/>
                    <a:gd name="connsiteX795" fmla="*/ 627945 w 2425245"/>
                    <a:gd name="connsiteY795" fmla="*/ 2041781 h 2179250"/>
                    <a:gd name="connsiteX796" fmla="*/ 627945 w 2425245"/>
                    <a:gd name="connsiteY796" fmla="*/ 2041781 h 2179250"/>
                    <a:gd name="connsiteX797" fmla="*/ 636417 w 2425245"/>
                    <a:gd name="connsiteY797" fmla="*/ 2018482 h 2179250"/>
                    <a:gd name="connsiteX798" fmla="*/ 636417 w 2425245"/>
                    <a:gd name="connsiteY798" fmla="*/ 2018482 h 2179250"/>
                    <a:gd name="connsiteX799" fmla="*/ 625726 w 2425245"/>
                    <a:gd name="connsiteY799" fmla="*/ 1982173 h 2179250"/>
                    <a:gd name="connsiteX800" fmla="*/ 625726 w 2425245"/>
                    <a:gd name="connsiteY800" fmla="*/ 1982173 h 2179250"/>
                    <a:gd name="connsiteX801" fmla="*/ 617254 w 2425245"/>
                    <a:gd name="connsiteY801" fmla="*/ 1958068 h 2179250"/>
                    <a:gd name="connsiteX802" fmla="*/ 617254 w 2425245"/>
                    <a:gd name="connsiteY802" fmla="*/ 1958068 h 2179250"/>
                    <a:gd name="connsiteX803" fmla="*/ 636216 w 2425245"/>
                    <a:gd name="connsiteY803" fmla="*/ 1911673 h 2179250"/>
                    <a:gd name="connsiteX804" fmla="*/ 636216 w 2425245"/>
                    <a:gd name="connsiteY804" fmla="*/ 1911673 h 2179250"/>
                    <a:gd name="connsiteX805" fmla="*/ 652353 w 2425245"/>
                    <a:gd name="connsiteY805" fmla="*/ 1905319 h 2179250"/>
                    <a:gd name="connsiteX806" fmla="*/ 652353 w 2425245"/>
                    <a:gd name="connsiteY806" fmla="*/ 1905319 h 2179250"/>
                    <a:gd name="connsiteX807" fmla="*/ 691789 w 2425245"/>
                    <a:gd name="connsiteY807" fmla="*/ 1920246 h 2179250"/>
                    <a:gd name="connsiteX808" fmla="*/ 691789 w 2425245"/>
                    <a:gd name="connsiteY808" fmla="*/ 1920246 h 2179250"/>
                    <a:gd name="connsiteX809" fmla="*/ 773888 w 2425245"/>
                    <a:gd name="connsiteY809" fmla="*/ 1959985 h 2179250"/>
                    <a:gd name="connsiteX810" fmla="*/ 773888 w 2425245"/>
                    <a:gd name="connsiteY810" fmla="*/ 1959985 h 2179250"/>
                    <a:gd name="connsiteX811" fmla="*/ 816349 w 2425245"/>
                    <a:gd name="connsiteY811" fmla="*/ 1971684 h 2179250"/>
                    <a:gd name="connsiteX812" fmla="*/ 816349 w 2425245"/>
                    <a:gd name="connsiteY812" fmla="*/ 1971684 h 2179250"/>
                    <a:gd name="connsiteX813" fmla="*/ 868493 w 2425245"/>
                    <a:gd name="connsiteY813" fmla="*/ 1969768 h 2179250"/>
                    <a:gd name="connsiteX814" fmla="*/ 868493 w 2425245"/>
                    <a:gd name="connsiteY814" fmla="*/ 1969768 h 2179250"/>
                    <a:gd name="connsiteX815" fmla="*/ 885538 w 2425245"/>
                    <a:gd name="connsiteY815" fmla="*/ 1970978 h 2179250"/>
                    <a:gd name="connsiteX816" fmla="*/ 885538 w 2425245"/>
                    <a:gd name="connsiteY816" fmla="*/ 1970978 h 2179250"/>
                    <a:gd name="connsiteX817" fmla="*/ 955232 w 2425245"/>
                    <a:gd name="connsiteY817" fmla="*/ 2035629 h 2179250"/>
                    <a:gd name="connsiteX818" fmla="*/ 955232 w 2425245"/>
                    <a:gd name="connsiteY818" fmla="*/ 2035629 h 2179250"/>
                    <a:gd name="connsiteX819" fmla="*/ 971974 w 2425245"/>
                    <a:gd name="connsiteY819" fmla="*/ 2038654 h 2179250"/>
                    <a:gd name="connsiteX820" fmla="*/ 971974 w 2425245"/>
                    <a:gd name="connsiteY820" fmla="*/ 2038654 h 2179250"/>
                    <a:gd name="connsiteX821" fmla="*/ 1018167 w 2425245"/>
                    <a:gd name="connsiteY821" fmla="*/ 2035124 h 2179250"/>
                    <a:gd name="connsiteX822" fmla="*/ 1018167 w 2425245"/>
                    <a:gd name="connsiteY822" fmla="*/ 2035124 h 2179250"/>
                    <a:gd name="connsiteX823" fmla="*/ 1048324 w 2425245"/>
                    <a:gd name="connsiteY823" fmla="*/ 2036940 h 2179250"/>
                    <a:gd name="connsiteX824" fmla="*/ 1048324 w 2425245"/>
                    <a:gd name="connsiteY824" fmla="*/ 2036940 h 2179250"/>
                    <a:gd name="connsiteX825" fmla="*/ 1122052 w 2425245"/>
                    <a:gd name="connsiteY825" fmla="*/ 2117425 h 2179250"/>
                    <a:gd name="connsiteX826" fmla="*/ 1122052 w 2425245"/>
                    <a:gd name="connsiteY826" fmla="*/ 2117425 h 2179250"/>
                    <a:gd name="connsiteX827" fmla="*/ 1133045 w 2425245"/>
                    <a:gd name="connsiteY827" fmla="*/ 2122266 h 2179250"/>
                    <a:gd name="connsiteX828" fmla="*/ 1133045 w 2425245"/>
                    <a:gd name="connsiteY828" fmla="*/ 2122266 h 2179250"/>
                    <a:gd name="connsiteX829" fmla="*/ 1160882 w 2425245"/>
                    <a:gd name="connsiteY829" fmla="*/ 2100985 h 2179250"/>
                    <a:gd name="connsiteX830" fmla="*/ 1160882 w 2425245"/>
                    <a:gd name="connsiteY830" fmla="*/ 2100985 h 2179250"/>
                    <a:gd name="connsiteX831" fmla="*/ 1183979 w 2425245"/>
                    <a:gd name="connsiteY831" fmla="*/ 2088276 h 2179250"/>
                    <a:gd name="connsiteX832" fmla="*/ 1183979 w 2425245"/>
                    <a:gd name="connsiteY832" fmla="*/ 2088276 h 2179250"/>
                    <a:gd name="connsiteX833" fmla="*/ 1217464 w 2425245"/>
                    <a:gd name="connsiteY833" fmla="*/ 2110163 h 2179250"/>
                    <a:gd name="connsiteX834" fmla="*/ 1217464 w 2425245"/>
                    <a:gd name="connsiteY834" fmla="*/ 2110163 h 2179250"/>
                    <a:gd name="connsiteX835" fmla="*/ 1235417 w 2425245"/>
                    <a:gd name="connsiteY835" fmla="*/ 2121156 h 2179250"/>
                    <a:gd name="connsiteX836" fmla="*/ 1235417 w 2425245"/>
                    <a:gd name="connsiteY836" fmla="*/ 2121156 h 2179250"/>
                    <a:gd name="connsiteX837" fmla="*/ 1285543 w 2425245"/>
                    <a:gd name="connsiteY837" fmla="*/ 2101388 h 2179250"/>
                    <a:gd name="connsiteX838" fmla="*/ 1285543 w 2425245"/>
                    <a:gd name="connsiteY838" fmla="*/ 2101388 h 2179250"/>
                    <a:gd name="connsiteX839" fmla="*/ 1287258 w 2425245"/>
                    <a:gd name="connsiteY839" fmla="*/ 2101187 h 2179250"/>
                    <a:gd name="connsiteX840" fmla="*/ 1287258 w 2425245"/>
                    <a:gd name="connsiteY840" fmla="*/ 2101187 h 2179250"/>
                    <a:gd name="connsiteX841" fmla="*/ 1336880 w 2425245"/>
                    <a:gd name="connsiteY841" fmla="*/ 2162004 h 2179250"/>
                    <a:gd name="connsiteX842" fmla="*/ 1336880 w 2425245"/>
                    <a:gd name="connsiteY842" fmla="*/ 2162004 h 2179250"/>
                    <a:gd name="connsiteX843" fmla="*/ 1391747 w 2425245"/>
                    <a:gd name="connsiteY843" fmla="*/ 2173905 h 2179250"/>
                    <a:gd name="connsiteX844" fmla="*/ 1391747 w 2425245"/>
                    <a:gd name="connsiteY844" fmla="*/ 2173905 h 2179250"/>
                    <a:gd name="connsiteX845" fmla="*/ 1467896 w 2425245"/>
                    <a:gd name="connsiteY845" fmla="*/ 2162105 h 2179250"/>
                    <a:gd name="connsiteX846" fmla="*/ 1467896 w 2425245"/>
                    <a:gd name="connsiteY846" fmla="*/ 2162105 h 217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Lst>
                  <a:rect l="l" t="t" r="r" b="b"/>
                  <a:pathLst>
                    <a:path w="2425245" h="2179250">
                      <a:moveTo>
                        <a:pt x="1333048" y="2165938"/>
                      </a:moveTo>
                      <a:cubicBezTo>
                        <a:pt x="1308338" y="2141630"/>
                        <a:pt x="1306724" y="2105221"/>
                        <a:pt x="1287258" y="2106532"/>
                      </a:cubicBezTo>
                      <a:lnTo>
                        <a:pt x="1287258" y="2106532"/>
                      </a:lnTo>
                      <a:cubicBezTo>
                        <a:pt x="1287258" y="2106532"/>
                        <a:pt x="1286149" y="2106633"/>
                        <a:pt x="1285947" y="2106734"/>
                      </a:cubicBezTo>
                      <a:lnTo>
                        <a:pt x="1285947" y="2106734"/>
                      </a:lnTo>
                      <a:cubicBezTo>
                        <a:pt x="1270213" y="2107137"/>
                        <a:pt x="1253773" y="2125998"/>
                        <a:pt x="1235417" y="2126502"/>
                      </a:cubicBezTo>
                      <a:lnTo>
                        <a:pt x="1235417" y="2126502"/>
                      </a:lnTo>
                      <a:cubicBezTo>
                        <a:pt x="1227651" y="2126603"/>
                        <a:pt x="1219985" y="2122670"/>
                        <a:pt x="1212925" y="2113189"/>
                      </a:cubicBezTo>
                      <a:lnTo>
                        <a:pt x="1212925" y="2113189"/>
                      </a:lnTo>
                      <a:cubicBezTo>
                        <a:pt x="1201629" y="2098160"/>
                        <a:pt x="1191644" y="2093622"/>
                        <a:pt x="1183878" y="2093622"/>
                      </a:cubicBezTo>
                      <a:lnTo>
                        <a:pt x="1183878" y="2093622"/>
                      </a:lnTo>
                      <a:cubicBezTo>
                        <a:pt x="1176011" y="2093521"/>
                        <a:pt x="1169354" y="2098362"/>
                        <a:pt x="1165118" y="2104111"/>
                      </a:cubicBezTo>
                      <a:lnTo>
                        <a:pt x="1165118" y="2104111"/>
                      </a:lnTo>
                      <a:cubicBezTo>
                        <a:pt x="1158058" y="2112987"/>
                        <a:pt x="1147165" y="2127309"/>
                        <a:pt x="1132843" y="2127511"/>
                      </a:cubicBezTo>
                      <a:lnTo>
                        <a:pt x="1132843" y="2127511"/>
                      </a:lnTo>
                      <a:cubicBezTo>
                        <a:pt x="1127901" y="2127511"/>
                        <a:pt x="1122858" y="2125695"/>
                        <a:pt x="1118118" y="2121358"/>
                      </a:cubicBezTo>
                      <a:lnTo>
                        <a:pt x="1118118" y="2121358"/>
                      </a:lnTo>
                      <a:cubicBezTo>
                        <a:pt x="1099560" y="2103103"/>
                        <a:pt x="1105107" y="2048135"/>
                        <a:pt x="1047517" y="2042184"/>
                      </a:cubicBezTo>
                      <a:lnTo>
                        <a:pt x="1047517" y="2042184"/>
                      </a:lnTo>
                      <a:cubicBezTo>
                        <a:pt x="1035716" y="2040873"/>
                        <a:pt x="1026135" y="2040470"/>
                        <a:pt x="1017966" y="2040470"/>
                      </a:cubicBezTo>
                      <a:lnTo>
                        <a:pt x="1017966" y="2040470"/>
                      </a:lnTo>
                      <a:cubicBezTo>
                        <a:pt x="995272" y="2040470"/>
                        <a:pt x="983674" y="2043798"/>
                        <a:pt x="971772" y="2043798"/>
                      </a:cubicBezTo>
                      <a:lnTo>
                        <a:pt x="971772" y="2043798"/>
                      </a:lnTo>
                      <a:cubicBezTo>
                        <a:pt x="965721" y="2043798"/>
                        <a:pt x="959871" y="2042991"/>
                        <a:pt x="953114" y="2040470"/>
                      </a:cubicBezTo>
                      <a:lnTo>
                        <a:pt x="953114" y="2040470"/>
                      </a:lnTo>
                      <a:cubicBezTo>
                        <a:pt x="926487" y="2029577"/>
                        <a:pt x="915997" y="1979753"/>
                        <a:pt x="884631" y="1976122"/>
                      </a:cubicBezTo>
                      <a:lnTo>
                        <a:pt x="884631" y="1976122"/>
                      </a:lnTo>
                      <a:cubicBezTo>
                        <a:pt x="879789" y="1975315"/>
                        <a:pt x="874343" y="1975113"/>
                        <a:pt x="868392" y="1975113"/>
                      </a:cubicBezTo>
                      <a:lnTo>
                        <a:pt x="868392" y="1975113"/>
                      </a:lnTo>
                      <a:cubicBezTo>
                        <a:pt x="852457" y="1975113"/>
                        <a:pt x="833495" y="1977030"/>
                        <a:pt x="816248" y="1977030"/>
                      </a:cubicBezTo>
                      <a:lnTo>
                        <a:pt x="816248" y="1977030"/>
                      </a:lnTo>
                      <a:cubicBezTo>
                        <a:pt x="795976" y="1976828"/>
                        <a:pt x="777519" y="1974912"/>
                        <a:pt x="769147" y="1962707"/>
                      </a:cubicBezTo>
                      <a:lnTo>
                        <a:pt x="769147" y="1962707"/>
                      </a:lnTo>
                      <a:cubicBezTo>
                        <a:pt x="755229" y="1940922"/>
                        <a:pt x="705808" y="1925188"/>
                        <a:pt x="691688" y="1925491"/>
                      </a:cubicBezTo>
                      <a:lnTo>
                        <a:pt x="691688" y="1925491"/>
                      </a:lnTo>
                      <a:cubicBezTo>
                        <a:pt x="677971" y="1924885"/>
                        <a:pt x="664961" y="1910060"/>
                        <a:pt x="652252" y="1910463"/>
                      </a:cubicBezTo>
                      <a:lnTo>
                        <a:pt x="652252" y="1910463"/>
                      </a:lnTo>
                      <a:cubicBezTo>
                        <a:pt x="648319" y="1910463"/>
                        <a:pt x="644284" y="1911875"/>
                        <a:pt x="639847" y="1915607"/>
                      </a:cubicBezTo>
                      <a:lnTo>
                        <a:pt x="639847" y="1915607"/>
                      </a:lnTo>
                      <a:cubicBezTo>
                        <a:pt x="628551" y="1924885"/>
                        <a:pt x="622701" y="1943141"/>
                        <a:pt x="622802" y="1957664"/>
                      </a:cubicBezTo>
                      <a:lnTo>
                        <a:pt x="622802" y="1957664"/>
                      </a:lnTo>
                      <a:cubicBezTo>
                        <a:pt x="622701" y="1967246"/>
                        <a:pt x="625323" y="1974811"/>
                        <a:pt x="628853" y="1977231"/>
                      </a:cubicBezTo>
                      <a:lnTo>
                        <a:pt x="628853" y="1977231"/>
                      </a:lnTo>
                      <a:cubicBezTo>
                        <a:pt x="637225" y="1983787"/>
                        <a:pt x="641662" y="2001740"/>
                        <a:pt x="641864" y="2018079"/>
                      </a:cubicBezTo>
                      <a:lnTo>
                        <a:pt x="641864" y="2018079"/>
                      </a:lnTo>
                      <a:cubicBezTo>
                        <a:pt x="641763" y="2030686"/>
                        <a:pt x="639242" y="2042588"/>
                        <a:pt x="629660" y="2046521"/>
                      </a:cubicBezTo>
                      <a:lnTo>
                        <a:pt x="629660" y="2046521"/>
                      </a:lnTo>
                      <a:cubicBezTo>
                        <a:pt x="618162" y="2050555"/>
                        <a:pt x="585081" y="2055195"/>
                        <a:pt x="554924" y="2055195"/>
                      </a:cubicBezTo>
                      <a:lnTo>
                        <a:pt x="554924" y="2055195"/>
                      </a:lnTo>
                      <a:cubicBezTo>
                        <a:pt x="537778" y="2055195"/>
                        <a:pt x="521741" y="2053884"/>
                        <a:pt x="511050" y="2049647"/>
                      </a:cubicBezTo>
                      <a:lnTo>
                        <a:pt x="511050" y="2049647"/>
                      </a:lnTo>
                      <a:cubicBezTo>
                        <a:pt x="489870" y="2041075"/>
                        <a:pt x="461630" y="2022819"/>
                        <a:pt x="445492" y="2023021"/>
                      </a:cubicBezTo>
                      <a:lnTo>
                        <a:pt x="445492" y="2023021"/>
                      </a:lnTo>
                      <a:cubicBezTo>
                        <a:pt x="440449" y="2023021"/>
                        <a:pt x="437121" y="2024534"/>
                        <a:pt x="434600" y="2028467"/>
                      </a:cubicBezTo>
                      <a:lnTo>
                        <a:pt x="434600" y="2028467"/>
                      </a:lnTo>
                      <a:cubicBezTo>
                        <a:pt x="425926" y="2042184"/>
                        <a:pt x="412713" y="2054186"/>
                        <a:pt x="399602" y="2054388"/>
                      </a:cubicBezTo>
                      <a:lnTo>
                        <a:pt x="399602" y="2054388"/>
                      </a:lnTo>
                      <a:cubicBezTo>
                        <a:pt x="393046" y="2054388"/>
                        <a:pt x="386692" y="2050858"/>
                        <a:pt x="382355" y="2043798"/>
                      </a:cubicBezTo>
                      <a:lnTo>
                        <a:pt x="382355" y="2043798"/>
                      </a:lnTo>
                      <a:cubicBezTo>
                        <a:pt x="371966" y="2026854"/>
                        <a:pt x="344432" y="2007085"/>
                        <a:pt x="318310" y="2007287"/>
                      </a:cubicBezTo>
                      <a:lnTo>
                        <a:pt x="318310" y="2007287"/>
                      </a:lnTo>
                      <a:cubicBezTo>
                        <a:pt x="314981" y="2007287"/>
                        <a:pt x="311754" y="2007489"/>
                        <a:pt x="308526" y="2008195"/>
                      </a:cubicBezTo>
                      <a:lnTo>
                        <a:pt x="308526" y="2008195"/>
                      </a:lnTo>
                      <a:cubicBezTo>
                        <a:pt x="284018" y="2012633"/>
                        <a:pt x="237724" y="2052774"/>
                        <a:pt x="204440" y="2053077"/>
                      </a:cubicBezTo>
                      <a:lnTo>
                        <a:pt x="204440" y="2053077"/>
                      </a:lnTo>
                      <a:cubicBezTo>
                        <a:pt x="197985" y="2053077"/>
                        <a:pt x="191732" y="2051463"/>
                        <a:pt x="186589" y="2047731"/>
                      </a:cubicBezTo>
                      <a:lnTo>
                        <a:pt x="186589" y="2047731"/>
                      </a:lnTo>
                      <a:cubicBezTo>
                        <a:pt x="158247" y="2026753"/>
                        <a:pt x="149069" y="2031997"/>
                        <a:pt x="132024" y="1997504"/>
                      </a:cubicBezTo>
                      <a:lnTo>
                        <a:pt x="132024" y="1997504"/>
                      </a:lnTo>
                      <a:cubicBezTo>
                        <a:pt x="114878" y="1963716"/>
                        <a:pt x="113163" y="1963514"/>
                        <a:pt x="87041" y="1948083"/>
                      </a:cubicBezTo>
                      <a:lnTo>
                        <a:pt x="87041" y="1948083"/>
                      </a:lnTo>
                      <a:cubicBezTo>
                        <a:pt x="66869" y="1936182"/>
                        <a:pt x="20676" y="1913993"/>
                        <a:pt x="1210" y="1904916"/>
                      </a:cubicBezTo>
                      <a:lnTo>
                        <a:pt x="1210" y="1904916"/>
                      </a:lnTo>
                      <a:lnTo>
                        <a:pt x="0" y="1900781"/>
                      </a:lnTo>
                      <a:cubicBezTo>
                        <a:pt x="7262" y="1890291"/>
                        <a:pt x="10086" y="1881314"/>
                        <a:pt x="10187" y="1881214"/>
                      </a:cubicBezTo>
                      <a:lnTo>
                        <a:pt x="10187" y="1881214"/>
                      </a:lnTo>
                      <a:cubicBezTo>
                        <a:pt x="10187" y="1880709"/>
                        <a:pt x="12910" y="1836836"/>
                        <a:pt x="27030" y="1808495"/>
                      </a:cubicBezTo>
                      <a:lnTo>
                        <a:pt x="27030" y="1808495"/>
                      </a:lnTo>
                      <a:cubicBezTo>
                        <a:pt x="41150" y="1780356"/>
                        <a:pt x="55170" y="1771984"/>
                        <a:pt x="71307" y="1744954"/>
                      </a:cubicBezTo>
                      <a:lnTo>
                        <a:pt x="71307" y="1744954"/>
                      </a:lnTo>
                      <a:cubicBezTo>
                        <a:pt x="87747" y="1718226"/>
                        <a:pt x="95110" y="1670924"/>
                        <a:pt x="122442" y="1661141"/>
                      </a:cubicBezTo>
                      <a:lnTo>
                        <a:pt x="122442" y="1661141"/>
                      </a:lnTo>
                      <a:cubicBezTo>
                        <a:pt x="145539" y="1653576"/>
                        <a:pt x="170653" y="1615451"/>
                        <a:pt x="187093" y="1582471"/>
                      </a:cubicBezTo>
                      <a:lnTo>
                        <a:pt x="187093" y="1582471"/>
                      </a:lnTo>
                      <a:cubicBezTo>
                        <a:pt x="203533" y="1550700"/>
                        <a:pt x="194153" y="1506121"/>
                        <a:pt x="221485" y="1492909"/>
                      </a:cubicBezTo>
                      <a:lnTo>
                        <a:pt x="221485" y="1492909"/>
                      </a:lnTo>
                      <a:cubicBezTo>
                        <a:pt x="238631" y="1484940"/>
                        <a:pt x="246599" y="1477074"/>
                        <a:pt x="246700" y="1461945"/>
                      </a:cubicBezTo>
                      <a:lnTo>
                        <a:pt x="246700" y="1461945"/>
                      </a:lnTo>
                      <a:cubicBezTo>
                        <a:pt x="246700" y="1455591"/>
                        <a:pt x="245187" y="1447926"/>
                        <a:pt x="242061" y="1438445"/>
                      </a:cubicBezTo>
                      <a:lnTo>
                        <a:pt x="242061" y="1438445"/>
                      </a:lnTo>
                      <a:cubicBezTo>
                        <a:pt x="230966" y="1405162"/>
                        <a:pt x="225318" y="1369155"/>
                        <a:pt x="217249" y="1347672"/>
                      </a:cubicBezTo>
                      <a:lnTo>
                        <a:pt x="217249" y="1347672"/>
                      </a:lnTo>
                      <a:cubicBezTo>
                        <a:pt x="209584" y="1326088"/>
                        <a:pt x="167224" y="1257605"/>
                        <a:pt x="128897" y="1258312"/>
                      </a:cubicBezTo>
                      <a:lnTo>
                        <a:pt x="128897" y="1258312"/>
                      </a:lnTo>
                      <a:cubicBezTo>
                        <a:pt x="93092" y="1257706"/>
                        <a:pt x="65558" y="1209496"/>
                        <a:pt x="65256" y="1181962"/>
                      </a:cubicBezTo>
                      <a:lnTo>
                        <a:pt x="65256" y="1181962"/>
                      </a:lnTo>
                      <a:cubicBezTo>
                        <a:pt x="65256" y="1174901"/>
                        <a:pt x="67172" y="1168648"/>
                        <a:pt x="72114" y="1165118"/>
                      </a:cubicBezTo>
                      <a:lnTo>
                        <a:pt x="72114" y="1165118"/>
                      </a:lnTo>
                      <a:cubicBezTo>
                        <a:pt x="94807" y="1149283"/>
                        <a:pt x="116592" y="1177423"/>
                        <a:pt x="120627" y="1098450"/>
                      </a:cubicBezTo>
                      <a:lnTo>
                        <a:pt x="120627" y="1098450"/>
                      </a:lnTo>
                      <a:cubicBezTo>
                        <a:pt x="120627" y="1094719"/>
                        <a:pt x="120627" y="1091592"/>
                        <a:pt x="120627" y="1088264"/>
                      </a:cubicBezTo>
                      <a:lnTo>
                        <a:pt x="120627" y="1088264"/>
                      </a:lnTo>
                      <a:cubicBezTo>
                        <a:pt x="120627" y="1030775"/>
                        <a:pt x="102271" y="1029665"/>
                        <a:pt x="101565" y="1008888"/>
                      </a:cubicBezTo>
                      <a:lnTo>
                        <a:pt x="101565" y="1008888"/>
                      </a:lnTo>
                      <a:cubicBezTo>
                        <a:pt x="101565" y="1004955"/>
                        <a:pt x="102372" y="1000618"/>
                        <a:pt x="104187" y="995272"/>
                      </a:cubicBezTo>
                      <a:lnTo>
                        <a:pt x="104187" y="995272"/>
                      </a:lnTo>
                      <a:cubicBezTo>
                        <a:pt x="112962" y="968343"/>
                        <a:pt x="131620" y="954727"/>
                        <a:pt x="153204" y="954828"/>
                      </a:cubicBezTo>
                      <a:lnTo>
                        <a:pt x="153204" y="954828"/>
                      </a:lnTo>
                      <a:cubicBezTo>
                        <a:pt x="158953" y="954828"/>
                        <a:pt x="164904" y="955837"/>
                        <a:pt x="170955" y="957753"/>
                      </a:cubicBezTo>
                      <a:lnTo>
                        <a:pt x="170955" y="957753"/>
                      </a:lnTo>
                      <a:cubicBezTo>
                        <a:pt x="189413" y="963199"/>
                        <a:pt x="222091" y="981152"/>
                        <a:pt x="251138" y="981051"/>
                      </a:cubicBezTo>
                      <a:lnTo>
                        <a:pt x="251138" y="981051"/>
                      </a:lnTo>
                      <a:cubicBezTo>
                        <a:pt x="266771" y="981051"/>
                        <a:pt x="281093" y="976210"/>
                        <a:pt x="292187" y="961585"/>
                      </a:cubicBezTo>
                      <a:lnTo>
                        <a:pt x="292187" y="961585"/>
                      </a:lnTo>
                      <a:cubicBezTo>
                        <a:pt x="325572" y="917006"/>
                        <a:pt x="359056" y="897137"/>
                        <a:pt x="385482" y="896935"/>
                      </a:cubicBezTo>
                      <a:lnTo>
                        <a:pt x="385482" y="896935"/>
                      </a:lnTo>
                      <a:cubicBezTo>
                        <a:pt x="398997" y="896935"/>
                        <a:pt x="414024" y="901474"/>
                        <a:pt x="431876" y="901373"/>
                      </a:cubicBezTo>
                      <a:lnTo>
                        <a:pt x="431876" y="901373"/>
                      </a:lnTo>
                      <a:cubicBezTo>
                        <a:pt x="448115" y="901373"/>
                        <a:pt x="466673" y="897742"/>
                        <a:pt x="488660" y="883622"/>
                      </a:cubicBezTo>
                      <a:lnTo>
                        <a:pt x="488660" y="883622"/>
                      </a:lnTo>
                      <a:cubicBezTo>
                        <a:pt x="536366" y="852860"/>
                        <a:pt x="596982" y="841866"/>
                        <a:pt x="622600" y="841766"/>
                      </a:cubicBezTo>
                      <a:lnTo>
                        <a:pt x="622600" y="841766"/>
                      </a:lnTo>
                      <a:cubicBezTo>
                        <a:pt x="641259" y="842371"/>
                        <a:pt x="650033" y="859315"/>
                        <a:pt x="668087" y="858911"/>
                      </a:cubicBezTo>
                      <a:lnTo>
                        <a:pt x="668087" y="858911"/>
                      </a:lnTo>
                      <a:cubicBezTo>
                        <a:pt x="677164" y="858911"/>
                        <a:pt x="689167" y="854978"/>
                        <a:pt x="706413" y="842371"/>
                      </a:cubicBezTo>
                      <a:lnTo>
                        <a:pt x="706413" y="842371"/>
                      </a:lnTo>
                      <a:cubicBezTo>
                        <a:pt x="759364" y="803439"/>
                        <a:pt x="799909" y="792446"/>
                        <a:pt x="829663" y="741008"/>
                      </a:cubicBezTo>
                      <a:lnTo>
                        <a:pt x="829663" y="741008"/>
                      </a:lnTo>
                      <a:cubicBezTo>
                        <a:pt x="844691" y="714987"/>
                        <a:pt x="850036" y="696025"/>
                        <a:pt x="849935" y="683720"/>
                      </a:cubicBezTo>
                      <a:lnTo>
                        <a:pt x="849935" y="683720"/>
                      </a:lnTo>
                      <a:cubicBezTo>
                        <a:pt x="849935" y="671315"/>
                        <a:pt x="845094" y="666171"/>
                        <a:pt x="839849" y="665162"/>
                      </a:cubicBezTo>
                      <a:lnTo>
                        <a:pt x="839849" y="665162"/>
                      </a:lnTo>
                      <a:cubicBezTo>
                        <a:pt x="828654" y="662237"/>
                        <a:pt x="812819" y="643578"/>
                        <a:pt x="812416" y="621995"/>
                      </a:cubicBezTo>
                      <a:lnTo>
                        <a:pt x="812416" y="621995"/>
                      </a:lnTo>
                      <a:cubicBezTo>
                        <a:pt x="812416" y="610598"/>
                        <a:pt x="817459" y="598394"/>
                        <a:pt x="830369" y="588509"/>
                      </a:cubicBezTo>
                      <a:lnTo>
                        <a:pt x="830369" y="588509"/>
                      </a:lnTo>
                      <a:cubicBezTo>
                        <a:pt x="839244" y="581550"/>
                        <a:pt x="847212" y="578827"/>
                        <a:pt x="854373" y="578827"/>
                      </a:cubicBezTo>
                      <a:lnTo>
                        <a:pt x="854373" y="578827"/>
                      </a:lnTo>
                      <a:cubicBezTo>
                        <a:pt x="872427" y="579231"/>
                        <a:pt x="883824" y="594864"/>
                        <a:pt x="893909" y="594258"/>
                      </a:cubicBezTo>
                      <a:lnTo>
                        <a:pt x="893909" y="594258"/>
                      </a:lnTo>
                      <a:cubicBezTo>
                        <a:pt x="896532" y="594258"/>
                        <a:pt x="899255" y="593451"/>
                        <a:pt x="902180" y="591233"/>
                      </a:cubicBezTo>
                      <a:lnTo>
                        <a:pt x="902180" y="591233"/>
                      </a:lnTo>
                      <a:cubicBezTo>
                        <a:pt x="918216" y="579231"/>
                        <a:pt x="934555" y="552705"/>
                        <a:pt x="934455" y="534752"/>
                      </a:cubicBezTo>
                      <a:lnTo>
                        <a:pt x="934455" y="534752"/>
                      </a:lnTo>
                      <a:cubicBezTo>
                        <a:pt x="934455" y="529003"/>
                        <a:pt x="932942" y="524364"/>
                        <a:pt x="929512" y="521035"/>
                      </a:cubicBezTo>
                      <a:lnTo>
                        <a:pt x="929512" y="521035"/>
                      </a:lnTo>
                      <a:cubicBezTo>
                        <a:pt x="917309" y="508630"/>
                        <a:pt x="886950" y="490677"/>
                        <a:pt x="886849" y="459613"/>
                      </a:cubicBezTo>
                      <a:lnTo>
                        <a:pt x="886849" y="459613"/>
                      </a:lnTo>
                      <a:cubicBezTo>
                        <a:pt x="886849" y="450434"/>
                        <a:pt x="889573" y="440449"/>
                        <a:pt x="896028" y="429456"/>
                      </a:cubicBezTo>
                      <a:lnTo>
                        <a:pt x="896028" y="429456"/>
                      </a:lnTo>
                      <a:cubicBezTo>
                        <a:pt x="903794" y="416243"/>
                        <a:pt x="908130" y="411604"/>
                        <a:pt x="913879" y="411402"/>
                      </a:cubicBezTo>
                      <a:lnTo>
                        <a:pt x="913879" y="411402"/>
                      </a:lnTo>
                      <a:cubicBezTo>
                        <a:pt x="920234" y="412007"/>
                        <a:pt x="922654" y="416445"/>
                        <a:pt x="927697" y="416143"/>
                      </a:cubicBezTo>
                      <a:lnTo>
                        <a:pt x="927697" y="416143"/>
                      </a:lnTo>
                      <a:cubicBezTo>
                        <a:pt x="933950" y="416344"/>
                        <a:pt x="947062" y="409889"/>
                        <a:pt x="973487" y="376706"/>
                      </a:cubicBezTo>
                      <a:lnTo>
                        <a:pt x="973487" y="376706"/>
                      </a:lnTo>
                      <a:cubicBezTo>
                        <a:pt x="1039953" y="293801"/>
                        <a:pt x="1079994" y="300457"/>
                        <a:pt x="1091693" y="277865"/>
                      </a:cubicBezTo>
                      <a:lnTo>
                        <a:pt x="1091693" y="277865"/>
                      </a:lnTo>
                      <a:cubicBezTo>
                        <a:pt x="1106116" y="252146"/>
                        <a:pt x="1127800" y="238934"/>
                        <a:pt x="1155032" y="186891"/>
                      </a:cubicBezTo>
                      <a:lnTo>
                        <a:pt x="1155032" y="186891"/>
                      </a:lnTo>
                      <a:cubicBezTo>
                        <a:pt x="1172884" y="153506"/>
                        <a:pt x="1182768" y="70298"/>
                        <a:pt x="1187912" y="19668"/>
                      </a:cubicBezTo>
                      <a:lnTo>
                        <a:pt x="1187912" y="19668"/>
                      </a:lnTo>
                      <a:cubicBezTo>
                        <a:pt x="1186904" y="18659"/>
                        <a:pt x="1186702" y="17146"/>
                        <a:pt x="1187610" y="16137"/>
                      </a:cubicBezTo>
                      <a:lnTo>
                        <a:pt x="1187610" y="16137"/>
                      </a:lnTo>
                      <a:cubicBezTo>
                        <a:pt x="1188316" y="15028"/>
                        <a:pt x="1189829" y="14524"/>
                        <a:pt x="1190938" y="15129"/>
                      </a:cubicBezTo>
                      <a:lnTo>
                        <a:pt x="1190938" y="15129"/>
                      </a:lnTo>
                      <a:cubicBezTo>
                        <a:pt x="1192653" y="15734"/>
                        <a:pt x="1194166" y="16339"/>
                        <a:pt x="1195577" y="16339"/>
                      </a:cubicBezTo>
                      <a:lnTo>
                        <a:pt x="1195577" y="16339"/>
                      </a:lnTo>
                      <a:cubicBezTo>
                        <a:pt x="1196788" y="16339"/>
                        <a:pt x="1197796" y="16137"/>
                        <a:pt x="1198906" y="15633"/>
                      </a:cubicBezTo>
                      <a:lnTo>
                        <a:pt x="1198906" y="15633"/>
                      </a:lnTo>
                      <a:cubicBezTo>
                        <a:pt x="1208387" y="11598"/>
                        <a:pt x="1212219" y="0"/>
                        <a:pt x="1231584" y="0"/>
                      </a:cubicBezTo>
                      <a:lnTo>
                        <a:pt x="1231584" y="0"/>
                      </a:lnTo>
                      <a:cubicBezTo>
                        <a:pt x="1233299" y="0"/>
                        <a:pt x="1235114" y="202"/>
                        <a:pt x="1237030" y="403"/>
                      </a:cubicBezTo>
                      <a:lnTo>
                        <a:pt x="1237030" y="403"/>
                      </a:lnTo>
                      <a:cubicBezTo>
                        <a:pt x="1260127" y="2622"/>
                        <a:pt x="1285745" y="11195"/>
                        <a:pt x="1298554" y="29451"/>
                      </a:cubicBezTo>
                      <a:lnTo>
                        <a:pt x="1298554" y="29451"/>
                      </a:lnTo>
                      <a:cubicBezTo>
                        <a:pt x="1309548" y="45991"/>
                        <a:pt x="1364717" y="104590"/>
                        <a:pt x="1393563" y="103884"/>
                      </a:cubicBezTo>
                      <a:lnTo>
                        <a:pt x="1393563" y="103884"/>
                      </a:lnTo>
                      <a:cubicBezTo>
                        <a:pt x="1393563" y="103884"/>
                        <a:pt x="1394471" y="103985"/>
                        <a:pt x="1394370" y="103985"/>
                      </a:cubicBezTo>
                      <a:lnTo>
                        <a:pt x="1394370" y="103985"/>
                      </a:lnTo>
                      <a:cubicBezTo>
                        <a:pt x="1424022" y="103077"/>
                        <a:pt x="1428460" y="81594"/>
                        <a:pt x="1449540" y="72921"/>
                      </a:cubicBezTo>
                      <a:lnTo>
                        <a:pt x="1449540" y="72921"/>
                      </a:lnTo>
                      <a:cubicBezTo>
                        <a:pt x="1453775" y="71004"/>
                        <a:pt x="1457608" y="70399"/>
                        <a:pt x="1460836" y="70399"/>
                      </a:cubicBezTo>
                      <a:lnTo>
                        <a:pt x="1460836" y="70399"/>
                      </a:lnTo>
                      <a:cubicBezTo>
                        <a:pt x="1473745" y="70702"/>
                        <a:pt x="1478284" y="80687"/>
                        <a:pt x="1486756" y="82502"/>
                      </a:cubicBezTo>
                      <a:lnTo>
                        <a:pt x="1486756" y="82502"/>
                      </a:lnTo>
                      <a:cubicBezTo>
                        <a:pt x="1487765" y="82704"/>
                        <a:pt x="1488773" y="82805"/>
                        <a:pt x="1489984" y="82805"/>
                      </a:cubicBezTo>
                      <a:lnTo>
                        <a:pt x="1489984" y="82805"/>
                      </a:lnTo>
                      <a:cubicBezTo>
                        <a:pt x="1501582" y="83006"/>
                        <a:pt x="1522359" y="69290"/>
                        <a:pt x="1529823" y="62633"/>
                      </a:cubicBezTo>
                      <a:lnTo>
                        <a:pt x="1529823" y="62633"/>
                      </a:lnTo>
                      <a:cubicBezTo>
                        <a:pt x="1538698" y="55169"/>
                        <a:pt x="1557458" y="54665"/>
                        <a:pt x="1566435" y="57288"/>
                      </a:cubicBezTo>
                      <a:lnTo>
                        <a:pt x="1566435" y="57288"/>
                      </a:lnTo>
                      <a:lnTo>
                        <a:pt x="1565627" y="130511"/>
                      </a:lnTo>
                      <a:cubicBezTo>
                        <a:pt x="1565627" y="130511"/>
                        <a:pt x="1563106" y="158751"/>
                        <a:pt x="1563106" y="166013"/>
                      </a:cubicBezTo>
                      <a:lnTo>
                        <a:pt x="1563106" y="166013"/>
                      </a:lnTo>
                      <a:cubicBezTo>
                        <a:pt x="1562198" y="170451"/>
                        <a:pt x="1585194" y="195060"/>
                        <a:pt x="1602340" y="204239"/>
                      </a:cubicBezTo>
                      <a:lnTo>
                        <a:pt x="1602340" y="204239"/>
                      </a:lnTo>
                      <a:cubicBezTo>
                        <a:pt x="1609703" y="208474"/>
                        <a:pt x="1612426" y="216543"/>
                        <a:pt x="1612426" y="225318"/>
                      </a:cubicBezTo>
                      <a:lnTo>
                        <a:pt x="1612426" y="225318"/>
                      </a:lnTo>
                      <a:cubicBezTo>
                        <a:pt x="1612325" y="241758"/>
                        <a:pt x="1603349" y="262434"/>
                        <a:pt x="1592859" y="274638"/>
                      </a:cubicBezTo>
                      <a:lnTo>
                        <a:pt x="1592859" y="274638"/>
                      </a:lnTo>
                      <a:cubicBezTo>
                        <a:pt x="1589833" y="277865"/>
                        <a:pt x="1588724" y="282202"/>
                        <a:pt x="1588724" y="287951"/>
                      </a:cubicBezTo>
                      <a:lnTo>
                        <a:pt x="1588724" y="287951"/>
                      </a:lnTo>
                      <a:cubicBezTo>
                        <a:pt x="1588523" y="306610"/>
                        <a:pt x="1603752" y="335456"/>
                        <a:pt x="1603752" y="361881"/>
                      </a:cubicBezTo>
                      <a:lnTo>
                        <a:pt x="1603752" y="361881"/>
                      </a:lnTo>
                      <a:cubicBezTo>
                        <a:pt x="1604055" y="377211"/>
                        <a:pt x="1609299" y="382456"/>
                        <a:pt x="1616964" y="382556"/>
                      </a:cubicBezTo>
                      <a:lnTo>
                        <a:pt x="1616964" y="382556"/>
                      </a:lnTo>
                      <a:cubicBezTo>
                        <a:pt x="1625739" y="382657"/>
                        <a:pt x="1639254" y="374387"/>
                        <a:pt x="1652164" y="357544"/>
                      </a:cubicBezTo>
                      <a:lnTo>
                        <a:pt x="1652164" y="357544"/>
                      </a:lnTo>
                      <a:cubicBezTo>
                        <a:pt x="1664772" y="341305"/>
                        <a:pt x="1692306" y="339086"/>
                        <a:pt x="1720748" y="338885"/>
                      </a:cubicBezTo>
                      <a:lnTo>
                        <a:pt x="1720748" y="338885"/>
                      </a:lnTo>
                      <a:cubicBezTo>
                        <a:pt x="1737592" y="338885"/>
                        <a:pt x="1754737" y="339994"/>
                        <a:pt x="1769160" y="339994"/>
                      </a:cubicBezTo>
                      <a:lnTo>
                        <a:pt x="1769160" y="339994"/>
                      </a:lnTo>
                      <a:cubicBezTo>
                        <a:pt x="1785600" y="340095"/>
                        <a:pt x="1798712" y="338380"/>
                        <a:pt x="1802444" y="334346"/>
                      </a:cubicBezTo>
                      <a:lnTo>
                        <a:pt x="1802444" y="334346"/>
                      </a:lnTo>
                      <a:cubicBezTo>
                        <a:pt x="1820396" y="316494"/>
                        <a:pt x="1865379" y="276151"/>
                        <a:pt x="1867699" y="226730"/>
                      </a:cubicBezTo>
                      <a:lnTo>
                        <a:pt x="1867699" y="226730"/>
                      </a:lnTo>
                      <a:cubicBezTo>
                        <a:pt x="1871128" y="173578"/>
                        <a:pt x="1946369" y="105801"/>
                        <a:pt x="1965834" y="102371"/>
                      </a:cubicBezTo>
                      <a:lnTo>
                        <a:pt x="1965834" y="102371"/>
                      </a:lnTo>
                      <a:cubicBezTo>
                        <a:pt x="1967347" y="101666"/>
                        <a:pt x="1968457" y="101867"/>
                        <a:pt x="1968961" y="101766"/>
                      </a:cubicBezTo>
                      <a:lnTo>
                        <a:pt x="1968961" y="101766"/>
                      </a:lnTo>
                      <a:cubicBezTo>
                        <a:pt x="1989233" y="102674"/>
                        <a:pt x="2005673" y="136562"/>
                        <a:pt x="2024030" y="142916"/>
                      </a:cubicBezTo>
                      <a:lnTo>
                        <a:pt x="2024030" y="142916"/>
                      </a:lnTo>
                      <a:cubicBezTo>
                        <a:pt x="2047429" y="152800"/>
                        <a:pt x="2045916" y="203936"/>
                        <a:pt x="2056103" y="225822"/>
                      </a:cubicBezTo>
                      <a:lnTo>
                        <a:pt x="2056103" y="225822"/>
                      </a:lnTo>
                      <a:cubicBezTo>
                        <a:pt x="2064373" y="245288"/>
                        <a:pt x="2076880" y="245994"/>
                        <a:pt x="2076981" y="270402"/>
                      </a:cubicBezTo>
                      <a:lnTo>
                        <a:pt x="2076981" y="270402"/>
                      </a:lnTo>
                      <a:cubicBezTo>
                        <a:pt x="2076981" y="272721"/>
                        <a:pt x="2076981" y="275243"/>
                        <a:pt x="2076779" y="278268"/>
                      </a:cubicBezTo>
                      <a:lnTo>
                        <a:pt x="2076779" y="278268"/>
                      </a:lnTo>
                      <a:cubicBezTo>
                        <a:pt x="2076577" y="279277"/>
                        <a:pt x="2076577" y="280790"/>
                        <a:pt x="2076577" y="282404"/>
                      </a:cubicBezTo>
                      <a:lnTo>
                        <a:pt x="2076577" y="282404"/>
                      </a:lnTo>
                      <a:cubicBezTo>
                        <a:pt x="2076577" y="308526"/>
                        <a:pt x="2095034" y="339389"/>
                        <a:pt x="2109457" y="339389"/>
                      </a:cubicBezTo>
                      <a:lnTo>
                        <a:pt x="2109457" y="339389"/>
                      </a:lnTo>
                      <a:cubicBezTo>
                        <a:pt x="2110970" y="339389"/>
                        <a:pt x="2112382" y="339288"/>
                        <a:pt x="2112785" y="339288"/>
                      </a:cubicBezTo>
                      <a:lnTo>
                        <a:pt x="2112785" y="339288"/>
                      </a:lnTo>
                      <a:lnTo>
                        <a:pt x="2113290" y="338885"/>
                      </a:lnTo>
                      <a:cubicBezTo>
                        <a:pt x="2114096" y="338178"/>
                        <a:pt x="2115105" y="338078"/>
                        <a:pt x="2116013" y="338380"/>
                      </a:cubicBezTo>
                      <a:lnTo>
                        <a:pt x="2116013" y="338380"/>
                      </a:lnTo>
                      <a:cubicBezTo>
                        <a:pt x="2116921" y="338683"/>
                        <a:pt x="2117627" y="339490"/>
                        <a:pt x="2117828" y="340600"/>
                      </a:cubicBezTo>
                      <a:lnTo>
                        <a:pt x="2117828" y="340600"/>
                      </a:lnTo>
                      <a:cubicBezTo>
                        <a:pt x="2119845" y="352702"/>
                        <a:pt x="2123678" y="364402"/>
                        <a:pt x="2131142" y="373580"/>
                      </a:cubicBezTo>
                      <a:lnTo>
                        <a:pt x="2131142" y="373580"/>
                      </a:lnTo>
                      <a:cubicBezTo>
                        <a:pt x="2157163" y="405956"/>
                        <a:pt x="2186311" y="431170"/>
                        <a:pt x="2190144" y="450132"/>
                      </a:cubicBezTo>
                      <a:lnTo>
                        <a:pt x="2190144" y="450132"/>
                      </a:lnTo>
                      <a:cubicBezTo>
                        <a:pt x="2190346" y="451544"/>
                        <a:pt x="2190346" y="453056"/>
                        <a:pt x="2190346" y="454570"/>
                      </a:cubicBezTo>
                      <a:lnTo>
                        <a:pt x="2190346" y="454570"/>
                      </a:lnTo>
                      <a:cubicBezTo>
                        <a:pt x="2190346" y="463848"/>
                        <a:pt x="2187017" y="475246"/>
                        <a:pt x="2187017" y="486340"/>
                      </a:cubicBezTo>
                      <a:lnTo>
                        <a:pt x="2187017" y="486340"/>
                      </a:lnTo>
                      <a:cubicBezTo>
                        <a:pt x="2187118" y="497939"/>
                        <a:pt x="2190346" y="508832"/>
                        <a:pt x="2205575" y="517202"/>
                      </a:cubicBezTo>
                      <a:lnTo>
                        <a:pt x="2205575" y="517202"/>
                      </a:lnTo>
                      <a:cubicBezTo>
                        <a:pt x="2229479" y="530012"/>
                        <a:pt x="2237951" y="542014"/>
                        <a:pt x="2237850" y="557950"/>
                      </a:cubicBezTo>
                      <a:lnTo>
                        <a:pt x="2237850" y="557950"/>
                      </a:lnTo>
                      <a:cubicBezTo>
                        <a:pt x="2237850" y="564505"/>
                        <a:pt x="2236539" y="571767"/>
                        <a:pt x="2234723" y="580239"/>
                      </a:cubicBezTo>
                      <a:lnTo>
                        <a:pt x="2234723" y="580239"/>
                      </a:lnTo>
                      <a:cubicBezTo>
                        <a:pt x="2229075" y="604243"/>
                        <a:pt x="2202247" y="644991"/>
                        <a:pt x="2202348" y="676156"/>
                      </a:cubicBezTo>
                      <a:lnTo>
                        <a:pt x="2202348" y="676156"/>
                      </a:lnTo>
                      <a:cubicBezTo>
                        <a:pt x="2202348" y="681905"/>
                        <a:pt x="2203255" y="687149"/>
                        <a:pt x="2205172" y="692192"/>
                      </a:cubicBezTo>
                      <a:lnTo>
                        <a:pt x="2205172" y="692192"/>
                      </a:lnTo>
                      <a:cubicBezTo>
                        <a:pt x="2213140" y="711355"/>
                        <a:pt x="2226352" y="714079"/>
                        <a:pt x="2238959" y="714179"/>
                      </a:cubicBezTo>
                      <a:lnTo>
                        <a:pt x="2238959" y="714179"/>
                      </a:lnTo>
                      <a:cubicBezTo>
                        <a:pt x="2245818" y="714179"/>
                        <a:pt x="2252373" y="713271"/>
                        <a:pt x="2257114" y="713271"/>
                      </a:cubicBezTo>
                      <a:lnTo>
                        <a:pt x="2257114" y="713271"/>
                      </a:lnTo>
                      <a:cubicBezTo>
                        <a:pt x="2258122" y="713271"/>
                        <a:pt x="2259232" y="713372"/>
                        <a:pt x="2259736" y="713473"/>
                      </a:cubicBezTo>
                      <a:lnTo>
                        <a:pt x="2259736" y="713473"/>
                      </a:lnTo>
                      <a:cubicBezTo>
                        <a:pt x="2269520" y="714381"/>
                        <a:pt x="2287271" y="718214"/>
                        <a:pt x="2287170" y="739696"/>
                      </a:cubicBezTo>
                      <a:lnTo>
                        <a:pt x="2287170" y="739696"/>
                      </a:lnTo>
                      <a:cubicBezTo>
                        <a:pt x="2287170" y="741613"/>
                        <a:pt x="2287069" y="743630"/>
                        <a:pt x="2286766" y="745849"/>
                      </a:cubicBezTo>
                      <a:lnTo>
                        <a:pt x="2286766" y="745849"/>
                      </a:lnTo>
                      <a:cubicBezTo>
                        <a:pt x="2286565" y="747160"/>
                        <a:pt x="2286464" y="748875"/>
                        <a:pt x="2286464" y="750287"/>
                      </a:cubicBezTo>
                      <a:lnTo>
                        <a:pt x="2286464" y="750287"/>
                      </a:lnTo>
                      <a:cubicBezTo>
                        <a:pt x="2286565" y="764710"/>
                        <a:pt x="2294633" y="770862"/>
                        <a:pt x="2303307" y="771064"/>
                      </a:cubicBezTo>
                      <a:lnTo>
                        <a:pt x="2303307" y="771064"/>
                      </a:lnTo>
                      <a:cubicBezTo>
                        <a:pt x="2306131" y="771064"/>
                        <a:pt x="2309157" y="770358"/>
                        <a:pt x="2311779" y="768946"/>
                      </a:cubicBezTo>
                      <a:lnTo>
                        <a:pt x="2311779" y="768946"/>
                      </a:lnTo>
                      <a:cubicBezTo>
                        <a:pt x="2318537" y="765012"/>
                        <a:pt x="2326606" y="762692"/>
                        <a:pt x="2334069" y="762692"/>
                      </a:cubicBezTo>
                      <a:lnTo>
                        <a:pt x="2334069" y="762692"/>
                      </a:lnTo>
                      <a:cubicBezTo>
                        <a:pt x="2342743" y="762591"/>
                        <a:pt x="2351215" y="766222"/>
                        <a:pt x="2354241" y="775401"/>
                      </a:cubicBezTo>
                      <a:lnTo>
                        <a:pt x="2354241" y="775401"/>
                      </a:lnTo>
                      <a:cubicBezTo>
                        <a:pt x="2354442" y="776308"/>
                        <a:pt x="2354543" y="777216"/>
                        <a:pt x="2354543" y="778325"/>
                      </a:cubicBezTo>
                      <a:lnTo>
                        <a:pt x="2354543" y="778325"/>
                      </a:lnTo>
                      <a:cubicBezTo>
                        <a:pt x="2353535" y="794664"/>
                        <a:pt x="2319344" y="815744"/>
                        <a:pt x="2320453" y="824418"/>
                      </a:cubicBezTo>
                      <a:lnTo>
                        <a:pt x="2320453" y="824418"/>
                      </a:lnTo>
                      <a:cubicBezTo>
                        <a:pt x="2320453" y="824418"/>
                        <a:pt x="2320453" y="824620"/>
                        <a:pt x="2320554" y="824821"/>
                      </a:cubicBezTo>
                      <a:lnTo>
                        <a:pt x="2320554" y="824821"/>
                      </a:lnTo>
                      <a:cubicBezTo>
                        <a:pt x="2322067" y="836823"/>
                        <a:pt x="2325899" y="865366"/>
                        <a:pt x="2358174" y="865366"/>
                      </a:cubicBezTo>
                      <a:lnTo>
                        <a:pt x="2358174" y="865366"/>
                      </a:lnTo>
                      <a:cubicBezTo>
                        <a:pt x="2358779" y="865366"/>
                        <a:pt x="2359485" y="865366"/>
                        <a:pt x="2360191" y="865366"/>
                      </a:cubicBezTo>
                      <a:lnTo>
                        <a:pt x="2360191" y="865366"/>
                      </a:lnTo>
                      <a:cubicBezTo>
                        <a:pt x="2361603" y="865164"/>
                        <a:pt x="2362713" y="865265"/>
                        <a:pt x="2363620" y="865265"/>
                      </a:cubicBezTo>
                      <a:lnTo>
                        <a:pt x="2363620" y="865265"/>
                      </a:lnTo>
                      <a:cubicBezTo>
                        <a:pt x="2400132" y="865366"/>
                        <a:pt x="2421413" y="892497"/>
                        <a:pt x="2424741" y="907424"/>
                      </a:cubicBezTo>
                      <a:lnTo>
                        <a:pt x="2424741" y="907424"/>
                      </a:lnTo>
                      <a:cubicBezTo>
                        <a:pt x="2424943" y="908735"/>
                        <a:pt x="2425245" y="910450"/>
                        <a:pt x="2425245" y="912064"/>
                      </a:cubicBezTo>
                      <a:lnTo>
                        <a:pt x="2425245" y="912064"/>
                      </a:lnTo>
                      <a:cubicBezTo>
                        <a:pt x="2425144" y="927395"/>
                        <a:pt x="2411327" y="947364"/>
                        <a:pt x="2389945" y="949180"/>
                      </a:cubicBezTo>
                      <a:lnTo>
                        <a:pt x="2389945" y="949180"/>
                      </a:lnTo>
                      <a:cubicBezTo>
                        <a:pt x="2370378" y="949684"/>
                        <a:pt x="2292717" y="989926"/>
                        <a:pt x="2294230" y="1015343"/>
                      </a:cubicBezTo>
                      <a:lnTo>
                        <a:pt x="2294230" y="1015343"/>
                      </a:lnTo>
                      <a:cubicBezTo>
                        <a:pt x="2294230" y="1015646"/>
                        <a:pt x="2294230" y="1016150"/>
                        <a:pt x="2294331" y="1016856"/>
                      </a:cubicBezTo>
                      <a:lnTo>
                        <a:pt x="2294331" y="1016856"/>
                      </a:lnTo>
                      <a:cubicBezTo>
                        <a:pt x="2294835" y="1021697"/>
                        <a:pt x="2295138" y="1027143"/>
                        <a:pt x="2295138" y="1032388"/>
                      </a:cubicBezTo>
                      <a:lnTo>
                        <a:pt x="2295138" y="1032388"/>
                      </a:lnTo>
                      <a:cubicBezTo>
                        <a:pt x="2295037" y="1057401"/>
                        <a:pt x="2289086" y="1085440"/>
                        <a:pt x="2265384" y="1086045"/>
                      </a:cubicBezTo>
                      <a:lnTo>
                        <a:pt x="2265384" y="1086045"/>
                      </a:lnTo>
                      <a:cubicBezTo>
                        <a:pt x="2264477" y="1086045"/>
                        <a:pt x="2263266" y="1086045"/>
                        <a:pt x="2262157" y="1085843"/>
                      </a:cubicBezTo>
                      <a:lnTo>
                        <a:pt x="2262157" y="1085843"/>
                      </a:lnTo>
                      <a:cubicBezTo>
                        <a:pt x="2238354" y="1082918"/>
                        <a:pt x="2204567" y="1062646"/>
                        <a:pt x="2189236" y="1062848"/>
                      </a:cubicBezTo>
                      <a:lnTo>
                        <a:pt x="2189236" y="1062848"/>
                      </a:lnTo>
                      <a:cubicBezTo>
                        <a:pt x="2186110" y="1062848"/>
                        <a:pt x="2184294" y="1063655"/>
                        <a:pt x="2183185" y="1064865"/>
                      </a:cubicBezTo>
                      <a:lnTo>
                        <a:pt x="2183185" y="1064865"/>
                      </a:lnTo>
                      <a:cubicBezTo>
                        <a:pt x="2174914" y="1074245"/>
                        <a:pt x="2161399" y="1091794"/>
                        <a:pt x="2161500" y="1108032"/>
                      </a:cubicBezTo>
                      <a:lnTo>
                        <a:pt x="2161500" y="1108032"/>
                      </a:lnTo>
                      <a:cubicBezTo>
                        <a:pt x="2161500" y="1112773"/>
                        <a:pt x="2162508" y="1117211"/>
                        <a:pt x="2165030" y="1121547"/>
                      </a:cubicBezTo>
                      <a:lnTo>
                        <a:pt x="2165030" y="1121547"/>
                      </a:lnTo>
                      <a:cubicBezTo>
                        <a:pt x="2172191" y="1134256"/>
                        <a:pt x="2185605" y="1155940"/>
                        <a:pt x="2185706" y="1172582"/>
                      </a:cubicBezTo>
                      <a:lnTo>
                        <a:pt x="2185706" y="1172582"/>
                      </a:lnTo>
                      <a:cubicBezTo>
                        <a:pt x="2185706" y="1183374"/>
                        <a:pt x="2178444" y="1191846"/>
                        <a:pt x="2162004" y="1191846"/>
                      </a:cubicBezTo>
                      <a:lnTo>
                        <a:pt x="2162004" y="1191846"/>
                      </a:lnTo>
                      <a:cubicBezTo>
                        <a:pt x="2160592" y="1191846"/>
                        <a:pt x="2159281" y="1191846"/>
                        <a:pt x="2157768" y="1191745"/>
                      </a:cubicBezTo>
                      <a:lnTo>
                        <a:pt x="2157768" y="1191745"/>
                      </a:lnTo>
                      <a:cubicBezTo>
                        <a:pt x="2148288" y="1191038"/>
                        <a:pt x="2140118" y="1190635"/>
                        <a:pt x="2132755" y="1190635"/>
                      </a:cubicBezTo>
                      <a:lnTo>
                        <a:pt x="2132755" y="1190635"/>
                      </a:lnTo>
                      <a:cubicBezTo>
                        <a:pt x="2104212" y="1190837"/>
                        <a:pt x="2091403" y="1195880"/>
                        <a:pt x="2082124" y="1211815"/>
                      </a:cubicBezTo>
                      <a:lnTo>
                        <a:pt x="2082124" y="1211815"/>
                      </a:lnTo>
                      <a:cubicBezTo>
                        <a:pt x="2068206" y="1235316"/>
                        <a:pt x="2029073" y="1234508"/>
                        <a:pt x="2021306" y="1234710"/>
                      </a:cubicBezTo>
                      <a:lnTo>
                        <a:pt x="2021306" y="1234710"/>
                      </a:lnTo>
                      <a:cubicBezTo>
                        <a:pt x="2019996" y="1231887"/>
                        <a:pt x="2010414" y="1264262"/>
                        <a:pt x="1987317" y="1264666"/>
                      </a:cubicBezTo>
                      <a:lnTo>
                        <a:pt x="1987317" y="1264666"/>
                      </a:lnTo>
                      <a:cubicBezTo>
                        <a:pt x="1980761" y="1264666"/>
                        <a:pt x="1973197" y="1262043"/>
                        <a:pt x="1964422" y="1255689"/>
                      </a:cubicBezTo>
                      <a:lnTo>
                        <a:pt x="1964422" y="1255689"/>
                      </a:lnTo>
                      <a:cubicBezTo>
                        <a:pt x="1946570" y="1242779"/>
                        <a:pt x="1929223" y="1235921"/>
                        <a:pt x="1916111" y="1235921"/>
                      </a:cubicBezTo>
                      <a:lnTo>
                        <a:pt x="1916111" y="1235921"/>
                      </a:lnTo>
                      <a:cubicBezTo>
                        <a:pt x="1901487" y="1236224"/>
                        <a:pt x="1892309" y="1243485"/>
                        <a:pt x="1890392" y="1262951"/>
                      </a:cubicBezTo>
                      <a:lnTo>
                        <a:pt x="1890392" y="1262951"/>
                      </a:lnTo>
                      <a:cubicBezTo>
                        <a:pt x="1890090" y="1266178"/>
                        <a:pt x="1889888" y="1269709"/>
                        <a:pt x="1889888" y="1273238"/>
                      </a:cubicBezTo>
                      <a:lnTo>
                        <a:pt x="1889888" y="1273238"/>
                      </a:lnTo>
                      <a:cubicBezTo>
                        <a:pt x="1889888" y="1306219"/>
                        <a:pt x="1902495" y="1333955"/>
                        <a:pt x="1917422" y="1351505"/>
                      </a:cubicBezTo>
                      <a:lnTo>
                        <a:pt x="1917422" y="1351505"/>
                      </a:lnTo>
                      <a:cubicBezTo>
                        <a:pt x="1924987" y="1360380"/>
                        <a:pt x="1929323" y="1369760"/>
                        <a:pt x="1929323" y="1379241"/>
                      </a:cubicBezTo>
                      <a:lnTo>
                        <a:pt x="1929323" y="1379241"/>
                      </a:lnTo>
                      <a:cubicBezTo>
                        <a:pt x="1929323" y="1390940"/>
                        <a:pt x="1922566" y="1402035"/>
                        <a:pt x="1909152" y="1410810"/>
                      </a:cubicBezTo>
                      <a:lnTo>
                        <a:pt x="1909152" y="1410810"/>
                      </a:lnTo>
                      <a:cubicBezTo>
                        <a:pt x="1896847" y="1418979"/>
                        <a:pt x="1884643" y="1422207"/>
                        <a:pt x="1872439" y="1422207"/>
                      </a:cubicBezTo>
                      <a:lnTo>
                        <a:pt x="1872439" y="1422207"/>
                      </a:lnTo>
                      <a:cubicBezTo>
                        <a:pt x="1861042" y="1422207"/>
                        <a:pt x="1849645" y="1419584"/>
                        <a:pt x="1837643" y="1415752"/>
                      </a:cubicBezTo>
                      <a:lnTo>
                        <a:pt x="1837643" y="1415752"/>
                      </a:lnTo>
                      <a:cubicBezTo>
                        <a:pt x="1829373" y="1413129"/>
                        <a:pt x="1821607" y="1412121"/>
                        <a:pt x="1813538" y="1412121"/>
                      </a:cubicBezTo>
                      <a:lnTo>
                        <a:pt x="1813538" y="1412121"/>
                      </a:lnTo>
                      <a:cubicBezTo>
                        <a:pt x="1798207" y="1412121"/>
                        <a:pt x="1781868" y="1415853"/>
                        <a:pt x="1760587" y="1418878"/>
                      </a:cubicBezTo>
                      <a:lnTo>
                        <a:pt x="1760587" y="1418878"/>
                      </a:lnTo>
                      <a:cubicBezTo>
                        <a:pt x="1752922" y="1419887"/>
                        <a:pt x="1745963" y="1420290"/>
                        <a:pt x="1739306" y="1420290"/>
                      </a:cubicBezTo>
                      <a:lnTo>
                        <a:pt x="1739306" y="1420290"/>
                      </a:lnTo>
                      <a:cubicBezTo>
                        <a:pt x="1717319" y="1420290"/>
                        <a:pt x="1700072" y="1415752"/>
                        <a:pt x="1680506" y="1415853"/>
                      </a:cubicBezTo>
                      <a:lnTo>
                        <a:pt x="1680506" y="1415853"/>
                      </a:lnTo>
                      <a:cubicBezTo>
                        <a:pt x="1677883" y="1415853"/>
                        <a:pt x="1675463" y="1415651"/>
                        <a:pt x="1673344" y="1415651"/>
                      </a:cubicBezTo>
                      <a:lnTo>
                        <a:pt x="1673344" y="1415651"/>
                      </a:lnTo>
                      <a:cubicBezTo>
                        <a:pt x="1655089" y="1416155"/>
                        <a:pt x="1648130" y="1415853"/>
                        <a:pt x="1647928" y="1429872"/>
                      </a:cubicBezTo>
                      <a:lnTo>
                        <a:pt x="1647928" y="1429872"/>
                      </a:lnTo>
                      <a:cubicBezTo>
                        <a:pt x="1647928" y="1432999"/>
                        <a:pt x="1648432" y="1436932"/>
                        <a:pt x="1649441" y="1441773"/>
                      </a:cubicBezTo>
                      <a:lnTo>
                        <a:pt x="1649441" y="1441773"/>
                      </a:lnTo>
                      <a:cubicBezTo>
                        <a:pt x="1650248" y="1446412"/>
                        <a:pt x="1650651" y="1451153"/>
                        <a:pt x="1650651" y="1455692"/>
                      </a:cubicBezTo>
                      <a:lnTo>
                        <a:pt x="1650651" y="1455692"/>
                      </a:lnTo>
                      <a:cubicBezTo>
                        <a:pt x="1649945" y="1475157"/>
                        <a:pt x="1644398" y="1490790"/>
                        <a:pt x="1635119" y="1492304"/>
                      </a:cubicBezTo>
                      <a:lnTo>
                        <a:pt x="1635119" y="1492304"/>
                      </a:lnTo>
                      <a:cubicBezTo>
                        <a:pt x="1631791" y="1492304"/>
                        <a:pt x="1629471" y="1489378"/>
                        <a:pt x="1628664" y="1485949"/>
                      </a:cubicBezTo>
                      <a:lnTo>
                        <a:pt x="1628664" y="1485949"/>
                      </a:lnTo>
                      <a:cubicBezTo>
                        <a:pt x="1625134" y="1471325"/>
                        <a:pt x="1619486" y="1440462"/>
                        <a:pt x="1613334" y="1442277"/>
                      </a:cubicBezTo>
                      <a:lnTo>
                        <a:pt x="1613334" y="1442277"/>
                      </a:lnTo>
                      <a:cubicBezTo>
                        <a:pt x="1612829" y="1442277"/>
                        <a:pt x="1612224" y="1442479"/>
                        <a:pt x="1611014" y="1443085"/>
                      </a:cubicBezTo>
                      <a:lnTo>
                        <a:pt x="1611014" y="1443085"/>
                      </a:lnTo>
                      <a:cubicBezTo>
                        <a:pt x="1603449" y="1447118"/>
                        <a:pt x="1594070" y="1450144"/>
                        <a:pt x="1581664" y="1450144"/>
                      </a:cubicBezTo>
                      <a:lnTo>
                        <a:pt x="1581664" y="1450144"/>
                      </a:lnTo>
                      <a:cubicBezTo>
                        <a:pt x="1570166" y="1450144"/>
                        <a:pt x="1556147" y="1447724"/>
                        <a:pt x="1538295" y="1441874"/>
                      </a:cubicBezTo>
                      <a:lnTo>
                        <a:pt x="1538295" y="1441874"/>
                      </a:lnTo>
                      <a:cubicBezTo>
                        <a:pt x="1522258" y="1436327"/>
                        <a:pt x="1508441" y="1434007"/>
                        <a:pt x="1497851" y="1434007"/>
                      </a:cubicBezTo>
                      <a:lnTo>
                        <a:pt x="1497851" y="1434007"/>
                      </a:lnTo>
                      <a:cubicBezTo>
                        <a:pt x="1484134" y="1434007"/>
                        <a:pt x="1476670" y="1438142"/>
                        <a:pt x="1475863" y="1442883"/>
                      </a:cubicBezTo>
                      <a:lnTo>
                        <a:pt x="1475863" y="1442883"/>
                      </a:lnTo>
                      <a:cubicBezTo>
                        <a:pt x="1472938" y="1452868"/>
                        <a:pt x="1461541" y="1457809"/>
                        <a:pt x="1450548" y="1457910"/>
                      </a:cubicBezTo>
                      <a:lnTo>
                        <a:pt x="1450548" y="1457910"/>
                      </a:lnTo>
                      <a:cubicBezTo>
                        <a:pt x="1445001" y="1457910"/>
                        <a:pt x="1439454" y="1456700"/>
                        <a:pt x="1434814" y="1453776"/>
                      </a:cubicBezTo>
                      <a:lnTo>
                        <a:pt x="1434814" y="1453776"/>
                      </a:lnTo>
                      <a:cubicBezTo>
                        <a:pt x="1426443" y="1448127"/>
                        <a:pt x="1410104" y="1433604"/>
                        <a:pt x="1399917" y="1433906"/>
                      </a:cubicBezTo>
                      <a:lnTo>
                        <a:pt x="1399917" y="1433906"/>
                      </a:lnTo>
                      <a:cubicBezTo>
                        <a:pt x="1394975" y="1434007"/>
                        <a:pt x="1391041" y="1436428"/>
                        <a:pt x="1388419" y="1447421"/>
                      </a:cubicBezTo>
                      <a:lnTo>
                        <a:pt x="1388419" y="1447421"/>
                      </a:lnTo>
                      <a:cubicBezTo>
                        <a:pt x="1380350" y="1482419"/>
                        <a:pt x="1349286" y="1510155"/>
                        <a:pt x="1328912" y="1524376"/>
                      </a:cubicBezTo>
                      <a:lnTo>
                        <a:pt x="1328912" y="1524376"/>
                      </a:lnTo>
                      <a:cubicBezTo>
                        <a:pt x="1320642" y="1529419"/>
                        <a:pt x="1314792" y="1551507"/>
                        <a:pt x="1314994" y="1575411"/>
                      </a:cubicBezTo>
                      <a:lnTo>
                        <a:pt x="1314994" y="1575411"/>
                      </a:lnTo>
                      <a:cubicBezTo>
                        <a:pt x="1314893" y="1600121"/>
                        <a:pt x="1320844" y="1627050"/>
                        <a:pt x="1332644" y="1640061"/>
                      </a:cubicBezTo>
                      <a:lnTo>
                        <a:pt x="1332644" y="1640061"/>
                      </a:lnTo>
                      <a:cubicBezTo>
                        <a:pt x="1356245" y="1666789"/>
                        <a:pt x="1392454" y="1672840"/>
                        <a:pt x="1425031" y="1683632"/>
                      </a:cubicBezTo>
                      <a:lnTo>
                        <a:pt x="1425031" y="1683632"/>
                      </a:lnTo>
                      <a:cubicBezTo>
                        <a:pt x="1458415" y="1694726"/>
                        <a:pt x="1466786" y="1719235"/>
                        <a:pt x="1471426" y="1733053"/>
                      </a:cubicBezTo>
                      <a:lnTo>
                        <a:pt x="1471426" y="1733053"/>
                      </a:lnTo>
                      <a:cubicBezTo>
                        <a:pt x="1476065" y="1747072"/>
                        <a:pt x="1486857" y="1787012"/>
                        <a:pt x="1486857" y="1822918"/>
                      </a:cubicBezTo>
                      <a:lnTo>
                        <a:pt x="1486857" y="1822918"/>
                      </a:lnTo>
                      <a:cubicBezTo>
                        <a:pt x="1486655" y="1858823"/>
                        <a:pt x="1474956" y="1912782"/>
                        <a:pt x="1448632" y="1929626"/>
                      </a:cubicBezTo>
                      <a:lnTo>
                        <a:pt x="1448632" y="1929626"/>
                      </a:lnTo>
                      <a:cubicBezTo>
                        <a:pt x="1433503" y="1939006"/>
                        <a:pt x="1422812" y="1955042"/>
                        <a:pt x="1422812" y="1972793"/>
                      </a:cubicBezTo>
                      <a:lnTo>
                        <a:pt x="1422812" y="1972793"/>
                      </a:lnTo>
                      <a:cubicBezTo>
                        <a:pt x="1422812" y="1982678"/>
                        <a:pt x="1426140" y="1993268"/>
                        <a:pt x="1434108" y="2003858"/>
                      </a:cubicBezTo>
                      <a:lnTo>
                        <a:pt x="1434108" y="2003858"/>
                      </a:lnTo>
                      <a:cubicBezTo>
                        <a:pt x="1452263" y="2028366"/>
                        <a:pt x="1467996" y="2040470"/>
                        <a:pt x="1478587" y="2040268"/>
                      </a:cubicBezTo>
                      <a:lnTo>
                        <a:pt x="1478587" y="2040268"/>
                      </a:lnTo>
                      <a:cubicBezTo>
                        <a:pt x="1481209" y="2040268"/>
                        <a:pt x="1483529" y="2039763"/>
                        <a:pt x="1485748" y="2038553"/>
                      </a:cubicBezTo>
                      <a:lnTo>
                        <a:pt x="1485748" y="2038553"/>
                      </a:lnTo>
                      <a:cubicBezTo>
                        <a:pt x="1494825" y="2033308"/>
                        <a:pt x="1507432" y="2025038"/>
                        <a:pt x="1523267" y="2025038"/>
                      </a:cubicBezTo>
                      <a:lnTo>
                        <a:pt x="1523267" y="2025038"/>
                      </a:lnTo>
                      <a:cubicBezTo>
                        <a:pt x="1531033" y="2025038"/>
                        <a:pt x="1539505" y="2027055"/>
                        <a:pt x="1548381" y="2032401"/>
                      </a:cubicBezTo>
                      <a:lnTo>
                        <a:pt x="1548381" y="2032401"/>
                      </a:lnTo>
                      <a:cubicBezTo>
                        <a:pt x="1574201" y="2047933"/>
                        <a:pt x="1591952" y="2054690"/>
                        <a:pt x="1592859" y="2068609"/>
                      </a:cubicBezTo>
                      <a:lnTo>
                        <a:pt x="1592859" y="2068609"/>
                      </a:lnTo>
                      <a:cubicBezTo>
                        <a:pt x="1592658" y="2079905"/>
                        <a:pt x="1581866" y="2091605"/>
                        <a:pt x="1568351" y="2091706"/>
                      </a:cubicBezTo>
                      <a:lnTo>
                        <a:pt x="1568351" y="2091706"/>
                      </a:lnTo>
                      <a:cubicBezTo>
                        <a:pt x="1566737" y="2091706"/>
                        <a:pt x="1565123" y="2091706"/>
                        <a:pt x="1563308" y="2091302"/>
                      </a:cubicBezTo>
                      <a:lnTo>
                        <a:pt x="1563308" y="2091302"/>
                      </a:lnTo>
                      <a:cubicBezTo>
                        <a:pt x="1556853" y="2089689"/>
                        <a:pt x="1539203" y="2087369"/>
                        <a:pt x="1522662" y="2087469"/>
                      </a:cubicBezTo>
                      <a:lnTo>
                        <a:pt x="1522662" y="2087469"/>
                      </a:lnTo>
                      <a:cubicBezTo>
                        <a:pt x="1505919" y="2087167"/>
                        <a:pt x="1490185" y="2090596"/>
                        <a:pt x="1488269" y="2095942"/>
                      </a:cubicBezTo>
                      <a:lnTo>
                        <a:pt x="1488269" y="2095942"/>
                      </a:lnTo>
                      <a:cubicBezTo>
                        <a:pt x="1480805" y="2110264"/>
                        <a:pt x="1481209" y="2154339"/>
                        <a:pt x="1472535" y="2165736"/>
                      </a:cubicBezTo>
                      <a:lnTo>
                        <a:pt x="1472535" y="2165736"/>
                      </a:lnTo>
                      <a:cubicBezTo>
                        <a:pt x="1465374" y="2172796"/>
                        <a:pt x="1428258" y="2178847"/>
                        <a:pt x="1392050" y="2179251"/>
                      </a:cubicBezTo>
                      <a:lnTo>
                        <a:pt x="1392050" y="2179251"/>
                      </a:lnTo>
                      <a:cubicBezTo>
                        <a:pt x="1367239" y="2179049"/>
                        <a:pt x="1344344" y="2176225"/>
                        <a:pt x="1333048" y="2165938"/>
                      </a:cubicBezTo>
                      <a:lnTo>
                        <a:pt x="1333048" y="2165938"/>
                      </a:lnTo>
                      <a:close/>
                      <a:moveTo>
                        <a:pt x="1467896" y="2162105"/>
                      </a:moveTo>
                      <a:cubicBezTo>
                        <a:pt x="1474451" y="2155045"/>
                        <a:pt x="1475057" y="2109860"/>
                        <a:pt x="1482924" y="2093521"/>
                      </a:cubicBezTo>
                      <a:lnTo>
                        <a:pt x="1482924" y="2093521"/>
                      </a:lnTo>
                      <a:cubicBezTo>
                        <a:pt x="1488572" y="2083637"/>
                        <a:pt x="1505213" y="2082225"/>
                        <a:pt x="1522359" y="2081922"/>
                      </a:cubicBezTo>
                      <a:lnTo>
                        <a:pt x="1522359" y="2081922"/>
                      </a:lnTo>
                      <a:cubicBezTo>
                        <a:pt x="1539505" y="2082124"/>
                        <a:pt x="1557054" y="2084142"/>
                        <a:pt x="1564316" y="2085957"/>
                      </a:cubicBezTo>
                      <a:lnTo>
                        <a:pt x="1564316" y="2085957"/>
                      </a:lnTo>
                      <a:cubicBezTo>
                        <a:pt x="1565627" y="2086158"/>
                        <a:pt x="1566838" y="2086259"/>
                        <a:pt x="1568149" y="2086259"/>
                      </a:cubicBezTo>
                      <a:lnTo>
                        <a:pt x="1568149" y="2086259"/>
                      </a:lnTo>
                      <a:cubicBezTo>
                        <a:pt x="1578235" y="2086259"/>
                        <a:pt x="1587009" y="2076274"/>
                        <a:pt x="1587110" y="2068609"/>
                      </a:cubicBezTo>
                      <a:lnTo>
                        <a:pt x="1587110" y="2068609"/>
                      </a:lnTo>
                      <a:cubicBezTo>
                        <a:pt x="1587917" y="2061145"/>
                        <a:pt x="1571881" y="2052371"/>
                        <a:pt x="1545456" y="2037242"/>
                      </a:cubicBezTo>
                      <a:lnTo>
                        <a:pt x="1545456" y="2037242"/>
                      </a:lnTo>
                      <a:cubicBezTo>
                        <a:pt x="1537185" y="2032401"/>
                        <a:pt x="1529823" y="2030686"/>
                        <a:pt x="1523166" y="2030686"/>
                      </a:cubicBezTo>
                      <a:lnTo>
                        <a:pt x="1523166" y="2030686"/>
                      </a:lnTo>
                      <a:cubicBezTo>
                        <a:pt x="1509349" y="2030586"/>
                        <a:pt x="1497750" y="2037948"/>
                        <a:pt x="1488370" y="2043495"/>
                      </a:cubicBezTo>
                      <a:lnTo>
                        <a:pt x="1488370" y="2043495"/>
                      </a:lnTo>
                      <a:cubicBezTo>
                        <a:pt x="1485243" y="2045210"/>
                        <a:pt x="1481915" y="2045916"/>
                        <a:pt x="1478486" y="2045916"/>
                      </a:cubicBezTo>
                      <a:lnTo>
                        <a:pt x="1478486" y="2045916"/>
                      </a:lnTo>
                      <a:cubicBezTo>
                        <a:pt x="1463962" y="2045714"/>
                        <a:pt x="1448329" y="2031997"/>
                        <a:pt x="1429569" y="2007287"/>
                      </a:cubicBezTo>
                      <a:lnTo>
                        <a:pt x="1429569" y="2007287"/>
                      </a:lnTo>
                      <a:cubicBezTo>
                        <a:pt x="1421097" y="1995890"/>
                        <a:pt x="1417265" y="1984089"/>
                        <a:pt x="1417265" y="1972894"/>
                      </a:cubicBezTo>
                      <a:lnTo>
                        <a:pt x="1417265" y="1972894"/>
                      </a:lnTo>
                      <a:cubicBezTo>
                        <a:pt x="1417265" y="1952723"/>
                        <a:pt x="1429166" y="1935173"/>
                        <a:pt x="1445707" y="1924986"/>
                      </a:cubicBezTo>
                      <a:lnTo>
                        <a:pt x="1445707" y="1924986"/>
                      </a:lnTo>
                      <a:cubicBezTo>
                        <a:pt x="1468501" y="1911169"/>
                        <a:pt x="1481411" y="1857613"/>
                        <a:pt x="1481310" y="1822918"/>
                      </a:cubicBezTo>
                      <a:lnTo>
                        <a:pt x="1481310" y="1822918"/>
                      </a:lnTo>
                      <a:cubicBezTo>
                        <a:pt x="1481310" y="1788121"/>
                        <a:pt x="1470619" y="1748282"/>
                        <a:pt x="1466080" y="1734666"/>
                      </a:cubicBezTo>
                      <a:lnTo>
                        <a:pt x="1466080" y="1734666"/>
                      </a:lnTo>
                      <a:cubicBezTo>
                        <a:pt x="1461340" y="1720950"/>
                        <a:pt x="1454280" y="1699467"/>
                        <a:pt x="1423215" y="1688877"/>
                      </a:cubicBezTo>
                      <a:lnTo>
                        <a:pt x="1423215" y="1688877"/>
                      </a:lnTo>
                      <a:cubicBezTo>
                        <a:pt x="1391344" y="1678186"/>
                        <a:pt x="1353724" y="1672033"/>
                        <a:pt x="1328307" y="1643591"/>
                      </a:cubicBezTo>
                      <a:lnTo>
                        <a:pt x="1328307" y="1643591"/>
                      </a:lnTo>
                      <a:cubicBezTo>
                        <a:pt x="1315095" y="1628463"/>
                        <a:pt x="1309447" y="1600827"/>
                        <a:pt x="1309346" y="1575310"/>
                      </a:cubicBezTo>
                      <a:lnTo>
                        <a:pt x="1309346" y="1575310"/>
                      </a:lnTo>
                      <a:cubicBezTo>
                        <a:pt x="1309548" y="1550599"/>
                        <a:pt x="1314187" y="1527906"/>
                        <a:pt x="1325786" y="1519636"/>
                      </a:cubicBezTo>
                      <a:lnTo>
                        <a:pt x="1325786" y="1519636"/>
                      </a:lnTo>
                      <a:cubicBezTo>
                        <a:pt x="1345453" y="1506020"/>
                        <a:pt x="1375610" y="1478586"/>
                        <a:pt x="1383073" y="1446110"/>
                      </a:cubicBezTo>
                      <a:lnTo>
                        <a:pt x="1383073" y="1446110"/>
                      </a:lnTo>
                      <a:cubicBezTo>
                        <a:pt x="1385595" y="1434007"/>
                        <a:pt x="1392151" y="1428157"/>
                        <a:pt x="1400018" y="1428258"/>
                      </a:cubicBezTo>
                      <a:lnTo>
                        <a:pt x="1400018" y="1428258"/>
                      </a:lnTo>
                      <a:cubicBezTo>
                        <a:pt x="1414138" y="1428460"/>
                        <a:pt x="1430074" y="1444093"/>
                        <a:pt x="1437941" y="1448934"/>
                      </a:cubicBezTo>
                      <a:lnTo>
                        <a:pt x="1437941" y="1448934"/>
                      </a:lnTo>
                      <a:cubicBezTo>
                        <a:pt x="1441370" y="1451153"/>
                        <a:pt x="1446110" y="1452161"/>
                        <a:pt x="1450750" y="1452161"/>
                      </a:cubicBezTo>
                      <a:lnTo>
                        <a:pt x="1450750" y="1452161"/>
                      </a:lnTo>
                      <a:cubicBezTo>
                        <a:pt x="1460331" y="1452363"/>
                        <a:pt x="1469308" y="1447320"/>
                        <a:pt x="1470720" y="1441470"/>
                      </a:cubicBezTo>
                      <a:lnTo>
                        <a:pt x="1470720" y="1441470"/>
                      </a:lnTo>
                      <a:cubicBezTo>
                        <a:pt x="1473140" y="1432394"/>
                        <a:pt x="1483730" y="1428359"/>
                        <a:pt x="1498052" y="1428359"/>
                      </a:cubicBezTo>
                      <a:lnTo>
                        <a:pt x="1498052" y="1428359"/>
                      </a:lnTo>
                      <a:cubicBezTo>
                        <a:pt x="1509449" y="1428359"/>
                        <a:pt x="1523771" y="1430779"/>
                        <a:pt x="1540211" y="1436428"/>
                      </a:cubicBezTo>
                      <a:lnTo>
                        <a:pt x="1540211" y="1436428"/>
                      </a:lnTo>
                      <a:cubicBezTo>
                        <a:pt x="1557761" y="1442277"/>
                        <a:pt x="1571175" y="1444496"/>
                        <a:pt x="1581866" y="1444496"/>
                      </a:cubicBezTo>
                      <a:lnTo>
                        <a:pt x="1581866" y="1444496"/>
                      </a:lnTo>
                      <a:cubicBezTo>
                        <a:pt x="1593364" y="1444496"/>
                        <a:pt x="1601735" y="1441773"/>
                        <a:pt x="1608492" y="1438142"/>
                      </a:cubicBezTo>
                      <a:lnTo>
                        <a:pt x="1608492" y="1438142"/>
                      </a:lnTo>
                      <a:cubicBezTo>
                        <a:pt x="1610106" y="1437235"/>
                        <a:pt x="1611720" y="1436629"/>
                        <a:pt x="1613535" y="1436629"/>
                      </a:cubicBezTo>
                      <a:lnTo>
                        <a:pt x="1613535" y="1436629"/>
                      </a:lnTo>
                      <a:cubicBezTo>
                        <a:pt x="1629068" y="1438848"/>
                        <a:pt x="1629068" y="1470821"/>
                        <a:pt x="1634111" y="1484234"/>
                      </a:cubicBezTo>
                      <a:lnTo>
                        <a:pt x="1634111" y="1484234"/>
                      </a:lnTo>
                      <a:cubicBezTo>
                        <a:pt x="1634917" y="1486555"/>
                        <a:pt x="1635220" y="1486555"/>
                        <a:pt x="1635220" y="1486555"/>
                      </a:cubicBezTo>
                      <a:lnTo>
                        <a:pt x="1635220" y="1486555"/>
                      </a:lnTo>
                      <a:cubicBezTo>
                        <a:pt x="1636430" y="1486555"/>
                        <a:pt x="1645104" y="1473644"/>
                        <a:pt x="1645104" y="1455490"/>
                      </a:cubicBezTo>
                      <a:lnTo>
                        <a:pt x="1645104" y="1455490"/>
                      </a:lnTo>
                      <a:cubicBezTo>
                        <a:pt x="1645104" y="1451354"/>
                        <a:pt x="1644802" y="1446917"/>
                        <a:pt x="1643894" y="1442580"/>
                      </a:cubicBezTo>
                      <a:lnTo>
                        <a:pt x="1643894" y="1442580"/>
                      </a:lnTo>
                      <a:cubicBezTo>
                        <a:pt x="1642885" y="1437638"/>
                        <a:pt x="1642381" y="1433301"/>
                        <a:pt x="1642381" y="1429670"/>
                      </a:cubicBezTo>
                      <a:lnTo>
                        <a:pt x="1642381" y="1429670"/>
                      </a:lnTo>
                      <a:cubicBezTo>
                        <a:pt x="1642381" y="1411415"/>
                        <a:pt x="1656199" y="1409902"/>
                        <a:pt x="1673344" y="1409801"/>
                      </a:cubicBezTo>
                      <a:lnTo>
                        <a:pt x="1673344" y="1409801"/>
                      </a:lnTo>
                      <a:cubicBezTo>
                        <a:pt x="1675866" y="1409801"/>
                        <a:pt x="1678186" y="1410104"/>
                        <a:pt x="1680506" y="1410104"/>
                      </a:cubicBezTo>
                      <a:lnTo>
                        <a:pt x="1680506" y="1410104"/>
                      </a:lnTo>
                      <a:cubicBezTo>
                        <a:pt x="1700879" y="1410104"/>
                        <a:pt x="1718126" y="1414541"/>
                        <a:pt x="1739306" y="1414541"/>
                      </a:cubicBezTo>
                      <a:lnTo>
                        <a:pt x="1739306" y="1414541"/>
                      </a:lnTo>
                      <a:cubicBezTo>
                        <a:pt x="1745660" y="1414541"/>
                        <a:pt x="1752418" y="1414138"/>
                        <a:pt x="1759780" y="1413230"/>
                      </a:cubicBezTo>
                      <a:lnTo>
                        <a:pt x="1759780" y="1413230"/>
                      </a:lnTo>
                      <a:cubicBezTo>
                        <a:pt x="1780759" y="1410104"/>
                        <a:pt x="1797300" y="1406473"/>
                        <a:pt x="1813538" y="1406372"/>
                      </a:cubicBezTo>
                      <a:lnTo>
                        <a:pt x="1813538" y="1406372"/>
                      </a:lnTo>
                      <a:cubicBezTo>
                        <a:pt x="1822111" y="1406372"/>
                        <a:pt x="1830482" y="1407380"/>
                        <a:pt x="1839358" y="1410305"/>
                      </a:cubicBezTo>
                      <a:lnTo>
                        <a:pt x="1839358" y="1410305"/>
                      </a:lnTo>
                      <a:cubicBezTo>
                        <a:pt x="1851057" y="1413936"/>
                        <a:pt x="1861950" y="1416357"/>
                        <a:pt x="1872439" y="1416357"/>
                      </a:cubicBezTo>
                      <a:lnTo>
                        <a:pt x="1872439" y="1416357"/>
                      </a:lnTo>
                      <a:cubicBezTo>
                        <a:pt x="1883735" y="1416357"/>
                        <a:pt x="1894527" y="1413633"/>
                        <a:pt x="1906126" y="1405968"/>
                      </a:cubicBezTo>
                      <a:lnTo>
                        <a:pt x="1906126" y="1405968"/>
                      </a:lnTo>
                      <a:cubicBezTo>
                        <a:pt x="1918431" y="1397698"/>
                        <a:pt x="1923877" y="1388621"/>
                        <a:pt x="1923877" y="1379039"/>
                      </a:cubicBezTo>
                      <a:lnTo>
                        <a:pt x="1923877" y="1379039"/>
                      </a:lnTo>
                      <a:cubicBezTo>
                        <a:pt x="1923877" y="1371475"/>
                        <a:pt x="1920347" y="1363204"/>
                        <a:pt x="1913287" y="1354833"/>
                      </a:cubicBezTo>
                      <a:lnTo>
                        <a:pt x="1913287" y="1354833"/>
                      </a:lnTo>
                      <a:cubicBezTo>
                        <a:pt x="1897452" y="1336275"/>
                        <a:pt x="1884442" y="1307531"/>
                        <a:pt x="1884442" y="1272936"/>
                      </a:cubicBezTo>
                      <a:lnTo>
                        <a:pt x="1884442" y="1272936"/>
                      </a:lnTo>
                      <a:cubicBezTo>
                        <a:pt x="1884442" y="1269305"/>
                        <a:pt x="1884542" y="1265674"/>
                        <a:pt x="1884946" y="1262144"/>
                      </a:cubicBezTo>
                      <a:lnTo>
                        <a:pt x="1884946" y="1262144"/>
                      </a:lnTo>
                      <a:cubicBezTo>
                        <a:pt x="1886358" y="1240863"/>
                        <a:pt x="1899268" y="1229768"/>
                        <a:pt x="1916111" y="1230071"/>
                      </a:cubicBezTo>
                      <a:lnTo>
                        <a:pt x="1916111" y="1230071"/>
                      </a:lnTo>
                      <a:cubicBezTo>
                        <a:pt x="1931139" y="1230071"/>
                        <a:pt x="1949193" y="1237535"/>
                        <a:pt x="1967549" y="1250948"/>
                      </a:cubicBezTo>
                      <a:lnTo>
                        <a:pt x="1967549" y="1250948"/>
                      </a:lnTo>
                      <a:cubicBezTo>
                        <a:pt x="1975718" y="1256798"/>
                        <a:pt x="1982174" y="1258816"/>
                        <a:pt x="1987216" y="1258816"/>
                      </a:cubicBezTo>
                      <a:lnTo>
                        <a:pt x="1987216" y="1258816"/>
                      </a:lnTo>
                      <a:cubicBezTo>
                        <a:pt x="2006380" y="1259219"/>
                        <a:pt x="2010313" y="1231786"/>
                        <a:pt x="2021206" y="1228860"/>
                      </a:cubicBezTo>
                      <a:lnTo>
                        <a:pt x="2021206" y="1228860"/>
                      </a:lnTo>
                      <a:cubicBezTo>
                        <a:pt x="2028770" y="1229062"/>
                        <a:pt x="2066592" y="1228255"/>
                        <a:pt x="2077182" y="1208790"/>
                      </a:cubicBezTo>
                      <a:lnTo>
                        <a:pt x="2077182" y="1208790"/>
                      </a:lnTo>
                      <a:cubicBezTo>
                        <a:pt x="2087470" y="1190635"/>
                        <a:pt x="2103809" y="1184785"/>
                        <a:pt x="2132654" y="1184886"/>
                      </a:cubicBezTo>
                      <a:lnTo>
                        <a:pt x="2132654" y="1184886"/>
                      </a:lnTo>
                      <a:cubicBezTo>
                        <a:pt x="2140118" y="1184886"/>
                        <a:pt x="2148590" y="1185088"/>
                        <a:pt x="2157970" y="1185895"/>
                      </a:cubicBezTo>
                      <a:lnTo>
                        <a:pt x="2157970" y="1185895"/>
                      </a:lnTo>
                      <a:cubicBezTo>
                        <a:pt x="2159382" y="1185895"/>
                        <a:pt x="2160693" y="1185996"/>
                        <a:pt x="2161903" y="1185996"/>
                      </a:cubicBezTo>
                      <a:lnTo>
                        <a:pt x="2161903" y="1185996"/>
                      </a:lnTo>
                      <a:cubicBezTo>
                        <a:pt x="2176730" y="1185592"/>
                        <a:pt x="2179756" y="1180650"/>
                        <a:pt x="2180058" y="1172279"/>
                      </a:cubicBezTo>
                      <a:lnTo>
                        <a:pt x="2180058" y="1172279"/>
                      </a:lnTo>
                      <a:cubicBezTo>
                        <a:pt x="2180159" y="1158562"/>
                        <a:pt x="2167249" y="1136575"/>
                        <a:pt x="2159987" y="1124069"/>
                      </a:cubicBezTo>
                      <a:lnTo>
                        <a:pt x="2159987" y="1124069"/>
                      </a:lnTo>
                      <a:cubicBezTo>
                        <a:pt x="2156961" y="1118925"/>
                        <a:pt x="2155751" y="1113378"/>
                        <a:pt x="2155751" y="1107830"/>
                      </a:cubicBezTo>
                      <a:lnTo>
                        <a:pt x="2155751" y="1107830"/>
                      </a:lnTo>
                      <a:cubicBezTo>
                        <a:pt x="2155852" y="1088768"/>
                        <a:pt x="2170275" y="1070613"/>
                        <a:pt x="2178747" y="1061032"/>
                      </a:cubicBezTo>
                      <a:lnTo>
                        <a:pt x="2178747" y="1061032"/>
                      </a:lnTo>
                      <a:cubicBezTo>
                        <a:pt x="2181268" y="1058107"/>
                        <a:pt x="2185000" y="1057099"/>
                        <a:pt x="2189034" y="1057099"/>
                      </a:cubicBezTo>
                      <a:lnTo>
                        <a:pt x="2189034" y="1057099"/>
                      </a:lnTo>
                      <a:cubicBezTo>
                        <a:pt x="2207492" y="1057301"/>
                        <a:pt x="2240472" y="1077674"/>
                        <a:pt x="2262459" y="1080094"/>
                      </a:cubicBezTo>
                      <a:lnTo>
                        <a:pt x="2262459" y="1080094"/>
                      </a:lnTo>
                      <a:cubicBezTo>
                        <a:pt x="2263266" y="1080094"/>
                        <a:pt x="2264073" y="1080094"/>
                        <a:pt x="2265082" y="1080094"/>
                      </a:cubicBezTo>
                      <a:lnTo>
                        <a:pt x="2265082" y="1080094"/>
                      </a:lnTo>
                      <a:cubicBezTo>
                        <a:pt x="2282530" y="1080094"/>
                        <a:pt x="2289288" y="1056897"/>
                        <a:pt x="2289288" y="1032086"/>
                      </a:cubicBezTo>
                      <a:lnTo>
                        <a:pt x="2289288" y="1032086"/>
                      </a:lnTo>
                      <a:cubicBezTo>
                        <a:pt x="2289288" y="1026942"/>
                        <a:pt x="2289086" y="1021697"/>
                        <a:pt x="2288582" y="1017158"/>
                      </a:cubicBezTo>
                      <a:lnTo>
                        <a:pt x="2288582" y="1017158"/>
                      </a:lnTo>
                      <a:cubicBezTo>
                        <a:pt x="2288481" y="1016452"/>
                        <a:pt x="2288481" y="1015747"/>
                        <a:pt x="2288481" y="1015141"/>
                      </a:cubicBezTo>
                      <a:lnTo>
                        <a:pt x="2288481" y="1015141"/>
                      </a:lnTo>
                      <a:cubicBezTo>
                        <a:pt x="2289994" y="982262"/>
                        <a:pt x="2366545" y="945851"/>
                        <a:pt x="2389340" y="943330"/>
                      </a:cubicBezTo>
                      <a:lnTo>
                        <a:pt x="2389340" y="943330"/>
                      </a:lnTo>
                      <a:cubicBezTo>
                        <a:pt x="2407090" y="942422"/>
                        <a:pt x="2419496" y="924167"/>
                        <a:pt x="2419395" y="911862"/>
                      </a:cubicBezTo>
                      <a:lnTo>
                        <a:pt x="2419395" y="911862"/>
                      </a:lnTo>
                      <a:cubicBezTo>
                        <a:pt x="2419395" y="910551"/>
                        <a:pt x="2419295" y="909240"/>
                        <a:pt x="2419093" y="908332"/>
                      </a:cubicBezTo>
                      <a:lnTo>
                        <a:pt x="2419093" y="908332"/>
                      </a:lnTo>
                      <a:cubicBezTo>
                        <a:pt x="2416672" y="896330"/>
                        <a:pt x="2397005" y="870409"/>
                        <a:pt x="2363419" y="870611"/>
                      </a:cubicBezTo>
                      <a:lnTo>
                        <a:pt x="2363419" y="870611"/>
                      </a:lnTo>
                      <a:cubicBezTo>
                        <a:pt x="2362310" y="870611"/>
                        <a:pt x="2361503" y="870510"/>
                        <a:pt x="2360897" y="870611"/>
                      </a:cubicBezTo>
                      <a:lnTo>
                        <a:pt x="2360897" y="870611"/>
                      </a:lnTo>
                      <a:lnTo>
                        <a:pt x="2360393" y="867888"/>
                      </a:lnTo>
                      <a:lnTo>
                        <a:pt x="2360393" y="870812"/>
                      </a:lnTo>
                      <a:cubicBezTo>
                        <a:pt x="2359485" y="870812"/>
                        <a:pt x="2358678" y="870812"/>
                        <a:pt x="2357872" y="870812"/>
                      </a:cubicBezTo>
                      <a:lnTo>
                        <a:pt x="2357872" y="870812"/>
                      </a:lnTo>
                      <a:cubicBezTo>
                        <a:pt x="2320857" y="870611"/>
                        <a:pt x="2315814" y="836924"/>
                        <a:pt x="2314704" y="825527"/>
                      </a:cubicBezTo>
                      <a:lnTo>
                        <a:pt x="2314704" y="825527"/>
                      </a:lnTo>
                      <a:cubicBezTo>
                        <a:pt x="2314603" y="825225"/>
                        <a:pt x="2314603" y="824922"/>
                        <a:pt x="2314603" y="824216"/>
                      </a:cubicBezTo>
                      <a:lnTo>
                        <a:pt x="2314603" y="824216"/>
                      </a:lnTo>
                      <a:cubicBezTo>
                        <a:pt x="2315713" y="809390"/>
                        <a:pt x="2349601" y="789016"/>
                        <a:pt x="2348694" y="778123"/>
                      </a:cubicBezTo>
                      <a:lnTo>
                        <a:pt x="2348694" y="778123"/>
                      </a:lnTo>
                      <a:cubicBezTo>
                        <a:pt x="2348694" y="777720"/>
                        <a:pt x="2348593" y="777014"/>
                        <a:pt x="2348492" y="776813"/>
                      </a:cubicBezTo>
                      <a:lnTo>
                        <a:pt x="2348492" y="776813"/>
                      </a:lnTo>
                      <a:cubicBezTo>
                        <a:pt x="2346575" y="770761"/>
                        <a:pt x="2341230" y="768240"/>
                        <a:pt x="2333766" y="768139"/>
                      </a:cubicBezTo>
                      <a:lnTo>
                        <a:pt x="2333766" y="768139"/>
                      </a:lnTo>
                      <a:cubicBezTo>
                        <a:pt x="2327412" y="768139"/>
                        <a:pt x="2320050" y="770257"/>
                        <a:pt x="2314200" y="773686"/>
                      </a:cubicBezTo>
                      <a:lnTo>
                        <a:pt x="2314200" y="773686"/>
                      </a:lnTo>
                      <a:cubicBezTo>
                        <a:pt x="2310468" y="775602"/>
                        <a:pt x="2306736" y="776611"/>
                        <a:pt x="2302904" y="776611"/>
                      </a:cubicBezTo>
                      <a:lnTo>
                        <a:pt x="2302904" y="776611"/>
                      </a:lnTo>
                      <a:cubicBezTo>
                        <a:pt x="2291204" y="776611"/>
                        <a:pt x="2280412" y="766928"/>
                        <a:pt x="2280412" y="750186"/>
                      </a:cubicBezTo>
                      <a:lnTo>
                        <a:pt x="2280412" y="750186"/>
                      </a:lnTo>
                      <a:cubicBezTo>
                        <a:pt x="2280412" y="748472"/>
                        <a:pt x="2280513" y="746555"/>
                        <a:pt x="2280917" y="744840"/>
                      </a:cubicBezTo>
                      <a:lnTo>
                        <a:pt x="2280917" y="744840"/>
                      </a:lnTo>
                      <a:cubicBezTo>
                        <a:pt x="2281118" y="743025"/>
                        <a:pt x="2281219" y="741209"/>
                        <a:pt x="2281219" y="739596"/>
                      </a:cubicBezTo>
                      <a:lnTo>
                        <a:pt x="2281219" y="739596"/>
                      </a:lnTo>
                      <a:cubicBezTo>
                        <a:pt x="2281017" y="722046"/>
                        <a:pt x="2268713" y="720332"/>
                        <a:pt x="2258627" y="718819"/>
                      </a:cubicBezTo>
                      <a:lnTo>
                        <a:pt x="2258627" y="718819"/>
                      </a:lnTo>
                      <a:cubicBezTo>
                        <a:pt x="2257921" y="718718"/>
                        <a:pt x="2257316" y="718617"/>
                        <a:pt x="2256711" y="718617"/>
                      </a:cubicBezTo>
                      <a:lnTo>
                        <a:pt x="2256711" y="718617"/>
                      </a:lnTo>
                      <a:cubicBezTo>
                        <a:pt x="2252676" y="718617"/>
                        <a:pt x="2245919" y="719626"/>
                        <a:pt x="2238556" y="719626"/>
                      </a:cubicBezTo>
                      <a:lnTo>
                        <a:pt x="2238556" y="719626"/>
                      </a:lnTo>
                      <a:cubicBezTo>
                        <a:pt x="2225243" y="719828"/>
                        <a:pt x="2208298" y="715592"/>
                        <a:pt x="2199725" y="694109"/>
                      </a:cubicBezTo>
                      <a:lnTo>
                        <a:pt x="2199725" y="694109"/>
                      </a:lnTo>
                      <a:cubicBezTo>
                        <a:pt x="2197305" y="688461"/>
                        <a:pt x="2196397" y="682409"/>
                        <a:pt x="2196397" y="676055"/>
                      </a:cubicBezTo>
                      <a:lnTo>
                        <a:pt x="2196397" y="676055"/>
                      </a:lnTo>
                      <a:cubicBezTo>
                        <a:pt x="2196498" y="642166"/>
                        <a:pt x="2223932" y="601016"/>
                        <a:pt x="2228773" y="578827"/>
                      </a:cubicBezTo>
                      <a:lnTo>
                        <a:pt x="2228773" y="578827"/>
                      </a:lnTo>
                      <a:cubicBezTo>
                        <a:pt x="2230588" y="570658"/>
                        <a:pt x="2231799" y="563699"/>
                        <a:pt x="2231799" y="557849"/>
                      </a:cubicBezTo>
                      <a:lnTo>
                        <a:pt x="2231799" y="557849"/>
                      </a:lnTo>
                      <a:cubicBezTo>
                        <a:pt x="2231698" y="544132"/>
                        <a:pt x="2225949" y="534853"/>
                        <a:pt x="2202549" y="521943"/>
                      </a:cubicBezTo>
                      <a:lnTo>
                        <a:pt x="2202549" y="521943"/>
                      </a:lnTo>
                      <a:cubicBezTo>
                        <a:pt x="2185504" y="512765"/>
                        <a:pt x="2180865" y="498947"/>
                        <a:pt x="2180966" y="486239"/>
                      </a:cubicBezTo>
                      <a:lnTo>
                        <a:pt x="2180966" y="486239"/>
                      </a:lnTo>
                      <a:cubicBezTo>
                        <a:pt x="2181067" y="474136"/>
                        <a:pt x="2184395" y="462436"/>
                        <a:pt x="2184395" y="454469"/>
                      </a:cubicBezTo>
                      <a:lnTo>
                        <a:pt x="2184395" y="454469"/>
                      </a:lnTo>
                      <a:cubicBezTo>
                        <a:pt x="2184395" y="453157"/>
                        <a:pt x="2184294" y="451846"/>
                        <a:pt x="2184193" y="451039"/>
                      </a:cubicBezTo>
                      <a:lnTo>
                        <a:pt x="2184193" y="451039"/>
                      </a:lnTo>
                      <a:cubicBezTo>
                        <a:pt x="2181873" y="436213"/>
                        <a:pt x="2152725" y="409284"/>
                        <a:pt x="2126401" y="377009"/>
                      </a:cubicBezTo>
                      <a:lnTo>
                        <a:pt x="2126401" y="377009"/>
                      </a:lnTo>
                      <a:cubicBezTo>
                        <a:pt x="2118837" y="367731"/>
                        <a:pt x="2114803" y="356233"/>
                        <a:pt x="2112483" y="344634"/>
                      </a:cubicBezTo>
                      <a:lnTo>
                        <a:pt x="2112483" y="344634"/>
                      </a:lnTo>
                      <a:cubicBezTo>
                        <a:pt x="2111272" y="344835"/>
                        <a:pt x="2110163" y="344936"/>
                        <a:pt x="2109054" y="344936"/>
                      </a:cubicBezTo>
                      <a:lnTo>
                        <a:pt x="2109054" y="344936"/>
                      </a:lnTo>
                      <a:cubicBezTo>
                        <a:pt x="2088075" y="344028"/>
                        <a:pt x="2070929" y="310543"/>
                        <a:pt x="2070425" y="282303"/>
                      </a:cubicBezTo>
                      <a:lnTo>
                        <a:pt x="2070425" y="282303"/>
                      </a:lnTo>
                      <a:cubicBezTo>
                        <a:pt x="2070425" y="280690"/>
                        <a:pt x="2070525" y="278975"/>
                        <a:pt x="2070626" y="277462"/>
                      </a:cubicBezTo>
                      <a:lnTo>
                        <a:pt x="2070626" y="277462"/>
                      </a:lnTo>
                      <a:cubicBezTo>
                        <a:pt x="2070828" y="274840"/>
                        <a:pt x="2071030" y="272520"/>
                        <a:pt x="2071030" y="270301"/>
                      </a:cubicBezTo>
                      <a:lnTo>
                        <a:pt x="2071030" y="270301"/>
                      </a:lnTo>
                      <a:cubicBezTo>
                        <a:pt x="2071131" y="248717"/>
                        <a:pt x="2060641" y="250028"/>
                        <a:pt x="2050656" y="227940"/>
                      </a:cubicBezTo>
                      <a:lnTo>
                        <a:pt x="2050656" y="227940"/>
                      </a:lnTo>
                      <a:cubicBezTo>
                        <a:pt x="2040671" y="204037"/>
                        <a:pt x="2039058" y="153305"/>
                        <a:pt x="2021609" y="147959"/>
                      </a:cubicBezTo>
                      <a:lnTo>
                        <a:pt x="2021609" y="147959"/>
                      </a:lnTo>
                      <a:cubicBezTo>
                        <a:pt x="2000731" y="139588"/>
                        <a:pt x="1982678" y="106406"/>
                        <a:pt x="1968558" y="107314"/>
                      </a:cubicBezTo>
                      <a:lnTo>
                        <a:pt x="1968558" y="107314"/>
                      </a:lnTo>
                      <a:cubicBezTo>
                        <a:pt x="1968558" y="107314"/>
                        <a:pt x="1967952" y="107213"/>
                        <a:pt x="1967045" y="107414"/>
                      </a:cubicBezTo>
                      <a:lnTo>
                        <a:pt x="1967045" y="107414"/>
                      </a:lnTo>
                      <a:cubicBezTo>
                        <a:pt x="1951815" y="108725"/>
                        <a:pt x="1874456" y="178419"/>
                        <a:pt x="1872843" y="226932"/>
                      </a:cubicBezTo>
                      <a:lnTo>
                        <a:pt x="1872843" y="226932"/>
                      </a:lnTo>
                      <a:cubicBezTo>
                        <a:pt x="1870120" y="279378"/>
                        <a:pt x="1823725" y="320226"/>
                        <a:pt x="1805974" y="338078"/>
                      </a:cubicBezTo>
                      <a:lnTo>
                        <a:pt x="1805974" y="338078"/>
                      </a:lnTo>
                      <a:cubicBezTo>
                        <a:pt x="1799115" y="344533"/>
                        <a:pt x="1785600" y="345239"/>
                        <a:pt x="1768757" y="345340"/>
                      </a:cubicBezTo>
                      <a:lnTo>
                        <a:pt x="1768757" y="345340"/>
                      </a:lnTo>
                      <a:cubicBezTo>
                        <a:pt x="1754132" y="345340"/>
                        <a:pt x="1736986" y="344331"/>
                        <a:pt x="1720344" y="344331"/>
                      </a:cubicBezTo>
                      <a:lnTo>
                        <a:pt x="1720344" y="344331"/>
                      </a:lnTo>
                      <a:cubicBezTo>
                        <a:pt x="1692306" y="344129"/>
                        <a:pt x="1665780" y="347458"/>
                        <a:pt x="1656098" y="360771"/>
                      </a:cubicBezTo>
                      <a:lnTo>
                        <a:pt x="1656098" y="360771"/>
                      </a:lnTo>
                      <a:cubicBezTo>
                        <a:pt x="1642482" y="378220"/>
                        <a:pt x="1628362" y="387700"/>
                        <a:pt x="1616460" y="387902"/>
                      </a:cubicBezTo>
                      <a:lnTo>
                        <a:pt x="1616460" y="387902"/>
                      </a:lnTo>
                      <a:cubicBezTo>
                        <a:pt x="1604962" y="387902"/>
                        <a:pt x="1597700" y="378018"/>
                        <a:pt x="1597700" y="361679"/>
                      </a:cubicBezTo>
                      <a:lnTo>
                        <a:pt x="1597700" y="361679"/>
                      </a:lnTo>
                      <a:cubicBezTo>
                        <a:pt x="1597801" y="337170"/>
                        <a:pt x="1582874" y="308930"/>
                        <a:pt x="1582673" y="287749"/>
                      </a:cubicBezTo>
                      <a:lnTo>
                        <a:pt x="1582673" y="287749"/>
                      </a:lnTo>
                      <a:cubicBezTo>
                        <a:pt x="1582673" y="281395"/>
                        <a:pt x="1584185" y="275445"/>
                        <a:pt x="1588321" y="270805"/>
                      </a:cubicBezTo>
                      <a:lnTo>
                        <a:pt x="1588321" y="270805"/>
                      </a:lnTo>
                      <a:cubicBezTo>
                        <a:pt x="1597801" y="259913"/>
                        <a:pt x="1606475" y="239741"/>
                        <a:pt x="1606374" y="225217"/>
                      </a:cubicBezTo>
                      <a:lnTo>
                        <a:pt x="1606374" y="225217"/>
                      </a:lnTo>
                      <a:cubicBezTo>
                        <a:pt x="1606374" y="217350"/>
                        <a:pt x="1604055" y="211702"/>
                        <a:pt x="1599113" y="208979"/>
                      </a:cubicBezTo>
                      <a:lnTo>
                        <a:pt x="1599113" y="208979"/>
                      </a:lnTo>
                      <a:cubicBezTo>
                        <a:pt x="1580656" y="197985"/>
                        <a:pt x="1557962" y="176805"/>
                        <a:pt x="1557054" y="165912"/>
                      </a:cubicBezTo>
                      <a:lnTo>
                        <a:pt x="1557054" y="165912"/>
                      </a:lnTo>
                      <a:cubicBezTo>
                        <a:pt x="1557054" y="157944"/>
                        <a:pt x="1559576" y="130007"/>
                        <a:pt x="1559576" y="130107"/>
                      </a:cubicBezTo>
                      <a:lnTo>
                        <a:pt x="1559576" y="130107"/>
                      </a:lnTo>
                      <a:lnTo>
                        <a:pt x="1563106" y="59910"/>
                      </a:lnTo>
                      <a:cubicBezTo>
                        <a:pt x="1557559" y="59910"/>
                        <a:pt x="1538597" y="61423"/>
                        <a:pt x="1532949" y="66869"/>
                      </a:cubicBezTo>
                      <a:lnTo>
                        <a:pt x="1532949" y="66869"/>
                      </a:lnTo>
                      <a:cubicBezTo>
                        <a:pt x="1524578" y="73930"/>
                        <a:pt x="1504507" y="88150"/>
                        <a:pt x="1489479" y="88352"/>
                      </a:cubicBezTo>
                      <a:lnTo>
                        <a:pt x="1489479" y="88352"/>
                      </a:lnTo>
                      <a:cubicBezTo>
                        <a:pt x="1487866" y="88352"/>
                        <a:pt x="1486453" y="88150"/>
                        <a:pt x="1485143" y="87948"/>
                      </a:cubicBezTo>
                      <a:lnTo>
                        <a:pt x="1485143" y="87948"/>
                      </a:lnTo>
                      <a:cubicBezTo>
                        <a:pt x="1473342" y="84520"/>
                        <a:pt x="1469509" y="75644"/>
                        <a:pt x="1460331" y="75946"/>
                      </a:cubicBezTo>
                      <a:lnTo>
                        <a:pt x="1460331" y="75946"/>
                      </a:lnTo>
                      <a:cubicBezTo>
                        <a:pt x="1457810" y="75946"/>
                        <a:pt x="1454885" y="76350"/>
                        <a:pt x="1451153" y="77963"/>
                      </a:cubicBezTo>
                      <a:lnTo>
                        <a:pt x="1451153" y="77963"/>
                      </a:lnTo>
                      <a:cubicBezTo>
                        <a:pt x="1433503" y="84419"/>
                        <a:pt x="1427048" y="108221"/>
                        <a:pt x="1394067" y="109532"/>
                      </a:cubicBezTo>
                      <a:lnTo>
                        <a:pt x="1394067" y="109532"/>
                      </a:lnTo>
                      <a:lnTo>
                        <a:pt x="1393159" y="109532"/>
                      </a:lnTo>
                      <a:cubicBezTo>
                        <a:pt x="1358968" y="108826"/>
                        <a:pt x="1305917" y="50126"/>
                        <a:pt x="1293612" y="32779"/>
                      </a:cubicBezTo>
                      <a:lnTo>
                        <a:pt x="1293612" y="32779"/>
                      </a:lnTo>
                      <a:cubicBezTo>
                        <a:pt x="1282618" y="16641"/>
                        <a:pt x="1258513" y="8069"/>
                        <a:pt x="1236123" y="5950"/>
                      </a:cubicBezTo>
                      <a:lnTo>
                        <a:pt x="1236123" y="5950"/>
                      </a:lnTo>
                      <a:cubicBezTo>
                        <a:pt x="1234408" y="5749"/>
                        <a:pt x="1232694" y="5648"/>
                        <a:pt x="1231281" y="5648"/>
                      </a:cubicBezTo>
                      <a:lnTo>
                        <a:pt x="1231281" y="5648"/>
                      </a:lnTo>
                      <a:cubicBezTo>
                        <a:pt x="1214740" y="5648"/>
                        <a:pt x="1213228" y="14726"/>
                        <a:pt x="1200923" y="20878"/>
                      </a:cubicBezTo>
                      <a:lnTo>
                        <a:pt x="1200923" y="20878"/>
                      </a:lnTo>
                      <a:cubicBezTo>
                        <a:pt x="1198906" y="21785"/>
                        <a:pt x="1196990" y="21987"/>
                        <a:pt x="1195275" y="21987"/>
                      </a:cubicBezTo>
                      <a:lnTo>
                        <a:pt x="1195275" y="21987"/>
                      </a:lnTo>
                      <a:cubicBezTo>
                        <a:pt x="1194166" y="21987"/>
                        <a:pt x="1193157" y="21785"/>
                        <a:pt x="1192249" y="21584"/>
                      </a:cubicBezTo>
                      <a:lnTo>
                        <a:pt x="1192249" y="21584"/>
                      </a:lnTo>
                      <a:cubicBezTo>
                        <a:pt x="1187509" y="74837"/>
                        <a:pt x="1178028" y="154818"/>
                        <a:pt x="1159773" y="189513"/>
                      </a:cubicBezTo>
                      <a:lnTo>
                        <a:pt x="1159773" y="189513"/>
                      </a:lnTo>
                      <a:cubicBezTo>
                        <a:pt x="1132037" y="242363"/>
                        <a:pt x="1109646" y="256584"/>
                        <a:pt x="1096434" y="280589"/>
                      </a:cubicBezTo>
                      <a:lnTo>
                        <a:pt x="1096434" y="280589"/>
                      </a:lnTo>
                      <a:cubicBezTo>
                        <a:pt x="1080397" y="307518"/>
                        <a:pt x="1043483" y="297835"/>
                        <a:pt x="977521" y="380338"/>
                      </a:cubicBezTo>
                      <a:lnTo>
                        <a:pt x="977521" y="380338"/>
                      </a:lnTo>
                      <a:cubicBezTo>
                        <a:pt x="950794" y="413621"/>
                        <a:pt x="937379" y="421690"/>
                        <a:pt x="927394" y="421992"/>
                      </a:cubicBezTo>
                      <a:lnTo>
                        <a:pt x="927394" y="421992"/>
                      </a:lnTo>
                      <a:cubicBezTo>
                        <a:pt x="919427" y="421690"/>
                        <a:pt x="915392" y="416546"/>
                        <a:pt x="913577" y="417151"/>
                      </a:cubicBezTo>
                      <a:lnTo>
                        <a:pt x="913577" y="417151"/>
                      </a:lnTo>
                      <a:cubicBezTo>
                        <a:pt x="912165" y="416849"/>
                        <a:pt x="908030" y="419168"/>
                        <a:pt x="900566" y="432381"/>
                      </a:cubicBezTo>
                      <a:lnTo>
                        <a:pt x="900566" y="432381"/>
                      </a:lnTo>
                      <a:cubicBezTo>
                        <a:pt x="894515" y="442769"/>
                        <a:pt x="892094" y="451745"/>
                        <a:pt x="892094" y="459814"/>
                      </a:cubicBezTo>
                      <a:lnTo>
                        <a:pt x="892094" y="459814"/>
                      </a:lnTo>
                      <a:cubicBezTo>
                        <a:pt x="891892" y="486643"/>
                        <a:pt x="919830" y="503990"/>
                        <a:pt x="933144" y="517202"/>
                      </a:cubicBezTo>
                      <a:lnTo>
                        <a:pt x="933144" y="517202"/>
                      </a:lnTo>
                      <a:cubicBezTo>
                        <a:pt x="937884" y="521842"/>
                        <a:pt x="939699" y="528196"/>
                        <a:pt x="939699" y="534954"/>
                      </a:cubicBezTo>
                      <a:lnTo>
                        <a:pt x="939699" y="534954"/>
                      </a:lnTo>
                      <a:cubicBezTo>
                        <a:pt x="939598" y="555932"/>
                        <a:pt x="922654" y="582559"/>
                        <a:pt x="905306" y="595973"/>
                      </a:cubicBezTo>
                      <a:lnTo>
                        <a:pt x="905306" y="595973"/>
                      </a:lnTo>
                      <a:cubicBezTo>
                        <a:pt x="901474" y="598696"/>
                        <a:pt x="897439" y="600008"/>
                        <a:pt x="893708" y="600008"/>
                      </a:cubicBezTo>
                      <a:lnTo>
                        <a:pt x="893708" y="600008"/>
                      </a:lnTo>
                      <a:cubicBezTo>
                        <a:pt x="879285" y="599402"/>
                        <a:pt x="868796" y="584375"/>
                        <a:pt x="854171" y="584677"/>
                      </a:cubicBezTo>
                      <a:lnTo>
                        <a:pt x="854171" y="584677"/>
                      </a:lnTo>
                      <a:cubicBezTo>
                        <a:pt x="848422" y="584677"/>
                        <a:pt x="841867" y="586795"/>
                        <a:pt x="833697" y="593250"/>
                      </a:cubicBezTo>
                      <a:lnTo>
                        <a:pt x="833697" y="593250"/>
                      </a:lnTo>
                      <a:cubicBezTo>
                        <a:pt x="821997" y="602327"/>
                        <a:pt x="817862" y="612514"/>
                        <a:pt x="817862" y="622297"/>
                      </a:cubicBezTo>
                      <a:lnTo>
                        <a:pt x="817862" y="622297"/>
                      </a:lnTo>
                      <a:cubicBezTo>
                        <a:pt x="817358" y="640956"/>
                        <a:pt x="833798" y="658909"/>
                        <a:pt x="840757" y="659918"/>
                      </a:cubicBezTo>
                      <a:lnTo>
                        <a:pt x="840757" y="659918"/>
                      </a:lnTo>
                      <a:cubicBezTo>
                        <a:pt x="849229" y="661632"/>
                        <a:pt x="855482" y="670205"/>
                        <a:pt x="855382" y="684023"/>
                      </a:cubicBezTo>
                      <a:lnTo>
                        <a:pt x="855382" y="684023"/>
                      </a:lnTo>
                      <a:cubicBezTo>
                        <a:pt x="855382" y="697941"/>
                        <a:pt x="849633" y="717508"/>
                        <a:pt x="834302" y="744134"/>
                      </a:cubicBezTo>
                      <a:lnTo>
                        <a:pt x="834302" y="744134"/>
                      </a:lnTo>
                      <a:cubicBezTo>
                        <a:pt x="803339" y="797388"/>
                        <a:pt x="761381" y="808886"/>
                        <a:pt x="709439" y="847212"/>
                      </a:cubicBezTo>
                      <a:lnTo>
                        <a:pt x="709439" y="847212"/>
                      </a:lnTo>
                      <a:cubicBezTo>
                        <a:pt x="691688" y="860222"/>
                        <a:pt x="678577" y="864862"/>
                        <a:pt x="667886" y="864862"/>
                      </a:cubicBezTo>
                      <a:lnTo>
                        <a:pt x="667886" y="864862"/>
                      </a:lnTo>
                      <a:cubicBezTo>
                        <a:pt x="646201" y="864459"/>
                        <a:pt x="636720" y="847212"/>
                        <a:pt x="622398" y="847817"/>
                      </a:cubicBezTo>
                      <a:lnTo>
                        <a:pt x="622398" y="847817"/>
                      </a:lnTo>
                      <a:cubicBezTo>
                        <a:pt x="598192" y="847716"/>
                        <a:pt x="537778" y="858710"/>
                        <a:pt x="491484" y="888665"/>
                      </a:cubicBezTo>
                      <a:lnTo>
                        <a:pt x="491484" y="888665"/>
                      </a:lnTo>
                      <a:cubicBezTo>
                        <a:pt x="468690" y="903390"/>
                        <a:pt x="448720" y="907324"/>
                        <a:pt x="431675" y="907324"/>
                      </a:cubicBezTo>
                      <a:lnTo>
                        <a:pt x="431675" y="907324"/>
                      </a:lnTo>
                      <a:cubicBezTo>
                        <a:pt x="412915" y="907324"/>
                        <a:pt x="397483" y="902886"/>
                        <a:pt x="385280" y="902886"/>
                      </a:cubicBezTo>
                      <a:lnTo>
                        <a:pt x="385280" y="902886"/>
                      </a:lnTo>
                      <a:cubicBezTo>
                        <a:pt x="361880" y="902785"/>
                        <a:pt x="329202" y="921444"/>
                        <a:pt x="296423" y="965217"/>
                      </a:cubicBezTo>
                      <a:lnTo>
                        <a:pt x="296423" y="965217"/>
                      </a:lnTo>
                      <a:cubicBezTo>
                        <a:pt x="284320" y="981354"/>
                        <a:pt x="267880" y="987002"/>
                        <a:pt x="251037" y="987002"/>
                      </a:cubicBezTo>
                      <a:lnTo>
                        <a:pt x="251037" y="987002"/>
                      </a:lnTo>
                      <a:cubicBezTo>
                        <a:pt x="220073" y="986901"/>
                        <a:pt x="186689" y="968343"/>
                        <a:pt x="169341" y="963401"/>
                      </a:cubicBezTo>
                      <a:lnTo>
                        <a:pt x="169341" y="963401"/>
                      </a:lnTo>
                      <a:cubicBezTo>
                        <a:pt x="163794" y="961686"/>
                        <a:pt x="158247" y="960779"/>
                        <a:pt x="153204" y="960779"/>
                      </a:cubicBezTo>
                      <a:lnTo>
                        <a:pt x="153204" y="960779"/>
                      </a:lnTo>
                      <a:cubicBezTo>
                        <a:pt x="133940" y="960880"/>
                        <a:pt x="118004" y="972075"/>
                        <a:pt x="109432" y="997491"/>
                      </a:cubicBezTo>
                      <a:lnTo>
                        <a:pt x="109432" y="997491"/>
                      </a:lnTo>
                      <a:cubicBezTo>
                        <a:pt x="107717" y="1002433"/>
                        <a:pt x="107011" y="1006165"/>
                        <a:pt x="107011" y="1009191"/>
                      </a:cubicBezTo>
                      <a:lnTo>
                        <a:pt x="107011" y="1009191"/>
                      </a:lnTo>
                      <a:cubicBezTo>
                        <a:pt x="106406" y="1024622"/>
                        <a:pt x="126275" y="1030069"/>
                        <a:pt x="126275" y="1088566"/>
                      </a:cubicBezTo>
                      <a:lnTo>
                        <a:pt x="126275" y="1088566"/>
                      </a:lnTo>
                      <a:cubicBezTo>
                        <a:pt x="126275" y="1091794"/>
                        <a:pt x="126174" y="1095022"/>
                        <a:pt x="126174" y="1098753"/>
                      </a:cubicBezTo>
                      <a:lnTo>
                        <a:pt x="126174" y="1098753"/>
                      </a:lnTo>
                      <a:cubicBezTo>
                        <a:pt x="124661" y="1179541"/>
                        <a:pt x="91176" y="1158058"/>
                        <a:pt x="75341" y="1169858"/>
                      </a:cubicBezTo>
                      <a:lnTo>
                        <a:pt x="75341" y="1169858"/>
                      </a:lnTo>
                      <a:cubicBezTo>
                        <a:pt x="72417" y="1171775"/>
                        <a:pt x="70702" y="1176011"/>
                        <a:pt x="70702" y="1182163"/>
                      </a:cubicBezTo>
                      <a:lnTo>
                        <a:pt x="70702" y="1182163"/>
                      </a:lnTo>
                      <a:cubicBezTo>
                        <a:pt x="70803" y="1206772"/>
                        <a:pt x="98438" y="1252865"/>
                        <a:pt x="128796" y="1252966"/>
                      </a:cubicBezTo>
                      <a:lnTo>
                        <a:pt x="128796" y="1252966"/>
                      </a:lnTo>
                      <a:cubicBezTo>
                        <a:pt x="172973" y="1253672"/>
                        <a:pt x="213417" y="1323265"/>
                        <a:pt x="222292" y="1345958"/>
                      </a:cubicBezTo>
                      <a:lnTo>
                        <a:pt x="222292" y="1345958"/>
                      </a:lnTo>
                      <a:cubicBezTo>
                        <a:pt x="230664" y="1368550"/>
                        <a:pt x="236211" y="1404153"/>
                        <a:pt x="247204" y="1437033"/>
                      </a:cubicBezTo>
                      <a:lnTo>
                        <a:pt x="247204" y="1437033"/>
                      </a:lnTo>
                      <a:cubicBezTo>
                        <a:pt x="250432" y="1446816"/>
                        <a:pt x="252046" y="1455087"/>
                        <a:pt x="252046" y="1462247"/>
                      </a:cubicBezTo>
                      <a:lnTo>
                        <a:pt x="252046" y="1462247"/>
                      </a:lnTo>
                      <a:cubicBezTo>
                        <a:pt x="252147" y="1479998"/>
                        <a:pt x="241455" y="1490488"/>
                        <a:pt x="223603" y="1498254"/>
                      </a:cubicBezTo>
                      <a:lnTo>
                        <a:pt x="223603" y="1498254"/>
                      </a:lnTo>
                      <a:cubicBezTo>
                        <a:pt x="201314" y="1507029"/>
                        <a:pt x="208475" y="1550801"/>
                        <a:pt x="191833" y="1585194"/>
                      </a:cubicBezTo>
                      <a:lnTo>
                        <a:pt x="191833" y="1585194"/>
                      </a:lnTo>
                      <a:cubicBezTo>
                        <a:pt x="174990" y="1618578"/>
                        <a:pt x="150582" y="1657509"/>
                        <a:pt x="124157" y="1666587"/>
                      </a:cubicBezTo>
                      <a:lnTo>
                        <a:pt x="124157" y="1666587"/>
                      </a:lnTo>
                      <a:cubicBezTo>
                        <a:pt x="101766" y="1673344"/>
                        <a:pt x="92588" y="1719739"/>
                        <a:pt x="76047" y="1748081"/>
                      </a:cubicBezTo>
                      <a:lnTo>
                        <a:pt x="76047" y="1748081"/>
                      </a:lnTo>
                      <a:cubicBezTo>
                        <a:pt x="59103" y="1776018"/>
                        <a:pt x="45386" y="1784390"/>
                        <a:pt x="31972" y="1811319"/>
                      </a:cubicBezTo>
                      <a:lnTo>
                        <a:pt x="31972" y="1811319"/>
                      </a:lnTo>
                      <a:cubicBezTo>
                        <a:pt x="18659" y="1838046"/>
                        <a:pt x="15734" y="1881920"/>
                        <a:pt x="15633" y="1882626"/>
                      </a:cubicBezTo>
                      <a:lnTo>
                        <a:pt x="15633" y="1882626"/>
                      </a:lnTo>
                      <a:cubicBezTo>
                        <a:pt x="15633" y="1882727"/>
                        <a:pt x="13112" y="1891300"/>
                        <a:pt x="6556" y="1901688"/>
                      </a:cubicBezTo>
                      <a:lnTo>
                        <a:pt x="6556" y="1901688"/>
                      </a:lnTo>
                      <a:cubicBezTo>
                        <a:pt x="27534" y="1911572"/>
                        <a:pt x="70298" y="1932148"/>
                        <a:pt x="89865" y="1943646"/>
                      </a:cubicBezTo>
                      <a:lnTo>
                        <a:pt x="89865" y="1943646"/>
                      </a:lnTo>
                      <a:cubicBezTo>
                        <a:pt x="115887" y="1958673"/>
                        <a:pt x="120425" y="1961598"/>
                        <a:pt x="137067" y="1995486"/>
                      </a:cubicBezTo>
                      <a:lnTo>
                        <a:pt x="137067" y="1995486"/>
                      </a:lnTo>
                      <a:cubicBezTo>
                        <a:pt x="153608" y="2028669"/>
                        <a:pt x="159861" y="2021407"/>
                        <a:pt x="189917" y="2043596"/>
                      </a:cubicBezTo>
                      <a:lnTo>
                        <a:pt x="189917" y="2043596"/>
                      </a:lnTo>
                      <a:cubicBezTo>
                        <a:pt x="194052" y="2046622"/>
                        <a:pt x="198893" y="2047933"/>
                        <a:pt x="204541" y="2047933"/>
                      </a:cubicBezTo>
                      <a:lnTo>
                        <a:pt x="204541" y="2047933"/>
                      </a:lnTo>
                      <a:cubicBezTo>
                        <a:pt x="234194" y="2048236"/>
                        <a:pt x="280286" y="2008598"/>
                        <a:pt x="307518" y="2003152"/>
                      </a:cubicBezTo>
                      <a:lnTo>
                        <a:pt x="307518" y="2003152"/>
                      </a:lnTo>
                      <a:cubicBezTo>
                        <a:pt x="311149" y="2002446"/>
                        <a:pt x="314780" y="2002143"/>
                        <a:pt x="318511" y="2002143"/>
                      </a:cubicBezTo>
                      <a:lnTo>
                        <a:pt x="318511" y="2002143"/>
                      </a:lnTo>
                      <a:cubicBezTo>
                        <a:pt x="347458" y="2002244"/>
                        <a:pt x="375597" y="2022718"/>
                        <a:pt x="387297" y="2041377"/>
                      </a:cubicBezTo>
                      <a:lnTo>
                        <a:pt x="387297" y="2041377"/>
                      </a:lnTo>
                      <a:cubicBezTo>
                        <a:pt x="390928" y="2047227"/>
                        <a:pt x="395164" y="2049244"/>
                        <a:pt x="399803" y="2049244"/>
                      </a:cubicBezTo>
                      <a:lnTo>
                        <a:pt x="399803" y="2049244"/>
                      </a:lnTo>
                      <a:cubicBezTo>
                        <a:pt x="409284" y="2049446"/>
                        <a:pt x="422194" y="2038855"/>
                        <a:pt x="430061" y="2026047"/>
                      </a:cubicBezTo>
                      <a:lnTo>
                        <a:pt x="430061" y="2026047"/>
                      </a:lnTo>
                      <a:cubicBezTo>
                        <a:pt x="433490" y="2020197"/>
                        <a:pt x="439340" y="2017675"/>
                        <a:pt x="445694" y="2017776"/>
                      </a:cubicBezTo>
                      <a:lnTo>
                        <a:pt x="445694" y="2017776"/>
                      </a:lnTo>
                      <a:cubicBezTo>
                        <a:pt x="465059" y="2017978"/>
                        <a:pt x="492593" y="2036738"/>
                        <a:pt x="513269" y="2044806"/>
                      </a:cubicBezTo>
                      <a:lnTo>
                        <a:pt x="513269" y="2044806"/>
                      </a:lnTo>
                      <a:cubicBezTo>
                        <a:pt x="522548" y="2048538"/>
                        <a:pt x="538282" y="2050051"/>
                        <a:pt x="555025" y="2049950"/>
                      </a:cubicBezTo>
                      <a:lnTo>
                        <a:pt x="555025" y="2049950"/>
                      </a:lnTo>
                      <a:cubicBezTo>
                        <a:pt x="584475" y="2050051"/>
                        <a:pt x="617860" y="2045210"/>
                        <a:pt x="627945" y="2041781"/>
                      </a:cubicBezTo>
                      <a:lnTo>
                        <a:pt x="627945" y="2041781"/>
                      </a:lnTo>
                      <a:cubicBezTo>
                        <a:pt x="633089" y="2040167"/>
                        <a:pt x="636518" y="2030384"/>
                        <a:pt x="636417" y="2018482"/>
                      </a:cubicBezTo>
                      <a:lnTo>
                        <a:pt x="636417" y="2018482"/>
                      </a:lnTo>
                      <a:cubicBezTo>
                        <a:pt x="636518" y="2003455"/>
                        <a:pt x="630971" y="1985703"/>
                        <a:pt x="625726" y="1982173"/>
                      </a:cubicBezTo>
                      <a:lnTo>
                        <a:pt x="625726" y="1982173"/>
                      </a:lnTo>
                      <a:cubicBezTo>
                        <a:pt x="619675" y="1977433"/>
                        <a:pt x="617355" y="1968355"/>
                        <a:pt x="617254" y="1958068"/>
                      </a:cubicBezTo>
                      <a:lnTo>
                        <a:pt x="617254" y="1958068"/>
                      </a:lnTo>
                      <a:cubicBezTo>
                        <a:pt x="617355" y="1942233"/>
                        <a:pt x="623205" y="1922667"/>
                        <a:pt x="636216" y="1911673"/>
                      </a:cubicBezTo>
                      <a:lnTo>
                        <a:pt x="636216" y="1911673"/>
                      </a:lnTo>
                      <a:cubicBezTo>
                        <a:pt x="641561" y="1907336"/>
                        <a:pt x="647008" y="1905319"/>
                        <a:pt x="652353" y="1905319"/>
                      </a:cubicBezTo>
                      <a:lnTo>
                        <a:pt x="652353" y="1905319"/>
                      </a:lnTo>
                      <a:cubicBezTo>
                        <a:pt x="668591" y="1905622"/>
                        <a:pt x="682308" y="1920851"/>
                        <a:pt x="691789" y="1920246"/>
                      </a:cubicBezTo>
                      <a:lnTo>
                        <a:pt x="691789" y="1920246"/>
                      </a:lnTo>
                      <a:cubicBezTo>
                        <a:pt x="708330" y="1920549"/>
                        <a:pt x="757246" y="1935475"/>
                        <a:pt x="773888" y="1959985"/>
                      </a:cubicBezTo>
                      <a:lnTo>
                        <a:pt x="773888" y="1959985"/>
                      </a:lnTo>
                      <a:cubicBezTo>
                        <a:pt x="779637" y="1968961"/>
                        <a:pt x="796278" y="1971785"/>
                        <a:pt x="816349" y="1971684"/>
                      </a:cubicBezTo>
                      <a:lnTo>
                        <a:pt x="816349" y="1971684"/>
                      </a:lnTo>
                      <a:cubicBezTo>
                        <a:pt x="833294" y="1971684"/>
                        <a:pt x="852255" y="1969768"/>
                        <a:pt x="868493" y="1969768"/>
                      </a:cubicBezTo>
                      <a:lnTo>
                        <a:pt x="868493" y="1969768"/>
                      </a:lnTo>
                      <a:cubicBezTo>
                        <a:pt x="874646" y="1969768"/>
                        <a:pt x="880394" y="1970070"/>
                        <a:pt x="885538" y="1970978"/>
                      </a:cubicBezTo>
                      <a:lnTo>
                        <a:pt x="885538" y="1970978"/>
                      </a:lnTo>
                      <a:cubicBezTo>
                        <a:pt x="921847" y="1976626"/>
                        <a:pt x="932740" y="2028165"/>
                        <a:pt x="955232" y="2035629"/>
                      </a:cubicBezTo>
                      <a:lnTo>
                        <a:pt x="955232" y="2035629"/>
                      </a:lnTo>
                      <a:cubicBezTo>
                        <a:pt x="961586" y="2037948"/>
                        <a:pt x="966528" y="2038654"/>
                        <a:pt x="971974" y="2038654"/>
                      </a:cubicBezTo>
                      <a:lnTo>
                        <a:pt x="971974" y="2038654"/>
                      </a:lnTo>
                      <a:cubicBezTo>
                        <a:pt x="982665" y="2038654"/>
                        <a:pt x="994970" y="2035124"/>
                        <a:pt x="1018167" y="2035124"/>
                      </a:cubicBezTo>
                      <a:lnTo>
                        <a:pt x="1018167" y="2035124"/>
                      </a:lnTo>
                      <a:cubicBezTo>
                        <a:pt x="1026539" y="2035124"/>
                        <a:pt x="1036423" y="2035629"/>
                        <a:pt x="1048324" y="2036940"/>
                      </a:cubicBezTo>
                      <a:lnTo>
                        <a:pt x="1048324" y="2036940"/>
                      </a:lnTo>
                      <a:cubicBezTo>
                        <a:pt x="1110453" y="2043293"/>
                        <a:pt x="1106721" y="2104918"/>
                        <a:pt x="1122052" y="2117425"/>
                      </a:cubicBezTo>
                      <a:lnTo>
                        <a:pt x="1122052" y="2117425"/>
                      </a:lnTo>
                      <a:cubicBezTo>
                        <a:pt x="1125985" y="2121056"/>
                        <a:pt x="1129515" y="2122266"/>
                        <a:pt x="1133045" y="2122266"/>
                      </a:cubicBezTo>
                      <a:lnTo>
                        <a:pt x="1133045" y="2122266"/>
                      </a:lnTo>
                      <a:cubicBezTo>
                        <a:pt x="1143030" y="2122569"/>
                        <a:pt x="1154225" y="2109961"/>
                        <a:pt x="1160882" y="2100985"/>
                      </a:cubicBezTo>
                      <a:lnTo>
                        <a:pt x="1160882" y="2100985"/>
                      </a:lnTo>
                      <a:cubicBezTo>
                        <a:pt x="1165824" y="2094328"/>
                        <a:pt x="1173792" y="2088276"/>
                        <a:pt x="1183979" y="2088276"/>
                      </a:cubicBezTo>
                      <a:lnTo>
                        <a:pt x="1183979" y="2088276"/>
                      </a:lnTo>
                      <a:cubicBezTo>
                        <a:pt x="1194166" y="2088276"/>
                        <a:pt x="1205663" y="2094227"/>
                        <a:pt x="1217464" y="2110163"/>
                      </a:cubicBezTo>
                      <a:lnTo>
                        <a:pt x="1217464" y="2110163"/>
                      </a:lnTo>
                      <a:cubicBezTo>
                        <a:pt x="1223818" y="2118635"/>
                        <a:pt x="1229567" y="2121056"/>
                        <a:pt x="1235417" y="2121156"/>
                      </a:cubicBezTo>
                      <a:lnTo>
                        <a:pt x="1235417" y="2121156"/>
                      </a:lnTo>
                      <a:cubicBezTo>
                        <a:pt x="1249839" y="2121560"/>
                        <a:pt x="1266481" y="2102800"/>
                        <a:pt x="1285543" y="2101388"/>
                      </a:cubicBezTo>
                      <a:lnTo>
                        <a:pt x="1285543" y="2101388"/>
                      </a:lnTo>
                      <a:cubicBezTo>
                        <a:pt x="1285745" y="2101287"/>
                        <a:pt x="1286350" y="2101187"/>
                        <a:pt x="1287258" y="2101187"/>
                      </a:cubicBezTo>
                      <a:lnTo>
                        <a:pt x="1287258" y="2101187"/>
                      </a:lnTo>
                      <a:cubicBezTo>
                        <a:pt x="1314086" y="2102498"/>
                        <a:pt x="1313279" y="2140925"/>
                        <a:pt x="1336880" y="2162004"/>
                      </a:cubicBezTo>
                      <a:lnTo>
                        <a:pt x="1336880" y="2162004"/>
                      </a:lnTo>
                      <a:cubicBezTo>
                        <a:pt x="1345352" y="2170275"/>
                        <a:pt x="1367844" y="2174006"/>
                        <a:pt x="1391747" y="2173905"/>
                      </a:cubicBezTo>
                      <a:lnTo>
                        <a:pt x="1391747" y="2173905"/>
                      </a:lnTo>
                      <a:cubicBezTo>
                        <a:pt x="1426342" y="2174006"/>
                        <a:pt x="1465778" y="2165635"/>
                        <a:pt x="1467896" y="2162105"/>
                      </a:cubicBezTo>
                      <a:lnTo>
                        <a:pt x="1467896" y="2162105"/>
                      </a:lnTo>
                      <a:close/>
                    </a:path>
                  </a:pathLst>
                </a:custGeom>
                <a:solidFill>
                  <a:srgbClr val="ABDEF6"/>
                </a:solidFill>
                <a:ln w="10085" cap="flat">
                  <a:solidFill>
                    <a:srgbClr val="FFFFFF"/>
                  </a:solidFill>
                  <a:prstDash val="solid"/>
                  <a:miter/>
                </a:ln>
              </p:spPr>
              <p:txBody>
                <a:bodyPr rtlCol="0" anchor="ctr"/>
                <a:lstStyle/>
                <a:p>
                  <a:endParaRPr lang="fr-FR" sz="900"/>
                </a:p>
              </p:txBody>
            </p:sp>
          </p:grpSp>
          <p:grpSp>
            <p:nvGrpSpPr>
              <p:cNvPr id="98" name="Graphique 17">
                <a:extLst>
                  <a:ext uri="{FF2B5EF4-FFF2-40B4-BE49-F238E27FC236}">
                    <a16:creationId xmlns:a16="http://schemas.microsoft.com/office/drawing/2014/main" id="{F9E171F4-0740-6890-36F7-4BB8771BA970}"/>
                  </a:ext>
                </a:extLst>
              </p:cNvPr>
              <p:cNvGrpSpPr/>
              <p:nvPr/>
            </p:nvGrpSpPr>
            <p:grpSpPr>
              <a:xfrm>
                <a:off x="4862543" y="9743253"/>
                <a:ext cx="2001134" cy="2302701"/>
                <a:chOff x="4862543" y="9743253"/>
                <a:chExt cx="2001134" cy="2302701"/>
              </a:xfrm>
              <a:solidFill>
                <a:srgbClr val="ABDEF6"/>
              </a:solidFill>
            </p:grpSpPr>
            <p:sp>
              <p:nvSpPr>
                <p:cNvPr id="99" name="Forme libre : forme 98">
                  <a:extLst>
                    <a:ext uri="{FF2B5EF4-FFF2-40B4-BE49-F238E27FC236}">
                      <a16:creationId xmlns:a16="http://schemas.microsoft.com/office/drawing/2014/main" id="{649A4EC8-D88F-017D-84F7-5681860D2F3C}"/>
                    </a:ext>
                  </a:extLst>
                </p:cNvPr>
                <p:cNvSpPr/>
                <p:nvPr/>
              </p:nvSpPr>
              <p:spPr>
                <a:xfrm>
                  <a:off x="4865443" y="9745176"/>
                  <a:ext cx="1994336" cy="2297100"/>
                </a:xfrm>
                <a:custGeom>
                  <a:avLst/>
                  <a:gdLst>
                    <a:gd name="connsiteX0" fmla="*/ 1923700 w 1994336"/>
                    <a:gd name="connsiteY0" fmla="*/ 740093 h 2297100"/>
                    <a:gd name="connsiteX1" fmla="*/ 1911496 w 1994336"/>
                    <a:gd name="connsiteY1" fmla="*/ 694908 h 2297100"/>
                    <a:gd name="connsiteX2" fmla="*/ 1895863 w 1994336"/>
                    <a:gd name="connsiteY2" fmla="*/ 635805 h 2297100"/>
                    <a:gd name="connsiteX3" fmla="*/ 1864698 w 1994336"/>
                    <a:gd name="connsiteY3" fmla="*/ 562582 h 2297100"/>
                    <a:gd name="connsiteX4" fmla="*/ 1803073 w 1994336"/>
                    <a:gd name="connsiteY4" fmla="*/ 542108 h 2297100"/>
                    <a:gd name="connsiteX5" fmla="*/ 1728337 w 1994336"/>
                    <a:gd name="connsiteY5" fmla="*/ 551891 h 2297100"/>
                    <a:gd name="connsiteX6" fmla="*/ 1692532 w 1994336"/>
                    <a:gd name="connsiteY6" fmla="*/ 532425 h 2297100"/>
                    <a:gd name="connsiteX7" fmla="*/ 1620922 w 1994336"/>
                    <a:gd name="connsiteY7" fmla="*/ 568129 h 2297100"/>
                    <a:gd name="connsiteX8" fmla="*/ 1565652 w 1994336"/>
                    <a:gd name="connsiteY8" fmla="*/ 568129 h 2297100"/>
                    <a:gd name="connsiteX9" fmla="*/ 1533176 w 1994336"/>
                    <a:gd name="connsiteY9" fmla="*/ 548663 h 2297100"/>
                    <a:gd name="connsiteX10" fmla="*/ 1481233 w 1994336"/>
                    <a:gd name="connsiteY10" fmla="*/ 538880 h 2297100"/>
                    <a:gd name="connsiteX11" fmla="*/ 1468223 w 1994336"/>
                    <a:gd name="connsiteY11" fmla="*/ 460816 h 2297100"/>
                    <a:gd name="connsiteX12" fmla="*/ 1432418 w 1994336"/>
                    <a:gd name="connsiteY12" fmla="*/ 373069 h 2297100"/>
                    <a:gd name="connsiteX13" fmla="*/ 1373920 w 1994336"/>
                    <a:gd name="connsiteY13" fmla="*/ 334037 h 2297100"/>
                    <a:gd name="connsiteX14" fmla="*/ 1360203 w 1994336"/>
                    <a:gd name="connsiteY14" fmla="*/ 177000 h 2297100"/>
                    <a:gd name="connsiteX15" fmla="*/ 1366860 w 1994336"/>
                    <a:gd name="connsiteY15" fmla="*/ 173974 h 2297100"/>
                    <a:gd name="connsiteX16" fmla="*/ 1303319 w 1994336"/>
                    <a:gd name="connsiteY16" fmla="*/ 148558 h 2297100"/>
                    <a:gd name="connsiteX17" fmla="*/ 1267716 w 1994336"/>
                    <a:gd name="connsiteY17" fmla="*/ 115476 h 2297100"/>
                    <a:gd name="connsiteX18" fmla="*/ 1232113 w 1994336"/>
                    <a:gd name="connsiteY18" fmla="*/ 79772 h 2297100"/>
                    <a:gd name="connsiteX19" fmla="*/ 1181179 w 1994336"/>
                    <a:gd name="connsiteY19" fmla="*/ 59499 h 2297100"/>
                    <a:gd name="connsiteX20" fmla="*/ 1186323 w 1994336"/>
                    <a:gd name="connsiteY20" fmla="*/ 117998 h 2297100"/>
                    <a:gd name="connsiteX21" fmla="*/ 1102308 w 1994336"/>
                    <a:gd name="connsiteY21" fmla="*/ 110433 h 2297100"/>
                    <a:gd name="connsiteX22" fmla="*/ 1079413 w 1994336"/>
                    <a:gd name="connsiteY22" fmla="*/ 54456 h 2297100"/>
                    <a:gd name="connsiteX23" fmla="*/ 1028580 w 1994336"/>
                    <a:gd name="connsiteY23" fmla="*/ 1001 h 2297100"/>
                    <a:gd name="connsiteX24" fmla="*/ 980269 w 1994336"/>
                    <a:gd name="connsiteY24" fmla="*/ 29040 h 2297100"/>
                    <a:gd name="connsiteX25" fmla="*/ 944666 w 1994336"/>
                    <a:gd name="connsiteY25" fmla="*/ 79873 h 2297100"/>
                    <a:gd name="connsiteX26" fmla="*/ 878502 w 1994336"/>
                    <a:gd name="connsiteY26" fmla="*/ 69787 h 2297100"/>
                    <a:gd name="connsiteX27" fmla="*/ 855608 w 1994336"/>
                    <a:gd name="connsiteY27" fmla="*/ 128285 h 2297100"/>
                    <a:gd name="connsiteX28" fmla="*/ 807801 w 1994336"/>
                    <a:gd name="connsiteY28" fmla="*/ 260107 h 2297100"/>
                    <a:gd name="connsiteX29" fmla="*/ 821719 w 1994336"/>
                    <a:gd name="connsiteY29" fmla="*/ 294500 h 2297100"/>
                    <a:gd name="connsiteX30" fmla="*/ 880116 w 1994336"/>
                    <a:gd name="connsiteY30" fmla="*/ 369740 h 2297100"/>
                    <a:gd name="connsiteX31" fmla="*/ 896960 w 1994336"/>
                    <a:gd name="connsiteY31" fmla="*/ 438829 h 2297100"/>
                    <a:gd name="connsiteX32" fmla="*/ 924595 w 1994336"/>
                    <a:gd name="connsiteY32" fmla="*/ 498739 h 2297100"/>
                    <a:gd name="connsiteX33" fmla="*/ 895346 w 1994336"/>
                    <a:gd name="connsiteY33" fmla="*/ 612305 h 2297100"/>
                    <a:gd name="connsiteX34" fmla="*/ 952129 w 1994336"/>
                    <a:gd name="connsiteY34" fmla="*/ 635301 h 2297100"/>
                    <a:gd name="connsiteX35" fmla="*/ 976739 w 1994336"/>
                    <a:gd name="connsiteY35" fmla="*/ 664550 h 2297100"/>
                    <a:gd name="connsiteX36" fmla="*/ 1005887 w 1994336"/>
                    <a:gd name="connsiteY36" fmla="*/ 690571 h 2297100"/>
                    <a:gd name="connsiteX37" fmla="*/ 1044314 w 1994336"/>
                    <a:gd name="connsiteY37" fmla="*/ 695211 h 2297100"/>
                    <a:gd name="connsiteX38" fmla="*/ 1010627 w 1994336"/>
                    <a:gd name="connsiteY38" fmla="*/ 744329 h 2297100"/>
                    <a:gd name="connsiteX39" fmla="*/ 1053593 w 1994336"/>
                    <a:gd name="connsiteY39" fmla="*/ 787396 h 2297100"/>
                    <a:gd name="connsiteX40" fmla="*/ 1115016 w 1994336"/>
                    <a:gd name="connsiteY40" fmla="*/ 827235 h 2297100"/>
                    <a:gd name="connsiteX41" fmla="*/ 1082741 w 1994336"/>
                    <a:gd name="connsiteY41" fmla="*/ 865662 h 2297100"/>
                    <a:gd name="connsiteX42" fmla="*/ 984505 w 1994336"/>
                    <a:gd name="connsiteY42" fmla="*/ 936263 h 2297100"/>
                    <a:gd name="connsiteX43" fmla="*/ 955256 w 1994336"/>
                    <a:gd name="connsiteY43" fmla="*/ 1002326 h 2297100"/>
                    <a:gd name="connsiteX44" fmla="*/ 873863 w 1994336"/>
                    <a:gd name="connsiteY44" fmla="*/ 982355 h 2297100"/>
                    <a:gd name="connsiteX45" fmla="*/ 855406 w 1994336"/>
                    <a:gd name="connsiteY45" fmla="*/ 1042265 h 2297100"/>
                    <a:gd name="connsiteX46" fmla="*/ 850867 w 1994336"/>
                    <a:gd name="connsiteY46" fmla="*/ 1108227 h 2297100"/>
                    <a:gd name="connsiteX47" fmla="*/ 772601 w 1994336"/>
                    <a:gd name="connsiteY47" fmla="*/ 1129810 h 2297100"/>
                    <a:gd name="connsiteX48" fmla="*/ 714204 w 1994336"/>
                    <a:gd name="connsiteY48" fmla="*/ 1151293 h 2297100"/>
                    <a:gd name="connsiteX49" fmla="*/ 658933 w 1994336"/>
                    <a:gd name="connsiteY49" fmla="*/ 1172877 h 2297100"/>
                    <a:gd name="connsiteX50" fmla="*/ 580566 w 1994336"/>
                    <a:gd name="connsiteY50" fmla="*/ 1182056 h 2297100"/>
                    <a:gd name="connsiteX51" fmla="*/ 608202 w 1994336"/>
                    <a:gd name="connsiteY51" fmla="*/ 1272727 h 2297100"/>
                    <a:gd name="connsiteX52" fmla="*/ 600536 w 1994336"/>
                    <a:gd name="connsiteY52" fmla="*/ 1327998 h 2297100"/>
                    <a:gd name="connsiteX53" fmla="*/ 531448 w 1994336"/>
                    <a:gd name="connsiteY53" fmla="*/ 1332637 h 2297100"/>
                    <a:gd name="connsiteX54" fmla="*/ 453182 w 1994336"/>
                    <a:gd name="connsiteY54" fmla="*/ 1335663 h 2297100"/>
                    <a:gd name="connsiteX55" fmla="*/ 373302 w 1994336"/>
                    <a:gd name="connsiteY55" fmla="*/ 1332637 h 2297100"/>
                    <a:gd name="connsiteX56" fmla="*/ 339515 w 1994336"/>
                    <a:gd name="connsiteY56" fmla="*/ 1361785 h 2297100"/>
                    <a:gd name="connsiteX57" fmla="*/ 324184 w 1994336"/>
                    <a:gd name="connsiteY57" fmla="*/ 1404751 h 2297100"/>
                    <a:gd name="connsiteX58" fmla="*/ 302701 w 1994336"/>
                    <a:gd name="connsiteY58" fmla="*/ 1360172 h 2297100"/>
                    <a:gd name="connsiteX59" fmla="*/ 232100 w 1994336"/>
                    <a:gd name="connsiteY59" fmla="*/ 1358658 h 2297100"/>
                    <a:gd name="connsiteX60" fmla="*/ 166038 w 1994336"/>
                    <a:gd name="connsiteY60" fmla="*/ 1361685 h 2297100"/>
                    <a:gd name="connsiteX61" fmla="*/ 129123 w 1994336"/>
                    <a:gd name="connsiteY61" fmla="*/ 1370964 h 2297100"/>
                    <a:gd name="connsiteX62" fmla="*/ 78493 w 1994336"/>
                    <a:gd name="connsiteY62" fmla="*/ 1366324 h 2297100"/>
                    <a:gd name="connsiteX63" fmla="*/ 20095 w 1994336"/>
                    <a:gd name="connsiteY63" fmla="*/ 1441565 h 2297100"/>
                    <a:gd name="connsiteX64" fmla="*/ 23222 w 1994336"/>
                    <a:gd name="connsiteY64" fmla="*/ 1561284 h 2297100"/>
                    <a:gd name="connsiteX65" fmla="*/ 116819 w 1994336"/>
                    <a:gd name="connsiteY65" fmla="*/ 1605762 h 2297100"/>
                    <a:gd name="connsiteX66" fmla="*/ 161398 w 1994336"/>
                    <a:gd name="connsiteY66" fmla="*/ 1653368 h 2297100"/>
                    <a:gd name="connsiteX67" fmla="*/ 176729 w 1994336"/>
                    <a:gd name="connsiteY67" fmla="*/ 1742426 h 2297100"/>
                    <a:gd name="connsiteX68" fmla="*/ 139814 w 1994336"/>
                    <a:gd name="connsiteY68" fmla="*/ 1846814 h 2297100"/>
                    <a:gd name="connsiteX69" fmla="*/ 124484 w 1994336"/>
                    <a:gd name="connsiteY69" fmla="*/ 1925081 h 2297100"/>
                    <a:gd name="connsiteX70" fmla="*/ 179754 w 1994336"/>
                    <a:gd name="connsiteY70" fmla="*/ 1960482 h 2297100"/>
                    <a:gd name="connsiteX71" fmla="*/ 239664 w 1994336"/>
                    <a:gd name="connsiteY71" fmla="*/ 1954329 h 2297100"/>
                    <a:gd name="connsiteX72" fmla="*/ 282731 w 1994336"/>
                    <a:gd name="connsiteY72" fmla="*/ 1988016 h 2297100"/>
                    <a:gd name="connsiteX73" fmla="*/ 256609 w 1994336"/>
                    <a:gd name="connsiteY73" fmla="*/ 2007986 h 2297100"/>
                    <a:gd name="connsiteX74" fmla="*/ 178342 w 1994336"/>
                    <a:gd name="connsiteY74" fmla="*/ 2014139 h 2297100"/>
                    <a:gd name="connsiteX75" fmla="*/ 163012 w 1994336"/>
                    <a:gd name="connsiteY75" fmla="*/ 2083227 h 2297100"/>
                    <a:gd name="connsiteX76" fmla="*/ 27861 w 1994336"/>
                    <a:gd name="connsiteY76" fmla="*/ 2083227 h 2297100"/>
                    <a:gd name="connsiteX77" fmla="*/ 15557 w 1994336"/>
                    <a:gd name="connsiteY77" fmla="*/ 2066888 h 2297100"/>
                    <a:gd name="connsiteX78" fmla="*/ 2546 w 1994336"/>
                    <a:gd name="connsiteY78" fmla="*/ 2132547 h 2297100"/>
                    <a:gd name="connsiteX79" fmla="*/ 32098 w 1994336"/>
                    <a:gd name="connsiteY79" fmla="*/ 2184690 h 2297100"/>
                    <a:gd name="connsiteX80" fmla="*/ 124282 w 1994336"/>
                    <a:gd name="connsiteY80" fmla="*/ 2186405 h 2297100"/>
                    <a:gd name="connsiteX81" fmla="*/ 152119 w 1994336"/>
                    <a:gd name="connsiteY81" fmla="*/ 2127403 h 2297100"/>
                    <a:gd name="connsiteX82" fmla="*/ 190345 w 1994336"/>
                    <a:gd name="connsiteY82" fmla="*/ 2158669 h 2297100"/>
                    <a:gd name="connsiteX83" fmla="*/ 176426 w 1994336"/>
                    <a:gd name="connsiteY83" fmla="*/ 2205669 h 2297100"/>
                    <a:gd name="connsiteX84" fmla="*/ 164323 w 1994336"/>
                    <a:gd name="connsiteY84" fmla="*/ 2276875 h 2297100"/>
                    <a:gd name="connsiteX85" fmla="*/ 242488 w 1994336"/>
                    <a:gd name="connsiteY85" fmla="*/ 2259426 h 2297100"/>
                    <a:gd name="connsiteX86" fmla="*/ 289388 w 1994336"/>
                    <a:gd name="connsiteY86" fmla="*/ 2221302 h 2297100"/>
                    <a:gd name="connsiteX87" fmla="*/ 331143 w 1994336"/>
                    <a:gd name="connsiteY87" fmla="*/ 2212628 h 2297100"/>
                    <a:gd name="connsiteX88" fmla="*/ 398920 w 1994336"/>
                    <a:gd name="connsiteY88" fmla="*/ 2202139 h 2297100"/>
                    <a:gd name="connsiteX89" fmla="*/ 435431 w 1994336"/>
                    <a:gd name="connsiteY89" fmla="*/ 2226547 h 2297100"/>
                    <a:gd name="connsiteX90" fmla="*/ 466697 w 1994336"/>
                    <a:gd name="connsiteY90" fmla="*/ 2256098 h 2297100"/>
                    <a:gd name="connsiteX91" fmla="*/ 501493 w 1994336"/>
                    <a:gd name="connsiteY91" fmla="*/ 2276875 h 2297100"/>
                    <a:gd name="connsiteX92" fmla="*/ 536289 w 1994336"/>
                    <a:gd name="connsiteY92" fmla="*/ 2289079 h 2297100"/>
                    <a:gd name="connsiteX93" fmla="*/ 576230 w 1994336"/>
                    <a:gd name="connsiteY93" fmla="*/ 2268201 h 2297100"/>
                    <a:gd name="connsiteX94" fmla="*/ 628373 w 1994336"/>
                    <a:gd name="connsiteY94" fmla="*/ 2285650 h 2297100"/>
                    <a:gd name="connsiteX95" fmla="*/ 619700 w 1994336"/>
                    <a:gd name="connsiteY95" fmla="*/ 2233506 h 2297100"/>
                    <a:gd name="connsiteX96" fmla="*/ 703110 w 1994336"/>
                    <a:gd name="connsiteY96" fmla="*/ 2212729 h 2297100"/>
                    <a:gd name="connsiteX97" fmla="*/ 790050 w 1994336"/>
                    <a:gd name="connsiteY97" fmla="*/ 2177933 h 2297100"/>
                    <a:gd name="connsiteX98" fmla="*/ 882234 w 1994336"/>
                    <a:gd name="connsiteY98" fmla="*/ 2193465 h 2297100"/>
                    <a:gd name="connsiteX99" fmla="*/ 941337 w 1994336"/>
                    <a:gd name="connsiteY99" fmla="*/ 2174403 h 2297100"/>
                    <a:gd name="connsiteX100" fmla="*/ 859642 w 1994336"/>
                    <a:gd name="connsiteY100" fmla="*/ 2113585 h 2297100"/>
                    <a:gd name="connsiteX101" fmla="*/ 870131 w 1994336"/>
                    <a:gd name="connsiteY101" fmla="*/ 1957153 h 2297100"/>
                    <a:gd name="connsiteX102" fmla="*/ 863273 w 1994336"/>
                    <a:gd name="connsiteY102" fmla="*/ 1882417 h 2297100"/>
                    <a:gd name="connsiteX103" fmla="*/ 802354 w 1994336"/>
                    <a:gd name="connsiteY103" fmla="*/ 1859825 h 2297100"/>
                    <a:gd name="connsiteX104" fmla="*/ 824947 w 1994336"/>
                    <a:gd name="connsiteY104" fmla="*/ 1792048 h 2297100"/>
                    <a:gd name="connsiteX105" fmla="*/ 866702 w 1994336"/>
                    <a:gd name="connsiteY105" fmla="*/ 1797192 h 2297100"/>
                    <a:gd name="connsiteX106" fmla="*/ 844110 w 1994336"/>
                    <a:gd name="connsiteY106" fmla="*/ 1755436 h 2297100"/>
                    <a:gd name="connsiteX107" fmla="*/ 865088 w 1994336"/>
                    <a:gd name="connsiteY107" fmla="*/ 1711966 h 2297100"/>
                    <a:gd name="connsiteX108" fmla="*/ 851069 w 1994336"/>
                    <a:gd name="connsiteY108" fmla="*/ 1649333 h 2297100"/>
                    <a:gd name="connsiteX109" fmla="*/ 872048 w 1994336"/>
                    <a:gd name="connsiteY109" fmla="*/ 1626741 h 2297100"/>
                    <a:gd name="connsiteX110" fmla="*/ 927621 w 1994336"/>
                    <a:gd name="connsiteY110" fmla="*/ 1586800 h 2297100"/>
                    <a:gd name="connsiteX111" fmla="*/ 1064990 w 1994336"/>
                    <a:gd name="connsiteY111" fmla="*/ 1433899 h 2297100"/>
                    <a:gd name="connsiteX112" fmla="*/ 1197115 w 1994336"/>
                    <a:gd name="connsiteY112" fmla="*/ 1407777 h 2297100"/>
                    <a:gd name="connsiteX113" fmla="*/ 1346587 w 1994336"/>
                    <a:gd name="connsiteY113" fmla="*/ 1303489 h 2297100"/>
                    <a:gd name="connsiteX114" fmla="*/ 1475182 w 1994336"/>
                    <a:gd name="connsiteY114" fmla="*/ 1209590 h 2297100"/>
                    <a:gd name="connsiteX115" fmla="*/ 1541244 w 1994336"/>
                    <a:gd name="connsiteY115" fmla="*/ 1225122 h 2297100"/>
                    <a:gd name="connsiteX116" fmla="*/ 1543060 w 1994336"/>
                    <a:gd name="connsiteY116" fmla="*/ 1277367 h 2297100"/>
                    <a:gd name="connsiteX117" fmla="*/ 1595304 w 1994336"/>
                    <a:gd name="connsiteY117" fmla="*/ 1293000 h 2297100"/>
                    <a:gd name="connsiteX118" fmla="*/ 1635245 w 1994336"/>
                    <a:gd name="connsiteY118" fmla="*/ 1272122 h 2297100"/>
                    <a:gd name="connsiteX119" fmla="*/ 1718755 w 1994336"/>
                    <a:gd name="connsiteY119" fmla="*/ 1221693 h 2297100"/>
                    <a:gd name="connsiteX120" fmla="*/ 1750022 w 1994336"/>
                    <a:gd name="connsiteY120" fmla="*/ 1169549 h 2297100"/>
                    <a:gd name="connsiteX121" fmla="*/ 1788348 w 1994336"/>
                    <a:gd name="connsiteY121" fmla="*/ 1089568 h 2297100"/>
                    <a:gd name="connsiteX122" fmla="*/ 1854410 w 1994336"/>
                    <a:gd name="connsiteY122" fmla="*/ 1079180 h 2297100"/>
                    <a:gd name="connsiteX123" fmla="*/ 1868329 w 1994336"/>
                    <a:gd name="connsiteY123" fmla="*/ 1014933 h 2297100"/>
                    <a:gd name="connsiteX124" fmla="*/ 1871858 w 1994336"/>
                    <a:gd name="connsiteY124" fmla="*/ 948870 h 2297100"/>
                    <a:gd name="connsiteX125" fmla="*/ 1909983 w 1994336"/>
                    <a:gd name="connsiteY125" fmla="*/ 917503 h 2297100"/>
                    <a:gd name="connsiteX126" fmla="*/ 1951739 w 1994336"/>
                    <a:gd name="connsiteY126" fmla="*/ 874033 h 2297100"/>
                    <a:gd name="connsiteX127" fmla="*/ 1984719 w 1994336"/>
                    <a:gd name="connsiteY127" fmla="*/ 832278 h 2297100"/>
                    <a:gd name="connsiteX128" fmla="*/ 1988250 w 1994336"/>
                    <a:gd name="connsiteY128" fmla="*/ 788808 h 2297100"/>
                    <a:gd name="connsiteX129" fmla="*/ 1923700 w 1994336"/>
                    <a:gd name="connsiteY129" fmla="*/ 740093 h 2297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Lst>
                  <a:rect l="l" t="t" r="r" b="b"/>
                  <a:pathLst>
                    <a:path w="1994336" h="2297100">
                      <a:moveTo>
                        <a:pt x="1923700" y="740093"/>
                      </a:moveTo>
                      <a:cubicBezTo>
                        <a:pt x="1899393" y="734848"/>
                        <a:pt x="1899393" y="719216"/>
                        <a:pt x="1911496" y="694908"/>
                      </a:cubicBezTo>
                      <a:cubicBezTo>
                        <a:pt x="1923700" y="670501"/>
                        <a:pt x="1906251" y="656582"/>
                        <a:pt x="1895863" y="635805"/>
                      </a:cubicBezTo>
                      <a:cubicBezTo>
                        <a:pt x="1889408" y="622795"/>
                        <a:pt x="1874683" y="587393"/>
                        <a:pt x="1864698" y="562582"/>
                      </a:cubicBezTo>
                      <a:cubicBezTo>
                        <a:pt x="1843517" y="577812"/>
                        <a:pt x="1820724" y="568634"/>
                        <a:pt x="1803073" y="542108"/>
                      </a:cubicBezTo>
                      <a:cubicBezTo>
                        <a:pt x="1783507" y="512859"/>
                        <a:pt x="1741247" y="538880"/>
                        <a:pt x="1728337" y="551891"/>
                      </a:cubicBezTo>
                      <a:cubicBezTo>
                        <a:pt x="1715326" y="564902"/>
                        <a:pt x="1702315" y="558346"/>
                        <a:pt x="1692532" y="532425"/>
                      </a:cubicBezTo>
                      <a:cubicBezTo>
                        <a:pt x="1682749" y="506404"/>
                        <a:pt x="1634034" y="545335"/>
                        <a:pt x="1620922" y="568129"/>
                      </a:cubicBezTo>
                      <a:cubicBezTo>
                        <a:pt x="1607912" y="590923"/>
                        <a:pt x="1578763" y="584368"/>
                        <a:pt x="1565652" y="568129"/>
                      </a:cubicBezTo>
                      <a:cubicBezTo>
                        <a:pt x="1552641" y="551992"/>
                        <a:pt x="1559197" y="538880"/>
                        <a:pt x="1533176" y="548663"/>
                      </a:cubicBezTo>
                      <a:cubicBezTo>
                        <a:pt x="1507255" y="558447"/>
                        <a:pt x="1490916" y="561574"/>
                        <a:pt x="1481233" y="538880"/>
                      </a:cubicBezTo>
                      <a:cubicBezTo>
                        <a:pt x="1471450" y="516187"/>
                        <a:pt x="1487688" y="470599"/>
                        <a:pt x="1468223" y="460816"/>
                      </a:cubicBezTo>
                      <a:cubicBezTo>
                        <a:pt x="1448656" y="451032"/>
                        <a:pt x="1445530" y="418556"/>
                        <a:pt x="1432418" y="373069"/>
                      </a:cubicBezTo>
                      <a:cubicBezTo>
                        <a:pt x="1419407" y="327582"/>
                        <a:pt x="1393386" y="363285"/>
                        <a:pt x="1373920" y="334037"/>
                      </a:cubicBezTo>
                      <a:cubicBezTo>
                        <a:pt x="1364338" y="319513"/>
                        <a:pt x="1361010" y="246794"/>
                        <a:pt x="1360203" y="177000"/>
                      </a:cubicBezTo>
                      <a:cubicBezTo>
                        <a:pt x="1362725" y="176193"/>
                        <a:pt x="1365044" y="175184"/>
                        <a:pt x="1366860" y="173974"/>
                      </a:cubicBezTo>
                      <a:cubicBezTo>
                        <a:pt x="1351630" y="184060"/>
                        <a:pt x="1305840" y="181539"/>
                        <a:pt x="1303319" y="148558"/>
                      </a:cubicBezTo>
                      <a:cubicBezTo>
                        <a:pt x="1300798" y="115476"/>
                        <a:pt x="1305840" y="110433"/>
                        <a:pt x="1267716" y="115476"/>
                      </a:cubicBezTo>
                      <a:cubicBezTo>
                        <a:pt x="1229591" y="120519"/>
                        <a:pt x="1224548" y="95103"/>
                        <a:pt x="1232113" y="79772"/>
                      </a:cubicBezTo>
                      <a:cubicBezTo>
                        <a:pt x="1239778" y="64542"/>
                        <a:pt x="1186222" y="41648"/>
                        <a:pt x="1181179" y="59499"/>
                      </a:cubicBezTo>
                      <a:cubicBezTo>
                        <a:pt x="1176136" y="77351"/>
                        <a:pt x="1201553" y="112955"/>
                        <a:pt x="1186323" y="117998"/>
                      </a:cubicBezTo>
                      <a:cubicBezTo>
                        <a:pt x="1170992" y="123041"/>
                        <a:pt x="1109973" y="133328"/>
                        <a:pt x="1102308" y="110433"/>
                      </a:cubicBezTo>
                      <a:cubicBezTo>
                        <a:pt x="1094743" y="87437"/>
                        <a:pt x="1079413" y="77452"/>
                        <a:pt x="1079413" y="54456"/>
                      </a:cubicBezTo>
                      <a:cubicBezTo>
                        <a:pt x="1079413" y="31461"/>
                        <a:pt x="1066806" y="-6664"/>
                        <a:pt x="1028580" y="1001"/>
                      </a:cubicBezTo>
                      <a:cubicBezTo>
                        <a:pt x="990355" y="8566"/>
                        <a:pt x="987934" y="13811"/>
                        <a:pt x="980269" y="29040"/>
                      </a:cubicBezTo>
                      <a:cubicBezTo>
                        <a:pt x="972705" y="44371"/>
                        <a:pt x="977748" y="79873"/>
                        <a:pt x="944666" y="79873"/>
                      </a:cubicBezTo>
                      <a:cubicBezTo>
                        <a:pt x="911584" y="79873"/>
                        <a:pt x="878502" y="52036"/>
                        <a:pt x="878502" y="69787"/>
                      </a:cubicBezTo>
                      <a:cubicBezTo>
                        <a:pt x="878502" y="87538"/>
                        <a:pt x="868316" y="110433"/>
                        <a:pt x="855608" y="128285"/>
                      </a:cubicBezTo>
                      <a:cubicBezTo>
                        <a:pt x="843000" y="145935"/>
                        <a:pt x="827771" y="250929"/>
                        <a:pt x="807801" y="260107"/>
                      </a:cubicBezTo>
                      <a:cubicBezTo>
                        <a:pt x="809818" y="272513"/>
                        <a:pt x="813852" y="284818"/>
                        <a:pt x="821719" y="294500"/>
                      </a:cubicBezTo>
                      <a:cubicBezTo>
                        <a:pt x="847842" y="326775"/>
                        <a:pt x="877091" y="352897"/>
                        <a:pt x="880116" y="369740"/>
                      </a:cubicBezTo>
                      <a:cubicBezTo>
                        <a:pt x="883142" y="386584"/>
                        <a:pt x="863172" y="420372"/>
                        <a:pt x="896960" y="438829"/>
                      </a:cubicBezTo>
                      <a:cubicBezTo>
                        <a:pt x="930747" y="457185"/>
                        <a:pt x="930747" y="471103"/>
                        <a:pt x="924595" y="498739"/>
                      </a:cubicBezTo>
                      <a:cubicBezTo>
                        <a:pt x="918443" y="526374"/>
                        <a:pt x="881528" y="578518"/>
                        <a:pt x="895346" y="612305"/>
                      </a:cubicBezTo>
                      <a:cubicBezTo>
                        <a:pt x="909164" y="646093"/>
                        <a:pt x="941438" y="633788"/>
                        <a:pt x="952129" y="635301"/>
                      </a:cubicBezTo>
                      <a:cubicBezTo>
                        <a:pt x="962921" y="636915"/>
                        <a:pt x="979765" y="639941"/>
                        <a:pt x="976739" y="664550"/>
                      </a:cubicBezTo>
                      <a:cubicBezTo>
                        <a:pt x="973713" y="689159"/>
                        <a:pt x="992069" y="698237"/>
                        <a:pt x="1005887" y="690571"/>
                      </a:cubicBezTo>
                      <a:cubicBezTo>
                        <a:pt x="1019704" y="683007"/>
                        <a:pt x="1039675" y="681495"/>
                        <a:pt x="1044314" y="695211"/>
                      </a:cubicBezTo>
                      <a:cubicBezTo>
                        <a:pt x="1048954" y="708928"/>
                        <a:pt x="1009114" y="732125"/>
                        <a:pt x="1010627" y="744329"/>
                      </a:cubicBezTo>
                      <a:cubicBezTo>
                        <a:pt x="1012140" y="756634"/>
                        <a:pt x="1016780" y="788909"/>
                        <a:pt x="1053593" y="787396"/>
                      </a:cubicBezTo>
                      <a:cubicBezTo>
                        <a:pt x="1090507" y="785782"/>
                        <a:pt x="1111990" y="813417"/>
                        <a:pt x="1115016" y="827235"/>
                      </a:cubicBezTo>
                      <a:cubicBezTo>
                        <a:pt x="1118042" y="841052"/>
                        <a:pt x="1104325" y="864149"/>
                        <a:pt x="1082741" y="865662"/>
                      </a:cubicBezTo>
                      <a:cubicBezTo>
                        <a:pt x="1061157" y="867276"/>
                        <a:pt x="981479" y="907014"/>
                        <a:pt x="984505" y="936263"/>
                      </a:cubicBezTo>
                      <a:cubicBezTo>
                        <a:pt x="987531" y="965512"/>
                        <a:pt x="982992" y="1005452"/>
                        <a:pt x="955256" y="1002326"/>
                      </a:cubicBezTo>
                      <a:cubicBezTo>
                        <a:pt x="927621" y="999199"/>
                        <a:pt x="884655" y="970051"/>
                        <a:pt x="873863" y="982355"/>
                      </a:cubicBezTo>
                      <a:cubicBezTo>
                        <a:pt x="863172" y="994660"/>
                        <a:pt x="843101" y="1020682"/>
                        <a:pt x="855406" y="1042265"/>
                      </a:cubicBezTo>
                      <a:cubicBezTo>
                        <a:pt x="867711" y="1063849"/>
                        <a:pt x="896859" y="1111253"/>
                        <a:pt x="850867" y="1108227"/>
                      </a:cubicBezTo>
                      <a:cubicBezTo>
                        <a:pt x="804775" y="1105201"/>
                        <a:pt x="784805" y="1108327"/>
                        <a:pt x="772601" y="1129810"/>
                      </a:cubicBezTo>
                      <a:cubicBezTo>
                        <a:pt x="760296" y="1151293"/>
                        <a:pt x="721869" y="1151293"/>
                        <a:pt x="714204" y="1151293"/>
                      </a:cubicBezTo>
                      <a:cubicBezTo>
                        <a:pt x="706438" y="1151293"/>
                        <a:pt x="697361" y="1200411"/>
                        <a:pt x="658933" y="1172877"/>
                      </a:cubicBezTo>
                      <a:cubicBezTo>
                        <a:pt x="620506" y="1145242"/>
                        <a:pt x="583693" y="1143628"/>
                        <a:pt x="580566" y="1182056"/>
                      </a:cubicBezTo>
                      <a:cubicBezTo>
                        <a:pt x="577541" y="1220483"/>
                        <a:pt x="591358" y="1252757"/>
                        <a:pt x="608202" y="1272727"/>
                      </a:cubicBezTo>
                      <a:cubicBezTo>
                        <a:pt x="625045" y="1292596"/>
                        <a:pt x="623532" y="1312667"/>
                        <a:pt x="600536" y="1327998"/>
                      </a:cubicBezTo>
                      <a:cubicBezTo>
                        <a:pt x="577440" y="1343328"/>
                        <a:pt x="555957" y="1340302"/>
                        <a:pt x="531448" y="1332637"/>
                      </a:cubicBezTo>
                      <a:cubicBezTo>
                        <a:pt x="506839" y="1324871"/>
                        <a:pt x="485457" y="1331023"/>
                        <a:pt x="453182" y="1335663"/>
                      </a:cubicBezTo>
                      <a:cubicBezTo>
                        <a:pt x="420907" y="1340302"/>
                        <a:pt x="399424" y="1332637"/>
                        <a:pt x="373302" y="1332637"/>
                      </a:cubicBezTo>
                      <a:cubicBezTo>
                        <a:pt x="347180" y="1332637"/>
                        <a:pt x="333362" y="1331023"/>
                        <a:pt x="339515" y="1361785"/>
                      </a:cubicBezTo>
                      <a:cubicBezTo>
                        <a:pt x="345667" y="1392446"/>
                        <a:pt x="328823" y="1420082"/>
                        <a:pt x="324184" y="1404751"/>
                      </a:cubicBezTo>
                      <a:cubicBezTo>
                        <a:pt x="319544" y="1389421"/>
                        <a:pt x="316519" y="1352506"/>
                        <a:pt x="302701" y="1360172"/>
                      </a:cubicBezTo>
                      <a:cubicBezTo>
                        <a:pt x="288883" y="1367938"/>
                        <a:pt x="268914" y="1370964"/>
                        <a:pt x="232100" y="1358658"/>
                      </a:cubicBezTo>
                      <a:cubicBezTo>
                        <a:pt x="195287" y="1346354"/>
                        <a:pt x="169164" y="1349380"/>
                        <a:pt x="166038" y="1361685"/>
                      </a:cubicBezTo>
                      <a:cubicBezTo>
                        <a:pt x="163012" y="1373989"/>
                        <a:pt x="141428" y="1378629"/>
                        <a:pt x="129123" y="1370964"/>
                      </a:cubicBezTo>
                      <a:cubicBezTo>
                        <a:pt x="116920" y="1363197"/>
                        <a:pt x="86259" y="1332436"/>
                        <a:pt x="78493" y="1366324"/>
                      </a:cubicBezTo>
                      <a:cubicBezTo>
                        <a:pt x="70827" y="1400112"/>
                        <a:pt x="40166" y="1427747"/>
                        <a:pt x="20095" y="1441565"/>
                      </a:cubicBezTo>
                      <a:cubicBezTo>
                        <a:pt x="125" y="1455382"/>
                        <a:pt x="-1388" y="1533749"/>
                        <a:pt x="23222" y="1561284"/>
                      </a:cubicBezTo>
                      <a:cubicBezTo>
                        <a:pt x="47730" y="1588919"/>
                        <a:pt x="84544" y="1594970"/>
                        <a:pt x="116819" y="1605762"/>
                      </a:cubicBezTo>
                      <a:cubicBezTo>
                        <a:pt x="149094" y="1616554"/>
                        <a:pt x="156759" y="1639651"/>
                        <a:pt x="161398" y="1653368"/>
                      </a:cubicBezTo>
                      <a:cubicBezTo>
                        <a:pt x="165937" y="1667084"/>
                        <a:pt x="176729" y="1707125"/>
                        <a:pt x="176729" y="1742426"/>
                      </a:cubicBezTo>
                      <a:cubicBezTo>
                        <a:pt x="176729" y="1777726"/>
                        <a:pt x="164424" y="1831483"/>
                        <a:pt x="139814" y="1846814"/>
                      </a:cubicBezTo>
                      <a:cubicBezTo>
                        <a:pt x="115306" y="1862245"/>
                        <a:pt x="101488" y="1894419"/>
                        <a:pt x="124484" y="1925081"/>
                      </a:cubicBezTo>
                      <a:cubicBezTo>
                        <a:pt x="147480" y="1955842"/>
                        <a:pt x="165937" y="1968147"/>
                        <a:pt x="179754" y="1960482"/>
                      </a:cubicBezTo>
                      <a:cubicBezTo>
                        <a:pt x="193572" y="1952716"/>
                        <a:pt x="213542" y="1938999"/>
                        <a:pt x="239664" y="1954329"/>
                      </a:cubicBezTo>
                      <a:cubicBezTo>
                        <a:pt x="265787" y="1969660"/>
                        <a:pt x="282731" y="1977325"/>
                        <a:pt x="282731" y="1988016"/>
                      </a:cubicBezTo>
                      <a:cubicBezTo>
                        <a:pt x="282731" y="1998707"/>
                        <a:pt x="270426" y="2011113"/>
                        <a:pt x="256609" y="2007986"/>
                      </a:cubicBezTo>
                      <a:cubicBezTo>
                        <a:pt x="242791" y="2004859"/>
                        <a:pt x="186008" y="1998808"/>
                        <a:pt x="178342" y="2014139"/>
                      </a:cubicBezTo>
                      <a:cubicBezTo>
                        <a:pt x="170677" y="2029469"/>
                        <a:pt x="170576" y="2074048"/>
                        <a:pt x="163012" y="2083227"/>
                      </a:cubicBezTo>
                      <a:cubicBezTo>
                        <a:pt x="155347" y="2092405"/>
                        <a:pt x="52471" y="2106323"/>
                        <a:pt x="27861" y="2083227"/>
                      </a:cubicBezTo>
                      <a:cubicBezTo>
                        <a:pt x="22718" y="2078386"/>
                        <a:pt x="18986" y="2072536"/>
                        <a:pt x="15557" y="2066888"/>
                      </a:cubicBezTo>
                      <a:cubicBezTo>
                        <a:pt x="10917" y="2096036"/>
                        <a:pt x="6177" y="2122158"/>
                        <a:pt x="2546" y="2132547"/>
                      </a:cubicBezTo>
                      <a:cubicBezTo>
                        <a:pt x="-7943" y="2162098"/>
                        <a:pt x="16364" y="2181261"/>
                        <a:pt x="32098" y="2184690"/>
                      </a:cubicBezTo>
                      <a:cubicBezTo>
                        <a:pt x="47730" y="2188220"/>
                        <a:pt x="103405" y="2207283"/>
                        <a:pt x="124282" y="2186405"/>
                      </a:cubicBezTo>
                      <a:cubicBezTo>
                        <a:pt x="145059" y="2165628"/>
                        <a:pt x="131141" y="2130832"/>
                        <a:pt x="152119" y="2127403"/>
                      </a:cubicBezTo>
                      <a:cubicBezTo>
                        <a:pt x="172997" y="2123872"/>
                        <a:pt x="190345" y="2139506"/>
                        <a:pt x="190345" y="2158669"/>
                      </a:cubicBezTo>
                      <a:cubicBezTo>
                        <a:pt x="190345" y="2177832"/>
                        <a:pt x="195489" y="2190036"/>
                        <a:pt x="176426" y="2205669"/>
                      </a:cubicBezTo>
                      <a:cubicBezTo>
                        <a:pt x="157364" y="2221302"/>
                        <a:pt x="143445" y="2256098"/>
                        <a:pt x="164323" y="2276875"/>
                      </a:cubicBezTo>
                      <a:cubicBezTo>
                        <a:pt x="185201" y="2297753"/>
                        <a:pt x="226855" y="2295937"/>
                        <a:pt x="242488" y="2259426"/>
                      </a:cubicBezTo>
                      <a:cubicBezTo>
                        <a:pt x="258122" y="2222916"/>
                        <a:pt x="277285" y="2219588"/>
                        <a:pt x="289388" y="2221302"/>
                      </a:cubicBezTo>
                      <a:cubicBezTo>
                        <a:pt x="301592" y="2223017"/>
                        <a:pt x="317225" y="2235120"/>
                        <a:pt x="331143" y="2212628"/>
                      </a:cubicBezTo>
                      <a:cubicBezTo>
                        <a:pt x="345062" y="2190036"/>
                        <a:pt x="388431" y="2188220"/>
                        <a:pt x="398920" y="2202139"/>
                      </a:cubicBezTo>
                      <a:cubicBezTo>
                        <a:pt x="409409" y="2216057"/>
                        <a:pt x="407594" y="2230077"/>
                        <a:pt x="435431" y="2226547"/>
                      </a:cubicBezTo>
                      <a:cubicBezTo>
                        <a:pt x="463268" y="2223017"/>
                        <a:pt x="447635" y="2243995"/>
                        <a:pt x="466697" y="2256098"/>
                      </a:cubicBezTo>
                      <a:cubicBezTo>
                        <a:pt x="485860" y="2268201"/>
                        <a:pt x="498064" y="2261242"/>
                        <a:pt x="501493" y="2276875"/>
                      </a:cubicBezTo>
                      <a:cubicBezTo>
                        <a:pt x="505023" y="2292508"/>
                        <a:pt x="529330" y="2306427"/>
                        <a:pt x="536289" y="2289079"/>
                      </a:cubicBezTo>
                      <a:cubicBezTo>
                        <a:pt x="543249" y="2271731"/>
                        <a:pt x="555452" y="2243793"/>
                        <a:pt x="576230" y="2268201"/>
                      </a:cubicBezTo>
                      <a:cubicBezTo>
                        <a:pt x="597107" y="2292609"/>
                        <a:pt x="626659" y="2304813"/>
                        <a:pt x="628373" y="2285650"/>
                      </a:cubicBezTo>
                      <a:cubicBezTo>
                        <a:pt x="630088" y="2266487"/>
                        <a:pt x="604066" y="2235221"/>
                        <a:pt x="619700" y="2233506"/>
                      </a:cubicBezTo>
                      <a:cubicBezTo>
                        <a:pt x="635333" y="2231791"/>
                        <a:pt x="675373" y="2223117"/>
                        <a:pt x="703110" y="2212729"/>
                      </a:cubicBezTo>
                      <a:cubicBezTo>
                        <a:pt x="730947" y="2202240"/>
                        <a:pt x="753438" y="2177933"/>
                        <a:pt x="790050" y="2177933"/>
                      </a:cubicBezTo>
                      <a:cubicBezTo>
                        <a:pt x="826560" y="2177933"/>
                        <a:pt x="849254" y="2170873"/>
                        <a:pt x="882234" y="2193465"/>
                      </a:cubicBezTo>
                      <a:cubicBezTo>
                        <a:pt x="915215" y="2216057"/>
                        <a:pt x="944868" y="2203954"/>
                        <a:pt x="941337" y="2174403"/>
                      </a:cubicBezTo>
                      <a:cubicBezTo>
                        <a:pt x="937807" y="2144851"/>
                        <a:pt x="868316" y="2155240"/>
                        <a:pt x="859642" y="2113585"/>
                      </a:cubicBezTo>
                      <a:cubicBezTo>
                        <a:pt x="850968" y="2071830"/>
                        <a:pt x="854397" y="1991849"/>
                        <a:pt x="870131" y="1957153"/>
                      </a:cubicBezTo>
                      <a:cubicBezTo>
                        <a:pt x="885764" y="1922357"/>
                        <a:pt x="873863" y="1885241"/>
                        <a:pt x="863273" y="1882417"/>
                      </a:cubicBezTo>
                      <a:cubicBezTo>
                        <a:pt x="831503" y="1873945"/>
                        <a:pt x="795799" y="1927501"/>
                        <a:pt x="802354" y="1859825"/>
                      </a:cubicBezTo>
                      <a:cubicBezTo>
                        <a:pt x="806893" y="1812825"/>
                        <a:pt x="809314" y="1786803"/>
                        <a:pt x="824947" y="1792048"/>
                      </a:cubicBezTo>
                      <a:cubicBezTo>
                        <a:pt x="840580" y="1797192"/>
                        <a:pt x="852784" y="1818070"/>
                        <a:pt x="866702" y="1797192"/>
                      </a:cubicBezTo>
                      <a:cubicBezTo>
                        <a:pt x="880520" y="1776415"/>
                        <a:pt x="835335" y="1771170"/>
                        <a:pt x="844110" y="1755436"/>
                      </a:cubicBezTo>
                      <a:cubicBezTo>
                        <a:pt x="852784" y="1739803"/>
                        <a:pt x="865088" y="1734659"/>
                        <a:pt x="865088" y="1711966"/>
                      </a:cubicBezTo>
                      <a:cubicBezTo>
                        <a:pt x="865088" y="1689374"/>
                        <a:pt x="864987" y="1682314"/>
                        <a:pt x="851069" y="1649333"/>
                      </a:cubicBezTo>
                      <a:cubicBezTo>
                        <a:pt x="837151" y="1616353"/>
                        <a:pt x="856415" y="1617966"/>
                        <a:pt x="872048" y="1626741"/>
                      </a:cubicBezTo>
                      <a:cubicBezTo>
                        <a:pt x="887580" y="1635414"/>
                        <a:pt x="920662" y="1638945"/>
                        <a:pt x="927621" y="1586800"/>
                      </a:cubicBezTo>
                      <a:cubicBezTo>
                        <a:pt x="934580" y="1534657"/>
                        <a:pt x="1025050" y="1432185"/>
                        <a:pt x="1064990" y="1433899"/>
                      </a:cubicBezTo>
                      <a:cubicBezTo>
                        <a:pt x="1104930" y="1435614"/>
                        <a:pt x="1136297" y="1456491"/>
                        <a:pt x="1197115" y="1407777"/>
                      </a:cubicBezTo>
                      <a:cubicBezTo>
                        <a:pt x="1257933" y="1359062"/>
                        <a:pt x="1306546" y="1340000"/>
                        <a:pt x="1346587" y="1303489"/>
                      </a:cubicBezTo>
                      <a:cubicBezTo>
                        <a:pt x="1386628" y="1266978"/>
                        <a:pt x="1456019" y="1214935"/>
                        <a:pt x="1475182" y="1209590"/>
                      </a:cubicBezTo>
                      <a:cubicBezTo>
                        <a:pt x="1494345" y="1204345"/>
                        <a:pt x="1529040" y="1207774"/>
                        <a:pt x="1541244" y="1225122"/>
                      </a:cubicBezTo>
                      <a:cubicBezTo>
                        <a:pt x="1553448" y="1242571"/>
                        <a:pt x="1530957" y="1272122"/>
                        <a:pt x="1543060" y="1277367"/>
                      </a:cubicBezTo>
                      <a:cubicBezTo>
                        <a:pt x="1555264" y="1282510"/>
                        <a:pt x="1567467" y="1298143"/>
                        <a:pt x="1595304" y="1293000"/>
                      </a:cubicBezTo>
                      <a:cubicBezTo>
                        <a:pt x="1623141" y="1287755"/>
                        <a:pt x="1635245" y="1272122"/>
                        <a:pt x="1635245" y="1272122"/>
                      </a:cubicBezTo>
                      <a:cubicBezTo>
                        <a:pt x="1635245" y="1272122"/>
                        <a:pt x="1699592" y="1232081"/>
                        <a:pt x="1718755" y="1221693"/>
                      </a:cubicBezTo>
                      <a:cubicBezTo>
                        <a:pt x="1737919" y="1211304"/>
                        <a:pt x="1751736" y="1207674"/>
                        <a:pt x="1750022" y="1169549"/>
                      </a:cubicBezTo>
                      <a:cubicBezTo>
                        <a:pt x="1748307" y="1131324"/>
                        <a:pt x="1758695" y="1092997"/>
                        <a:pt x="1788348" y="1089568"/>
                      </a:cubicBezTo>
                      <a:cubicBezTo>
                        <a:pt x="1817899" y="1086139"/>
                        <a:pt x="1845635" y="1113976"/>
                        <a:pt x="1854410" y="1079180"/>
                      </a:cubicBezTo>
                      <a:cubicBezTo>
                        <a:pt x="1863084" y="1044383"/>
                        <a:pt x="1859655" y="1035811"/>
                        <a:pt x="1868329" y="1014933"/>
                      </a:cubicBezTo>
                      <a:cubicBezTo>
                        <a:pt x="1877002" y="994055"/>
                        <a:pt x="1873573" y="966218"/>
                        <a:pt x="1871858" y="948870"/>
                      </a:cubicBezTo>
                      <a:cubicBezTo>
                        <a:pt x="1870043" y="931422"/>
                        <a:pt x="1894350" y="926278"/>
                        <a:pt x="1909983" y="917503"/>
                      </a:cubicBezTo>
                      <a:cubicBezTo>
                        <a:pt x="1925616" y="908830"/>
                        <a:pt x="1936105" y="887952"/>
                        <a:pt x="1951739" y="874033"/>
                      </a:cubicBezTo>
                      <a:cubicBezTo>
                        <a:pt x="1967372" y="860115"/>
                        <a:pt x="1977760" y="832278"/>
                        <a:pt x="1984719" y="832278"/>
                      </a:cubicBezTo>
                      <a:cubicBezTo>
                        <a:pt x="1991678" y="832278"/>
                        <a:pt x="2000453" y="799297"/>
                        <a:pt x="1988250" y="788808"/>
                      </a:cubicBezTo>
                      <a:cubicBezTo>
                        <a:pt x="1975844" y="778319"/>
                        <a:pt x="1947906" y="745338"/>
                        <a:pt x="1923700" y="740093"/>
                      </a:cubicBezTo>
                      <a:close/>
                    </a:path>
                  </a:pathLst>
                </a:custGeom>
                <a:solidFill>
                  <a:schemeClr val="bg1">
                    <a:lumMod val="75000"/>
                  </a:schemeClr>
                </a:solidFill>
                <a:ln w="10085" cap="flat">
                  <a:solidFill>
                    <a:srgbClr val="FFFFFF"/>
                  </a:solidFill>
                  <a:prstDash val="solid"/>
                  <a:miter/>
                </a:ln>
              </p:spPr>
              <p:txBody>
                <a:bodyPr rtlCol="0" anchor="ctr"/>
                <a:lstStyle/>
                <a:p>
                  <a:endParaRPr lang="fr-FR" sz="900"/>
                </a:p>
              </p:txBody>
            </p:sp>
            <p:sp>
              <p:nvSpPr>
                <p:cNvPr id="100" name="Forme libre : forme 99">
                  <a:extLst>
                    <a:ext uri="{FF2B5EF4-FFF2-40B4-BE49-F238E27FC236}">
                      <a16:creationId xmlns:a16="http://schemas.microsoft.com/office/drawing/2014/main" id="{2FCD6D06-6173-FB62-9CEA-C5BB12E6DC66}"/>
                    </a:ext>
                  </a:extLst>
                </p:cNvPr>
                <p:cNvSpPr/>
                <p:nvPr/>
              </p:nvSpPr>
              <p:spPr>
                <a:xfrm>
                  <a:off x="4862543" y="9743253"/>
                  <a:ext cx="2001134" cy="2302701"/>
                </a:xfrm>
                <a:custGeom>
                  <a:avLst/>
                  <a:gdLst>
                    <a:gd name="connsiteX0" fmla="*/ 501670 w 2001134"/>
                    <a:gd name="connsiteY0" fmla="*/ 2279202 h 2302701"/>
                    <a:gd name="connsiteX1" fmla="*/ 468186 w 2001134"/>
                    <a:gd name="connsiteY1" fmla="*/ 2260038 h 2302701"/>
                    <a:gd name="connsiteX2" fmla="*/ 468186 w 2001134"/>
                    <a:gd name="connsiteY2" fmla="*/ 2260038 h 2302701"/>
                    <a:gd name="connsiteX3" fmla="*/ 443879 w 2001134"/>
                    <a:gd name="connsiteY3" fmla="*/ 2230386 h 2302701"/>
                    <a:gd name="connsiteX4" fmla="*/ 443879 w 2001134"/>
                    <a:gd name="connsiteY4" fmla="*/ 2230386 h 2302701"/>
                    <a:gd name="connsiteX5" fmla="*/ 438533 w 2001134"/>
                    <a:gd name="connsiteY5" fmla="*/ 2230891 h 2302701"/>
                    <a:gd name="connsiteX6" fmla="*/ 438533 w 2001134"/>
                    <a:gd name="connsiteY6" fmla="*/ 2230891 h 2302701"/>
                    <a:gd name="connsiteX7" fmla="*/ 430364 w 2001134"/>
                    <a:gd name="connsiteY7" fmla="*/ 2231496 h 2302701"/>
                    <a:gd name="connsiteX8" fmla="*/ 430364 w 2001134"/>
                    <a:gd name="connsiteY8" fmla="*/ 2231496 h 2302701"/>
                    <a:gd name="connsiteX9" fmla="*/ 399602 w 2001134"/>
                    <a:gd name="connsiteY9" fmla="*/ 2205474 h 2302701"/>
                    <a:gd name="connsiteX10" fmla="*/ 399602 w 2001134"/>
                    <a:gd name="connsiteY10" fmla="*/ 2205474 h 2302701"/>
                    <a:gd name="connsiteX11" fmla="*/ 376102 w 2001134"/>
                    <a:gd name="connsiteY11" fmla="*/ 2197708 h 2302701"/>
                    <a:gd name="connsiteX12" fmla="*/ 376102 w 2001134"/>
                    <a:gd name="connsiteY12" fmla="*/ 2197708 h 2302701"/>
                    <a:gd name="connsiteX13" fmla="*/ 336363 w 2001134"/>
                    <a:gd name="connsiteY13" fmla="*/ 2215762 h 2302701"/>
                    <a:gd name="connsiteX14" fmla="*/ 336363 w 2001134"/>
                    <a:gd name="connsiteY14" fmla="*/ 2215762 h 2302701"/>
                    <a:gd name="connsiteX15" fmla="*/ 313872 w 2001134"/>
                    <a:gd name="connsiteY15" fmla="*/ 2230386 h 2302701"/>
                    <a:gd name="connsiteX16" fmla="*/ 313872 w 2001134"/>
                    <a:gd name="connsiteY16" fmla="*/ 2230386 h 2302701"/>
                    <a:gd name="connsiteX17" fmla="*/ 291481 w 2001134"/>
                    <a:gd name="connsiteY17" fmla="*/ 2225545 h 2302701"/>
                    <a:gd name="connsiteX18" fmla="*/ 291481 w 2001134"/>
                    <a:gd name="connsiteY18" fmla="*/ 2225545 h 2302701"/>
                    <a:gd name="connsiteX19" fmla="*/ 287346 w 2001134"/>
                    <a:gd name="connsiteY19" fmla="*/ 2225344 h 2302701"/>
                    <a:gd name="connsiteX20" fmla="*/ 287346 w 2001134"/>
                    <a:gd name="connsiteY20" fmla="*/ 2225344 h 2302701"/>
                    <a:gd name="connsiteX21" fmla="*/ 247810 w 2001134"/>
                    <a:gd name="connsiteY21" fmla="*/ 2262258 h 2302701"/>
                    <a:gd name="connsiteX22" fmla="*/ 247810 w 2001134"/>
                    <a:gd name="connsiteY22" fmla="*/ 2262258 h 2302701"/>
                    <a:gd name="connsiteX23" fmla="*/ 200305 w 2001134"/>
                    <a:gd name="connsiteY23" fmla="*/ 2294734 h 2302701"/>
                    <a:gd name="connsiteX24" fmla="*/ 200305 w 2001134"/>
                    <a:gd name="connsiteY24" fmla="*/ 2294734 h 2302701"/>
                    <a:gd name="connsiteX25" fmla="*/ 165105 w 2001134"/>
                    <a:gd name="connsiteY25" fmla="*/ 2280614 h 2302701"/>
                    <a:gd name="connsiteX26" fmla="*/ 165105 w 2001134"/>
                    <a:gd name="connsiteY26" fmla="*/ 2280614 h 2302701"/>
                    <a:gd name="connsiteX27" fmla="*/ 153809 w 2001134"/>
                    <a:gd name="connsiteY27" fmla="*/ 2252676 h 2302701"/>
                    <a:gd name="connsiteX28" fmla="*/ 153809 w 2001134"/>
                    <a:gd name="connsiteY28" fmla="*/ 2252676 h 2302701"/>
                    <a:gd name="connsiteX29" fmla="*/ 177410 w 2001134"/>
                    <a:gd name="connsiteY29" fmla="*/ 2205272 h 2302701"/>
                    <a:gd name="connsiteX30" fmla="*/ 177410 w 2001134"/>
                    <a:gd name="connsiteY30" fmla="*/ 2205272 h 2302701"/>
                    <a:gd name="connsiteX31" fmla="*/ 190925 w 2001134"/>
                    <a:gd name="connsiteY31" fmla="*/ 2178343 h 2302701"/>
                    <a:gd name="connsiteX32" fmla="*/ 190925 w 2001134"/>
                    <a:gd name="connsiteY32" fmla="*/ 2178343 h 2302701"/>
                    <a:gd name="connsiteX33" fmla="*/ 190320 w 2001134"/>
                    <a:gd name="connsiteY33" fmla="*/ 2160491 h 2302701"/>
                    <a:gd name="connsiteX34" fmla="*/ 190320 w 2001134"/>
                    <a:gd name="connsiteY34" fmla="*/ 2160491 h 2302701"/>
                    <a:gd name="connsiteX35" fmla="*/ 160668 w 2001134"/>
                    <a:gd name="connsiteY35" fmla="*/ 2131444 h 2302701"/>
                    <a:gd name="connsiteX36" fmla="*/ 160668 w 2001134"/>
                    <a:gd name="connsiteY36" fmla="*/ 2131444 h 2302701"/>
                    <a:gd name="connsiteX37" fmla="*/ 155221 w 2001134"/>
                    <a:gd name="connsiteY37" fmla="*/ 2131948 h 2302701"/>
                    <a:gd name="connsiteX38" fmla="*/ 155221 w 2001134"/>
                    <a:gd name="connsiteY38" fmla="*/ 2131948 h 2302701"/>
                    <a:gd name="connsiteX39" fmla="*/ 128998 w 2001134"/>
                    <a:gd name="connsiteY39" fmla="*/ 2190244 h 2302701"/>
                    <a:gd name="connsiteX40" fmla="*/ 128998 w 2001134"/>
                    <a:gd name="connsiteY40" fmla="*/ 2190244 h 2302701"/>
                    <a:gd name="connsiteX41" fmla="*/ 96320 w 2001134"/>
                    <a:gd name="connsiteY41" fmla="*/ 2200633 h 2302701"/>
                    <a:gd name="connsiteX42" fmla="*/ 96320 w 2001134"/>
                    <a:gd name="connsiteY42" fmla="*/ 2200633 h 2302701"/>
                    <a:gd name="connsiteX43" fmla="*/ 34191 w 2001134"/>
                    <a:gd name="connsiteY43" fmla="*/ 2189236 h 2302701"/>
                    <a:gd name="connsiteX44" fmla="*/ 34191 w 2001134"/>
                    <a:gd name="connsiteY44" fmla="*/ 2189236 h 2302701"/>
                    <a:gd name="connsiteX45" fmla="*/ 0 w 2001134"/>
                    <a:gd name="connsiteY45" fmla="*/ 2148388 h 2302701"/>
                    <a:gd name="connsiteX46" fmla="*/ 0 w 2001134"/>
                    <a:gd name="connsiteY46" fmla="*/ 2148388 h 2302701"/>
                    <a:gd name="connsiteX47" fmla="*/ 2723 w 2001134"/>
                    <a:gd name="connsiteY47" fmla="*/ 2133562 h 2302701"/>
                    <a:gd name="connsiteX48" fmla="*/ 2723 w 2001134"/>
                    <a:gd name="connsiteY48" fmla="*/ 2133562 h 2302701"/>
                    <a:gd name="connsiteX49" fmla="*/ 15532 w 2001134"/>
                    <a:gd name="connsiteY49" fmla="*/ 2068307 h 2302701"/>
                    <a:gd name="connsiteX50" fmla="*/ 15532 w 2001134"/>
                    <a:gd name="connsiteY50" fmla="*/ 2068307 h 2302701"/>
                    <a:gd name="connsiteX51" fmla="*/ 17852 w 2001134"/>
                    <a:gd name="connsiteY51" fmla="*/ 2066087 h 2302701"/>
                    <a:gd name="connsiteX52" fmla="*/ 17852 w 2001134"/>
                    <a:gd name="connsiteY52" fmla="*/ 2066087 h 2302701"/>
                    <a:gd name="connsiteX53" fmla="*/ 20777 w 2001134"/>
                    <a:gd name="connsiteY53" fmla="*/ 2067399 h 2302701"/>
                    <a:gd name="connsiteX54" fmla="*/ 20777 w 2001134"/>
                    <a:gd name="connsiteY54" fmla="*/ 2067399 h 2302701"/>
                    <a:gd name="connsiteX55" fmla="*/ 32678 w 2001134"/>
                    <a:gd name="connsiteY55" fmla="*/ 2083032 h 2302701"/>
                    <a:gd name="connsiteX56" fmla="*/ 32678 w 2001134"/>
                    <a:gd name="connsiteY56" fmla="*/ 2083032 h 2302701"/>
                    <a:gd name="connsiteX57" fmla="*/ 87545 w 2001134"/>
                    <a:gd name="connsiteY57" fmla="*/ 2094933 h 2302701"/>
                    <a:gd name="connsiteX58" fmla="*/ 87545 w 2001134"/>
                    <a:gd name="connsiteY58" fmla="*/ 2094933 h 2302701"/>
                    <a:gd name="connsiteX59" fmla="*/ 163794 w 2001134"/>
                    <a:gd name="connsiteY59" fmla="*/ 2083435 h 2302701"/>
                    <a:gd name="connsiteX60" fmla="*/ 163794 w 2001134"/>
                    <a:gd name="connsiteY60" fmla="*/ 2083435 h 2302701"/>
                    <a:gd name="connsiteX61" fmla="*/ 178822 w 2001134"/>
                    <a:gd name="connsiteY61" fmla="*/ 2014851 h 2302701"/>
                    <a:gd name="connsiteX62" fmla="*/ 178822 w 2001134"/>
                    <a:gd name="connsiteY62" fmla="*/ 2014851 h 2302701"/>
                    <a:gd name="connsiteX63" fmla="*/ 218359 w 2001134"/>
                    <a:gd name="connsiteY63" fmla="*/ 2003253 h 2302701"/>
                    <a:gd name="connsiteX64" fmla="*/ 218359 w 2001134"/>
                    <a:gd name="connsiteY64" fmla="*/ 2003253 h 2302701"/>
                    <a:gd name="connsiteX65" fmla="*/ 260013 w 2001134"/>
                    <a:gd name="connsiteY65" fmla="*/ 2007287 h 2302701"/>
                    <a:gd name="connsiteX66" fmla="*/ 260013 w 2001134"/>
                    <a:gd name="connsiteY66" fmla="*/ 2007287 h 2302701"/>
                    <a:gd name="connsiteX67" fmla="*/ 264048 w 2001134"/>
                    <a:gd name="connsiteY67" fmla="*/ 2007590 h 2302701"/>
                    <a:gd name="connsiteX68" fmla="*/ 264048 w 2001134"/>
                    <a:gd name="connsiteY68" fmla="*/ 2007590 h 2302701"/>
                    <a:gd name="connsiteX69" fmla="*/ 283009 w 2001134"/>
                    <a:gd name="connsiteY69" fmla="*/ 1990040 h 2302701"/>
                    <a:gd name="connsiteX70" fmla="*/ 283009 w 2001134"/>
                    <a:gd name="connsiteY70" fmla="*/ 1990040 h 2302701"/>
                    <a:gd name="connsiteX71" fmla="*/ 241254 w 2001134"/>
                    <a:gd name="connsiteY71" fmla="*/ 1958572 h 2302701"/>
                    <a:gd name="connsiteX72" fmla="*/ 241254 w 2001134"/>
                    <a:gd name="connsiteY72" fmla="*/ 1958572 h 2302701"/>
                    <a:gd name="connsiteX73" fmla="*/ 218863 w 2001134"/>
                    <a:gd name="connsiteY73" fmla="*/ 1952016 h 2302701"/>
                    <a:gd name="connsiteX74" fmla="*/ 218863 w 2001134"/>
                    <a:gd name="connsiteY74" fmla="*/ 1952016 h 2302701"/>
                    <a:gd name="connsiteX75" fmla="*/ 184067 w 2001134"/>
                    <a:gd name="connsiteY75" fmla="*/ 1964927 h 2302701"/>
                    <a:gd name="connsiteX76" fmla="*/ 184067 w 2001134"/>
                    <a:gd name="connsiteY76" fmla="*/ 1964927 h 2302701"/>
                    <a:gd name="connsiteX77" fmla="*/ 174284 w 2001134"/>
                    <a:gd name="connsiteY77" fmla="*/ 1967347 h 2302701"/>
                    <a:gd name="connsiteX78" fmla="*/ 174284 w 2001134"/>
                    <a:gd name="connsiteY78" fmla="*/ 1967347 h 2302701"/>
                    <a:gd name="connsiteX79" fmla="*/ 125266 w 2001134"/>
                    <a:gd name="connsiteY79" fmla="*/ 1928617 h 2302701"/>
                    <a:gd name="connsiteX80" fmla="*/ 125266 w 2001134"/>
                    <a:gd name="connsiteY80" fmla="*/ 1928617 h 2302701"/>
                    <a:gd name="connsiteX81" fmla="*/ 112962 w 2001134"/>
                    <a:gd name="connsiteY81" fmla="*/ 1894326 h 2302701"/>
                    <a:gd name="connsiteX82" fmla="*/ 112962 w 2001134"/>
                    <a:gd name="connsiteY82" fmla="*/ 1894326 h 2302701"/>
                    <a:gd name="connsiteX83" fmla="*/ 141404 w 2001134"/>
                    <a:gd name="connsiteY83" fmla="*/ 1846418 h 2302701"/>
                    <a:gd name="connsiteX84" fmla="*/ 141404 w 2001134"/>
                    <a:gd name="connsiteY84" fmla="*/ 1846418 h 2302701"/>
                    <a:gd name="connsiteX85" fmla="*/ 176906 w 2001134"/>
                    <a:gd name="connsiteY85" fmla="*/ 1744349 h 2302701"/>
                    <a:gd name="connsiteX86" fmla="*/ 176906 w 2001134"/>
                    <a:gd name="connsiteY86" fmla="*/ 1744349 h 2302701"/>
                    <a:gd name="connsiteX87" fmla="*/ 161676 w 2001134"/>
                    <a:gd name="connsiteY87" fmla="*/ 1656198 h 2302701"/>
                    <a:gd name="connsiteX88" fmla="*/ 161676 w 2001134"/>
                    <a:gd name="connsiteY88" fmla="*/ 1656198 h 2302701"/>
                    <a:gd name="connsiteX89" fmla="*/ 118912 w 2001134"/>
                    <a:gd name="connsiteY89" fmla="*/ 1610308 h 2302701"/>
                    <a:gd name="connsiteX90" fmla="*/ 118912 w 2001134"/>
                    <a:gd name="connsiteY90" fmla="*/ 1610308 h 2302701"/>
                    <a:gd name="connsiteX91" fmla="*/ 24105 w 2001134"/>
                    <a:gd name="connsiteY91" fmla="*/ 1564921 h 2302701"/>
                    <a:gd name="connsiteX92" fmla="*/ 24105 w 2001134"/>
                    <a:gd name="connsiteY92" fmla="*/ 1564921 h 2302701"/>
                    <a:gd name="connsiteX93" fmla="*/ 5144 w 2001134"/>
                    <a:gd name="connsiteY93" fmla="*/ 1496741 h 2302701"/>
                    <a:gd name="connsiteX94" fmla="*/ 5144 w 2001134"/>
                    <a:gd name="connsiteY94" fmla="*/ 1496741 h 2302701"/>
                    <a:gd name="connsiteX95" fmla="*/ 21483 w 2001134"/>
                    <a:gd name="connsiteY95" fmla="*/ 1441067 h 2302701"/>
                    <a:gd name="connsiteX96" fmla="*/ 21483 w 2001134"/>
                    <a:gd name="connsiteY96" fmla="*/ 1441067 h 2302701"/>
                    <a:gd name="connsiteX97" fmla="*/ 78771 w 2001134"/>
                    <a:gd name="connsiteY97" fmla="*/ 1367642 h 2302701"/>
                    <a:gd name="connsiteX98" fmla="*/ 78771 w 2001134"/>
                    <a:gd name="connsiteY98" fmla="*/ 1367642 h 2302701"/>
                    <a:gd name="connsiteX99" fmla="*/ 95715 w 2001134"/>
                    <a:gd name="connsiteY99" fmla="*/ 1349790 h 2302701"/>
                    <a:gd name="connsiteX100" fmla="*/ 95715 w 2001134"/>
                    <a:gd name="connsiteY100" fmla="*/ 1349790 h 2302701"/>
                    <a:gd name="connsiteX101" fmla="*/ 133638 w 2001134"/>
                    <a:gd name="connsiteY101" fmla="*/ 1370567 h 2302701"/>
                    <a:gd name="connsiteX102" fmla="*/ 133638 w 2001134"/>
                    <a:gd name="connsiteY102" fmla="*/ 1370567 h 2302701"/>
                    <a:gd name="connsiteX103" fmla="*/ 146447 w 2001134"/>
                    <a:gd name="connsiteY103" fmla="*/ 1373794 h 2302701"/>
                    <a:gd name="connsiteX104" fmla="*/ 146447 w 2001134"/>
                    <a:gd name="connsiteY104" fmla="*/ 1373794 h 2302701"/>
                    <a:gd name="connsiteX105" fmla="*/ 166417 w 2001134"/>
                    <a:gd name="connsiteY105" fmla="*/ 1363103 h 2302701"/>
                    <a:gd name="connsiteX106" fmla="*/ 166417 w 2001134"/>
                    <a:gd name="connsiteY106" fmla="*/ 1363103 h 2302701"/>
                    <a:gd name="connsiteX107" fmla="*/ 193749 w 2001134"/>
                    <a:gd name="connsiteY107" fmla="*/ 1349992 h 2302701"/>
                    <a:gd name="connsiteX108" fmla="*/ 193749 w 2001134"/>
                    <a:gd name="connsiteY108" fmla="*/ 1349992 h 2302701"/>
                    <a:gd name="connsiteX109" fmla="*/ 236009 w 2001134"/>
                    <a:gd name="connsiteY109" fmla="*/ 1358060 h 2302701"/>
                    <a:gd name="connsiteX110" fmla="*/ 236009 w 2001134"/>
                    <a:gd name="connsiteY110" fmla="*/ 1358060 h 2302701"/>
                    <a:gd name="connsiteX111" fmla="*/ 277664 w 2001134"/>
                    <a:gd name="connsiteY111" fmla="*/ 1366129 h 2302701"/>
                    <a:gd name="connsiteX112" fmla="*/ 277664 w 2001134"/>
                    <a:gd name="connsiteY112" fmla="*/ 1366129 h 2302701"/>
                    <a:gd name="connsiteX113" fmla="*/ 304189 w 2001134"/>
                    <a:gd name="connsiteY113" fmla="*/ 1359977 h 2302701"/>
                    <a:gd name="connsiteX114" fmla="*/ 304189 w 2001134"/>
                    <a:gd name="connsiteY114" fmla="*/ 1359977 h 2302701"/>
                    <a:gd name="connsiteX115" fmla="*/ 309434 w 2001134"/>
                    <a:gd name="connsiteY115" fmla="*/ 1358262 h 2302701"/>
                    <a:gd name="connsiteX116" fmla="*/ 309434 w 2001134"/>
                    <a:gd name="connsiteY116" fmla="*/ 1358262 h 2302701"/>
                    <a:gd name="connsiteX117" fmla="*/ 330009 w 2001134"/>
                    <a:gd name="connsiteY117" fmla="*/ 1405968 h 2302701"/>
                    <a:gd name="connsiteX118" fmla="*/ 330009 w 2001134"/>
                    <a:gd name="connsiteY118" fmla="*/ 1405968 h 2302701"/>
                    <a:gd name="connsiteX119" fmla="*/ 331220 w 2001134"/>
                    <a:gd name="connsiteY119" fmla="*/ 1408288 h 2302701"/>
                    <a:gd name="connsiteX120" fmla="*/ 331220 w 2001134"/>
                    <a:gd name="connsiteY120" fmla="*/ 1408288 h 2302701"/>
                    <a:gd name="connsiteX121" fmla="*/ 341204 w 2001134"/>
                    <a:gd name="connsiteY121" fmla="*/ 1377425 h 2302701"/>
                    <a:gd name="connsiteX122" fmla="*/ 341204 w 2001134"/>
                    <a:gd name="connsiteY122" fmla="*/ 1377425 h 2302701"/>
                    <a:gd name="connsiteX123" fmla="*/ 339994 w 2001134"/>
                    <a:gd name="connsiteY123" fmla="*/ 1364414 h 2302701"/>
                    <a:gd name="connsiteX124" fmla="*/ 339994 w 2001134"/>
                    <a:gd name="connsiteY124" fmla="*/ 1364414 h 2302701"/>
                    <a:gd name="connsiteX125" fmla="*/ 338481 w 2001134"/>
                    <a:gd name="connsiteY125" fmla="*/ 1351404 h 2302701"/>
                    <a:gd name="connsiteX126" fmla="*/ 338481 w 2001134"/>
                    <a:gd name="connsiteY126" fmla="*/ 1351404 h 2302701"/>
                    <a:gd name="connsiteX127" fmla="*/ 369546 w 2001134"/>
                    <a:gd name="connsiteY127" fmla="*/ 1331837 h 2302701"/>
                    <a:gd name="connsiteX128" fmla="*/ 369546 w 2001134"/>
                    <a:gd name="connsiteY128" fmla="*/ 1331837 h 2302701"/>
                    <a:gd name="connsiteX129" fmla="*/ 376606 w 2001134"/>
                    <a:gd name="connsiteY129" fmla="*/ 1331938 h 2302701"/>
                    <a:gd name="connsiteX130" fmla="*/ 376606 w 2001134"/>
                    <a:gd name="connsiteY130" fmla="*/ 1331938 h 2302701"/>
                    <a:gd name="connsiteX131" fmla="*/ 435507 w 2001134"/>
                    <a:gd name="connsiteY131" fmla="*/ 1336376 h 2302701"/>
                    <a:gd name="connsiteX132" fmla="*/ 435507 w 2001134"/>
                    <a:gd name="connsiteY132" fmla="*/ 1336376 h 2302701"/>
                    <a:gd name="connsiteX133" fmla="*/ 455981 w 2001134"/>
                    <a:gd name="connsiteY133" fmla="*/ 1335065 h 2302701"/>
                    <a:gd name="connsiteX134" fmla="*/ 455981 w 2001134"/>
                    <a:gd name="connsiteY134" fmla="*/ 1335065 h 2302701"/>
                    <a:gd name="connsiteX135" fmla="*/ 509638 w 2001134"/>
                    <a:gd name="connsiteY135" fmla="*/ 1328206 h 2302701"/>
                    <a:gd name="connsiteX136" fmla="*/ 509638 w 2001134"/>
                    <a:gd name="connsiteY136" fmla="*/ 1328206 h 2302701"/>
                    <a:gd name="connsiteX137" fmla="*/ 535458 w 2001134"/>
                    <a:gd name="connsiteY137" fmla="*/ 1332139 h 2302701"/>
                    <a:gd name="connsiteX138" fmla="*/ 535458 w 2001134"/>
                    <a:gd name="connsiteY138" fmla="*/ 1332139 h 2302701"/>
                    <a:gd name="connsiteX139" fmla="*/ 568540 w 2001134"/>
                    <a:gd name="connsiteY139" fmla="*/ 1338191 h 2302701"/>
                    <a:gd name="connsiteX140" fmla="*/ 568540 w 2001134"/>
                    <a:gd name="connsiteY140" fmla="*/ 1338191 h 2302701"/>
                    <a:gd name="connsiteX141" fmla="*/ 602226 w 2001134"/>
                    <a:gd name="connsiteY141" fmla="*/ 1327904 h 2302701"/>
                    <a:gd name="connsiteX142" fmla="*/ 602226 w 2001134"/>
                    <a:gd name="connsiteY142" fmla="*/ 1327904 h 2302701"/>
                    <a:gd name="connsiteX143" fmla="*/ 619978 w 2001134"/>
                    <a:gd name="connsiteY143" fmla="*/ 1300975 h 2302701"/>
                    <a:gd name="connsiteX144" fmla="*/ 619978 w 2001134"/>
                    <a:gd name="connsiteY144" fmla="*/ 1300975 h 2302701"/>
                    <a:gd name="connsiteX145" fmla="*/ 609388 w 2001134"/>
                    <a:gd name="connsiteY145" fmla="*/ 1276768 h 2302701"/>
                    <a:gd name="connsiteX146" fmla="*/ 609388 w 2001134"/>
                    <a:gd name="connsiteY146" fmla="*/ 1276768 h 2302701"/>
                    <a:gd name="connsiteX147" fmla="*/ 580542 w 2001134"/>
                    <a:gd name="connsiteY147" fmla="*/ 1194972 h 2302701"/>
                    <a:gd name="connsiteX148" fmla="*/ 580542 w 2001134"/>
                    <a:gd name="connsiteY148" fmla="*/ 1194972 h 2302701"/>
                    <a:gd name="connsiteX149" fmla="*/ 581046 w 2001134"/>
                    <a:gd name="connsiteY149" fmla="*/ 1184180 h 2302701"/>
                    <a:gd name="connsiteX150" fmla="*/ 581046 w 2001134"/>
                    <a:gd name="connsiteY150" fmla="*/ 1184180 h 2302701"/>
                    <a:gd name="connsiteX151" fmla="*/ 612312 w 2001134"/>
                    <a:gd name="connsiteY151" fmla="*/ 1152006 h 2302701"/>
                    <a:gd name="connsiteX152" fmla="*/ 612312 w 2001134"/>
                    <a:gd name="connsiteY152" fmla="*/ 1152006 h 2302701"/>
                    <a:gd name="connsiteX153" fmla="*/ 663851 w 2001134"/>
                    <a:gd name="connsiteY153" fmla="*/ 1172985 h 2302701"/>
                    <a:gd name="connsiteX154" fmla="*/ 663851 w 2001134"/>
                    <a:gd name="connsiteY154" fmla="*/ 1172985 h 2302701"/>
                    <a:gd name="connsiteX155" fmla="*/ 683518 w 2001134"/>
                    <a:gd name="connsiteY155" fmla="*/ 1180852 h 2302701"/>
                    <a:gd name="connsiteX156" fmla="*/ 683518 w 2001134"/>
                    <a:gd name="connsiteY156" fmla="*/ 1180852 h 2302701"/>
                    <a:gd name="connsiteX157" fmla="*/ 717508 w 2001134"/>
                    <a:gd name="connsiteY157" fmla="*/ 1150897 h 2302701"/>
                    <a:gd name="connsiteX158" fmla="*/ 717508 w 2001134"/>
                    <a:gd name="connsiteY158" fmla="*/ 1150897 h 2302701"/>
                    <a:gd name="connsiteX159" fmla="*/ 773383 w 2001134"/>
                    <a:gd name="connsiteY159" fmla="*/ 1130826 h 2302701"/>
                    <a:gd name="connsiteX160" fmla="*/ 773383 w 2001134"/>
                    <a:gd name="connsiteY160" fmla="*/ 1130826 h 2302701"/>
                    <a:gd name="connsiteX161" fmla="*/ 829058 w 2001134"/>
                    <a:gd name="connsiteY161" fmla="*/ 1106721 h 2302701"/>
                    <a:gd name="connsiteX162" fmla="*/ 829058 w 2001134"/>
                    <a:gd name="connsiteY162" fmla="*/ 1106721 h 2302701"/>
                    <a:gd name="connsiteX163" fmla="*/ 854171 w 2001134"/>
                    <a:gd name="connsiteY163" fmla="*/ 1107830 h 2302701"/>
                    <a:gd name="connsiteX164" fmla="*/ 854171 w 2001134"/>
                    <a:gd name="connsiteY164" fmla="*/ 1107830 h 2302701"/>
                    <a:gd name="connsiteX165" fmla="*/ 858206 w 2001134"/>
                    <a:gd name="connsiteY165" fmla="*/ 1107830 h 2302701"/>
                    <a:gd name="connsiteX166" fmla="*/ 858206 w 2001134"/>
                    <a:gd name="connsiteY166" fmla="*/ 1107830 h 2302701"/>
                    <a:gd name="connsiteX167" fmla="*/ 876461 w 2001134"/>
                    <a:gd name="connsiteY167" fmla="*/ 1094214 h 2302701"/>
                    <a:gd name="connsiteX168" fmla="*/ 876461 w 2001134"/>
                    <a:gd name="connsiteY168" fmla="*/ 1094214 h 2302701"/>
                    <a:gd name="connsiteX169" fmla="*/ 856390 w 2001134"/>
                    <a:gd name="connsiteY169" fmla="*/ 1046004 h 2302701"/>
                    <a:gd name="connsiteX170" fmla="*/ 856390 w 2001134"/>
                    <a:gd name="connsiteY170" fmla="*/ 1046004 h 2302701"/>
                    <a:gd name="connsiteX171" fmla="*/ 852154 w 2001134"/>
                    <a:gd name="connsiteY171" fmla="*/ 1029766 h 2302701"/>
                    <a:gd name="connsiteX172" fmla="*/ 852154 w 2001134"/>
                    <a:gd name="connsiteY172" fmla="*/ 1029766 h 2302701"/>
                    <a:gd name="connsiteX173" fmla="*/ 875049 w 2001134"/>
                    <a:gd name="connsiteY173" fmla="*/ 983068 h 2302701"/>
                    <a:gd name="connsiteX174" fmla="*/ 875049 w 2001134"/>
                    <a:gd name="connsiteY174" fmla="*/ 983068 h 2302701"/>
                    <a:gd name="connsiteX175" fmla="*/ 885437 w 2001134"/>
                    <a:gd name="connsiteY175" fmla="*/ 978933 h 2302701"/>
                    <a:gd name="connsiteX176" fmla="*/ 885437 w 2001134"/>
                    <a:gd name="connsiteY176" fmla="*/ 978933 h 2302701"/>
                    <a:gd name="connsiteX177" fmla="*/ 958560 w 2001134"/>
                    <a:gd name="connsiteY177" fmla="*/ 1001929 h 2302701"/>
                    <a:gd name="connsiteX178" fmla="*/ 958560 w 2001134"/>
                    <a:gd name="connsiteY178" fmla="*/ 1001929 h 2302701"/>
                    <a:gd name="connsiteX179" fmla="*/ 961485 w 2001134"/>
                    <a:gd name="connsiteY179" fmla="*/ 1001929 h 2302701"/>
                    <a:gd name="connsiteX180" fmla="*/ 961485 w 2001134"/>
                    <a:gd name="connsiteY180" fmla="*/ 1001929 h 2302701"/>
                    <a:gd name="connsiteX181" fmla="*/ 985792 w 2001134"/>
                    <a:gd name="connsiteY181" fmla="*/ 954122 h 2302701"/>
                    <a:gd name="connsiteX182" fmla="*/ 985792 w 2001134"/>
                    <a:gd name="connsiteY182" fmla="*/ 954122 h 2302701"/>
                    <a:gd name="connsiteX183" fmla="*/ 985086 w 2001134"/>
                    <a:gd name="connsiteY183" fmla="*/ 939296 h 2302701"/>
                    <a:gd name="connsiteX184" fmla="*/ 985086 w 2001134"/>
                    <a:gd name="connsiteY184" fmla="*/ 939296 h 2302701"/>
                    <a:gd name="connsiteX185" fmla="*/ 984884 w 2001134"/>
                    <a:gd name="connsiteY185" fmla="*/ 936976 h 2302701"/>
                    <a:gd name="connsiteX186" fmla="*/ 984884 w 2001134"/>
                    <a:gd name="connsiteY186" fmla="*/ 936976 h 2302701"/>
                    <a:gd name="connsiteX187" fmla="*/ 1085843 w 2001134"/>
                    <a:gd name="connsiteY187" fmla="*/ 865265 h 2302701"/>
                    <a:gd name="connsiteX188" fmla="*/ 1085843 w 2001134"/>
                    <a:gd name="connsiteY188" fmla="*/ 865265 h 2302701"/>
                    <a:gd name="connsiteX189" fmla="*/ 1115899 w 2001134"/>
                    <a:gd name="connsiteY189" fmla="*/ 833697 h 2302701"/>
                    <a:gd name="connsiteX190" fmla="*/ 1115899 w 2001134"/>
                    <a:gd name="connsiteY190" fmla="*/ 833697 h 2302701"/>
                    <a:gd name="connsiteX191" fmla="*/ 1115697 w 2001134"/>
                    <a:gd name="connsiteY191" fmla="*/ 830368 h 2302701"/>
                    <a:gd name="connsiteX192" fmla="*/ 1115697 w 2001134"/>
                    <a:gd name="connsiteY192" fmla="*/ 830368 h 2302701"/>
                    <a:gd name="connsiteX193" fmla="*/ 1059923 w 2001134"/>
                    <a:gd name="connsiteY193" fmla="*/ 792446 h 2302701"/>
                    <a:gd name="connsiteX194" fmla="*/ 1059923 w 2001134"/>
                    <a:gd name="connsiteY194" fmla="*/ 792446 h 2302701"/>
                    <a:gd name="connsiteX195" fmla="*/ 1056796 w 2001134"/>
                    <a:gd name="connsiteY195" fmla="*/ 792647 h 2302701"/>
                    <a:gd name="connsiteX196" fmla="*/ 1056796 w 2001134"/>
                    <a:gd name="connsiteY196" fmla="*/ 792647 h 2302701"/>
                    <a:gd name="connsiteX197" fmla="*/ 1054376 w 2001134"/>
                    <a:gd name="connsiteY197" fmla="*/ 792647 h 2302701"/>
                    <a:gd name="connsiteX198" fmla="*/ 1054376 w 2001134"/>
                    <a:gd name="connsiteY198" fmla="*/ 792647 h 2302701"/>
                    <a:gd name="connsiteX199" fmla="*/ 1011309 w 2001134"/>
                    <a:gd name="connsiteY199" fmla="*/ 747665 h 2302701"/>
                    <a:gd name="connsiteX200" fmla="*/ 1011309 w 2001134"/>
                    <a:gd name="connsiteY200" fmla="*/ 747665 h 2302701"/>
                    <a:gd name="connsiteX201" fmla="*/ 1011107 w 2001134"/>
                    <a:gd name="connsiteY201" fmla="*/ 745950 h 2302701"/>
                    <a:gd name="connsiteX202" fmla="*/ 1011107 w 2001134"/>
                    <a:gd name="connsiteY202" fmla="*/ 745950 h 2302701"/>
                    <a:gd name="connsiteX203" fmla="*/ 1045298 w 2001134"/>
                    <a:gd name="connsiteY203" fmla="*/ 699958 h 2302701"/>
                    <a:gd name="connsiteX204" fmla="*/ 1045298 w 2001134"/>
                    <a:gd name="connsiteY204" fmla="*/ 699958 h 2302701"/>
                    <a:gd name="connsiteX205" fmla="*/ 1045096 w 2001134"/>
                    <a:gd name="connsiteY205" fmla="*/ 698547 h 2302701"/>
                    <a:gd name="connsiteX206" fmla="*/ 1045096 w 2001134"/>
                    <a:gd name="connsiteY206" fmla="*/ 698547 h 2302701"/>
                    <a:gd name="connsiteX207" fmla="*/ 1030371 w 2001134"/>
                    <a:gd name="connsiteY207" fmla="*/ 689973 h 2302701"/>
                    <a:gd name="connsiteX208" fmla="*/ 1030371 w 2001134"/>
                    <a:gd name="connsiteY208" fmla="*/ 689973 h 2302701"/>
                    <a:gd name="connsiteX209" fmla="*/ 1010704 w 2001134"/>
                    <a:gd name="connsiteY209" fmla="*/ 695420 h 2302701"/>
                    <a:gd name="connsiteX210" fmla="*/ 1010704 w 2001134"/>
                    <a:gd name="connsiteY210" fmla="*/ 695420 h 2302701"/>
                    <a:gd name="connsiteX211" fmla="*/ 999407 w 2001134"/>
                    <a:gd name="connsiteY211" fmla="*/ 698244 h 2302701"/>
                    <a:gd name="connsiteX212" fmla="*/ 999407 w 2001134"/>
                    <a:gd name="connsiteY212" fmla="*/ 698244 h 2302701"/>
                    <a:gd name="connsiteX213" fmla="*/ 977017 w 2001134"/>
                    <a:gd name="connsiteY213" fmla="*/ 672122 h 2302701"/>
                    <a:gd name="connsiteX214" fmla="*/ 977017 w 2001134"/>
                    <a:gd name="connsiteY214" fmla="*/ 672122 h 2302701"/>
                    <a:gd name="connsiteX215" fmla="*/ 977319 w 2001134"/>
                    <a:gd name="connsiteY215" fmla="*/ 666776 h 2302701"/>
                    <a:gd name="connsiteX216" fmla="*/ 977319 w 2001134"/>
                    <a:gd name="connsiteY216" fmla="*/ 666776 h 2302701"/>
                    <a:gd name="connsiteX217" fmla="*/ 977622 w 2001134"/>
                    <a:gd name="connsiteY217" fmla="*/ 661430 h 2302701"/>
                    <a:gd name="connsiteX218" fmla="*/ 977622 w 2001134"/>
                    <a:gd name="connsiteY218" fmla="*/ 661430 h 2302701"/>
                    <a:gd name="connsiteX219" fmla="*/ 954828 w 2001134"/>
                    <a:gd name="connsiteY219" fmla="*/ 640553 h 2302701"/>
                    <a:gd name="connsiteX220" fmla="*/ 954828 w 2001134"/>
                    <a:gd name="connsiteY220" fmla="*/ 640553 h 2302701"/>
                    <a:gd name="connsiteX221" fmla="*/ 953214 w 2001134"/>
                    <a:gd name="connsiteY221" fmla="*/ 640250 h 2302701"/>
                    <a:gd name="connsiteX222" fmla="*/ 953214 w 2001134"/>
                    <a:gd name="connsiteY222" fmla="*/ 640250 h 2302701"/>
                    <a:gd name="connsiteX223" fmla="*/ 935060 w 2001134"/>
                    <a:gd name="connsiteY223" fmla="*/ 641460 h 2302701"/>
                    <a:gd name="connsiteX224" fmla="*/ 935060 w 2001134"/>
                    <a:gd name="connsiteY224" fmla="*/ 641460 h 2302701"/>
                    <a:gd name="connsiteX225" fmla="*/ 896229 w 2001134"/>
                    <a:gd name="connsiteY225" fmla="*/ 615943 h 2302701"/>
                    <a:gd name="connsiteX226" fmla="*/ 896229 w 2001134"/>
                    <a:gd name="connsiteY226" fmla="*/ 615943 h 2302701"/>
                    <a:gd name="connsiteX227" fmla="*/ 892901 w 2001134"/>
                    <a:gd name="connsiteY227" fmla="*/ 597788 h 2302701"/>
                    <a:gd name="connsiteX228" fmla="*/ 892901 w 2001134"/>
                    <a:gd name="connsiteY228" fmla="*/ 597788 h 2302701"/>
                    <a:gd name="connsiteX229" fmla="*/ 925276 w 2001134"/>
                    <a:gd name="connsiteY229" fmla="*/ 500561 h 2302701"/>
                    <a:gd name="connsiteX230" fmla="*/ 925276 w 2001134"/>
                    <a:gd name="connsiteY230" fmla="*/ 500561 h 2302701"/>
                    <a:gd name="connsiteX231" fmla="*/ 928302 w 2001134"/>
                    <a:gd name="connsiteY231" fmla="*/ 479582 h 2302701"/>
                    <a:gd name="connsiteX232" fmla="*/ 928302 w 2001134"/>
                    <a:gd name="connsiteY232" fmla="*/ 479582 h 2302701"/>
                    <a:gd name="connsiteX233" fmla="*/ 899053 w 2001134"/>
                    <a:gd name="connsiteY233" fmla="*/ 443778 h 2302701"/>
                    <a:gd name="connsiteX234" fmla="*/ 899053 w 2001134"/>
                    <a:gd name="connsiteY234" fmla="*/ 443778 h 2302701"/>
                    <a:gd name="connsiteX235" fmla="*/ 877470 w 2001134"/>
                    <a:gd name="connsiteY235" fmla="*/ 407973 h 2302701"/>
                    <a:gd name="connsiteX236" fmla="*/ 877470 w 2001134"/>
                    <a:gd name="connsiteY236" fmla="*/ 407973 h 2302701"/>
                    <a:gd name="connsiteX237" fmla="*/ 881100 w 2001134"/>
                    <a:gd name="connsiteY237" fmla="*/ 376303 h 2302701"/>
                    <a:gd name="connsiteX238" fmla="*/ 881100 w 2001134"/>
                    <a:gd name="connsiteY238" fmla="*/ 376303 h 2302701"/>
                    <a:gd name="connsiteX239" fmla="*/ 880899 w 2001134"/>
                    <a:gd name="connsiteY239" fmla="*/ 372874 h 2302701"/>
                    <a:gd name="connsiteX240" fmla="*/ 880899 w 2001134"/>
                    <a:gd name="connsiteY240" fmla="*/ 372874 h 2302701"/>
                    <a:gd name="connsiteX241" fmla="*/ 823107 w 2001134"/>
                    <a:gd name="connsiteY241" fmla="*/ 298844 h 2302701"/>
                    <a:gd name="connsiteX242" fmla="*/ 823107 w 2001134"/>
                    <a:gd name="connsiteY242" fmla="*/ 298844 h 2302701"/>
                    <a:gd name="connsiteX243" fmla="*/ 810096 w 2001134"/>
                    <a:gd name="connsiteY243" fmla="*/ 260215 h 2302701"/>
                    <a:gd name="connsiteX244" fmla="*/ 810096 w 2001134"/>
                    <a:gd name="connsiteY244" fmla="*/ 260215 h 2302701"/>
                    <a:gd name="connsiteX245" fmla="*/ 856894 w 2001134"/>
                    <a:gd name="connsiteY245" fmla="*/ 129301 h 2302701"/>
                    <a:gd name="connsiteX246" fmla="*/ 856894 w 2001134"/>
                    <a:gd name="connsiteY246" fmla="*/ 129301 h 2302701"/>
                    <a:gd name="connsiteX247" fmla="*/ 879285 w 2001134"/>
                    <a:gd name="connsiteY247" fmla="*/ 72517 h 2302701"/>
                    <a:gd name="connsiteX248" fmla="*/ 879285 w 2001134"/>
                    <a:gd name="connsiteY248" fmla="*/ 72517 h 2302701"/>
                    <a:gd name="connsiteX249" fmla="*/ 887354 w 2001134"/>
                    <a:gd name="connsiteY249" fmla="*/ 63743 h 2302701"/>
                    <a:gd name="connsiteX250" fmla="*/ 887354 w 2001134"/>
                    <a:gd name="connsiteY250" fmla="*/ 63743 h 2302701"/>
                    <a:gd name="connsiteX251" fmla="*/ 948171 w 2001134"/>
                    <a:gd name="connsiteY251" fmla="*/ 79779 h 2302701"/>
                    <a:gd name="connsiteX252" fmla="*/ 948171 w 2001134"/>
                    <a:gd name="connsiteY252" fmla="*/ 79779 h 2302701"/>
                    <a:gd name="connsiteX253" fmla="*/ 981354 w 2001134"/>
                    <a:gd name="connsiteY253" fmla="*/ 30560 h 2302701"/>
                    <a:gd name="connsiteX254" fmla="*/ 981354 w 2001134"/>
                    <a:gd name="connsiteY254" fmla="*/ 30560 h 2302701"/>
                    <a:gd name="connsiteX255" fmla="*/ 1031480 w 2001134"/>
                    <a:gd name="connsiteY255" fmla="*/ 1109 h 2302701"/>
                    <a:gd name="connsiteX256" fmla="*/ 1031480 w 2001134"/>
                    <a:gd name="connsiteY256" fmla="*/ 1109 h 2302701"/>
                    <a:gd name="connsiteX257" fmla="*/ 1041768 w 2001134"/>
                    <a:gd name="connsiteY257" fmla="*/ 0 h 2302701"/>
                    <a:gd name="connsiteX258" fmla="*/ 1041768 w 2001134"/>
                    <a:gd name="connsiteY258" fmla="*/ 0 h 2302701"/>
                    <a:gd name="connsiteX259" fmla="*/ 1085742 w 2001134"/>
                    <a:gd name="connsiteY259" fmla="*/ 57389 h 2302701"/>
                    <a:gd name="connsiteX260" fmla="*/ 1085742 w 2001134"/>
                    <a:gd name="connsiteY260" fmla="*/ 57389 h 2302701"/>
                    <a:gd name="connsiteX261" fmla="*/ 1108537 w 2001134"/>
                    <a:gd name="connsiteY261" fmla="*/ 112457 h 2302701"/>
                    <a:gd name="connsiteX262" fmla="*/ 1108537 w 2001134"/>
                    <a:gd name="connsiteY262" fmla="*/ 112457 h 2302701"/>
                    <a:gd name="connsiteX263" fmla="*/ 1142425 w 2001134"/>
                    <a:gd name="connsiteY263" fmla="*/ 124661 h 2302701"/>
                    <a:gd name="connsiteX264" fmla="*/ 1142425 w 2001134"/>
                    <a:gd name="connsiteY264" fmla="*/ 124661 h 2302701"/>
                    <a:gd name="connsiteX265" fmla="*/ 1188820 w 2001134"/>
                    <a:gd name="connsiteY265" fmla="*/ 118307 h 2302701"/>
                    <a:gd name="connsiteX266" fmla="*/ 1188820 w 2001134"/>
                    <a:gd name="connsiteY266" fmla="*/ 118307 h 2302701"/>
                    <a:gd name="connsiteX267" fmla="*/ 1191846 w 2001134"/>
                    <a:gd name="connsiteY267" fmla="*/ 112760 h 2302701"/>
                    <a:gd name="connsiteX268" fmla="*/ 1191846 w 2001134"/>
                    <a:gd name="connsiteY268" fmla="*/ 112760 h 2302701"/>
                    <a:gd name="connsiteX269" fmla="*/ 1181155 w 2001134"/>
                    <a:gd name="connsiteY269" fmla="*/ 67777 h 2302701"/>
                    <a:gd name="connsiteX270" fmla="*/ 1181155 w 2001134"/>
                    <a:gd name="connsiteY270" fmla="*/ 67777 h 2302701"/>
                    <a:gd name="connsiteX271" fmla="*/ 1181962 w 2001134"/>
                    <a:gd name="connsiteY271" fmla="*/ 61725 h 2302701"/>
                    <a:gd name="connsiteX272" fmla="*/ 1181962 w 2001134"/>
                    <a:gd name="connsiteY272" fmla="*/ 61725 h 2302701"/>
                    <a:gd name="connsiteX273" fmla="*/ 1196384 w 2001134"/>
                    <a:gd name="connsiteY273" fmla="*/ 52951 h 2302701"/>
                    <a:gd name="connsiteX274" fmla="*/ 1196384 w 2001134"/>
                    <a:gd name="connsiteY274" fmla="*/ 52951 h 2302701"/>
                    <a:gd name="connsiteX275" fmla="*/ 1239148 w 2001134"/>
                    <a:gd name="connsiteY275" fmla="*/ 79477 h 2302701"/>
                    <a:gd name="connsiteX276" fmla="*/ 1239148 w 2001134"/>
                    <a:gd name="connsiteY276" fmla="*/ 79477 h 2302701"/>
                    <a:gd name="connsiteX277" fmla="*/ 1238140 w 2001134"/>
                    <a:gd name="connsiteY277" fmla="*/ 83914 h 2302701"/>
                    <a:gd name="connsiteX278" fmla="*/ 1238140 w 2001134"/>
                    <a:gd name="connsiteY278" fmla="*/ 83914 h 2302701"/>
                    <a:gd name="connsiteX279" fmla="*/ 1235417 w 2001134"/>
                    <a:gd name="connsiteY279" fmla="*/ 95110 h 2302701"/>
                    <a:gd name="connsiteX280" fmla="*/ 1235417 w 2001134"/>
                    <a:gd name="connsiteY280" fmla="*/ 95110 h 2302701"/>
                    <a:gd name="connsiteX281" fmla="*/ 1261942 w 2001134"/>
                    <a:gd name="connsiteY281" fmla="*/ 116088 h 2302701"/>
                    <a:gd name="connsiteX282" fmla="*/ 1261942 w 2001134"/>
                    <a:gd name="connsiteY282" fmla="*/ 116088 h 2302701"/>
                    <a:gd name="connsiteX283" fmla="*/ 1270919 w 2001134"/>
                    <a:gd name="connsiteY283" fmla="*/ 115584 h 2302701"/>
                    <a:gd name="connsiteX284" fmla="*/ 1270919 w 2001134"/>
                    <a:gd name="connsiteY284" fmla="*/ 115584 h 2302701"/>
                    <a:gd name="connsiteX285" fmla="*/ 1290183 w 2001134"/>
                    <a:gd name="connsiteY285" fmla="*/ 113869 h 2302701"/>
                    <a:gd name="connsiteX286" fmla="*/ 1290183 w 2001134"/>
                    <a:gd name="connsiteY286" fmla="*/ 113869 h 2302701"/>
                    <a:gd name="connsiteX287" fmla="*/ 1309749 w 2001134"/>
                    <a:gd name="connsiteY287" fmla="*/ 151288 h 2302701"/>
                    <a:gd name="connsiteX288" fmla="*/ 1309749 w 2001134"/>
                    <a:gd name="connsiteY288" fmla="*/ 151288 h 2302701"/>
                    <a:gd name="connsiteX289" fmla="*/ 1348479 w 2001134"/>
                    <a:gd name="connsiteY289" fmla="*/ 179326 h 2302701"/>
                    <a:gd name="connsiteX290" fmla="*/ 1348479 w 2001134"/>
                    <a:gd name="connsiteY290" fmla="*/ 179326 h 2302701"/>
                    <a:gd name="connsiteX291" fmla="*/ 1363003 w 2001134"/>
                    <a:gd name="connsiteY291" fmla="*/ 177309 h 2302701"/>
                    <a:gd name="connsiteX292" fmla="*/ 1363003 w 2001134"/>
                    <a:gd name="connsiteY292" fmla="*/ 177309 h 2302701"/>
                    <a:gd name="connsiteX293" fmla="*/ 1363003 w 2001134"/>
                    <a:gd name="connsiteY293" fmla="*/ 177309 h 2302701"/>
                    <a:gd name="connsiteX294" fmla="*/ 1363003 w 2001134"/>
                    <a:gd name="connsiteY294" fmla="*/ 177309 h 2302701"/>
                    <a:gd name="connsiteX295" fmla="*/ 1363406 w 2001134"/>
                    <a:gd name="connsiteY295" fmla="*/ 177209 h 2302701"/>
                    <a:gd name="connsiteX296" fmla="*/ 1363406 w 2001134"/>
                    <a:gd name="connsiteY296" fmla="*/ 177209 h 2302701"/>
                    <a:gd name="connsiteX297" fmla="*/ 1368953 w 2001134"/>
                    <a:gd name="connsiteY297" fmla="*/ 174687 h 2302701"/>
                    <a:gd name="connsiteX298" fmla="*/ 1368953 w 2001134"/>
                    <a:gd name="connsiteY298" fmla="*/ 174687 h 2302701"/>
                    <a:gd name="connsiteX299" fmla="*/ 1372887 w 2001134"/>
                    <a:gd name="connsiteY299" fmla="*/ 175494 h 2302701"/>
                    <a:gd name="connsiteX300" fmla="*/ 1372887 w 2001134"/>
                    <a:gd name="connsiteY300" fmla="*/ 175494 h 2302701"/>
                    <a:gd name="connsiteX301" fmla="*/ 1373290 w 2001134"/>
                    <a:gd name="connsiteY301" fmla="*/ 177108 h 2302701"/>
                    <a:gd name="connsiteX302" fmla="*/ 1373290 w 2001134"/>
                    <a:gd name="connsiteY302" fmla="*/ 177108 h 2302701"/>
                    <a:gd name="connsiteX303" fmla="*/ 1372080 w 2001134"/>
                    <a:gd name="connsiteY303" fmla="*/ 179326 h 2302701"/>
                    <a:gd name="connsiteX304" fmla="*/ 1372080 w 2001134"/>
                    <a:gd name="connsiteY304" fmla="*/ 179326 h 2302701"/>
                    <a:gd name="connsiteX305" fmla="*/ 1366533 w 2001134"/>
                    <a:gd name="connsiteY305" fmla="*/ 182050 h 2302701"/>
                    <a:gd name="connsiteX306" fmla="*/ 1366533 w 2001134"/>
                    <a:gd name="connsiteY306" fmla="*/ 182050 h 2302701"/>
                    <a:gd name="connsiteX307" fmla="*/ 1379846 w 2001134"/>
                    <a:gd name="connsiteY307" fmla="*/ 335556 h 2302701"/>
                    <a:gd name="connsiteX308" fmla="*/ 1379846 w 2001134"/>
                    <a:gd name="connsiteY308" fmla="*/ 335556 h 2302701"/>
                    <a:gd name="connsiteX309" fmla="*/ 1438747 w 2001134"/>
                    <a:gd name="connsiteY309" fmla="*/ 375294 h 2302701"/>
                    <a:gd name="connsiteX310" fmla="*/ 1438747 w 2001134"/>
                    <a:gd name="connsiteY310" fmla="*/ 375294 h 2302701"/>
                    <a:gd name="connsiteX311" fmla="*/ 1473141 w 2001134"/>
                    <a:gd name="connsiteY311" fmla="*/ 461226 h 2302701"/>
                    <a:gd name="connsiteX312" fmla="*/ 1473141 w 2001134"/>
                    <a:gd name="connsiteY312" fmla="*/ 461226 h 2302701"/>
                    <a:gd name="connsiteX313" fmla="*/ 1484840 w 2001134"/>
                    <a:gd name="connsiteY313" fmla="*/ 492291 h 2302701"/>
                    <a:gd name="connsiteX314" fmla="*/ 1484840 w 2001134"/>
                    <a:gd name="connsiteY314" fmla="*/ 492291 h 2302701"/>
                    <a:gd name="connsiteX315" fmla="*/ 1484235 w 2001134"/>
                    <a:gd name="connsiteY315" fmla="*/ 518312 h 2302701"/>
                    <a:gd name="connsiteX316" fmla="*/ 1484235 w 2001134"/>
                    <a:gd name="connsiteY316" fmla="*/ 518312 h 2302701"/>
                    <a:gd name="connsiteX317" fmla="*/ 1487462 w 2001134"/>
                    <a:gd name="connsiteY317" fmla="*/ 540703 h 2302701"/>
                    <a:gd name="connsiteX318" fmla="*/ 1487462 w 2001134"/>
                    <a:gd name="connsiteY318" fmla="*/ 540703 h 2302701"/>
                    <a:gd name="connsiteX319" fmla="*/ 1507533 w 2001134"/>
                    <a:gd name="connsiteY319" fmla="*/ 556134 h 2302701"/>
                    <a:gd name="connsiteX320" fmla="*/ 1507533 w 2001134"/>
                    <a:gd name="connsiteY320" fmla="*/ 556134 h 2302701"/>
                    <a:gd name="connsiteX321" fmla="*/ 1535874 w 2001134"/>
                    <a:gd name="connsiteY321" fmla="*/ 548973 h 2302701"/>
                    <a:gd name="connsiteX322" fmla="*/ 1535874 w 2001134"/>
                    <a:gd name="connsiteY322" fmla="*/ 548973 h 2302701"/>
                    <a:gd name="connsiteX323" fmla="*/ 1550600 w 2001134"/>
                    <a:gd name="connsiteY323" fmla="*/ 545241 h 2302701"/>
                    <a:gd name="connsiteX324" fmla="*/ 1550600 w 2001134"/>
                    <a:gd name="connsiteY324" fmla="*/ 545241 h 2302701"/>
                    <a:gd name="connsiteX325" fmla="*/ 1571478 w 2001134"/>
                    <a:gd name="connsiteY325" fmla="*/ 569246 h 2302701"/>
                    <a:gd name="connsiteX326" fmla="*/ 1571478 w 2001134"/>
                    <a:gd name="connsiteY326" fmla="*/ 569246 h 2302701"/>
                    <a:gd name="connsiteX327" fmla="*/ 1599516 w 2001134"/>
                    <a:gd name="connsiteY327" fmla="*/ 582861 h 2302701"/>
                    <a:gd name="connsiteX328" fmla="*/ 1599516 w 2001134"/>
                    <a:gd name="connsiteY328" fmla="*/ 582861 h 2302701"/>
                    <a:gd name="connsiteX329" fmla="*/ 1622108 w 2001134"/>
                    <a:gd name="connsiteY329" fmla="*/ 569548 h 2302701"/>
                    <a:gd name="connsiteX330" fmla="*/ 1622108 w 2001134"/>
                    <a:gd name="connsiteY330" fmla="*/ 569548 h 2302701"/>
                    <a:gd name="connsiteX331" fmla="*/ 1683733 w 2001134"/>
                    <a:gd name="connsiteY331" fmla="*/ 523657 h 2302701"/>
                    <a:gd name="connsiteX332" fmla="*/ 1683733 w 2001134"/>
                    <a:gd name="connsiteY332" fmla="*/ 523657 h 2302701"/>
                    <a:gd name="connsiteX333" fmla="*/ 1698761 w 2001134"/>
                    <a:gd name="connsiteY333" fmla="*/ 534147 h 2302701"/>
                    <a:gd name="connsiteX334" fmla="*/ 1698761 w 2001134"/>
                    <a:gd name="connsiteY334" fmla="*/ 534147 h 2302701"/>
                    <a:gd name="connsiteX335" fmla="*/ 1719033 w 2001134"/>
                    <a:gd name="connsiteY335" fmla="*/ 558353 h 2302701"/>
                    <a:gd name="connsiteX336" fmla="*/ 1719033 w 2001134"/>
                    <a:gd name="connsiteY336" fmla="*/ 558353 h 2302701"/>
                    <a:gd name="connsiteX337" fmla="*/ 1729926 w 2001134"/>
                    <a:gd name="connsiteY337" fmla="*/ 552705 h 2302701"/>
                    <a:gd name="connsiteX338" fmla="*/ 1729926 w 2001134"/>
                    <a:gd name="connsiteY338" fmla="*/ 552705 h 2302701"/>
                    <a:gd name="connsiteX339" fmla="*/ 1781566 w 2001134"/>
                    <a:gd name="connsiteY339" fmla="*/ 528599 h 2302701"/>
                    <a:gd name="connsiteX340" fmla="*/ 1781566 w 2001134"/>
                    <a:gd name="connsiteY340" fmla="*/ 528599 h 2302701"/>
                    <a:gd name="connsiteX341" fmla="*/ 1808999 w 2001134"/>
                    <a:gd name="connsiteY341" fmla="*/ 543325 h 2302701"/>
                    <a:gd name="connsiteX342" fmla="*/ 1808999 w 2001134"/>
                    <a:gd name="connsiteY342" fmla="*/ 543325 h 2302701"/>
                    <a:gd name="connsiteX343" fmla="*/ 1847225 w 2001134"/>
                    <a:gd name="connsiteY343" fmla="*/ 569851 h 2302701"/>
                    <a:gd name="connsiteX344" fmla="*/ 1847225 w 2001134"/>
                    <a:gd name="connsiteY344" fmla="*/ 569851 h 2302701"/>
                    <a:gd name="connsiteX345" fmla="*/ 1866791 w 2001134"/>
                    <a:gd name="connsiteY345" fmla="*/ 563093 h 2302701"/>
                    <a:gd name="connsiteX346" fmla="*/ 1866791 w 2001134"/>
                    <a:gd name="connsiteY346" fmla="*/ 563093 h 2302701"/>
                    <a:gd name="connsiteX347" fmla="*/ 1870926 w 2001134"/>
                    <a:gd name="connsiteY347" fmla="*/ 564304 h 2302701"/>
                    <a:gd name="connsiteX348" fmla="*/ 1901991 w 2001134"/>
                    <a:gd name="connsiteY348" fmla="*/ 637426 h 2302701"/>
                    <a:gd name="connsiteX349" fmla="*/ 1901991 w 2001134"/>
                    <a:gd name="connsiteY349" fmla="*/ 637426 h 2302701"/>
                    <a:gd name="connsiteX350" fmla="*/ 1922061 w 2001134"/>
                    <a:gd name="connsiteY350" fmla="*/ 681602 h 2302701"/>
                    <a:gd name="connsiteX351" fmla="*/ 1922061 w 2001134"/>
                    <a:gd name="connsiteY351" fmla="*/ 681602 h 2302701"/>
                    <a:gd name="connsiteX352" fmla="*/ 1917624 w 2001134"/>
                    <a:gd name="connsiteY352" fmla="*/ 699051 h 2302701"/>
                    <a:gd name="connsiteX353" fmla="*/ 1917624 w 2001134"/>
                    <a:gd name="connsiteY353" fmla="*/ 699051 h 2302701"/>
                    <a:gd name="connsiteX354" fmla="*/ 1909858 w 2001134"/>
                    <a:gd name="connsiteY354" fmla="*/ 723357 h 2302701"/>
                    <a:gd name="connsiteX355" fmla="*/ 1909858 w 2001134"/>
                    <a:gd name="connsiteY355" fmla="*/ 723357 h 2302701"/>
                    <a:gd name="connsiteX356" fmla="*/ 1927810 w 2001134"/>
                    <a:gd name="connsiteY356" fmla="*/ 740201 h 2302701"/>
                    <a:gd name="connsiteX357" fmla="*/ 1927810 w 2001134"/>
                    <a:gd name="connsiteY357" fmla="*/ 740201 h 2302701"/>
                    <a:gd name="connsiteX358" fmla="*/ 1927306 w 2001134"/>
                    <a:gd name="connsiteY358" fmla="*/ 742924 h 2302701"/>
                    <a:gd name="connsiteX359" fmla="*/ 1926802 w 2001134"/>
                    <a:gd name="connsiteY359" fmla="*/ 745647 h 2302701"/>
                    <a:gd name="connsiteX360" fmla="*/ 1904411 w 2001134"/>
                    <a:gd name="connsiteY360" fmla="*/ 723256 h 2302701"/>
                    <a:gd name="connsiteX361" fmla="*/ 1904411 w 2001134"/>
                    <a:gd name="connsiteY361" fmla="*/ 723256 h 2302701"/>
                    <a:gd name="connsiteX362" fmla="*/ 1912783 w 2001134"/>
                    <a:gd name="connsiteY362" fmla="*/ 696428 h 2302701"/>
                    <a:gd name="connsiteX363" fmla="*/ 1912783 w 2001134"/>
                    <a:gd name="connsiteY363" fmla="*/ 696428 h 2302701"/>
                    <a:gd name="connsiteX364" fmla="*/ 1916615 w 2001134"/>
                    <a:gd name="connsiteY364" fmla="*/ 681602 h 2302701"/>
                    <a:gd name="connsiteX365" fmla="*/ 1916615 w 2001134"/>
                    <a:gd name="connsiteY365" fmla="*/ 681602 h 2302701"/>
                    <a:gd name="connsiteX366" fmla="*/ 1897150 w 2001134"/>
                    <a:gd name="connsiteY366" fmla="*/ 639746 h 2302701"/>
                    <a:gd name="connsiteX367" fmla="*/ 1897150 w 2001134"/>
                    <a:gd name="connsiteY367" fmla="*/ 639746 h 2302701"/>
                    <a:gd name="connsiteX368" fmla="*/ 1867094 w 2001134"/>
                    <a:gd name="connsiteY368" fmla="*/ 569447 h 2302701"/>
                    <a:gd name="connsiteX369" fmla="*/ 1867094 w 2001134"/>
                    <a:gd name="connsiteY369" fmla="*/ 569447 h 2302701"/>
                    <a:gd name="connsiteX370" fmla="*/ 1847225 w 2001134"/>
                    <a:gd name="connsiteY370" fmla="*/ 575297 h 2302701"/>
                    <a:gd name="connsiteX371" fmla="*/ 1847225 w 2001134"/>
                    <a:gd name="connsiteY371" fmla="*/ 575297 h 2302701"/>
                    <a:gd name="connsiteX372" fmla="*/ 1804360 w 2001134"/>
                    <a:gd name="connsiteY372" fmla="*/ 546351 h 2302701"/>
                    <a:gd name="connsiteX373" fmla="*/ 1804360 w 2001134"/>
                    <a:gd name="connsiteY373" fmla="*/ 546351 h 2302701"/>
                    <a:gd name="connsiteX374" fmla="*/ 1781566 w 2001134"/>
                    <a:gd name="connsiteY374" fmla="*/ 534147 h 2302701"/>
                    <a:gd name="connsiteX375" fmla="*/ 1781566 w 2001134"/>
                    <a:gd name="connsiteY375" fmla="*/ 534147 h 2302701"/>
                    <a:gd name="connsiteX376" fmla="*/ 1733860 w 2001134"/>
                    <a:gd name="connsiteY376" fmla="*/ 556537 h 2302701"/>
                    <a:gd name="connsiteX377" fmla="*/ 1733860 w 2001134"/>
                    <a:gd name="connsiteY377" fmla="*/ 556537 h 2302701"/>
                    <a:gd name="connsiteX378" fmla="*/ 1719033 w 2001134"/>
                    <a:gd name="connsiteY378" fmla="*/ 563799 h 2302701"/>
                    <a:gd name="connsiteX379" fmla="*/ 1719033 w 2001134"/>
                    <a:gd name="connsiteY379" fmla="*/ 563799 h 2302701"/>
                    <a:gd name="connsiteX380" fmla="*/ 1693617 w 2001134"/>
                    <a:gd name="connsiteY380" fmla="*/ 536063 h 2302701"/>
                    <a:gd name="connsiteX381" fmla="*/ 1693617 w 2001134"/>
                    <a:gd name="connsiteY381" fmla="*/ 536063 h 2302701"/>
                    <a:gd name="connsiteX382" fmla="*/ 1683834 w 2001134"/>
                    <a:gd name="connsiteY382" fmla="*/ 529205 h 2302701"/>
                    <a:gd name="connsiteX383" fmla="*/ 1683834 w 2001134"/>
                    <a:gd name="connsiteY383" fmla="*/ 529205 h 2302701"/>
                    <a:gd name="connsiteX384" fmla="*/ 1627050 w 2001134"/>
                    <a:gd name="connsiteY384" fmla="*/ 572271 h 2302701"/>
                    <a:gd name="connsiteX385" fmla="*/ 1627050 w 2001134"/>
                    <a:gd name="connsiteY385" fmla="*/ 572271 h 2302701"/>
                    <a:gd name="connsiteX386" fmla="*/ 1599617 w 2001134"/>
                    <a:gd name="connsiteY386" fmla="*/ 588409 h 2302701"/>
                    <a:gd name="connsiteX387" fmla="*/ 1599617 w 2001134"/>
                    <a:gd name="connsiteY387" fmla="*/ 588409 h 2302701"/>
                    <a:gd name="connsiteX388" fmla="*/ 1567241 w 2001134"/>
                    <a:gd name="connsiteY388" fmla="*/ 572776 h 2302701"/>
                    <a:gd name="connsiteX389" fmla="*/ 1567241 w 2001134"/>
                    <a:gd name="connsiteY389" fmla="*/ 572776 h 2302701"/>
                    <a:gd name="connsiteX390" fmla="*/ 1550700 w 2001134"/>
                    <a:gd name="connsiteY390" fmla="*/ 550889 h 2302701"/>
                    <a:gd name="connsiteX391" fmla="*/ 1550700 w 2001134"/>
                    <a:gd name="connsiteY391" fmla="*/ 550889 h 2302701"/>
                    <a:gd name="connsiteX392" fmla="*/ 1537892 w 2001134"/>
                    <a:gd name="connsiteY392" fmla="*/ 554117 h 2302701"/>
                    <a:gd name="connsiteX393" fmla="*/ 1537892 w 2001134"/>
                    <a:gd name="connsiteY393" fmla="*/ 554117 h 2302701"/>
                    <a:gd name="connsiteX394" fmla="*/ 1507533 w 2001134"/>
                    <a:gd name="connsiteY394" fmla="*/ 561580 h 2302701"/>
                    <a:gd name="connsiteX395" fmla="*/ 1507533 w 2001134"/>
                    <a:gd name="connsiteY395" fmla="*/ 561580 h 2302701"/>
                    <a:gd name="connsiteX396" fmla="*/ 1482318 w 2001134"/>
                    <a:gd name="connsiteY396" fmla="*/ 542821 h 2302701"/>
                    <a:gd name="connsiteX397" fmla="*/ 1482318 w 2001134"/>
                    <a:gd name="connsiteY397" fmla="*/ 542821 h 2302701"/>
                    <a:gd name="connsiteX398" fmla="*/ 1478688 w 2001134"/>
                    <a:gd name="connsiteY398" fmla="*/ 518211 h 2302701"/>
                    <a:gd name="connsiteX399" fmla="*/ 1478688 w 2001134"/>
                    <a:gd name="connsiteY399" fmla="*/ 518211 h 2302701"/>
                    <a:gd name="connsiteX400" fmla="*/ 1479293 w 2001134"/>
                    <a:gd name="connsiteY400" fmla="*/ 492190 h 2302701"/>
                    <a:gd name="connsiteX401" fmla="*/ 1479293 w 2001134"/>
                    <a:gd name="connsiteY401" fmla="*/ 492190 h 2302701"/>
                    <a:gd name="connsiteX402" fmla="*/ 1470820 w 2001134"/>
                    <a:gd name="connsiteY402" fmla="*/ 466067 h 2302701"/>
                    <a:gd name="connsiteX403" fmla="*/ 1470820 w 2001134"/>
                    <a:gd name="connsiteY403" fmla="*/ 466067 h 2302701"/>
                    <a:gd name="connsiteX404" fmla="*/ 1433503 w 2001134"/>
                    <a:gd name="connsiteY404" fmla="*/ 376706 h 2302701"/>
                    <a:gd name="connsiteX405" fmla="*/ 1433503 w 2001134"/>
                    <a:gd name="connsiteY405" fmla="*/ 376706 h 2302701"/>
                    <a:gd name="connsiteX406" fmla="*/ 1375408 w 2001134"/>
                    <a:gd name="connsiteY406" fmla="*/ 338481 h 2302701"/>
                    <a:gd name="connsiteX407" fmla="*/ 1375408 w 2001134"/>
                    <a:gd name="connsiteY407" fmla="*/ 338481 h 2302701"/>
                    <a:gd name="connsiteX408" fmla="*/ 1363003 w 2001134"/>
                    <a:gd name="connsiteY408" fmla="*/ 183159 h 2302701"/>
                    <a:gd name="connsiteX409" fmla="*/ 1363003 w 2001134"/>
                    <a:gd name="connsiteY409" fmla="*/ 183159 h 2302701"/>
                    <a:gd name="connsiteX410" fmla="*/ 1348580 w 2001134"/>
                    <a:gd name="connsiteY410" fmla="*/ 184873 h 2302701"/>
                    <a:gd name="connsiteX411" fmla="*/ 1348580 w 2001134"/>
                    <a:gd name="connsiteY411" fmla="*/ 184873 h 2302701"/>
                    <a:gd name="connsiteX412" fmla="*/ 1304202 w 2001134"/>
                    <a:gd name="connsiteY412" fmla="*/ 151691 h 2302701"/>
                    <a:gd name="connsiteX413" fmla="*/ 1304202 w 2001134"/>
                    <a:gd name="connsiteY413" fmla="*/ 151691 h 2302701"/>
                    <a:gd name="connsiteX414" fmla="*/ 1290284 w 2001134"/>
                    <a:gd name="connsiteY414" fmla="*/ 119416 h 2302701"/>
                    <a:gd name="connsiteX415" fmla="*/ 1290284 w 2001134"/>
                    <a:gd name="connsiteY415" fmla="*/ 119416 h 2302701"/>
                    <a:gd name="connsiteX416" fmla="*/ 1271726 w 2001134"/>
                    <a:gd name="connsiteY416" fmla="*/ 121131 h 2302701"/>
                    <a:gd name="connsiteX417" fmla="*/ 1271726 w 2001134"/>
                    <a:gd name="connsiteY417" fmla="*/ 121131 h 2302701"/>
                    <a:gd name="connsiteX418" fmla="*/ 1262043 w 2001134"/>
                    <a:gd name="connsiteY418" fmla="*/ 121736 h 2302701"/>
                    <a:gd name="connsiteX419" fmla="*/ 1262043 w 2001134"/>
                    <a:gd name="connsiteY419" fmla="*/ 121736 h 2302701"/>
                    <a:gd name="connsiteX420" fmla="*/ 1229869 w 2001134"/>
                    <a:gd name="connsiteY420" fmla="*/ 95211 h 2302701"/>
                    <a:gd name="connsiteX421" fmla="*/ 1229869 w 2001134"/>
                    <a:gd name="connsiteY421" fmla="*/ 95211 h 2302701"/>
                    <a:gd name="connsiteX422" fmla="*/ 1233299 w 2001134"/>
                    <a:gd name="connsiteY422" fmla="*/ 81493 h 2302701"/>
                    <a:gd name="connsiteX423" fmla="*/ 1233299 w 2001134"/>
                    <a:gd name="connsiteY423" fmla="*/ 81493 h 2302701"/>
                    <a:gd name="connsiteX424" fmla="*/ 1233601 w 2001134"/>
                    <a:gd name="connsiteY424" fmla="*/ 79578 h 2302701"/>
                    <a:gd name="connsiteX425" fmla="*/ 1233601 w 2001134"/>
                    <a:gd name="connsiteY425" fmla="*/ 79578 h 2302701"/>
                    <a:gd name="connsiteX426" fmla="*/ 1196485 w 2001134"/>
                    <a:gd name="connsiteY426" fmla="*/ 58599 h 2302701"/>
                    <a:gd name="connsiteX427" fmla="*/ 1196485 w 2001134"/>
                    <a:gd name="connsiteY427" fmla="*/ 58599 h 2302701"/>
                    <a:gd name="connsiteX428" fmla="*/ 1187509 w 2001134"/>
                    <a:gd name="connsiteY428" fmla="*/ 63238 h 2302701"/>
                    <a:gd name="connsiteX429" fmla="*/ 1187509 w 2001134"/>
                    <a:gd name="connsiteY429" fmla="*/ 63238 h 2302701"/>
                    <a:gd name="connsiteX430" fmla="*/ 1186904 w 2001134"/>
                    <a:gd name="connsiteY430" fmla="*/ 67878 h 2302701"/>
                    <a:gd name="connsiteX431" fmla="*/ 1186904 w 2001134"/>
                    <a:gd name="connsiteY431" fmla="*/ 67878 h 2302701"/>
                    <a:gd name="connsiteX432" fmla="*/ 1197595 w 2001134"/>
                    <a:gd name="connsiteY432" fmla="*/ 112861 h 2302701"/>
                    <a:gd name="connsiteX433" fmla="*/ 1197595 w 2001134"/>
                    <a:gd name="connsiteY433" fmla="*/ 112861 h 2302701"/>
                    <a:gd name="connsiteX434" fmla="*/ 1190837 w 2001134"/>
                    <a:gd name="connsiteY434" fmla="*/ 123552 h 2302701"/>
                    <a:gd name="connsiteX435" fmla="*/ 1190837 w 2001134"/>
                    <a:gd name="connsiteY435" fmla="*/ 123552 h 2302701"/>
                    <a:gd name="connsiteX436" fmla="*/ 1142526 w 2001134"/>
                    <a:gd name="connsiteY436" fmla="*/ 130309 h 2302701"/>
                    <a:gd name="connsiteX437" fmla="*/ 1142526 w 2001134"/>
                    <a:gd name="connsiteY437" fmla="*/ 130309 h 2302701"/>
                    <a:gd name="connsiteX438" fmla="*/ 1103393 w 2001134"/>
                    <a:gd name="connsiteY438" fmla="*/ 114172 h 2302701"/>
                    <a:gd name="connsiteX439" fmla="*/ 1103393 w 2001134"/>
                    <a:gd name="connsiteY439" fmla="*/ 114172 h 2302701"/>
                    <a:gd name="connsiteX440" fmla="*/ 1080397 w 2001134"/>
                    <a:gd name="connsiteY440" fmla="*/ 57389 h 2302701"/>
                    <a:gd name="connsiteX441" fmla="*/ 1080397 w 2001134"/>
                    <a:gd name="connsiteY441" fmla="*/ 57389 h 2302701"/>
                    <a:gd name="connsiteX442" fmla="*/ 1041869 w 2001134"/>
                    <a:gd name="connsiteY442" fmla="*/ 5547 h 2302701"/>
                    <a:gd name="connsiteX443" fmla="*/ 1041869 w 2001134"/>
                    <a:gd name="connsiteY443" fmla="*/ 5547 h 2302701"/>
                    <a:gd name="connsiteX444" fmla="*/ 1032893 w 2001134"/>
                    <a:gd name="connsiteY444" fmla="*/ 6555 h 2302701"/>
                    <a:gd name="connsiteX445" fmla="*/ 1032893 w 2001134"/>
                    <a:gd name="connsiteY445" fmla="*/ 6555 h 2302701"/>
                    <a:gd name="connsiteX446" fmla="*/ 986498 w 2001134"/>
                    <a:gd name="connsiteY446" fmla="*/ 33081 h 2302701"/>
                    <a:gd name="connsiteX447" fmla="*/ 986498 w 2001134"/>
                    <a:gd name="connsiteY447" fmla="*/ 33081 h 2302701"/>
                    <a:gd name="connsiteX448" fmla="*/ 948373 w 2001134"/>
                    <a:gd name="connsiteY448" fmla="*/ 85528 h 2302701"/>
                    <a:gd name="connsiteX449" fmla="*/ 948373 w 2001134"/>
                    <a:gd name="connsiteY449" fmla="*/ 85528 h 2302701"/>
                    <a:gd name="connsiteX450" fmla="*/ 887555 w 2001134"/>
                    <a:gd name="connsiteY450" fmla="*/ 69492 h 2302701"/>
                    <a:gd name="connsiteX451" fmla="*/ 887555 w 2001134"/>
                    <a:gd name="connsiteY451" fmla="*/ 69492 h 2302701"/>
                    <a:gd name="connsiteX452" fmla="*/ 885034 w 2001134"/>
                    <a:gd name="connsiteY452" fmla="*/ 72618 h 2302701"/>
                    <a:gd name="connsiteX453" fmla="*/ 885034 w 2001134"/>
                    <a:gd name="connsiteY453" fmla="*/ 72618 h 2302701"/>
                    <a:gd name="connsiteX454" fmla="*/ 861635 w 2001134"/>
                    <a:gd name="connsiteY454" fmla="*/ 132629 h 2302701"/>
                    <a:gd name="connsiteX455" fmla="*/ 861635 w 2001134"/>
                    <a:gd name="connsiteY455" fmla="*/ 132629 h 2302701"/>
                    <a:gd name="connsiteX456" fmla="*/ 814332 w 2001134"/>
                    <a:gd name="connsiteY456" fmla="*/ 262333 h 2302701"/>
                    <a:gd name="connsiteX457" fmla="*/ 814332 w 2001134"/>
                    <a:gd name="connsiteY457" fmla="*/ 262333 h 2302701"/>
                    <a:gd name="connsiteX458" fmla="*/ 827645 w 2001134"/>
                    <a:gd name="connsiteY458" fmla="*/ 295415 h 2302701"/>
                    <a:gd name="connsiteX459" fmla="*/ 827645 w 2001134"/>
                    <a:gd name="connsiteY459" fmla="*/ 295415 h 2302701"/>
                    <a:gd name="connsiteX460" fmla="*/ 886648 w 2001134"/>
                    <a:gd name="connsiteY460" fmla="*/ 372067 h 2302701"/>
                    <a:gd name="connsiteX461" fmla="*/ 886648 w 2001134"/>
                    <a:gd name="connsiteY461" fmla="*/ 372067 h 2302701"/>
                    <a:gd name="connsiteX462" fmla="*/ 887051 w 2001134"/>
                    <a:gd name="connsiteY462" fmla="*/ 376606 h 2302701"/>
                    <a:gd name="connsiteX463" fmla="*/ 887051 w 2001134"/>
                    <a:gd name="connsiteY463" fmla="*/ 376606 h 2302701"/>
                    <a:gd name="connsiteX464" fmla="*/ 883622 w 2001134"/>
                    <a:gd name="connsiteY464" fmla="*/ 408275 h 2302701"/>
                    <a:gd name="connsiteX465" fmla="*/ 883622 w 2001134"/>
                    <a:gd name="connsiteY465" fmla="*/ 408275 h 2302701"/>
                    <a:gd name="connsiteX466" fmla="*/ 902180 w 2001134"/>
                    <a:gd name="connsiteY466" fmla="*/ 439138 h 2302701"/>
                    <a:gd name="connsiteX467" fmla="*/ 902180 w 2001134"/>
                    <a:gd name="connsiteY467" fmla="*/ 439138 h 2302701"/>
                    <a:gd name="connsiteX468" fmla="*/ 934455 w 2001134"/>
                    <a:gd name="connsiteY468" fmla="*/ 479885 h 2302701"/>
                    <a:gd name="connsiteX469" fmla="*/ 934455 w 2001134"/>
                    <a:gd name="connsiteY469" fmla="*/ 479885 h 2302701"/>
                    <a:gd name="connsiteX470" fmla="*/ 931227 w 2001134"/>
                    <a:gd name="connsiteY470" fmla="*/ 502175 h 2302701"/>
                    <a:gd name="connsiteX471" fmla="*/ 931227 w 2001134"/>
                    <a:gd name="connsiteY471" fmla="*/ 502175 h 2302701"/>
                    <a:gd name="connsiteX472" fmla="*/ 898952 w 2001134"/>
                    <a:gd name="connsiteY472" fmla="*/ 598091 h 2302701"/>
                    <a:gd name="connsiteX473" fmla="*/ 898952 w 2001134"/>
                    <a:gd name="connsiteY473" fmla="*/ 598091 h 2302701"/>
                    <a:gd name="connsiteX474" fmla="*/ 901877 w 2001134"/>
                    <a:gd name="connsiteY474" fmla="*/ 614027 h 2302701"/>
                    <a:gd name="connsiteX475" fmla="*/ 901877 w 2001134"/>
                    <a:gd name="connsiteY475" fmla="*/ 614027 h 2302701"/>
                    <a:gd name="connsiteX476" fmla="*/ 935665 w 2001134"/>
                    <a:gd name="connsiteY476" fmla="*/ 636316 h 2302701"/>
                    <a:gd name="connsiteX477" fmla="*/ 935665 w 2001134"/>
                    <a:gd name="connsiteY477" fmla="*/ 636316 h 2302701"/>
                    <a:gd name="connsiteX478" fmla="*/ 953820 w 2001134"/>
                    <a:gd name="connsiteY478" fmla="*/ 635005 h 2302701"/>
                    <a:gd name="connsiteX479" fmla="*/ 953820 w 2001134"/>
                    <a:gd name="connsiteY479" fmla="*/ 635005 h 2302701"/>
                    <a:gd name="connsiteX480" fmla="*/ 956543 w 2001134"/>
                    <a:gd name="connsiteY480" fmla="*/ 635409 h 2302701"/>
                    <a:gd name="connsiteX481" fmla="*/ 956543 w 2001134"/>
                    <a:gd name="connsiteY481" fmla="*/ 635409 h 2302701"/>
                    <a:gd name="connsiteX482" fmla="*/ 983875 w 2001134"/>
                    <a:gd name="connsiteY482" fmla="*/ 661834 h 2302701"/>
                    <a:gd name="connsiteX483" fmla="*/ 983875 w 2001134"/>
                    <a:gd name="connsiteY483" fmla="*/ 661834 h 2302701"/>
                    <a:gd name="connsiteX484" fmla="*/ 983472 w 2001134"/>
                    <a:gd name="connsiteY484" fmla="*/ 667784 h 2302701"/>
                    <a:gd name="connsiteX485" fmla="*/ 983472 w 2001134"/>
                    <a:gd name="connsiteY485" fmla="*/ 667784 h 2302701"/>
                    <a:gd name="connsiteX486" fmla="*/ 983169 w 2001134"/>
                    <a:gd name="connsiteY486" fmla="*/ 672525 h 2302701"/>
                    <a:gd name="connsiteX487" fmla="*/ 983169 w 2001134"/>
                    <a:gd name="connsiteY487" fmla="*/ 672525 h 2302701"/>
                    <a:gd name="connsiteX488" fmla="*/ 999912 w 2001134"/>
                    <a:gd name="connsiteY488" fmla="*/ 693100 h 2302701"/>
                    <a:gd name="connsiteX489" fmla="*/ 999912 w 2001134"/>
                    <a:gd name="connsiteY489" fmla="*/ 693100 h 2302701"/>
                    <a:gd name="connsiteX490" fmla="*/ 1008586 w 2001134"/>
                    <a:gd name="connsiteY490" fmla="*/ 691082 h 2302701"/>
                    <a:gd name="connsiteX491" fmla="*/ 1008586 w 2001134"/>
                    <a:gd name="connsiteY491" fmla="*/ 691082 h 2302701"/>
                    <a:gd name="connsiteX492" fmla="*/ 1030976 w 2001134"/>
                    <a:gd name="connsiteY492" fmla="*/ 684930 h 2302701"/>
                    <a:gd name="connsiteX493" fmla="*/ 1030976 w 2001134"/>
                    <a:gd name="connsiteY493" fmla="*/ 684930 h 2302701"/>
                    <a:gd name="connsiteX494" fmla="*/ 1051047 w 2001134"/>
                    <a:gd name="connsiteY494" fmla="*/ 697235 h 2302701"/>
                    <a:gd name="connsiteX495" fmla="*/ 1051047 w 2001134"/>
                    <a:gd name="connsiteY495" fmla="*/ 697235 h 2302701"/>
                    <a:gd name="connsiteX496" fmla="*/ 1051552 w 2001134"/>
                    <a:gd name="connsiteY496" fmla="*/ 700362 h 2302701"/>
                    <a:gd name="connsiteX497" fmla="*/ 1051552 w 2001134"/>
                    <a:gd name="connsiteY497" fmla="*/ 700362 h 2302701"/>
                    <a:gd name="connsiteX498" fmla="*/ 1017360 w 2001134"/>
                    <a:gd name="connsiteY498" fmla="*/ 746353 h 2302701"/>
                    <a:gd name="connsiteX499" fmla="*/ 1017360 w 2001134"/>
                    <a:gd name="connsiteY499" fmla="*/ 746353 h 2302701"/>
                    <a:gd name="connsiteX500" fmla="*/ 1017461 w 2001134"/>
                    <a:gd name="connsiteY500" fmla="*/ 746858 h 2302701"/>
                    <a:gd name="connsiteX501" fmla="*/ 1017461 w 2001134"/>
                    <a:gd name="connsiteY501" fmla="*/ 746858 h 2302701"/>
                    <a:gd name="connsiteX502" fmla="*/ 1055081 w 2001134"/>
                    <a:gd name="connsiteY502" fmla="*/ 787403 h 2302701"/>
                    <a:gd name="connsiteX503" fmla="*/ 1055081 w 2001134"/>
                    <a:gd name="connsiteY503" fmla="*/ 787403 h 2302701"/>
                    <a:gd name="connsiteX504" fmla="*/ 1057502 w 2001134"/>
                    <a:gd name="connsiteY504" fmla="*/ 787403 h 2302701"/>
                    <a:gd name="connsiteX505" fmla="*/ 1057502 w 2001134"/>
                    <a:gd name="connsiteY505" fmla="*/ 787403 h 2302701"/>
                    <a:gd name="connsiteX506" fmla="*/ 1060629 w 2001134"/>
                    <a:gd name="connsiteY506" fmla="*/ 787201 h 2302701"/>
                    <a:gd name="connsiteX507" fmla="*/ 1060629 w 2001134"/>
                    <a:gd name="connsiteY507" fmla="*/ 787201 h 2302701"/>
                    <a:gd name="connsiteX508" fmla="*/ 1121850 w 2001134"/>
                    <a:gd name="connsiteY508" fmla="*/ 829461 h 2302701"/>
                    <a:gd name="connsiteX509" fmla="*/ 1121850 w 2001134"/>
                    <a:gd name="connsiteY509" fmla="*/ 829461 h 2302701"/>
                    <a:gd name="connsiteX510" fmla="*/ 1122354 w 2001134"/>
                    <a:gd name="connsiteY510" fmla="*/ 834100 h 2302701"/>
                    <a:gd name="connsiteX511" fmla="*/ 1122354 w 2001134"/>
                    <a:gd name="connsiteY511" fmla="*/ 834100 h 2302701"/>
                    <a:gd name="connsiteX512" fmla="*/ 1087155 w 2001134"/>
                    <a:gd name="connsiteY512" fmla="*/ 871317 h 2302701"/>
                    <a:gd name="connsiteX513" fmla="*/ 1087155 w 2001134"/>
                    <a:gd name="connsiteY513" fmla="*/ 871317 h 2302701"/>
                    <a:gd name="connsiteX514" fmla="*/ 991440 w 2001134"/>
                    <a:gd name="connsiteY514" fmla="*/ 937380 h 2302701"/>
                    <a:gd name="connsiteX515" fmla="*/ 991440 w 2001134"/>
                    <a:gd name="connsiteY515" fmla="*/ 937380 h 2302701"/>
                    <a:gd name="connsiteX516" fmla="*/ 991541 w 2001134"/>
                    <a:gd name="connsiteY516" fmla="*/ 938892 h 2302701"/>
                    <a:gd name="connsiteX517" fmla="*/ 991541 w 2001134"/>
                    <a:gd name="connsiteY517" fmla="*/ 938892 h 2302701"/>
                    <a:gd name="connsiteX518" fmla="*/ 992247 w 2001134"/>
                    <a:gd name="connsiteY518" fmla="*/ 954526 h 2302701"/>
                    <a:gd name="connsiteX519" fmla="*/ 992247 w 2001134"/>
                    <a:gd name="connsiteY519" fmla="*/ 954526 h 2302701"/>
                    <a:gd name="connsiteX520" fmla="*/ 962393 w 2001134"/>
                    <a:gd name="connsiteY520" fmla="*/ 1007981 h 2302701"/>
                    <a:gd name="connsiteX521" fmla="*/ 962393 w 2001134"/>
                    <a:gd name="connsiteY521" fmla="*/ 1007981 h 2302701"/>
                    <a:gd name="connsiteX522" fmla="*/ 959165 w 2001134"/>
                    <a:gd name="connsiteY522" fmla="*/ 1007981 h 2302701"/>
                    <a:gd name="connsiteX523" fmla="*/ 959165 w 2001134"/>
                    <a:gd name="connsiteY523" fmla="*/ 1007981 h 2302701"/>
                    <a:gd name="connsiteX524" fmla="*/ 886345 w 2001134"/>
                    <a:gd name="connsiteY524" fmla="*/ 984984 h 2302701"/>
                    <a:gd name="connsiteX525" fmla="*/ 886345 w 2001134"/>
                    <a:gd name="connsiteY525" fmla="*/ 984984 h 2302701"/>
                    <a:gd name="connsiteX526" fmla="*/ 880193 w 2001134"/>
                    <a:gd name="connsiteY526" fmla="*/ 987002 h 2302701"/>
                    <a:gd name="connsiteX527" fmla="*/ 880193 w 2001134"/>
                    <a:gd name="connsiteY527" fmla="*/ 987002 h 2302701"/>
                    <a:gd name="connsiteX528" fmla="*/ 858508 w 2001134"/>
                    <a:gd name="connsiteY528" fmla="*/ 1030170 h 2302701"/>
                    <a:gd name="connsiteX529" fmla="*/ 858508 w 2001134"/>
                    <a:gd name="connsiteY529" fmla="*/ 1030170 h 2302701"/>
                    <a:gd name="connsiteX530" fmla="*/ 862038 w 2001134"/>
                    <a:gd name="connsiteY530" fmla="*/ 1043684 h 2302701"/>
                    <a:gd name="connsiteX531" fmla="*/ 862038 w 2001134"/>
                    <a:gd name="connsiteY531" fmla="*/ 1043684 h 2302701"/>
                    <a:gd name="connsiteX532" fmla="*/ 882916 w 2001134"/>
                    <a:gd name="connsiteY532" fmla="*/ 1094719 h 2302701"/>
                    <a:gd name="connsiteX533" fmla="*/ 882916 w 2001134"/>
                    <a:gd name="connsiteY533" fmla="*/ 1094719 h 2302701"/>
                    <a:gd name="connsiteX534" fmla="*/ 859113 w 2001134"/>
                    <a:gd name="connsiteY534" fmla="*/ 1113882 h 2302701"/>
                    <a:gd name="connsiteX535" fmla="*/ 859113 w 2001134"/>
                    <a:gd name="connsiteY535" fmla="*/ 1113882 h 2302701"/>
                    <a:gd name="connsiteX536" fmla="*/ 854978 w 2001134"/>
                    <a:gd name="connsiteY536" fmla="*/ 1113882 h 2302701"/>
                    <a:gd name="connsiteX537" fmla="*/ 854978 w 2001134"/>
                    <a:gd name="connsiteY537" fmla="*/ 1113882 h 2302701"/>
                    <a:gd name="connsiteX538" fmla="*/ 829965 w 2001134"/>
                    <a:gd name="connsiteY538" fmla="*/ 1112873 h 2302701"/>
                    <a:gd name="connsiteX539" fmla="*/ 829965 w 2001134"/>
                    <a:gd name="connsiteY539" fmla="*/ 1112873 h 2302701"/>
                    <a:gd name="connsiteX540" fmla="*/ 779132 w 2001134"/>
                    <a:gd name="connsiteY540" fmla="*/ 1134054 h 2302701"/>
                    <a:gd name="connsiteX541" fmla="*/ 779132 w 2001134"/>
                    <a:gd name="connsiteY541" fmla="*/ 1134054 h 2302701"/>
                    <a:gd name="connsiteX542" fmla="*/ 718416 w 2001134"/>
                    <a:gd name="connsiteY542" fmla="*/ 1156948 h 2302701"/>
                    <a:gd name="connsiteX543" fmla="*/ 718416 w 2001134"/>
                    <a:gd name="connsiteY543" fmla="*/ 1156948 h 2302701"/>
                    <a:gd name="connsiteX544" fmla="*/ 684426 w 2001134"/>
                    <a:gd name="connsiteY544" fmla="*/ 1186803 h 2302701"/>
                    <a:gd name="connsiteX545" fmla="*/ 684426 w 2001134"/>
                    <a:gd name="connsiteY545" fmla="*/ 1186803 h 2302701"/>
                    <a:gd name="connsiteX546" fmla="*/ 661531 w 2001134"/>
                    <a:gd name="connsiteY546" fmla="*/ 1177927 h 2302701"/>
                    <a:gd name="connsiteX547" fmla="*/ 661531 w 2001134"/>
                    <a:gd name="connsiteY547" fmla="*/ 1177927 h 2302701"/>
                    <a:gd name="connsiteX548" fmla="*/ 613220 w 2001134"/>
                    <a:gd name="connsiteY548" fmla="*/ 1157957 h 2302701"/>
                    <a:gd name="connsiteX549" fmla="*/ 613220 w 2001134"/>
                    <a:gd name="connsiteY549" fmla="*/ 1157957 h 2302701"/>
                    <a:gd name="connsiteX550" fmla="*/ 587501 w 2001134"/>
                    <a:gd name="connsiteY550" fmla="*/ 1185088 h 2302701"/>
                    <a:gd name="connsiteX551" fmla="*/ 587501 w 2001134"/>
                    <a:gd name="connsiteY551" fmla="*/ 1185088 h 2302701"/>
                    <a:gd name="connsiteX552" fmla="*/ 586997 w 2001134"/>
                    <a:gd name="connsiteY552" fmla="*/ 1195476 h 2302701"/>
                    <a:gd name="connsiteX553" fmla="*/ 586997 w 2001134"/>
                    <a:gd name="connsiteY553" fmla="*/ 1195476 h 2302701"/>
                    <a:gd name="connsiteX554" fmla="*/ 614531 w 2001134"/>
                    <a:gd name="connsiteY554" fmla="*/ 1273642 h 2302701"/>
                    <a:gd name="connsiteX555" fmla="*/ 614531 w 2001134"/>
                    <a:gd name="connsiteY555" fmla="*/ 1273642 h 2302701"/>
                    <a:gd name="connsiteX556" fmla="*/ 626533 w 2001134"/>
                    <a:gd name="connsiteY556" fmla="*/ 1301479 h 2302701"/>
                    <a:gd name="connsiteX557" fmla="*/ 626533 w 2001134"/>
                    <a:gd name="connsiteY557" fmla="*/ 1301479 h 2302701"/>
                    <a:gd name="connsiteX558" fmla="*/ 606261 w 2001134"/>
                    <a:gd name="connsiteY558" fmla="*/ 1333047 h 2302701"/>
                    <a:gd name="connsiteX559" fmla="*/ 606261 w 2001134"/>
                    <a:gd name="connsiteY559" fmla="*/ 1333047 h 2302701"/>
                    <a:gd name="connsiteX560" fmla="*/ 569447 w 2001134"/>
                    <a:gd name="connsiteY560" fmla="*/ 1344445 h 2302701"/>
                    <a:gd name="connsiteX561" fmla="*/ 569447 w 2001134"/>
                    <a:gd name="connsiteY561" fmla="*/ 1344445 h 2302701"/>
                    <a:gd name="connsiteX562" fmla="*/ 534651 w 2001134"/>
                    <a:gd name="connsiteY562" fmla="*/ 1337989 h 2302701"/>
                    <a:gd name="connsiteX563" fmla="*/ 534651 w 2001134"/>
                    <a:gd name="connsiteY563" fmla="*/ 1337989 h 2302701"/>
                    <a:gd name="connsiteX564" fmla="*/ 510546 w 2001134"/>
                    <a:gd name="connsiteY564" fmla="*/ 1334359 h 2302701"/>
                    <a:gd name="connsiteX565" fmla="*/ 510546 w 2001134"/>
                    <a:gd name="connsiteY565" fmla="*/ 1334359 h 2302701"/>
                    <a:gd name="connsiteX566" fmla="*/ 457696 w 2001134"/>
                    <a:gd name="connsiteY566" fmla="*/ 1341116 h 2302701"/>
                    <a:gd name="connsiteX567" fmla="*/ 457696 w 2001134"/>
                    <a:gd name="connsiteY567" fmla="*/ 1341116 h 2302701"/>
                    <a:gd name="connsiteX568" fmla="*/ 436415 w 2001134"/>
                    <a:gd name="connsiteY568" fmla="*/ 1342629 h 2302701"/>
                    <a:gd name="connsiteX569" fmla="*/ 436415 w 2001134"/>
                    <a:gd name="connsiteY569" fmla="*/ 1342629 h 2302701"/>
                    <a:gd name="connsiteX570" fmla="*/ 377514 w 2001134"/>
                    <a:gd name="connsiteY570" fmla="*/ 1338090 h 2302701"/>
                    <a:gd name="connsiteX571" fmla="*/ 377514 w 2001134"/>
                    <a:gd name="connsiteY571" fmla="*/ 1338090 h 2302701"/>
                    <a:gd name="connsiteX572" fmla="*/ 370454 w 2001134"/>
                    <a:gd name="connsiteY572" fmla="*/ 1338090 h 2302701"/>
                    <a:gd name="connsiteX573" fmla="*/ 370454 w 2001134"/>
                    <a:gd name="connsiteY573" fmla="*/ 1338090 h 2302701"/>
                    <a:gd name="connsiteX574" fmla="*/ 344936 w 2001134"/>
                    <a:gd name="connsiteY574" fmla="*/ 1352110 h 2302701"/>
                    <a:gd name="connsiteX575" fmla="*/ 344936 w 2001134"/>
                    <a:gd name="connsiteY575" fmla="*/ 1352110 h 2302701"/>
                    <a:gd name="connsiteX576" fmla="*/ 346449 w 2001134"/>
                    <a:gd name="connsiteY576" fmla="*/ 1364011 h 2302701"/>
                    <a:gd name="connsiteX577" fmla="*/ 346449 w 2001134"/>
                    <a:gd name="connsiteY577" fmla="*/ 1364011 h 2302701"/>
                    <a:gd name="connsiteX578" fmla="*/ 347760 w 2001134"/>
                    <a:gd name="connsiteY578" fmla="*/ 1378232 h 2302701"/>
                    <a:gd name="connsiteX579" fmla="*/ 347760 w 2001134"/>
                    <a:gd name="connsiteY579" fmla="*/ 1378232 h 2302701"/>
                    <a:gd name="connsiteX580" fmla="*/ 332228 w 2001134"/>
                    <a:gd name="connsiteY580" fmla="*/ 1414642 h 2302701"/>
                    <a:gd name="connsiteX581" fmla="*/ 332228 w 2001134"/>
                    <a:gd name="connsiteY581" fmla="*/ 1414642 h 2302701"/>
                    <a:gd name="connsiteX582" fmla="*/ 325773 w 2001134"/>
                    <a:gd name="connsiteY582" fmla="*/ 1408489 h 2302701"/>
                    <a:gd name="connsiteX583" fmla="*/ 325773 w 2001134"/>
                    <a:gd name="connsiteY583" fmla="*/ 1408489 h 2302701"/>
                    <a:gd name="connsiteX584" fmla="*/ 310443 w 2001134"/>
                    <a:gd name="connsiteY584" fmla="*/ 1364818 h 2302701"/>
                    <a:gd name="connsiteX585" fmla="*/ 310443 w 2001134"/>
                    <a:gd name="connsiteY585" fmla="*/ 1364818 h 2302701"/>
                    <a:gd name="connsiteX586" fmla="*/ 308224 w 2001134"/>
                    <a:gd name="connsiteY586" fmla="*/ 1365625 h 2302701"/>
                    <a:gd name="connsiteX587" fmla="*/ 308224 w 2001134"/>
                    <a:gd name="connsiteY587" fmla="*/ 1365625 h 2302701"/>
                    <a:gd name="connsiteX588" fmla="*/ 278773 w 2001134"/>
                    <a:gd name="connsiteY588" fmla="*/ 1372685 h 2302701"/>
                    <a:gd name="connsiteX589" fmla="*/ 278773 w 2001134"/>
                    <a:gd name="connsiteY589" fmla="*/ 1372685 h 2302701"/>
                    <a:gd name="connsiteX590" fmla="*/ 235303 w 2001134"/>
                    <a:gd name="connsiteY590" fmla="*/ 1364414 h 2302701"/>
                    <a:gd name="connsiteX591" fmla="*/ 235303 w 2001134"/>
                    <a:gd name="connsiteY591" fmla="*/ 1364414 h 2302701"/>
                    <a:gd name="connsiteX592" fmla="*/ 194859 w 2001134"/>
                    <a:gd name="connsiteY592" fmla="*/ 1356649 h 2302701"/>
                    <a:gd name="connsiteX593" fmla="*/ 194859 w 2001134"/>
                    <a:gd name="connsiteY593" fmla="*/ 1356649 h 2302701"/>
                    <a:gd name="connsiteX594" fmla="*/ 172972 w 2001134"/>
                    <a:gd name="connsiteY594" fmla="*/ 1365423 h 2302701"/>
                    <a:gd name="connsiteX595" fmla="*/ 172972 w 2001134"/>
                    <a:gd name="connsiteY595" fmla="*/ 1365423 h 2302701"/>
                    <a:gd name="connsiteX596" fmla="*/ 147657 w 2001134"/>
                    <a:gd name="connsiteY596" fmla="*/ 1380451 h 2302701"/>
                    <a:gd name="connsiteX597" fmla="*/ 147657 w 2001134"/>
                    <a:gd name="connsiteY597" fmla="*/ 1380451 h 2302701"/>
                    <a:gd name="connsiteX598" fmla="*/ 131923 w 2001134"/>
                    <a:gd name="connsiteY598" fmla="*/ 1376417 h 2302701"/>
                    <a:gd name="connsiteX599" fmla="*/ 131923 w 2001134"/>
                    <a:gd name="connsiteY599" fmla="*/ 1376417 h 2302701"/>
                    <a:gd name="connsiteX600" fmla="*/ 97026 w 2001134"/>
                    <a:gd name="connsiteY600" fmla="*/ 1356548 h 2302701"/>
                    <a:gd name="connsiteX601" fmla="*/ 97026 w 2001134"/>
                    <a:gd name="connsiteY601" fmla="*/ 1356548 h 2302701"/>
                    <a:gd name="connsiteX602" fmla="*/ 85528 w 2001134"/>
                    <a:gd name="connsiteY602" fmla="*/ 1369961 h 2302701"/>
                    <a:gd name="connsiteX603" fmla="*/ 85528 w 2001134"/>
                    <a:gd name="connsiteY603" fmla="*/ 1369961 h 2302701"/>
                    <a:gd name="connsiteX604" fmla="*/ 26021 w 2001134"/>
                    <a:gd name="connsiteY604" fmla="*/ 1446917 h 2302701"/>
                    <a:gd name="connsiteX605" fmla="*/ 26021 w 2001134"/>
                    <a:gd name="connsiteY605" fmla="*/ 1446917 h 2302701"/>
                    <a:gd name="connsiteX606" fmla="*/ 12002 w 2001134"/>
                    <a:gd name="connsiteY606" fmla="*/ 1497951 h 2302701"/>
                    <a:gd name="connsiteX607" fmla="*/ 12002 w 2001134"/>
                    <a:gd name="connsiteY607" fmla="*/ 1497951 h 2302701"/>
                    <a:gd name="connsiteX608" fmla="*/ 29652 w 2001134"/>
                    <a:gd name="connsiteY608" fmla="*/ 1562602 h 2302701"/>
                    <a:gd name="connsiteX609" fmla="*/ 29652 w 2001134"/>
                    <a:gd name="connsiteY609" fmla="*/ 1562602 h 2302701"/>
                    <a:gd name="connsiteX610" fmla="*/ 122039 w 2001134"/>
                    <a:gd name="connsiteY610" fmla="*/ 1606274 h 2302701"/>
                    <a:gd name="connsiteX611" fmla="*/ 122039 w 2001134"/>
                    <a:gd name="connsiteY611" fmla="*/ 1606274 h 2302701"/>
                    <a:gd name="connsiteX612" fmla="*/ 168333 w 2001134"/>
                    <a:gd name="connsiteY612" fmla="*/ 1655694 h 2302701"/>
                    <a:gd name="connsiteX613" fmla="*/ 168333 w 2001134"/>
                    <a:gd name="connsiteY613" fmla="*/ 1655694 h 2302701"/>
                    <a:gd name="connsiteX614" fmla="*/ 183865 w 2001134"/>
                    <a:gd name="connsiteY614" fmla="*/ 1745559 h 2302701"/>
                    <a:gd name="connsiteX615" fmla="*/ 183865 w 2001134"/>
                    <a:gd name="connsiteY615" fmla="*/ 1745559 h 2302701"/>
                    <a:gd name="connsiteX616" fmla="*/ 145640 w 2001134"/>
                    <a:gd name="connsiteY616" fmla="*/ 1852267 h 2302701"/>
                    <a:gd name="connsiteX617" fmla="*/ 145640 w 2001134"/>
                    <a:gd name="connsiteY617" fmla="*/ 1852267 h 2302701"/>
                    <a:gd name="connsiteX618" fmla="*/ 119820 w 2001134"/>
                    <a:gd name="connsiteY618" fmla="*/ 1895536 h 2302701"/>
                    <a:gd name="connsiteX619" fmla="*/ 119820 w 2001134"/>
                    <a:gd name="connsiteY619" fmla="*/ 1895536 h 2302701"/>
                    <a:gd name="connsiteX620" fmla="*/ 131116 w 2001134"/>
                    <a:gd name="connsiteY620" fmla="*/ 1926500 h 2302701"/>
                    <a:gd name="connsiteX621" fmla="*/ 131116 w 2001134"/>
                    <a:gd name="connsiteY621" fmla="*/ 1926500 h 2302701"/>
                    <a:gd name="connsiteX622" fmla="*/ 175595 w 2001134"/>
                    <a:gd name="connsiteY622" fmla="*/ 1962909 h 2302701"/>
                    <a:gd name="connsiteX623" fmla="*/ 175595 w 2001134"/>
                    <a:gd name="connsiteY623" fmla="*/ 1962909 h 2302701"/>
                    <a:gd name="connsiteX624" fmla="*/ 182756 w 2001134"/>
                    <a:gd name="connsiteY624" fmla="*/ 1961195 h 2302701"/>
                    <a:gd name="connsiteX625" fmla="*/ 182756 w 2001134"/>
                    <a:gd name="connsiteY625" fmla="*/ 1961195 h 2302701"/>
                    <a:gd name="connsiteX626" fmla="*/ 220174 w 2001134"/>
                    <a:gd name="connsiteY626" fmla="*/ 1947680 h 2302701"/>
                    <a:gd name="connsiteX627" fmla="*/ 220174 w 2001134"/>
                    <a:gd name="connsiteY627" fmla="*/ 1947680 h 2302701"/>
                    <a:gd name="connsiteX628" fmla="*/ 245389 w 2001134"/>
                    <a:gd name="connsiteY628" fmla="*/ 1955042 h 2302701"/>
                    <a:gd name="connsiteX629" fmla="*/ 245389 w 2001134"/>
                    <a:gd name="connsiteY629" fmla="*/ 1955042 h 2302701"/>
                    <a:gd name="connsiteX630" fmla="*/ 289767 w 2001134"/>
                    <a:gd name="connsiteY630" fmla="*/ 1991251 h 2302701"/>
                    <a:gd name="connsiteX631" fmla="*/ 289767 w 2001134"/>
                    <a:gd name="connsiteY631" fmla="*/ 1991251 h 2302701"/>
                    <a:gd name="connsiteX632" fmla="*/ 265258 w 2001134"/>
                    <a:gd name="connsiteY632" fmla="*/ 2014347 h 2302701"/>
                    <a:gd name="connsiteX633" fmla="*/ 265258 w 2001134"/>
                    <a:gd name="connsiteY633" fmla="*/ 2014347 h 2302701"/>
                    <a:gd name="connsiteX634" fmla="*/ 260316 w 2001134"/>
                    <a:gd name="connsiteY634" fmla="*/ 2013843 h 2302701"/>
                    <a:gd name="connsiteX635" fmla="*/ 260316 w 2001134"/>
                    <a:gd name="connsiteY635" fmla="*/ 2013843 h 2302701"/>
                    <a:gd name="connsiteX636" fmla="*/ 219670 w 2001134"/>
                    <a:gd name="connsiteY636" fmla="*/ 2010010 h 2302701"/>
                    <a:gd name="connsiteX637" fmla="*/ 219670 w 2001134"/>
                    <a:gd name="connsiteY637" fmla="*/ 2010010 h 2302701"/>
                    <a:gd name="connsiteX638" fmla="*/ 185076 w 2001134"/>
                    <a:gd name="connsiteY638" fmla="*/ 2018583 h 2302701"/>
                    <a:gd name="connsiteX639" fmla="*/ 185076 w 2001134"/>
                    <a:gd name="connsiteY639" fmla="*/ 2018583 h 2302701"/>
                    <a:gd name="connsiteX640" fmla="*/ 169442 w 2001134"/>
                    <a:gd name="connsiteY640" fmla="*/ 2088175 h 2302701"/>
                    <a:gd name="connsiteX641" fmla="*/ 169442 w 2001134"/>
                    <a:gd name="connsiteY641" fmla="*/ 2088175 h 2302701"/>
                    <a:gd name="connsiteX642" fmla="*/ 88856 w 2001134"/>
                    <a:gd name="connsiteY642" fmla="*/ 2101792 h 2302701"/>
                    <a:gd name="connsiteX643" fmla="*/ 88856 w 2001134"/>
                    <a:gd name="connsiteY643" fmla="*/ 2101792 h 2302701"/>
                    <a:gd name="connsiteX644" fmla="*/ 30258 w 2001134"/>
                    <a:gd name="connsiteY644" fmla="*/ 2088478 h 2302701"/>
                    <a:gd name="connsiteX645" fmla="*/ 30258 w 2001134"/>
                    <a:gd name="connsiteY645" fmla="*/ 2088478 h 2302701"/>
                    <a:gd name="connsiteX646" fmla="*/ 21382 w 2001134"/>
                    <a:gd name="connsiteY646" fmla="*/ 2077686 h 2302701"/>
                    <a:gd name="connsiteX647" fmla="*/ 21382 w 2001134"/>
                    <a:gd name="connsiteY647" fmla="*/ 2077686 h 2302701"/>
                    <a:gd name="connsiteX648" fmla="*/ 9380 w 2001134"/>
                    <a:gd name="connsiteY648" fmla="*/ 2136588 h 2302701"/>
                    <a:gd name="connsiteX649" fmla="*/ 9380 w 2001134"/>
                    <a:gd name="connsiteY649" fmla="*/ 2136588 h 2302701"/>
                    <a:gd name="connsiteX650" fmla="*/ 6959 w 2001134"/>
                    <a:gd name="connsiteY650" fmla="*/ 2149599 h 2302701"/>
                    <a:gd name="connsiteX651" fmla="*/ 6959 w 2001134"/>
                    <a:gd name="connsiteY651" fmla="*/ 2149599 h 2302701"/>
                    <a:gd name="connsiteX652" fmla="*/ 36914 w 2001134"/>
                    <a:gd name="connsiteY652" fmla="*/ 2185201 h 2302701"/>
                    <a:gd name="connsiteX653" fmla="*/ 36914 w 2001134"/>
                    <a:gd name="connsiteY653" fmla="*/ 2185201 h 2302701"/>
                    <a:gd name="connsiteX654" fmla="*/ 97732 w 2001134"/>
                    <a:gd name="connsiteY654" fmla="*/ 2196195 h 2302701"/>
                    <a:gd name="connsiteX655" fmla="*/ 97732 w 2001134"/>
                    <a:gd name="connsiteY655" fmla="*/ 2196195 h 2302701"/>
                    <a:gd name="connsiteX656" fmla="*/ 126577 w 2001134"/>
                    <a:gd name="connsiteY656" fmla="*/ 2187421 h 2302701"/>
                    <a:gd name="connsiteX657" fmla="*/ 126577 w 2001134"/>
                    <a:gd name="connsiteY657" fmla="*/ 2187421 h 2302701"/>
                    <a:gd name="connsiteX658" fmla="*/ 155827 w 2001134"/>
                    <a:gd name="connsiteY658" fmla="*/ 2127612 h 2302701"/>
                    <a:gd name="connsiteX659" fmla="*/ 155827 w 2001134"/>
                    <a:gd name="connsiteY659" fmla="*/ 2127612 h 2302701"/>
                    <a:gd name="connsiteX660" fmla="*/ 162180 w 2001134"/>
                    <a:gd name="connsiteY660" fmla="*/ 2127107 h 2302701"/>
                    <a:gd name="connsiteX661" fmla="*/ 162180 w 2001134"/>
                    <a:gd name="connsiteY661" fmla="*/ 2127107 h 2302701"/>
                    <a:gd name="connsiteX662" fmla="*/ 197279 w 2001134"/>
                    <a:gd name="connsiteY662" fmla="*/ 2161701 h 2302701"/>
                    <a:gd name="connsiteX663" fmla="*/ 197279 w 2001134"/>
                    <a:gd name="connsiteY663" fmla="*/ 2161701 h 2302701"/>
                    <a:gd name="connsiteX664" fmla="*/ 197985 w 2001134"/>
                    <a:gd name="connsiteY664" fmla="*/ 2179553 h 2302701"/>
                    <a:gd name="connsiteX665" fmla="*/ 197985 w 2001134"/>
                    <a:gd name="connsiteY665" fmla="*/ 2179553 h 2302701"/>
                    <a:gd name="connsiteX666" fmla="*/ 182252 w 2001134"/>
                    <a:gd name="connsiteY666" fmla="*/ 2210719 h 2302701"/>
                    <a:gd name="connsiteX667" fmla="*/ 182252 w 2001134"/>
                    <a:gd name="connsiteY667" fmla="*/ 2210719 h 2302701"/>
                    <a:gd name="connsiteX668" fmla="*/ 160870 w 2001134"/>
                    <a:gd name="connsiteY668" fmla="*/ 2253886 h 2302701"/>
                    <a:gd name="connsiteX669" fmla="*/ 160870 w 2001134"/>
                    <a:gd name="connsiteY669" fmla="*/ 2253886 h 2302701"/>
                    <a:gd name="connsiteX670" fmla="*/ 170451 w 2001134"/>
                    <a:gd name="connsiteY670" fmla="*/ 2277790 h 2302701"/>
                    <a:gd name="connsiteX671" fmla="*/ 170451 w 2001134"/>
                    <a:gd name="connsiteY671" fmla="*/ 2277790 h 2302701"/>
                    <a:gd name="connsiteX672" fmla="*/ 201818 w 2001134"/>
                    <a:gd name="connsiteY672" fmla="*/ 2290397 h 2302701"/>
                    <a:gd name="connsiteX673" fmla="*/ 201818 w 2001134"/>
                    <a:gd name="connsiteY673" fmla="*/ 2290397 h 2302701"/>
                    <a:gd name="connsiteX674" fmla="*/ 244279 w 2001134"/>
                    <a:gd name="connsiteY674" fmla="*/ 2261350 h 2302701"/>
                    <a:gd name="connsiteX675" fmla="*/ 244279 w 2001134"/>
                    <a:gd name="connsiteY675" fmla="*/ 2261350 h 2302701"/>
                    <a:gd name="connsiteX676" fmla="*/ 288859 w 2001134"/>
                    <a:gd name="connsiteY676" fmla="*/ 2221006 h 2302701"/>
                    <a:gd name="connsiteX677" fmla="*/ 288859 w 2001134"/>
                    <a:gd name="connsiteY677" fmla="*/ 2221006 h 2302701"/>
                    <a:gd name="connsiteX678" fmla="*/ 294003 w 2001134"/>
                    <a:gd name="connsiteY678" fmla="*/ 2221511 h 2302701"/>
                    <a:gd name="connsiteX679" fmla="*/ 294003 w 2001134"/>
                    <a:gd name="connsiteY679" fmla="*/ 2221511 h 2302701"/>
                    <a:gd name="connsiteX680" fmla="*/ 315284 w 2001134"/>
                    <a:gd name="connsiteY680" fmla="*/ 2226150 h 2302701"/>
                    <a:gd name="connsiteX681" fmla="*/ 315284 w 2001134"/>
                    <a:gd name="connsiteY681" fmla="*/ 2226150 h 2302701"/>
                    <a:gd name="connsiteX682" fmla="*/ 333035 w 2001134"/>
                    <a:gd name="connsiteY682" fmla="*/ 2214148 h 2302701"/>
                    <a:gd name="connsiteX683" fmla="*/ 333035 w 2001134"/>
                    <a:gd name="connsiteY683" fmla="*/ 2214148 h 2302701"/>
                    <a:gd name="connsiteX684" fmla="*/ 377514 w 2001134"/>
                    <a:gd name="connsiteY684" fmla="*/ 2193472 h 2302701"/>
                    <a:gd name="connsiteX685" fmla="*/ 377514 w 2001134"/>
                    <a:gd name="connsiteY685" fmla="*/ 2193472 h 2302701"/>
                    <a:gd name="connsiteX686" fmla="*/ 405452 w 2001134"/>
                    <a:gd name="connsiteY686" fmla="*/ 2203457 h 2302701"/>
                    <a:gd name="connsiteX687" fmla="*/ 405452 w 2001134"/>
                    <a:gd name="connsiteY687" fmla="*/ 2203457 h 2302701"/>
                    <a:gd name="connsiteX688" fmla="*/ 431876 w 2001134"/>
                    <a:gd name="connsiteY688" fmla="*/ 2227259 h 2302701"/>
                    <a:gd name="connsiteX689" fmla="*/ 431876 w 2001134"/>
                    <a:gd name="connsiteY689" fmla="*/ 2227259 h 2302701"/>
                    <a:gd name="connsiteX690" fmla="*/ 439541 w 2001134"/>
                    <a:gd name="connsiteY690" fmla="*/ 2226755 h 2302701"/>
                    <a:gd name="connsiteX691" fmla="*/ 439541 w 2001134"/>
                    <a:gd name="connsiteY691" fmla="*/ 2226755 h 2302701"/>
                    <a:gd name="connsiteX692" fmla="*/ 445391 w 2001134"/>
                    <a:gd name="connsiteY692" fmla="*/ 2226251 h 2302701"/>
                    <a:gd name="connsiteX693" fmla="*/ 445391 w 2001134"/>
                    <a:gd name="connsiteY693" fmla="*/ 2226251 h 2302701"/>
                    <a:gd name="connsiteX694" fmla="*/ 472522 w 2001134"/>
                    <a:gd name="connsiteY694" fmla="*/ 2256710 h 2302701"/>
                    <a:gd name="connsiteX695" fmla="*/ 472522 w 2001134"/>
                    <a:gd name="connsiteY695" fmla="*/ 2256710 h 2302701"/>
                    <a:gd name="connsiteX696" fmla="*/ 508630 w 2001134"/>
                    <a:gd name="connsiteY696" fmla="*/ 2279303 h 2302701"/>
                    <a:gd name="connsiteX697" fmla="*/ 508630 w 2001134"/>
                    <a:gd name="connsiteY697" fmla="*/ 2279303 h 2302701"/>
                    <a:gd name="connsiteX698" fmla="*/ 529507 w 2001134"/>
                    <a:gd name="connsiteY698" fmla="*/ 2297255 h 2302701"/>
                    <a:gd name="connsiteX699" fmla="*/ 529507 w 2001134"/>
                    <a:gd name="connsiteY699" fmla="*/ 2297255 h 2302701"/>
                    <a:gd name="connsiteX700" fmla="*/ 538181 w 2001134"/>
                    <a:gd name="connsiteY700" fmla="*/ 2291002 h 2302701"/>
                    <a:gd name="connsiteX701" fmla="*/ 538181 w 2001134"/>
                    <a:gd name="connsiteY701" fmla="*/ 2291002 h 2302701"/>
                    <a:gd name="connsiteX702" fmla="*/ 565111 w 2001134"/>
                    <a:gd name="connsiteY702" fmla="*/ 2258728 h 2302701"/>
                    <a:gd name="connsiteX703" fmla="*/ 565111 w 2001134"/>
                    <a:gd name="connsiteY703" fmla="*/ 2258728 h 2302701"/>
                    <a:gd name="connsiteX704" fmla="*/ 582862 w 2001134"/>
                    <a:gd name="connsiteY704" fmla="*/ 2269318 h 2302701"/>
                    <a:gd name="connsiteX705" fmla="*/ 582862 w 2001134"/>
                    <a:gd name="connsiteY705" fmla="*/ 2269318 h 2302701"/>
                    <a:gd name="connsiteX706" fmla="*/ 622802 w 2001134"/>
                    <a:gd name="connsiteY706" fmla="*/ 2295138 h 2302701"/>
                    <a:gd name="connsiteX707" fmla="*/ 622802 w 2001134"/>
                    <a:gd name="connsiteY707" fmla="*/ 2295138 h 2302701"/>
                    <a:gd name="connsiteX708" fmla="*/ 630063 w 2001134"/>
                    <a:gd name="connsiteY708" fmla="*/ 2288380 h 2302701"/>
                    <a:gd name="connsiteX709" fmla="*/ 630063 w 2001134"/>
                    <a:gd name="connsiteY709" fmla="*/ 2288380 h 2302701"/>
                    <a:gd name="connsiteX710" fmla="*/ 630063 w 2001134"/>
                    <a:gd name="connsiteY710" fmla="*/ 2286665 h 2302701"/>
                    <a:gd name="connsiteX711" fmla="*/ 630063 w 2001134"/>
                    <a:gd name="connsiteY711" fmla="*/ 2286665 h 2302701"/>
                    <a:gd name="connsiteX712" fmla="*/ 616246 w 2001134"/>
                    <a:gd name="connsiteY712" fmla="*/ 2241884 h 2302701"/>
                    <a:gd name="connsiteX713" fmla="*/ 616246 w 2001134"/>
                    <a:gd name="connsiteY713" fmla="*/ 2241884 h 2302701"/>
                    <a:gd name="connsiteX714" fmla="*/ 623810 w 2001134"/>
                    <a:gd name="connsiteY714" fmla="*/ 2233815 h 2302701"/>
                    <a:gd name="connsiteX715" fmla="*/ 623810 w 2001134"/>
                    <a:gd name="connsiteY715" fmla="*/ 2233815 h 2302701"/>
                    <a:gd name="connsiteX716" fmla="*/ 706615 w 2001134"/>
                    <a:gd name="connsiteY716" fmla="*/ 2213139 h 2302701"/>
                    <a:gd name="connsiteX717" fmla="*/ 706615 w 2001134"/>
                    <a:gd name="connsiteY717" fmla="*/ 2213139 h 2302701"/>
                    <a:gd name="connsiteX718" fmla="*/ 794564 w 2001134"/>
                    <a:gd name="connsiteY718" fmla="*/ 2178242 h 2302701"/>
                    <a:gd name="connsiteX719" fmla="*/ 794564 w 2001134"/>
                    <a:gd name="connsiteY719" fmla="*/ 2178242 h 2302701"/>
                    <a:gd name="connsiteX720" fmla="*/ 831781 w 2001134"/>
                    <a:gd name="connsiteY720" fmla="*/ 2177133 h 2302701"/>
                    <a:gd name="connsiteX721" fmla="*/ 831781 w 2001134"/>
                    <a:gd name="connsiteY721" fmla="*/ 2177133 h 2302701"/>
                    <a:gd name="connsiteX722" fmla="*/ 888261 w 2001134"/>
                    <a:gd name="connsiteY722" fmla="*/ 2194279 h 2302701"/>
                    <a:gd name="connsiteX723" fmla="*/ 888261 w 2001134"/>
                    <a:gd name="connsiteY723" fmla="*/ 2194279 h 2302701"/>
                    <a:gd name="connsiteX724" fmla="*/ 919326 w 2001134"/>
                    <a:gd name="connsiteY724" fmla="*/ 2205474 h 2302701"/>
                    <a:gd name="connsiteX725" fmla="*/ 919326 w 2001134"/>
                    <a:gd name="connsiteY725" fmla="*/ 2205474 h 2302701"/>
                    <a:gd name="connsiteX726" fmla="*/ 943129 w 2001134"/>
                    <a:gd name="connsiteY726" fmla="*/ 2181974 h 2302701"/>
                    <a:gd name="connsiteX727" fmla="*/ 943129 w 2001134"/>
                    <a:gd name="connsiteY727" fmla="*/ 2181974 h 2302701"/>
                    <a:gd name="connsiteX728" fmla="*/ 943028 w 2001134"/>
                    <a:gd name="connsiteY728" fmla="*/ 2177839 h 2302701"/>
                    <a:gd name="connsiteX729" fmla="*/ 943028 w 2001134"/>
                    <a:gd name="connsiteY729" fmla="*/ 2177839 h 2302701"/>
                    <a:gd name="connsiteX730" fmla="*/ 861332 w 2001134"/>
                    <a:gd name="connsiteY730" fmla="*/ 2117223 h 2302701"/>
                    <a:gd name="connsiteX731" fmla="*/ 861332 w 2001134"/>
                    <a:gd name="connsiteY731" fmla="*/ 2117223 h 2302701"/>
                    <a:gd name="connsiteX732" fmla="*/ 856491 w 2001134"/>
                    <a:gd name="connsiteY732" fmla="*/ 2060944 h 2302701"/>
                    <a:gd name="connsiteX733" fmla="*/ 856491 w 2001134"/>
                    <a:gd name="connsiteY733" fmla="*/ 2060944 h 2302701"/>
                    <a:gd name="connsiteX734" fmla="*/ 871922 w 2001134"/>
                    <a:gd name="connsiteY734" fmla="*/ 1958976 h 2302701"/>
                    <a:gd name="connsiteX735" fmla="*/ 871922 w 2001134"/>
                    <a:gd name="connsiteY735" fmla="*/ 1958976 h 2302701"/>
                    <a:gd name="connsiteX736" fmla="*/ 879184 w 2001134"/>
                    <a:gd name="connsiteY736" fmla="*/ 1924583 h 2302701"/>
                    <a:gd name="connsiteX737" fmla="*/ 879184 w 2001134"/>
                    <a:gd name="connsiteY737" fmla="*/ 1924583 h 2302701"/>
                    <a:gd name="connsiteX738" fmla="*/ 866779 w 2001134"/>
                    <a:gd name="connsiteY738" fmla="*/ 1888072 h 2302701"/>
                    <a:gd name="connsiteX739" fmla="*/ 866779 w 2001134"/>
                    <a:gd name="connsiteY739" fmla="*/ 1888072 h 2302701"/>
                    <a:gd name="connsiteX740" fmla="*/ 860122 w 2001134"/>
                    <a:gd name="connsiteY740" fmla="*/ 1887164 h 2302701"/>
                    <a:gd name="connsiteX741" fmla="*/ 860122 w 2001134"/>
                    <a:gd name="connsiteY741" fmla="*/ 1887164 h 2302701"/>
                    <a:gd name="connsiteX742" fmla="*/ 816148 w 2001134"/>
                    <a:gd name="connsiteY742" fmla="*/ 1900175 h 2302701"/>
                    <a:gd name="connsiteX743" fmla="*/ 816148 w 2001134"/>
                    <a:gd name="connsiteY743" fmla="*/ 1900175 h 2302701"/>
                    <a:gd name="connsiteX744" fmla="*/ 803137 w 2001134"/>
                    <a:gd name="connsiteY744" fmla="*/ 1876877 h 2302701"/>
                    <a:gd name="connsiteX745" fmla="*/ 803137 w 2001134"/>
                    <a:gd name="connsiteY745" fmla="*/ 1876877 h 2302701"/>
                    <a:gd name="connsiteX746" fmla="*/ 803944 w 2001134"/>
                    <a:gd name="connsiteY746" fmla="*/ 1862555 h 2302701"/>
                    <a:gd name="connsiteX747" fmla="*/ 803944 w 2001134"/>
                    <a:gd name="connsiteY747" fmla="*/ 1862555 h 2302701"/>
                    <a:gd name="connsiteX748" fmla="*/ 825628 w 2001134"/>
                    <a:gd name="connsiteY748" fmla="*/ 1791450 h 2302701"/>
                    <a:gd name="connsiteX749" fmla="*/ 825628 w 2001134"/>
                    <a:gd name="connsiteY749" fmla="*/ 1791450 h 2302701"/>
                    <a:gd name="connsiteX750" fmla="*/ 830268 w 2001134"/>
                    <a:gd name="connsiteY750" fmla="*/ 1792357 h 2302701"/>
                    <a:gd name="connsiteX751" fmla="*/ 830268 w 2001134"/>
                    <a:gd name="connsiteY751" fmla="*/ 1792357 h 2302701"/>
                    <a:gd name="connsiteX752" fmla="*/ 858206 w 2001134"/>
                    <a:gd name="connsiteY752" fmla="*/ 1806276 h 2302701"/>
                    <a:gd name="connsiteX753" fmla="*/ 858206 w 2001134"/>
                    <a:gd name="connsiteY753" fmla="*/ 1806276 h 2302701"/>
                    <a:gd name="connsiteX754" fmla="*/ 868896 w 2001134"/>
                    <a:gd name="connsiteY754" fmla="*/ 1798510 h 2302701"/>
                    <a:gd name="connsiteX755" fmla="*/ 868896 w 2001134"/>
                    <a:gd name="connsiteY755" fmla="*/ 1798510 h 2302701"/>
                    <a:gd name="connsiteX756" fmla="*/ 870914 w 2001134"/>
                    <a:gd name="connsiteY756" fmla="*/ 1792458 h 2302701"/>
                    <a:gd name="connsiteX757" fmla="*/ 870914 w 2001134"/>
                    <a:gd name="connsiteY757" fmla="*/ 1792458 h 2302701"/>
                    <a:gd name="connsiteX758" fmla="*/ 844489 w 2001134"/>
                    <a:gd name="connsiteY758" fmla="*/ 1762301 h 2302701"/>
                    <a:gd name="connsiteX759" fmla="*/ 844489 w 2001134"/>
                    <a:gd name="connsiteY759" fmla="*/ 1762301 h 2302701"/>
                    <a:gd name="connsiteX760" fmla="*/ 846002 w 2001134"/>
                    <a:gd name="connsiteY760" fmla="*/ 1757158 h 2302701"/>
                    <a:gd name="connsiteX761" fmla="*/ 846002 w 2001134"/>
                    <a:gd name="connsiteY761" fmla="*/ 1757158 h 2302701"/>
                    <a:gd name="connsiteX762" fmla="*/ 866577 w 2001134"/>
                    <a:gd name="connsiteY762" fmla="*/ 1715100 h 2302701"/>
                    <a:gd name="connsiteX763" fmla="*/ 866577 w 2001134"/>
                    <a:gd name="connsiteY763" fmla="*/ 1715100 h 2302701"/>
                    <a:gd name="connsiteX764" fmla="*/ 852759 w 2001134"/>
                    <a:gd name="connsiteY764" fmla="*/ 1653475 h 2302701"/>
                    <a:gd name="connsiteX765" fmla="*/ 852759 w 2001134"/>
                    <a:gd name="connsiteY765" fmla="*/ 1653475 h 2302701"/>
                    <a:gd name="connsiteX766" fmla="*/ 847817 w 2001134"/>
                    <a:gd name="connsiteY766" fmla="*/ 1634110 h 2302701"/>
                    <a:gd name="connsiteX767" fmla="*/ 847817 w 2001134"/>
                    <a:gd name="connsiteY767" fmla="*/ 1634110 h 2302701"/>
                    <a:gd name="connsiteX768" fmla="*/ 859718 w 2001134"/>
                    <a:gd name="connsiteY768" fmla="*/ 1621402 h 2302701"/>
                    <a:gd name="connsiteX769" fmla="*/ 859718 w 2001134"/>
                    <a:gd name="connsiteY769" fmla="*/ 1621402 h 2302701"/>
                    <a:gd name="connsiteX770" fmla="*/ 877671 w 2001134"/>
                    <a:gd name="connsiteY770" fmla="*/ 1627353 h 2302701"/>
                    <a:gd name="connsiteX771" fmla="*/ 877671 w 2001134"/>
                    <a:gd name="connsiteY771" fmla="*/ 1627353 h 2302701"/>
                    <a:gd name="connsiteX772" fmla="*/ 895523 w 2001134"/>
                    <a:gd name="connsiteY772" fmla="*/ 1631992 h 2302701"/>
                    <a:gd name="connsiteX773" fmla="*/ 895523 w 2001134"/>
                    <a:gd name="connsiteY773" fmla="*/ 1631992 h 2302701"/>
                    <a:gd name="connsiteX774" fmla="*/ 929210 w 2001134"/>
                    <a:gd name="connsiteY774" fmla="*/ 1589430 h 2302701"/>
                    <a:gd name="connsiteX775" fmla="*/ 929210 w 2001134"/>
                    <a:gd name="connsiteY775" fmla="*/ 1589430 h 2302701"/>
                    <a:gd name="connsiteX776" fmla="*/ 1068193 w 2001134"/>
                    <a:gd name="connsiteY776" fmla="*/ 1433906 h 2302701"/>
                    <a:gd name="connsiteX777" fmla="*/ 1068193 w 2001134"/>
                    <a:gd name="connsiteY777" fmla="*/ 1433906 h 2302701"/>
                    <a:gd name="connsiteX778" fmla="*/ 1068395 w 2001134"/>
                    <a:gd name="connsiteY778" fmla="*/ 1433906 h 2302701"/>
                    <a:gd name="connsiteX779" fmla="*/ 1068395 w 2001134"/>
                    <a:gd name="connsiteY779" fmla="*/ 1433906 h 2302701"/>
                    <a:gd name="connsiteX780" fmla="*/ 1069302 w 2001134"/>
                    <a:gd name="connsiteY780" fmla="*/ 1434007 h 2302701"/>
                    <a:gd name="connsiteX781" fmla="*/ 1069302 w 2001134"/>
                    <a:gd name="connsiteY781" fmla="*/ 1434007 h 2302701"/>
                    <a:gd name="connsiteX782" fmla="*/ 1124170 w 2001134"/>
                    <a:gd name="connsiteY782" fmla="*/ 1439756 h 2302701"/>
                    <a:gd name="connsiteX783" fmla="*/ 1124170 w 2001134"/>
                    <a:gd name="connsiteY783" fmla="*/ 1439756 h 2302701"/>
                    <a:gd name="connsiteX784" fmla="*/ 1199612 w 2001134"/>
                    <a:gd name="connsiteY784" fmla="*/ 1408489 h 2302701"/>
                    <a:gd name="connsiteX785" fmla="*/ 1199612 w 2001134"/>
                    <a:gd name="connsiteY785" fmla="*/ 1408489 h 2302701"/>
                    <a:gd name="connsiteX786" fmla="*/ 1348983 w 2001134"/>
                    <a:gd name="connsiteY786" fmla="*/ 1304303 h 2302701"/>
                    <a:gd name="connsiteX787" fmla="*/ 1348983 w 2001134"/>
                    <a:gd name="connsiteY787" fmla="*/ 1304303 h 2302701"/>
                    <a:gd name="connsiteX788" fmla="*/ 1478688 w 2001134"/>
                    <a:gd name="connsiteY788" fmla="*/ 1209698 h 2302701"/>
                    <a:gd name="connsiteX789" fmla="*/ 1478688 w 2001134"/>
                    <a:gd name="connsiteY789" fmla="*/ 1209698 h 2302701"/>
                    <a:gd name="connsiteX790" fmla="*/ 1498254 w 2001134"/>
                    <a:gd name="connsiteY790" fmla="*/ 1207277 h 2302701"/>
                    <a:gd name="connsiteX791" fmla="*/ 1498254 w 2001134"/>
                    <a:gd name="connsiteY791" fmla="*/ 1207277 h 2302701"/>
                    <a:gd name="connsiteX792" fmla="*/ 1547675 w 2001134"/>
                    <a:gd name="connsiteY792" fmla="*/ 1226440 h 2302701"/>
                    <a:gd name="connsiteX793" fmla="*/ 1547675 w 2001134"/>
                    <a:gd name="connsiteY793" fmla="*/ 1226440 h 2302701"/>
                    <a:gd name="connsiteX794" fmla="*/ 1551911 w 2001134"/>
                    <a:gd name="connsiteY794" fmla="*/ 1241367 h 2302701"/>
                    <a:gd name="connsiteX795" fmla="*/ 1551911 w 2001134"/>
                    <a:gd name="connsiteY795" fmla="*/ 1241367 h 2302701"/>
                    <a:gd name="connsiteX796" fmla="*/ 1546263 w 2001134"/>
                    <a:gd name="connsiteY796" fmla="*/ 1273339 h 2302701"/>
                    <a:gd name="connsiteX797" fmla="*/ 1546263 w 2001134"/>
                    <a:gd name="connsiteY797" fmla="*/ 1273339 h 2302701"/>
                    <a:gd name="connsiteX798" fmla="*/ 1548280 w 2001134"/>
                    <a:gd name="connsiteY798" fmla="*/ 1277676 h 2302701"/>
                    <a:gd name="connsiteX799" fmla="*/ 1548280 w 2001134"/>
                    <a:gd name="connsiteY799" fmla="*/ 1277676 h 2302701"/>
                    <a:gd name="connsiteX800" fmla="*/ 1588623 w 2001134"/>
                    <a:gd name="connsiteY800" fmla="*/ 1294015 h 2302701"/>
                    <a:gd name="connsiteX801" fmla="*/ 1588623 w 2001134"/>
                    <a:gd name="connsiteY801" fmla="*/ 1294015 h 2302701"/>
                    <a:gd name="connsiteX802" fmla="*/ 1598911 w 2001134"/>
                    <a:gd name="connsiteY802" fmla="*/ 1293107 h 2302701"/>
                    <a:gd name="connsiteX803" fmla="*/ 1598911 w 2001134"/>
                    <a:gd name="connsiteY803" fmla="*/ 1293107 h 2302701"/>
                    <a:gd name="connsiteX804" fmla="*/ 1637842 w 2001134"/>
                    <a:gd name="connsiteY804" fmla="*/ 1272633 h 2302701"/>
                    <a:gd name="connsiteX805" fmla="*/ 1637842 w 2001134"/>
                    <a:gd name="connsiteY805" fmla="*/ 1272633 h 2302701"/>
                    <a:gd name="connsiteX806" fmla="*/ 1721454 w 2001134"/>
                    <a:gd name="connsiteY806" fmla="*/ 1222204 h 2302701"/>
                    <a:gd name="connsiteX807" fmla="*/ 1721454 w 2001134"/>
                    <a:gd name="connsiteY807" fmla="*/ 1222204 h 2302701"/>
                    <a:gd name="connsiteX808" fmla="*/ 1751409 w 2001134"/>
                    <a:gd name="connsiteY808" fmla="*/ 1178431 h 2302701"/>
                    <a:gd name="connsiteX809" fmla="*/ 1751409 w 2001134"/>
                    <a:gd name="connsiteY809" fmla="*/ 1178431 h 2302701"/>
                    <a:gd name="connsiteX810" fmla="*/ 1751308 w 2001134"/>
                    <a:gd name="connsiteY810" fmla="*/ 1172682 h 2302701"/>
                    <a:gd name="connsiteX811" fmla="*/ 1751308 w 2001134"/>
                    <a:gd name="connsiteY811" fmla="*/ 1172682 h 2302701"/>
                    <a:gd name="connsiteX812" fmla="*/ 1751107 w 2001134"/>
                    <a:gd name="connsiteY812" fmla="*/ 1164614 h 2302701"/>
                    <a:gd name="connsiteX813" fmla="*/ 1751107 w 2001134"/>
                    <a:gd name="connsiteY813" fmla="*/ 1164614 h 2302701"/>
                    <a:gd name="connsiteX814" fmla="*/ 1791954 w 2001134"/>
                    <a:gd name="connsiteY814" fmla="*/ 1089676 h 2302701"/>
                    <a:gd name="connsiteX815" fmla="*/ 1791954 w 2001134"/>
                    <a:gd name="connsiteY815" fmla="*/ 1089676 h 2302701"/>
                    <a:gd name="connsiteX816" fmla="*/ 1797602 w 2001134"/>
                    <a:gd name="connsiteY816" fmla="*/ 1089273 h 2302701"/>
                    <a:gd name="connsiteX817" fmla="*/ 1797602 w 2001134"/>
                    <a:gd name="connsiteY817" fmla="*/ 1089273 h 2302701"/>
                    <a:gd name="connsiteX818" fmla="*/ 1840164 w 2001134"/>
                    <a:gd name="connsiteY818" fmla="*/ 1096837 h 2302701"/>
                    <a:gd name="connsiteX819" fmla="*/ 1840164 w 2001134"/>
                    <a:gd name="connsiteY819" fmla="*/ 1096837 h 2302701"/>
                    <a:gd name="connsiteX820" fmla="*/ 1855697 w 2001134"/>
                    <a:gd name="connsiteY820" fmla="*/ 1081405 h 2302701"/>
                    <a:gd name="connsiteX821" fmla="*/ 1855697 w 2001134"/>
                    <a:gd name="connsiteY821" fmla="*/ 1081405 h 2302701"/>
                    <a:gd name="connsiteX822" fmla="*/ 1869716 w 2001134"/>
                    <a:gd name="connsiteY822" fmla="*/ 1016755 h 2302701"/>
                    <a:gd name="connsiteX823" fmla="*/ 1869716 w 2001134"/>
                    <a:gd name="connsiteY823" fmla="*/ 1016755 h 2302701"/>
                    <a:gd name="connsiteX824" fmla="*/ 1875163 w 2001134"/>
                    <a:gd name="connsiteY824" fmla="*/ 983270 h 2302701"/>
                    <a:gd name="connsiteX825" fmla="*/ 1875163 w 2001134"/>
                    <a:gd name="connsiteY825" fmla="*/ 983270 h 2302701"/>
                    <a:gd name="connsiteX826" fmla="*/ 1873044 w 2001134"/>
                    <a:gd name="connsiteY826" fmla="*/ 952205 h 2302701"/>
                    <a:gd name="connsiteX827" fmla="*/ 1873044 w 2001134"/>
                    <a:gd name="connsiteY827" fmla="*/ 952205 h 2302701"/>
                    <a:gd name="connsiteX828" fmla="*/ 1872943 w 2001134"/>
                    <a:gd name="connsiteY828" fmla="*/ 949886 h 2302701"/>
                    <a:gd name="connsiteX829" fmla="*/ 1872943 w 2001134"/>
                    <a:gd name="connsiteY829" fmla="*/ 949886 h 2302701"/>
                    <a:gd name="connsiteX830" fmla="*/ 1912682 w 2001134"/>
                    <a:gd name="connsiteY830" fmla="*/ 918115 h 2302701"/>
                    <a:gd name="connsiteX831" fmla="*/ 1912682 w 2001134"/>
                    <a:gd name="connsiteY831" fmla="*/ 918115 h 2302701"/>
                    <a:gd name="connsiteX832" fmla="*/ 1953933 w 2001134"/>
                    <a:gd name="connsiteY832" fmla="*/ 875049 h 2302701"/>
                    <a:gd name="connsiteX833" fmla="*/ 1953933 w 2001134"/>
                    <a:gd name="connsiteY833" fmla="*/ 875049 h 2302701"/>
                    <a:gd name="connsiteX834" fmla="*/ 1988830 w 2001134"/>
                    <a:gd name="connsiteY834" fmla="*/ 832486 h 2302701"/>
                    <a:gd name="connsiteX835" fmla="*/ 1988830 w 2001134"/>
                    <a:gd name="connsiteY835" fmla="*/ 832486 h 2302701"/>
                    <a:gd name="connsiteX836" fmla="*/ 1995588 w 2001134"/>
                    <a:gd name="connsiteY836" fmla="*/ 809390 h 2302701"/>
                    <a:gd name="connsiteX837" fmla="*/ 1995588 w 2001134"/>
                    <a:gd name="connsiteY837" fmla="*/ 809390 h 2302701"/>
                    <a:gd name="connsiteX838" fmla="*/ 1990444 w 2001134"/>
                    <a:gd name="connsiteY838" fmla="*/ 793958 h 2302701"/>
                    <a:gd name="connsiteX839" fmla="*/ 1990444 w 2001134"/>
                    <a:gd name="connsiteY839" fmla="*/ 793958 h 2302701"/>
                    <a:gd name="connsiteX840" fmla="*/ 1927407 w 2001134"/>
                    <a:gd name="connsiteY840" fmla="*/ 745950 h 2302701"/>
                    <a:gd name="connsiteX841" fmla="*/ 1927407 w 2001134"/>
                    <a:gd name="connsiteY841" fmla="*/ 745950 h 2302701"/>
                    <a:gd name="connsiteX842" fmla="*/ 1927911 w 2001134"/>
                    <a:gd name="connsiteY842" fmla="*/ 743227 h 2302701"/>
                    <a:gd name="connsiteX843" fmla="*/ 1928416 w 2001134"/>
                    <a:gd name="connsiteY843" fmla="*/ 740503 h 2302701"/>
                    <a:gd name="connsiteX844" fmla="*/ 1993974 w 2001134"/>
                    <a:gd name="connsiteY844" fmla="*/ 789823 h 2302701"/>
                    <a:gd name="connsiteX845" fmla="*/ 1993974 w 2001134"/>
                    <a:gd name="connsiteY845" fmla="*/ 789823 h 2302701"/>
                    <a:gd name="connsiteX846" fmla="*/ 2001135 w 2001134"/>
                    <a:gd name="connsiteY846" fmla="*/ 809491 h 2302701"/>
                    <a:gd name="connsiteX847" fmla="*/ 2001135 w 2001134"/>
                    <a:gd name="connsiteY847" fmla="*/ 809491 h 2302701"/>
                    <a:gd name="connsiteX848" fmla="*/ 1988729 w 2001134"/>
                    <a:gd name="connsiteY848" fmla="*/ 838235 h 2302701"/>
                    <a:gd name="connsiteX849" fmla="*/ 1988729 w 2001134"/>
                    <a:gd name="connsiteY849" fmla="*/ 838235 h 2302701"/>
                    <a:gd name="connsiteX850" fmla="*/ 1957463 w 2001134"/>
                    <a:gd name="connsiteY850" fmla="*/ 879285 h 2302701"/>
                    <a:gd name="connsiteX851" fmla="*/ 1957463 w 2001134"/>
                    <a:gd name="connsiteY851" fmla="*/ 879285 h 2302701"/>
                    <a:gd name="connsiteX852" fmla="*/ 1915203 w 2001134"/>
                    <a:gd name="connsiteY852" fmla="*/ 923057 h 2302701"/>
                    <a:gd name="connsiteX853" fmla="*/ 1915203 w 2001134"/>
                    <a:gd name="connsiteY853" fmla="*/ 923057 h 2302701"/>
                    <a:gd name="connsiteX854" fmla="*/ 1878390 w 2001134"/>
                    <a:gd name="connsiteY854" fmla="*/ 949987 h 2302701"/>
                    <a:gd name="connsiteX855" fmla="*/ 1878390 w 2001134"/>
                    <a:gd name="connsiteY855" fmla="*/ 949987 h 2302701"/>
                    <a:gd name="connsiteX856" fmla="*/ 1878490 w 2001134"/>
                    <a:gd name="connsiteY856" fmla="*/ 951701 h 2302701"/>
                    <a:gd name="connsiteX857" fmla="*/ 1878490 w 2001134"/>
                    <a:gd name="connsiteY857" fmla="*/ 951701 h 2302701"/>
                    <a:gd name="connsiteX858" fmla="*/ 1880508 w 2001134"/>
                    <a:gd name="connsiteY858" fmla="*/ 983371 h 2302701"/>
                    <a:gd name="connsiteX859" fmla="*/ 1880508 w 2001134"/>
                    <a:gd name="connsiteY859" fmla="*/ 983371 h 2302701"/>
                    <a:gd name="connsiteX860" fmla="*/ 1874759 w 2001134"/>
                    <a:gd name="connsiteY860" fmla="*/ 1019075 h 2302701"/>
                    <a:gd name="connsiteX861" fmla="*/ 1874759 w 2001134"/>
                    <a:gd name="connsiteY861" fmla="*/ 1019075 h 2302701"/>
                    <a:gd name="connsiteX862" fmla="*/ 1860941 w 2001134"/>
                    <a:gd name="connsiteY862" fmla="*/ 1082918 h 2302701"/>
                    <a:gd name="connsiteX863" fmla="*/ 1860941 w 2001134"/>
                    <a:gd name="connsiteY863" fmla="*/ 1082918 h 2302701"/>
                    <a:gd name="connsiteX864" fmla="*/ 1839963 w 2001134"/>
                    <a:gd name="connsiteY864" fmla="*/ 1102586 h 2302701"/>
                    <a:gd name="connsiteX865" fmla="*/ 1839963 w 2001134"/>
                    <a:gd name="connsiteY865" fmla="*/ 1102586 h 2302701"/>
                    <a:gd name="connsiteX866" fmla="*/ 1797400 w 2001134"/>
                    <a:gd name="connsiteY866" fmla="*/ 1095022 h 2302701"/>
                    <a:gd name="connsiteX867" fmla="*/ 1797400 w 2001134"/>
                    <a:gd name="connsiteY867" fmla="*/ 1095022 h 2302701"/>
                    <a:gd name="connsiteX868" fmla="*/ 1792458 w 2001134"/>
                    <a:gd name="connsiteY868" fmla="*/ 1095425 h 2302701"/>
                    <a:gd name="connsiteX869" fmla="*/ 1792458 w 2001134"/>
                    <a:gd name="connsiteY869" fmla="*/ 1095425 h 2302701"/>
                    <a:gd name="connsiteX870" fmla="*/ 1756553 w 2001134"/>
                    <a:gd name="connsiteY870" fmla="*/ 1164815 h 2302701"/>
                    <a:gd name="connsiteX871" fmla="*/ 1756553 w 2001134"/>
                    <a:gd name="connsiteY871" fmla="*/ 1164815 h 2302701"/>
                    <a:gd name="connsiteX872" fmla="*/ 1756654 w 2001134"/>
                    <a:gd name="connsiteY872" fmla="*/ 1172682 h 2302701"/>
                    <a:gd name="connsiteX873" fmla="*/ 1756654 w 2001134"/>
                    <a:gd name="connsiteY873" fmla="*/ 1172682 h 2302701"/>
                    <a:gd name="connsiteX874" fmla="*/ 1756755 w 2001134"/>
                    <a:gd name="connsiteY874" fmla="*/ 1178633 h 2302701"/>
                    <a:gd name="connsiteX875" fmla="*/ 1756755 w 2001134"/>
                    <a:gd name="connsiteY875" fmla="*/ 1178633 h 2302701"/>
                    <a:gd name="connsiteX876" fmla="*/ 1723875 w 2001134"/>
                    <a:gd name="connsiteY876" fmla="*/ 1227247 h 2302701"/>
                    <a:gd name="connsiteX877" fmla="*/ 1723875 w 2001134"/>
                    <a:gd name="connsiteY877" fmla="*/ 1227247 h 2302701"/>
                    <a:gd name="connsiteX878" fmla="*/ 1641272 w 2001134"/>
                    <a:gd name="connsiteY878" fmla="*/ 1276970 h 2302701"/>
                    <a:gd name="connsiteX879" fmla="*/ 1641272 w 2001134"/>
                    <a:gd name="connsiteY879" fmla="*/ 1276970 h 2302701"/>
                    <a:gd name="connsiteX880" fmla="*/ 1599516 w 2001134"/>
                    <a:gd name="connsiteY880" fmla="*/ 1298856 h 2302701"/>
                    <a:gd name="connsiteX881" fmla="*/ 1599516 w 2001134"/>
                    <a:gd name="connsiteY881" fmla="*/ 1298856 h 2302701"/>
                    <a:gd name="connsiteX882" fmla="*/ 1588321 w 2001134"/>
                    <a:gd name="connsiteY882" fmla="*/ 1299865 h 2302701"/>
                    <a:gd name="connsiteX883" fmla="*/ 1588321 w 2001134"/>
                    <a:gd name="connsiteY883" fmla="*/ 1299865 h 2302701"/>
                    <a:gd name="connsiteX884" fmla="*/ 1545657 w 2001134"/>
                    <a:gd name="connsiteY884" fmla="*/ 1282921 h 2302701"/>
                    <a:gd name="connsiteX885" fmla="*/ 1545657 w 2001134"/>
                    <a:gd name="connsiteY885" fmla="*/ 1282921 h 2302701"/>
                    <a:gd name="connsiteX886" fmla="*/ 1540211 w 2001134"/>
                    <a:gd name="connsiteY886" fmla="*/ 1273440 h 2302701"/>
                    <a:gd name="connsiteX887" fmla="*/ 1540211 w 2001134"/>
                    <a:gd name="connsiteY887" fmla="*/ 1273440 h 2302701"/>
                    <a:gd name="connsiteX888" fmla="*/ 1545960 w 2001134"/>
                    <a:gd name="connsiteY888" fmla="*/ 1241468 h 2302701"/>
                    <a:gd name="connsiteX889" fmla="*/ 1545960 w 2001134"/>
                    <a:gd name="connsiteY889" fmla="*/ 1241468 h 2302701"/>
                    <a:gd name="connsiteX890" fmla="*/ 1542733 w 2001134"/>
                    <a:gd name="connsiteY890" fmla="*/ 1229768 h 2302701"/>
                    <a:gd name="connsiteX891" fmla="*/ 1542733 w 2001134"/>
                    <a:gd name="connsiteY891" fmla="*/ 1229768 h 2302701"/>
                    <a:gd name="connsiteX892" fmla="*/ 1497850 w 2001134"/>
                    <a:gd name="connsiteY892" fmla="*/ 1213026 h 2302701"/>
                    <a:gd name="connsiteX893" fmla="*/ 1497850 w 2001134"/>
                    <a:gd name="connsiteY893" fmla="*/ 1213026 h 2302701"/>
                    <a:gd name="connsiteX894" fmla="*/ 1479797 w 2001134"/>
                    <a:gd name="connsiteY894" fmla="*/ 1215245 h 2302701"/>
                    <a:gd name="connsiteX895" fmla="*/ 1479797 w 2001134"/>
                    <a:gd name="connsiteY895" fmla="*/ 1215245 h 2302701"/>
                    <a:gd name="connsiteX896" fmla="*/ 1352312 w 2001134"/>
                    <a:gd name="connsiteY896" fmla="*/ 1308438 h 2302701"/>
                    <a:gd name="connsiteX897" fmla="*/ 1352312 w 2001134"/>
                    <a:gd name="connsiteY897" fmla="*/ 1308438 h 2302701"/>
                    <a:gd name="connsiteX898" fmla="*/ 1202637 w 2001134"/>
                    <a:gd name="connsiteY898" fmla="*/ 1412927 h 2302701"/>
                    <a:gd name="connsiteX899" fmla="*/ 1202637 w 2001134"/>
                    <a:gd name="connsiteY899" fmla="*/ 1412927 h 2302701"/>
                    <a:gd name="connsiteX900" fmla="*/ 1123766 w 2001134"/>
                    <a:gd name="connsiteY900" fmla="*/ 1445404 h 2302701"/>
                    <a:gd name="connsiteX901" fmla="*/ 1123766 w 2001134"/>
                    <a:gd name="connsiteY901" fmla="*/ 1445404 h 2302701"/>
                    <a:gd name="connsiteX902" fmla="*/ 1067991 w 2001134"/>
                    <a:gd name="connsiteY902" fmla="*/ 1439453 h 2302701"/>
                    <a:gd name="connsiteX903" fmla="*/ 1067991 w 2001134"/>
                    <a:gd name="connsiteY903" fmla="*/ 1439453 h 2302701"/>
                    <a:gd name="connsiteX904" fmla="*/ 1067790 w 2001134"/>
                    <a:gd name="connsiteY904" fmla="*/ 1439453 h 2302701"/>
                    <a:gd name="connsiteX905" fmla="*/ 934253 w 2001134"/>
                    <a:gd name="connsiteY905" fmla="*/ 1590035 h 2302701"/>
                    <a:gd name="connsiteX906" fmla="*/ 934253 w 2001134"/>
                    <a:gd name="connsiteY906" fmla="*/ 1590035 h 2302701"/>
                    <a:gd name="connsiteX907" fmla="*/ 895120 w 2001134"/>
                    <a:gd name="connsiteY907" fmla="*/ 1637540 h 2302701"/>
                    <a:gd name="connsiteX908" fmla="*/ 895120 w 2001134"/>
                    <a:gd name="connsiteY908" fmla="*/ 1637540 h 2302701"/>
                    <a:gd name="connsiteX909" fmla="*/ 874545 w 2001134"/>
                    <a:gd name="connsiteY909" fmla="*/ 1632093 h 2302701"/>
                    <a:gd name="connsiteX910" fmla="*/ 874545 w 2001134"/>
                    <a:gd name="connsiteY910" fmla="*/ 1632093 h 2302701"/>
                    <a:gd name="connsiteX911" fmla="*/ 859315 w 2001134"/>
                    <a:gd name="connsiteY911" fmla="*/ 1626949 h 2302701"/>
                    <a:gd name="connsiteX912" fmla="*/ 859315 w 2001134"/>
                    <a:gd name="connsiteY912" fmla="*/ 1626949 h 2302701"/>
                    <a:gd name="connsiteX913" fmla="*/ 852961 w 2001134"/>
                    <a:gd name="connsiteY913" fmla="*/ 1634010 h 2302701"/>
                    <a:gd name="connsiteX914" fmla="*/ 852961 w 2001134"/>
                    <a:gd name="connsiteY914" fmla="*/ 1634010 h 2302701"/>
                    <a:gd name="connsiteX915" fmla="*/ 857600 w 2001134"/>
                    <a:gd name="connsiteY915" fmla="*/ 1651256 h 2302701"/>
                    <a:gd name="connsiteX916" fmla="*/ 857600 w 2001134"/>
                    <a:gd name="connsiteY916" fmla="*/ 1651256 h 2302701"/>
                    <a:gd name="connsiteX917" fmla="*/ 871721 w 2001134"/>
                    <a:gd name="connsiteY917" fmla="*/ 1714898 h 2302701"/>
                    <a:gd name="connsiteX918" fmla="*/ 871721 w 2001134"/>
                    <a:gd name="connsiteY918" fmla="*/ 1714898 h 2302701"/>
                    <a:gd name="connsiteX919" fmla="*/ 850339 w 2001134"/>
                    <a:gd name="connsiteY919" fmla="*/ 1759881 h 2302701"/>
                    <a:gd name="connsiteX920" fmla="*/ 850339 w 2001134"/>
                    <a:gd name="connsiteY920" fmla="*/ 1759881 h 2302701"/>
                    <a:gd name="connsiteX921" fmla="*/ 849632 w 2001134"/>
                    <a:gd name="connsiteY921" fmla="*/ 1762201 h 2302701"/>
                    <a:gd name="connsiteX922" fmla="*/ 849632 w 2001134"/>
                    <a:gd name="connsiteY922" fmla="*/ 1762201 h 2302701"/>
                    <a:gd name="connsiteX923" fmla="*/ 876158 w 2001134"/>
                    <a:gd name="connsiteY923" fmla="*/ 1792357 h 2302701"/>
                    <a:gd name="connsiteX924" fmla="*/ 876158 w 2001134"/>
                    <a:gd name="connsiteY924" fmla="*/ 1792357 h 2302701"/>
                    <a:gd name="connsiteX925" fmla="*/ 872931 w 2001134"/>
                    <a:gd name="connsiteY925" fmla="*/ 1801536 h 2302701"/>
                    <a:gd name="connsiteX926" fmla="*/ 872931 w 2001134"/>
                    <a:gd name="connsiteY926" fmla="*/ 1801536 h 2302701"/>
                    <a:gd name="connsiteX927" fmla="*/ 857701 w 2001134"/>
                    <a:gd name="connsiteY927" fmla="*/ 1811823 h 2302701"/>
                    <a:gd name="connsiteX928" fmla="*/ 857701 w 2001134"/>
                    <a:gd name="connsiteY928" fmla="*/ 1811823 h 2302701"/>
                    <a:gd name="connsiteX929" fmla="*/ 827847 w 2001134"/>
                    <a:gd name="connsiteY929" fmla="*/ 1797400 h 2302701"/>
                    <a:gd name="connsiteX930" fmla="*/ 827847 w 2001134"/>
                    <a:gd name="connsiteY930" fmla="*/ 1797400 h 2302701"/>
                    <a:gd name="connsiteX931" fmla="*/ 825225 w 2001134"/>
                    <a:gd name="connsiteY931" fmla="*/ 1796896 h 2302701"/>
                    <a:gd name="connsiteX932" fmla="*/ 825225 w 2001134"/>
                    <a:gd name="connsiteY932" fmla="*/ 1796896 h 2302701"/>
                    <a:gd name="connsiteX933" fmla="*/ 809087 w 2001134"/>
                    <a:gd name="connsiteY933" fmla="*/ 1862858 h 2302701"/>
                    <a:gd name="connsiteX934" fmla="*/ 809087 w 2001134"/>
                    <a:gd name="connsiteY934" fmla="*/ 1862858 h 2302701"/>
                    <a:gd name="connsiteX935" fmla="*/ 808280 w 2001134"/>
                    <a:gd name="connsiteY935" fmla="*/ 1876675 h 2302701"/>
                    <a:gd name="connsiteX936" fmla="*/ 808280 w 2001134"/>
                    <a:gd name="connsiteY936" fmla="*/ 1876675 h 2302701"/>
                    <a:gd name="connsiteX937" fmla="*/ 815744 w 2001134"/>
                    <a:gd name="connsiteY937" fmla="*/ 1894326 h 2302701"/>
                    <a:gd name="connsiteX938" fmla="*/ 815744 w 2001134"/>
                    <a:gd name="connsiteY938" fmla="*/ 1894326 h 2302701"/>
                    <a:gd name="connsiteX939" fmla="*/ 859718 w 2001134"/>
                    <a:gd name="connsiteY939" fmla="*/ 1881415 h 2302701"/>
                    <a:gd name="connsiteX940" fmla="*/ 859718 w 2001134"/>
                    <a:gd name="connsiteY940" fmla="*/ 1881415 h 2302701"/>
                    <a:gd name="connsiteX941" fmla="*/ 867888 w 2001134"/>
                    <a:gd name="connsiteY941" fmla="*/ 1882424 h 2302701"/>
                    <a:gd name="connsiteX942" fmla="*/ 867888 w 2001134"/>
                    <a:gd name="connsiteY942" fmla="*/ 1882424 h 2302701"/>
                    <a:gd name="connsiteX943" fmla="*/ 884328 w 2001134"/>
                    <a:gd name="connsiteY943" fmla="*/ 1924381 h 2302701"/>
                    <a:gd name="connsiteX944" fmla="*/ 884328 w 2001134"/>
                    <a:gd name="connsiteY944" fmla="*/ 1924381 h 2302701"/>
                    <a:gd name="connsiteX945" fmla="*/ 876663 w 2001134"/>
                    <a:gd name="connsiteY945" fmla="*/ 1961094 h 2302701"/>
                    <a:gd name="connsiteX946" fmla="*/ 876663 w 2001134"/>
                    <a:gd name="connsiteY946" fmla="*/ 1961094 h 2302701"/>
                    <a:gd name="connsiteX947" fmla="*/ 861837 w 2001134"/>
                    <a:gd name="connsiteY947" fmla="*/ 2060742 h 2302701"/>
                    <a:gd name="connsiteX948" fmla="*/ 861837 w 2001134"/>
                    <a:gd name="connsiteY948" fmla="*/ 2060742 h 2302701"/>
                    <a:gd name="connsiteX949" fmla="*/ 866476 w 2001134"/>
                    <a:gd name="connsiteY949" fmla="*/ 2115811 h 2302701"/>
                    <a:gd name="connsiteX950" fmla="*/ 866476 w 2001134"/>
                    <a:gd name="connsiteY950" fmla="*/ 2115811 h 2302701"/>
                    <a:gd name="connsiteX951" fmla="*/ 948272 w 2001134"/>
                    <a:gd name="connsiteY951" fmla="*/ 2177032 h 2302701"/>
                    <a:gd name="connsiteX952" fmla="*/ 948272 w 2001134"/>
                    <a:gd name="connsiteY952" fmla="*/ 2177032 h 2302701"/>
                    <a:gd name="connsiteX953" fmla="*/ 948474 w 2001134"/>
                    <a:gd name="connsiteY953" fmla="*/ 2181773 h 2302701"/>
                    <a:gd name="connsiteX954" fmla="*/ 948474 w 2001134"/>
                    <a:gd name="connsiteY954" fmla="*/ 2181773 h 2302701"/>
                    <a:gd name="connsiteX955" fmla="*/ 918922 w 2001134"/>
                    <a:gd name="connsiteY955" fmla="*/ 2210820 h 2302701"/>
                    <a:gd name="connsiteX956" fmla="*/ 918922 w 2001134"/>
                    <a:gd name="connsiteY956" fmla="*/ 2210820 h 2302701"/>
                    <a:gd name="connsiteX957" fmla="*/ 884731 w 2001134"/>
                    <a:gd name="connsiteY957" fmla="*/ 2198717 h 2302701"/>
                    <a:gd name="connsiteX958" fmla="*/ 884731 w 2001134"/>
                    <a:gd name="connsiteY958" fmla="*/ 2198717 h 2302701"/>
                    <a:gd name="connsiteX959" fmla="*/ 831377 w 2001134"/>
                    <a:gd name="connsiteY959" fmla="*/ 2182579 h 2302701"/>
                    <a:gd name="connsiteX960" fmla="*/ 831377 w 2001134"/>
                    <a:gd name="connsiteY960" fmla="*/ 2182579 h 2302701"/>
                    <a:gd name="connsiteX961" fmla="*/ 794160 w 2001134"/>
                    <a:gd name="connsiteY961" fmla="*/ 2183588 h 2302701"/>
                    <a:gd name="connsiteX962" fmla="*/ 794160 w 2001134"/>
                    <a:gd name="connsiteY962" fmla="*/ 2183588 h 2302701"/>
                    <a:gd name="connsiteX963" fmla="*/ 708229 w 2001134"/>
                    <a:gd name="connsiteY963" fmla="*/ 2218081 h 2302701"/>
                    <a:gd name="connsiteX964" fmla="*/ 708229 w 2001134"/>
                    <a:gd name="connsiteY964" fmla="*/ 2218081 h 2302701"/>
                    <a:gd name="connsiteX965" fmla="*/ 624012 w 2001134"/>
                    <a:gd name="connsiteY965" fmla="*/ 2239161 h 2302701"/>
                    <a:gd name="connsiteX966" fmla="*/ 624012 w 2001134"/>
                    <a:gd name="connsiteY966" fmla="*/ 2239161 h 2302701"/>
                    <a:gd name="connsiteX967" fmla="*/ 621490 w 2001134"/>
                    <a:gd name="connsiteY967" fmla="*/ 2241683 h 2302701"/>
                    <a:gd name="connsiteX968" fmla="*/ 621490 w 2001134"/>
                    <a:gd name="connsiteY968" fmla="*/ 2241683 h 2302701"/>
                    <a:gd name="connsiteX969" fmla="*/ 635308 w 2001134"/>
                    <a:gd name="connsiteY969" fmla="*/ 2286464 h 2302701"/>
                    <a:gd name="connsiteX970" fmla="*/ 635308 w 2001134"/>
                    <a:gd name="connsiteY970" fmla="*/ 2286464 h 2302701"/>
                    <a:gd name="connsiteX971" fmla="*/ 635207 w 2001134"/>
                    <a:gd name="connsiteY971" fmla="*/ 2288783 h 2302701"/>
                    <a:gd name="connsiteX972" fmla="*/ 635207 w 2001134"/>
                    <a:gd name="connsiteY972" fmla="*/ 2288783 h 2302701"/>
                    <a:gd name="connsiteX973" fmla="*/ 622398 w 2001134"/>
                    <a:gd name="connsiteY973" fmla="*/ 2300685 h 2302701"/>
                    <a:gd name="connsiteX974" fmla="*/ 622398 w 2001134"/>
                    <a:gd name="connsiteY974" fmla="*/ 2300685 h 2302701"/>
                    <a:gd name="connsiteX975" fmla="*/ 578121 w 2001134"/>
                    <a:gd name="connsiteY975" fmla="*/ 2272948 h 2302701"/>
                    <a:gd name="connsiteX976" fmla="*/ 578121 w 2001134"/>
                    <a:gd name="connsiteY976" fmla="*/ 2272948 h 2302701"/>
                    <a:gd name="connsiteX977" fmla="*/ 564707 w 2001134"/>
                    <a:gd name="connsiteY977" fmla="*/ 2264275 h 2302701"/>
                    <a:gd name="connsiteX978" fmla="*/ 564707 w 2001134"/>
                    <a:gd name="connsiteY978" fmla="*/ 2264275 h 2302701"/>
                    <a:gd name="connsiteX979" fmla="*/ 542922 w 2001134"/>
                    <a:gd name="connsiteY979" fmla="*/ 2293120 h 2302701"/>
                    <a:gd name="connsiteX980" fmla="*/ 542922 w 2001134"/>
                    <a:gd name="connsiteY980" fmla="*/ 2293120 h 2302701"/>
                    <a:gd name="connsiteX981" fmla="*/ 529104 w 2001134"/>
                    <a:gd name="connsiteY981" fmla="*/ 2302702 h 2302701"/>
                    <a:gd name="connsiteX982" fmla="*/ 529104 w 2001134"/>
                    <a:gd name="connsiteY982" fmla="*/ 2302702 h 2302701"/>
                    <a:gd name="connsiteX983" fmla="*/ 501670 w 2001134"/>
                    <a:gd name="connsiteY983" fmla="*/ 2279202 h 2302701"/>
                    <a:gd name="connsiteX984" fmla="*/ 501670 w 2001134"/>
                    <a:gd name="connsiteY984" fmla="*/ 2279202 h 2302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Lst>
                  <a:rect l="l" t="t" r="r" b="b"/>
                  <a:pathLst>
                    <a:path w="2001134" h="2302701">
                      <a:moveTo>
                        <a:pt x="501670" y="2279202"/>
                      </a:moveTo>
                      <a:cubicBezTo>
                        <a:pt x="499452" y="2265989"/>
                        <a:pt x="488962" y="2272747"/>
                        <a:pt x="468186" y="2260038"/>
                      </a:cubicBezTo>
                      <a:lnTo>
                        <a:pt x="468186" y="2260038"/>
                      </a:lnTo>
                      <a:cubicBezTo>
                        <a:pt x="448619" y="2245818"/>
                        <a:pt x="460621" y="2229176"/>
                        <a:pt x="443879" y="2230386"/>
                      </a:cubicBezTo>
                      <a:lnTo>
                        <a:pt x="443879" y="2230386"/>
                      </a:lnTo>
                      <a:cubicBezTo>
                        <a:pt x="442466" y="2230386"/>
                        <a:pt x="440752" y="2230588"/>
                        <a:pt x="438533" y="2230891"/>
                      </a:cubicBezTo>
                      <a:lnTo>
                        <a:pt x="438533" y="2230891"/>
                      </a:lnTo>
                      <a:cubicBezTo>
                        <a:pt x="435507" y="2231092"/>
                        <a:pt x="432885" y="2231496"/>
                        <a:pt x="430364" y="2231496"/>
                      </a:cubicBezTo>
                      <a:lnTo>
                        <a:pt x="430364" y="2231496"/>
                      </a:lnTo>
                      <a:cubicBezTo>
                        <a:pt x="408780" y="2231496"/>
                        <a:pt x="407973" y="2216468"/>
                        <a:pt x="399602" y="2205474"/>
                      </a:cubicBezTo>
                      <a:lnTo>
                        <a:pt x="399602" y="2205474"/>
                      </a:lnTo>
                      <a:cubicBezTo>
                        <a:pt x="396273" y="2200834"/>
                        <a:pt x="386893" y="2197607"/>
                        <a:pt x="376102" y="2197708"/>
                      </a:cubicBezTo>
                      <a:lnTo>
                        <a:pt x="376102" y="2197708"/>
                      </a:lnTo>
                      <a:cubicBezTo>
                        <a:pt x="360973" y="2197607"/>
                        <a:pt x="343625" y="2203659"/>
                        <a:pt x="336363" y="2215762"/>
                      </a:cubicBezTo>
                      <a:lnTo>
                        <a:pt x="336363" y="2215762"/>
                      </a:lnTo>
                      <a:cubicBezTo>
                        <a:pt x="329606" y="2226654"/>
                        <a:pt x="321537" y="2230386"/>
                        <a:pt x="313872" y="2230386"/>
                      </a:cubicBezTo>
                      <a:lnTo>
                        <a:pt x="313872" y="2230386"/>
                      </a:lnTo>
                      <a:cubicBezTo>
                        <a:pt x="305299" y="2230286"/>
                        <a:pt x="297634" y="2226352"/>
                        <a:pt x="291481" y="2225545"/>
                      </a:cubicBezTo>
                      <a:lnTo>
                        <a:pt x="291481" y="2225545"/>
                      </a:lnTo>
                      <a:cubicBezTo>
                        <a:pt x="290271" y="2225344"/>
                        <a:pt x="288960" y="2225344"/>
                        <a:pt x="287346" y="2225344"/>
                      </a:cubicBezTo>
                      <a:lnTo>
                        <a:pt x="287346" y="2225344"/>
                      </a:lnTo>
                      <a:cubicBezTo>
                        <a:pt x="276554" y="2225444"/>
                        <a:pt x="261426" y="2230790"/>
                        <a:pt x="247810" y="2262258"/>
                      </a:cubicBezTo>
                      <a:lnTo>
                        <a:pt x="247810" y="2262258"/>
                      </a:lnTo>
                      <a:cubicBezTo>
                        <a:pt x="238228" y="2284346"/>
                        <a:pt x="218863" y="2294734"/>
                        <a:pt x="200305" y="2294734"/>
                      </a:cubicBezTo>
                      <a:lnTo>
                        <a:pt x="200305" y="2294734"/>
                      </a:lnTo>
                      <a:cubicBezTo>
                        <a:pt x="187193" y="2294734"/>
                        <a:pt x="174284" y="2289792"/>
                        <a:pt x="165105" y="2280614"/>
                      </a:cubicBezTo>
                      <a:lnTo>
                        <a:pt x="165105" y="2280614"/>
                      </a:lnTo>
                      <a:cubicBezTo>
                        <a:pt x="157037" y="2272545"/>
                        <a:pt x="153809" y="2262661"/>
                        <a:pt x="153809" y="2252676"/>
                      </a:cubicBezTo>
                      <a:lnTo>
                        <a:pt x="153809" y="2252676"/>
                      </a:lnTo>
                      <a:cubicBezTo>
                        <a:pt x="153910" y="2234319"/>
                        <a:pt x="164399" y="2215762"/>
                        <a:pt x="177410" y="2205272"/>
                      </a:cubicBezTo>
                      <a:lnTo>
                        <a:pt x="177410" y="2205272"/>
                      </a:lnTo>
                      <a:cubicBezTo>
                        <a:pt x="189211" y="2195086"/>
                        <a:pt x="190825" y="2188026"/>
                        <a:pt x="190925" y="2178343"/>
                      </a:cubicBezTo>
                      <a:lnTo>
                        <a:pt x="190925" y="2178343"/>
                      </a:lnTo>
                      <a:cubicBezTo>
                        <a:pt x="190925" y="2173199"/>
                        <a:pt x="190320" y="2167249"/>
                        <a:pt x="190320" y="2160491"/>
                      </a:cubicBezTo>
                      <a:lnTo>
                        <a:pt x="190320" y="2160491"/>
                      </a:lnTo>
                      <a:cubicBezTo>
                        <a:pt x="190320" y="2144657"/>
                        <a:pt x="177309" y="2131444"/>
                        <a:pt x="160668" y="2131444"/>
                      </a:cubicBezTo>
                      <a:lnTo>
                        <a:pt x="160668" y="2131444"/>
                      </a:lnTo>
                      <a:cubicBezTo>
                        <a:pt x="158953" y="2131444"/>
                        <a:pt x="157238" y="2131646"/>
                        <a:pt x="155221" y="2131948"/>
                      </a:cubicBezTo>
                      <a:lnTo>
                        <a:pt x="155221" y="2131948"/>
                      </a:lnTo>
                      <a:cubicBezTo>
                        <a:pt x="138176" y="2132856"/>
                        <a:pt x="150481" y="2167047"/>
                        <a:pt x="128998" y="2190244"/>
                      </a:cubicBezTo>
                      <a:lnTo>
                        <a:pt x="128998" y="2190244"/>
                      </a:lnTo>
                      <a:cubicBezTo>
                        <a:pt x="120929" y="2198112"/>
                        <a:pt x="108927" y="2200532"/>
                        <a:pt x="96320" y="2200633"/>
                      </a:cubicBezTo>
                      <a:lnTo>
                        <a:pt x="96320" y="2200633"/>
                      </a:lnTo>
                      <a:cubicBezTo>
                        <a:pt x="72114" y="2200532"/>
                        <a:pt x="44378" y="2191455"/>
                        <a:pt x="34191" y="2189236"/>
                      </a:cubicBezTo>
                      <a:lnTo>
                        <a:pt x="34191" y="2189236"/>
                      </a:lnTo>
                      <a:cubicBezTo>
                        <a:pt x="20172" y="2185908"/>
                        <a:pt x="101" y="2171586"/>
                        <a:pt x="0" y="2148388"/>
                      </a:cubicBezTo>
                      <a:lnTo>
                        <a:pt x="0" y="2148388"/>
                      </a:lnTo>
                      <a:cubicBezTo>
                        <a:pt x="0" y="2143648"/>
                        <a:pt x="908" y="2138706"/>
                        <a:pt x="2723" y="2133562"/>
                      </a:cubicBezTo>
                      <a:lnTo>
                        <a:pt x="2723" y="2133562"/>
                      </a:lnTo>
                      <a:cubicBezTo>
                        <a:pt x="6253" y="2123577"/>
                        <a:pt x="10994" y="2097454"/>
                        <a:pt x="15532" y="2068307"/>
                      </a:cubicBezTo>
                      <a:lnTo>
                        <a:pt x="15532" y="2068307"/>
                      </a:lnTo>
                      <a:cubicBezTo>
                        <a:pt x="15734" y="2067096"/>
                        <a:pt x="16642" y="2066289"/>
                        <a:pt x="17852" y="2066087"/>
                      </a:cubicBezTo>
                      <a:lnTo>
                        <a:pt x="17852" y="2066087"/>
                      </a:lnTo>
                      <a:cubicBezTo>
                        <a:pt x="19062" y="2065886"/>
                        <a:pt x="20172" y="2066390"/>
                        <a:pt x="20777" y="2067399"/>
                      </a:cubicBezTo>
                      <a:lnTo>
                        <a:pt x="20777" y="2067399"/>
                      </a:lnTo>
                      <a:cubicBezTo>
                        <a:pt x="24206" y="2073047"/>
                        <a:pt x="27837" y="2078594"/>
                        <a:pt x="32678" y="2083032"/>
                      </a:cubicBezTo>
                      <a:lnTo>
                        <a:pt x="32678" y="2083032"/>
                      </a:lnTo>
                      <a:cubicBezTo>
                        <a:pt x="41150" y="2091302"/>
                        <a:pt x="63642" y="2095034"/>
                        <a:pt x="87545" y="2094933"/>
                      </a:cubicBezTo>
                      <a:lnTo>
                        <a:pt x="87545" y="2094933"/>
                      </a:lnTo>
                      <a:cubicBezTo>
                        <a:pt x="122241" y="2095337"/>
                        <a:pt x="161878" y="2086965"/>
                        <a:pt x="163794" y="2083435"/>
                      </a:cubicBezTo>
                      <a:lnTo>
                        <a:pt x="163794" y="2083435"/>
                      </a:lnTo>
                      <a:cubicBezTo>
                        <a:pt x="170249" y="2076375"/>
                        <a:pt x="170854" y="2031090"/>
                        <a:pt x="178822" y="2014851"/>
                      </a:cubicBezTo>
                      <a:lnTo>
                        <a:pt x="178822" y="2014851"/>
                      </a:lnTo>
                      <a:cubicBezTo>
                        <a:pt x="184470" y="2004665"/>
                        <a:pt x="201112" y="2003555"/>
                        <a:pt x="218359" y="2003253"/>
                      </a:cubicBezTo>
                      <a:lnTo>
                        <a:pt x="218359" y="2003253"/>
                      </a:lnTo>
                      <a:cubicBezTo>
                        <a:pt x="235404" y="2003253"/>
                        <a:pt x="253054" y="2005673"/>
                        <a:pt x="260013" y="2007287"/>
                      </a:cubicBezTo>
                      <a:lnTo>
                        <a:pt x="260013" y="2007287"/>
                      </a:lnTo>
                      <a:cubicBezTo>
                        <a:pt x="261526" y="2007388"/>
                        <a:pt x="262837" y="2007590"/>
                        <a:pt x="264048" y="2007590"/>
                      </a:cubicBezTo>
                      <a:lnTo>
                        <a:pt x="264048" y="2007590"/>
                      </a:lnTo>
                      <a:cubicBezTo>
                        <a:pt x="274335" y="2007590"/>
                        <a:pt x="283009" y="1997706"/>
                        <a:pt x="283009" y="1990040"/>
                      </a:cubicBezTo>
                      <a:lnTo>
                        <a:pt x="283009" y="1990040"/>
                      </a:lnTo>
                      <a:cubicBezTo>
                        <a:pt x="283816" y="1982577"/>
                        <a:pt x="267779" y="1973802"/>
                        <a:pt x="241254" y="1958572"/>
                      </a:cubicBezTo>
                      <a:lnTo>
                        <a:pt x="241254" y="1958572"/>
                      </a:lnTo>
                      <a:cubicBezTo>
                        <a:pt x="233084" y="1953631"/>
                        <a:pt x="225722" y="1952016"/>
                        <a:pt x="218863" y="1952016"/>
                      </a:cubicBezTo>
                      <a:lnTo>
                        <a:pt x="218863" y="1952016"/>
                      </a:lnTo>
                      <a:cubicBezTo>
                        <a:pt x="205045" y="1952016"/>
                        <a:pt x="193548" y="1959480"/>
                        <a:pt x="184067" y="1964927"/>
                      </a:cubicBezTo>
                      <a:lnTo>
                        <a:pt x="184067" y="1964927"/>
                      </a:lnTo>
                      <a:cubicBezTo>
                        <a:pt x="180940" y="1966439"/>
                        <a:pt x="177713" y="1967347"/>
                        <a:pt x="174284" y="1967347"/>
                      </a:cubicBezTo>
                      <a:lnTo>
                        <a:pt x="174284" y="1967347"/>
                      </a:lnTo>
                      <a:cubicBezTo>
                        <a:pt x="159760" y="1967044"/>
                        <a:pt x="144127" y="1953530"/>
                        <a:pt x="125266" y="1928617"/>
                      </a:cubicBezTo>
                      <a:lnTo>
                        <a:pt x="125266" y="1928617"/>
                      </a:lnTo>
                      <a:cubicBezTo>
                        <a:pt x="116592" y="1917220"/>
                        <a:pt x="112962" y="1905319"/>
                        <a:pt x="112962" y="1894326"/>
                      </a:cubicBezTo>
                      <a:lnTo>
                        <a:pt x="112962" y="1894326"/>
                      </a:lnTo>
                      <a:cubicBezTo>
                        <a:pt x="112962" y="1874254"/>
                        <a:pt x="124964" y="1856604"/>
                        <a:pt x="141404" y="1846418"/>
                      </a:cubicBezTo>
                      <a:lnTo>
                        <a:pt x="141404" y="1846418"/>
                      </a:lnTo>
                      <a:cubicBezTo>
                        <a:pt x="164198" y="1832600"/>
                        <a:pt x="177108" y="1778943"/>
                        <a:pt x="176906" y="1744349"/>
                      </a:cubicBezTo>
                      <a:lnTo>
                        <a:pt x="176906" y="1744349"/>
                      </a:lnTo>
                      <a:cubicBezTo>
                        <a:pt x="177007" y="1709654"/>
                        <a:pt x="166316" y="1669713"/>
                        <a:pt x="161676" y="1656198"/>
                      </a:cubicBezTo>
                      <a:lnTo>
                        <a:pt x="161676" y="1656198"/>
                      </a:lnTo>
                      <a:cubicBezTo>
                        <a:pt x="157037" y="1642481"/>
                        <a:pt x="150078" y="1620797"/>
                        <a:pt x="118912" y="1610308"/>
                      </a:cubicBezTo>
                      <a:lnTo>
                        <a:pt x="118912" y="1610308"/>
                      </a:lnTo>
                      <a:cubicBezTo>
                        <a:pt x="87041" y="1599617"/>
                        <a:pt x="49623" y="1593464"/>
                        <a:pt x="24105" y="1564921"/>
                      </a:cubicBezTo>
                      <a:lnTo>
                        <a:pt x="24105" y="1564921"/>
                      </a:lnTo>
                      <a:cubicBezTo>
                        <a:pt x="10792" y="1549792"/>
                        <a:pt x="5144" y="1522258"/>
                        <a:pt x="5144" y="1496741"/>
                      </a:cubicBezTo>
                      <a:lnTo>
                        <a:pt x="5144" y="1496741"/>
                      </a:lnTo>
                      <a:cubicBezTo>
                        <a:pt x="5245" y="1472131"/>
                        <a:pt x="10086" y="1449438"/>
                        <a:pt x="21483" y="1441067"/>
                      </a:cubicBezTo>
                      <a:lnTo>
                        <a:pt x="21483" y="1441067"/>
                      </a:lnTo>
                      <a:cubicBezTo>
                        <a:pt x="41352" y="1427451"/>
                        <a:pt x="71509" y="1400018"/>
                        <a:pt x="78771" y="1367642"/>
                      </a:cubicBezTo>
                      <a:lnTo>
                        <a:pt x="78771" y="1367642"/>
                      </a:lnTo>
                      <a:cubicBezTo>
                        <a:pt x="81191" y="1355438"/>
                        <a:pt x="87949" y="1349689"/>
                        <a:pt x="95715" y="1349790"/>
                      </a:cubicBezTo>
                      <a:lnTo>
                        <a:pt x="95715" y="1349790"/>
                      </a:lnTo>
                      <a:cubicBezTo>
                        <a:pt x="110037" y="1350093"/>
                        <a:pt x="125771" y="1365827"/>
                        <a:pt x="133638" y="1370567"/>
                      </a:cubicBezTo>
                      <a:lnTo>
                        <a:pt x="133638" y="1370567"/>
                      </a:lnTo>
                      <a:cubicBezTo>
                        <a:pt x="136966" y="1372584"/>
                        <a:pt x="141706" y="1373794"/>
                        <a:pt x="146447" y="1373794"/>
                      </a:cubicBezTo>
                      <a:lnTo>
                        <a:pt x="146447" y="1373794"/>
                      </a:lnTo>
                      <a:cubicBezTo>
                        <a:pt x="156028" y="1373794"/>
                        <a:pt x="165004" y="1369155"/>
                        <a:pt x="166417" y="1363103"/>
                      </a:cubicBezTo>
                      <a:lnTo>
                        <a:pt x="166417" y="1363103"/>
                      </a:lnTo>
                      <a:cubicBezTo>
                        <a:pt x="168736" y="1353925"/>
                        <a:pt x="179427" y="1349992"/>
                        <a:pt x="193749" y="1349992"/>
                      </a:cubicBezTo>
                      <a:lnTo>
                        <a:pt x="193749" y="1349992"/>
                      </a:lnTo>
                      <a:cubicBezTo>
                        <a:pt x="205247" y="1349992"/>
                        <a:pt x="219569" y="1352513"/>
                        <a:pt x="236009" y="1358060"/>
                      </a:cubicBezTo>
                      <a:lnTo>
                        <a:pt x="236009" y="1358060"/>
                      </a:lnTo>
                      <a:cubicBezTo>
                        <a:pt x="253458" y="1363809"/>
                        <a:pt x="266872" y="1366129"/>
                        <a:pt x="277664" y="1366129"/>
                      </a:cubicBezTo>
                      <a:lnTo>
                        <a:pt x="277664" y="1366129"/>
                      </a:lnTo>
                      <a:cubicBezTo>
                        <a:pt x="289262" y="1366129"/>
                        <a:pt x="297634" y="1363507"/>
                        <a:pt x="304189" y="1359977"/>
                      </a:cubicBezTo>
                      <a:lnTo>
                        <a:pt x="304189" y="1359977"/>
                      </a:lnTo>
                      <a:cubicBezTo>
                        <a:pt x="305904" y="1358665"/>
                        <a:pt x="307820" y="1358262"/>
                        <a:pt x="309434" y="1358262"/>
                      </a:cubicBezTo>
                      <a:lnTo>
                        <a:pt x="309434" y="1358262"/>
                      </a:lnTo>
                      <a:cubicBezTo>
                        <a:pt x="324966" y="1360582"/>
                        <a:pt x="325067" y="1392655"/>
                        <a:pt x="330009" y="1405968"/>
                      </a:cubicBezTo>
                      <a:lnTo>
                        <a:pt x="330009" y="1405968"/>
                      </a:lnTo>
                      <a:cubicBezTo>
                        <a:pt x="330816" y="1408389"/>
                        <a:pt x="331220" y="1408288"/>
                        <a:pt x="331220" y="1408288"/>
                      </a:cubicBezTo>
                      <a:lnTo>
                        <a:pt x="331220" y="1408288"/>
                      </a:lnTo>
                      <a:cubicBezTo>
                        <a:pt x="332329" y="1408288"/>
                        <a:pt x="341204" y="1395479"/>
                        <a:pt x="341204" y="1377425"/>
                      </a:cubicBezTo>
                      <a:lnTo>
                        <a:pt x="341204" y="1377425"/>
                      </a:lnTo>
                      <a:cubicBezTo>
                        <a:pt x="341204" y="1373089"/>
                        <a:pt x="340902" y="1368751"/>
                        <a:pt x="339994" y="1364414"/>
                      </a:cubicBezTo>
                      <a:lnTo>
                        <a:pt x="339994" y="1364414"/>
                      </a:lnTo>
                      <a:cubicBezTo>
                        <a:pt x="338985" y="1359270"/>
                        <a:pt x="338481" y="1355136"/>
                        <a:pt x="338481" y="1351404"/>
                      </a:cubicBezTo>
                      <a:lnTo>
                        <a:pt x="338481" y="1351404"/>
                      </a:lnTo>
                      <a:cubicBezTo>
                        <a:pt x="338481" y="1333249"/>
                        <a:pt x="352299" y="1331938"/>
                        <a:pt x="369546" y="1331837"/>
                      </a:cubicBezTo>
                      <a:lnTo>
                        <a:pt x="369546" y="1331837"/>
                      </a:lnTo>
                      <a:cubicBezTo>
                        <a:pt x="371765" y="1331837"/>
                        <a:pt x="374185" y="1331938"/>
                        <a:pt x="376606" y="1331938"/>
                      </a:cubicBezTo>
                      <a:lnTo>
                        <a:pt x="376606" y="1331938"/>
                      </a:lnTo>
                      <a:cubicBezTo>
                        <a:pt x="396979" y="1331938"/>
                        <a:pt x="414226" y="1336376"/>
                        <a:pt x="435507" y="1336376"/>
                      </a:cubicBezTo>
                      <a:lnTo>
                        <a:pt x="435507" y="1336376"/>
                      </a:lnTo>
                      <a:cubicBezTo>
                        <a:pt x="441962" y="1336376"/>
                        <a:pt x="448619" y="1335972"/>
                        <a:pt x="455981" y="1335065"/>
                      </a:cubicBezTo>
                      <a:lnTo>
                        <a:pt x="455981" y="1335065"/>
                      </a:lnTo>
                      <a:cubicBezTo>
                        <a:pt x="476960" y="1331736"/>
                        <a:pt x="493501" y="1328206"/>
                        <a:pt x="509638" y="1328206"/>
                      </a:cubicBezTo>
                      <a:lnTo>
                        <a:pt x="509638" y="1328206"/>
                      </a:lnTo>
                      <a:cubicBezTo>
                        <a:pt x="518211" y="1328206"/>
                        <a:pt x="526683" y="1329316"/>
                        <a:pt x="535458" y="1332139"/>
                      </a:cubicBezTo>
                      <a:lnTo>
                        <a:pt x="535458" y="1332139"/>
                      </a:lnTo>
                      <a:cubicBezTo>
                        <a:pt x="547158" y="1335569"/>
                        <a:pt x="558050" y="1338191"/>
                        <a:pt x="568540" y="1338191"/>
                      </a:cubicBezTo>
                      <a:lnTo>
                        <a:pt x="568540" y="1338191"/>
                      </a:lnTo>
                      <a:cubicBezTo>
                        <a:pt x="579836" y="1338191"/>
                        <a:pt x="590628" y="1335468"/>
                        <a:pt x="602226" y="1327904"/>
                      </a:cubicBezTo>
                      <a:lnTo>
                        <a:pt x="602226" y="1327904"/>
                      </a:lnTo>
                      <a:cubicBezTo>
                        <a:pt x="614531" y="1319432"/>
                        <a:pt x="619978" y="1310354"/>
                        <a:pt x="619978" y="1300975"/>
                      </a:cubicBezTo>
                      <a:lnTo>
                        <a:pt x="619978" y="1300975"/>
                      </a:lnTo>
                      <a:cubicBezTo>
                        <a:pt x="619978" y="1293511"/>
                        <a:pt x="616548" y="1285241"/>
                        <a:pt x="609388" y="1276768"/>
                      </a:cubicBezTo>
                      <a:lnTo>
                        <a:pt x="609388" y="1276768"/>
                      </a:lnTo>
                      <a:cubicBezTo>
                        <a:pt x="593653" y="1258110"/>
                        <a:pt x="580542" y="1229365"/>
                        <a:pt x="580542" y="1194972"/>
                      </a:cubicBezTo>
                      <a:lnTo>
                        <a:pt x="580542" y="1194972"/>
                      </a:lnTo>
                      <a:cubicBezTo>
                        <a:pt x="580542" y="1191341"/>
                        <a:pt x="580643" y="1187711"/>
                        <a:pt x="581046" y="1184180"/>
                      </a:cubicBezTo>
                      <a:lnTo>
                        <a:pt x="581046" y="1184180"/>
                      </a:lnTo>
                      <a:cubicBezTo>
                        <a:pt x="582458" y="1162596"/>
                        <a:pt x="595368" y="1151805"/>
                        <a:pt x="612312" y="1152006"/>
                      </a:cubicBezTo>
                      <a:lnTo>
                        <a:pt x="612312" y="1152006"/>
                      </a:lnTo>
                      <a:cubicBezTo>
                        <a:pt x="627340" y="1152006"/>
                        <a:pt x="645394" y="1159571"/>
                        <a:pt x="663851" y="1172985"/>
                      </a:cubicBezTo>
                      <a:lnTo>
                        <a:pt x="663851" y="1172985"/>
                      </a:lnTo>
                      <a:cubicBezTo>
                        <a:pt x="671920" y="1178734"/>
                        <a:pt x="678375" y="1180852"/>
                        <a:pt x="683518" y="1180852"/>
                      </a:cubicBezTo>
                      <a:lnTo>
                        <a:pt x="683518" y="1180852"/>
                      </a:lnTo>
                      <a:cubicBezTo>
                        <a:pt x="702682" y="1181255"/>
                        <a:pt x="706716" y="1153822"/>
                        <a:pt x="717508" y="1150897"/>
                      </a:cubicBezTo>
                      <a:lnTo>
                        <a:pt x="717508" y="1150897"/>
                      </a:lnTo>
                      <a:cubicBezTo>
                        <a:pt x="725072" y="1151099"/>
                        <a:pt x="762793" y="1150292"/>
                        <a:pt x="773383" y="1130826"/>
                      </a:cubicBezTo>
                      <a:lnTo>
                        <a:pt x="773383" y="1130826"/>
                      </a:lnTo>
                      <a:cubicBezTo>
                        <a:pt x="783671" y="1112470"/>
                        <a:pt x="800010" y="1106620"/>
                        <a:pt x="829058" y="1106721"/>
                      </a:cubicBezTo>
                      <a:lnTo>
                        <a:pt x="829058" y="1106721"/>
                      </a:lnTo>
                      <a:cubicBezTo>
                        <a:pt x="836521" y="1106721"/>
                        <a:pt x="844993" y="1107225"/>
                        <a:pt x="854171" y="1107830"/>
                      </a:cubicBezTo>
                      <a:lnTo>
                        <a:pt x="854171" y="1107830"/>
                      </a:lnTo>
                      <a:cubicBezTo>
                        <a:pt x="855583" y="1107830"/>
                        <a:pt x="856894" y="1107830"/>
                        <a:pt x="858206" y="1107830"/>
                      </a:cubicBezTo>
                      <a:lnTo>
                        <a:pt x="858206" y="1107830"/>
                      </a:lnTo>
                      <a:cubicBezTo>
                        <a:pt x="873032" y="1107427"/>
                        <a:pt x="876057" y="1102586"/>
                        <a:pt x="876461" y="1094214"/>
                      </a:cubicBezTo>
                      <a:lnTo>
                        <a:pt x="876461" y="1094214"/>
                      </a:lnTo>
                      <a:cubicBezTo>
                        <a:pt x="876562" y="1080699"/>
                        <a:pt x="863753" y="1058611"/>
                        <a:pt x="856390" y="1046004"/>
                      </a:cubicBezTo>
                      <a:lnTo>
                        <a:pt x="856390" y="1046004"/>
                      </a:lnTo>
                      <a:cubicBezTo>
                        <a:pt x="853264" y="1040659"/>
                        <a:pt x="852154" y="1035212"/>
                        <a:pt x="852154" y="1029766"/>
                      </a:cubicBezTo>
                      <a:lnTo>
                        <a:pt x="852154" y="1029766"/>
                      </a:lnTo>
                      <a:cubicBezTo>
                        <a:pt x="852255" y="1010703"/>
                        <a:pt x="866779" y="992650"/>
                        <a:pt x="875049" y="983068"/>
                      </a:cubicBezTo>
                      <a:lnTo>
                        <a:pt x="875049" y="983068"/>
                      </a:lnTo>
                      <a:cubicBezTo>
                        <a:pt x="877570" y="979841"/>
                        <a:pt x="881504" y="978933"/>
                        <a:pt x="885437" y="978933"/>
                      </a:cubicBezTo>
                      <a:lnTo>
                        <a:pt x="885437" y="978933"/>
                      </a:lnTo>
                      <a:cubicBezTo>
                        <a:pt x="903894" y="979134"/>
                        <a:pt x="936976" y="999508"/>
                        <a:pt x="958560" y="1001929"/>
                      </a:cubicBezTo>
                      <a:lnTo>
                        <a:pt x="958560" y="1001929"/>
                      </a:lnTo>
                      <a:cubicBezTo>
                        <a:pt x="959468" y="1001929"/>
                        <a:pt x="960476" y="1001929"/>
                        <a:pt x="961485" y="1001929"/>
                      </a:cubicBezTo>
                      <a:lnTo>
                        <a:pt x="961485" y="1001929"/>
                      </a:lnTo>
                      <a:cubicBezTo>
                        <a:pt x="979135" y="1001929"/>
                        <a:pt x="985792" y="978933"/>
                        <a:pt x="985792" y="954122"/>
                      </a:cubicBezTo>
                      <a:lnTo>
                        <a:pt x="985792" y="954122"/>
                      </a:lnTo>
                      <a:cubicBezTo>
                        <a:pt x="985792" y="948978"/>
                        <a:pt x="985590" y="943935"/>
                        <a:pt x="985086" y="939296"/>
                      </a:cubicBezTo>
                      <a:lnTo>
                        <a:pt x="985086" y="939296"/>
                      </a:lnTo>
                      <a:cubicBezTo>
                        <a:pt x="984884" y="938388"/>
                        <a:pt x="984884" y="937581"/>
                        <a:pt x="984884" y="936976"/>
                      </a:cubicBezTo>
                      <a:lnTo>
                        <a:pt x="984884" y="936976"/>
                      </a:lnTo>
                      <a:cubicBezTo>
                        <a:pt x="986397" y="904197"/>
                        <a:pt x="1063150" y="867787"/>
                        <a:pt x="1085843" y="865265"/>
                      </a:cubicBezTo>
                      <a:lnTo>
                        <a:pt x="1085843" y="865265"/>
                      </a:lnTo>
                      <a:cubicBezTo>
                        <a:pt x="1103595" y="864257"/>
                        <a:pt x="1116000" y="846002"/>
                        <a:pt x="1115899" y="833697"/>
                      </a:cubicBezTo>
                      <a:lnTo>
                        <a:pt x="1115899" y="833697"/>
                      </a:lnTo>
                      <a:cubicBezTo>
                        <a:pt x="1115899" y="832385"/>
                        <a:pt x="1115798" y="831276"/>
                        <a:pt x="1115697" y="830368"/>
                      </a:cubicBezTo>
                      <a:lnTo>
                        <a:pt x="1115697" y="830368"/>
                      </a:lnTo>
                      <a:cubicBezTo>
                        <a:pt x="1113075" y="818165"/>
                        <a:pt x="1093408" y="792345"/>
                        <a:pt x="1059923" y="792446"/>
                      </a:cubicBezTo>
                      <a:lnTo>
                        <a:pt x="1059923" y="792446"/>
                      </a:lnTo>
                      <a:cubicBezTo>
                        <a:pt x="1059116" y="792446"/>
                        <a:pt x="1058208" y="792647"/>
                        <a:pt x="1056796" y="792647"/>
                      </a:cubicBezTo>
                      <a:lnTo>
                        <a:pt x="1056796" y="792647"/>
                      </a:lnTo>
                      <a:cubicBezTo>
                        <a:pt x="1056090" y="792647"/>
                        <a:pt x="1055283" y="792647"/>
                        <a:pt x="1054376" y="792647"/>
                      </a:cubicBezTo>
                      <a:lnTo>
                        <a:pt x="1054376" y="792647"/>
                      </a:lnTo>
                      <a:cubicBezTo>
                        <a:pt x="1017663" y="792647"/>
                        <a:pt x="1012418" y="758961"/>
                        <a:pt x="1011309" y="747665"/>
                      </a:cubicBezTo>
                      <a:lnTo>
                        <a:pt x="1011309" y="747665"/>
                      </a:lnTo>
                      <a:cubicBezTo>
                        <a:pt x="1011208" y="747160"/>
                        <a:pt x="1011107" y="746454"/>
                        <a:pt x="1011107" y="745950"/>
                      </a:cubicBezTo>
                      <a:lnTo>
                        <a:pt x="1011107" y="745950"/>
                      </a:lnTo>
                      <a:cubicBezTo>
                        <a:pt x="1012216" y="731124"/>
                        <a:pt x="1046206" y="710750"/>
                        <a:pt x="1045298" y="699958"/>
                      </a:cubicBezTo>
                      <a:lnTo>
                        <a:pt x="1045298" y="699958"/>
                      </a:lnTo>
                      <a:cubicBezTo>
                        <a:pt x="1045298" y="699454"/>
                        <a:pt x="1045197" y="698950"/>
                        <a:pt x="1045096" y="698547"/>
                      </a:cubicBezTo>
                      <a:lnTo>
                        <a:pt x="1045096" y="698547"/>
                      </a:lnTo>
                      <a:cubicBezTo>
                        <a:pt x="1042978" y="692596"/>
                        <a:pt x="1037734" y="690074"/>
                        <a:pt x="1030371" y="689973"/>
                      </a:cubicBezTo>
                      <a:lnTo>
                        <a:pt x="1030371" y="689973"/>
                      </a:lnTo>
                      <a:cubicBezTo>
                        <a:pt x="1024017" y="689973"/>
                        <a:pt x="1016654" y="691990"/>
                        <a:pt x="1010704" y="695420"/>
                      </a:cubicBezTo>
                      <a:lnTo>
                        <a:pt x="1010704" y="695420"/>
                      </a:lnTo>
                      <a:cubicBezTo>
                        <a:pt x="1006972" y="697235"/>
                        <a:pt x="1003240" y="698244"/>
                        <a:pt x="999407" y="698244"/>
                      </a:cubicBezTo>
                      <a:lnTo>
                        <a:pt x="999407" y="698244"/>
                      </a:lnTo>
                      <a:cubicBezTo>
                        <a:pt x="987809" y="698244"/>
                        <a:pt x="977017" y="688662"/>
                        <a:pt x="977017" y="672122"/>
                      </a:cubicBezTo>
                      <a:lnTo>
                        <a:pt x="977017" y="672122"/>
                      </a:lnTo>
                      <a:cubicBezTo>
                        <a:pt x="977017" y="670407"/>
                        <a:pt x="977218" y="668490"/>
                        <a:pt x="977319" y="666776"/>
                      </a:cubicBezTo>
                      <a:lnTo>
                        <a:pt x="977319" y="666776"/>
                      </a:lnTo>
                      <a:cubicBezTo>
                        <a:pt x="977521" y="664557"/>
                        <a:pt x="977622" y="662842"/>
                        <a:pt x="977622" y="661430"/>
                      </a:cubicBezTo>
                      <a:lnTo>
                        <a:pt x="977622" y="661430"/>
                      </a:lnTo>
                      <a:cubicBezTo>
                        <a:pt x="977521" y="643982"/>
                        <a:pt x="965217" y="642267"/>
                        <a:pt x="954828" y="640553"/>
                      </a:cubicBezTo>
                      <a:lnTo>
                        <a:pt x="954828" y="640553"/>
                      </a:lnTo>
                      <a:cubicBezTo>
                        <a:pt x="954122" y="640351"/>
                        <a:pt x="953719" y="640250"/>
                        <a:pt x="953214" y="640250"/>
                      </a:cubicBezTo>
                      <a:lnTo>
                        <a:pt x="953214" y="640250"/>
                      </a:lnTo>
                      <a:cubicBezTo>
                        <a:pt x="949180" y="640250"/>
                        <a:pt x="942523" y="641460"/>
                        <a:pt x="935060" y="641460"/>
                      </a:cubicBezTo>
                      <a:lnTo>
                        <a:pt x="935060" y="641460"/>
                      </a:lnTo>
                      <a:cubicBezTo>
                        <a:pt x="921646" y="641662"/>
                        <a:pt x="904903" y="637426"/>
                        <a:pt x="896229" y="615943"/>
                      </a:cubicBezTo>
                      <a:lnTo>
                        <a:pt x="896229" y="615943"/>
                      </a:lnTo>
                      <a:cubicBezTo>
                        <a:pt x="893809" y="610093"/>
                        <a:pt x="892901" y="603941"/>
                        <a:pt x="892901" y="597788"/>
                      </a:cubicBezTo>
                      <a:lnTo>
                        <a:pt x="892901" y="597788"/>
                      </a:lnTo>
                      <a:cubicBezTo>
                        <a:pt x="893002" y="564001"/>
                        <a:pt x="920435" y="522951"/>
                        <a:pt x="925276" y="500561"/>
                      </a:cubicBezTo>
                      <a:lnTo>
                        <a:pt x="925276" y="500561"/>
                      </a:lnTo>
                      <a:cubicBezTo>
                        <a:pt x="926991" y="492291"/>
                        <a:pt x="928302" y="485432"/>
                        <a:pt x="928302" y="479582"/>
                      </a:cubicBezTo>
                      <a:lnTo>
                        <a:pt x="928302" y="479582"/>
                      </a:lnTo>
                      <a:cubicBezTo>
                        <a:pt x="928201" y="465866"/>
                        <a:pt x="922553" y="456586"/>
                        <a:pt x="899053" y="443778"/>
                      </a:cubicBezTo>
                      <a:lnTo>
                        <a:pt x="899053" y="443778"/>
                      </a:lnTo>
                      <a:cubicBezTo>
                        <a:pt x="882008" y="434599"/>
                        <a:pt x="877369" y="420681"/>
                        <a:pt x="877470" y="407973"/>
                      </a:cubicBezTo>
                      <a:lnTo>
                        <a:pt x="877470" y="407973"/>
                      </a:lnTo>
                      <a:cubicBezTo>
                        <a:pt x="877470" y="395870"/>
                        <a:pt x="881100" y="384271"/>
                        <a:pt x="881100" y="376303"/>
                      </a:cubicBezTo>
                      <a:lnTo>
                        <a:pt x="881100" y="376303"/>
                      </a:lnTo>
                      <a:cubicBezTo>
                        <a:pt x="881100" y="374992"/>
                        <a:pt x="881000" y="373782"/>
                        <a:pt x="880899" y="372874"/>
                      </a:cubicBezTo>
                      <a:lnTo>
                        <a:pt x="880899" y="372874"/>
                      </a:lnTo>
                      <a:cubicBezTo>
                        <a:pt x="878579" y="358048"/>
                        <a:pt x="849330" y="331018"/>
                        <a:pt x="823107" y="298844"/>
                      </a:cubicBezTo>
                      <a:lnTo>
                        <a:pt x="823107" y="298844"/>
                      </a:lnTo>
                      <a:cubicBezTo>
                        <a:pt x="814735" y="288657"/>
                        <a:pt x="810701" y="275747"/>
                        <a:pt x="810096" y="260215"/>
                      </a:cubicBezTo>
                      <a:lnTo>
                        <a:pt x="810096" y="260215"/>
                      </a:lnTo>
                      <a:cubicBezTo>
                        <a:pt x="827343" y="253659"/>
                        <a:pt x="843984" y="148262"/>
                        <a:pt x="856894" y="129301"/>
                      </a:cubicBezTo>
                      <a:lnTo>
                        <a:pt x="856894" y="129301"/>
                      </a:lnTo>
                      <a:cubicBezTo>
                        <a:pt x="869300" y="111852"/>
                        <a:pt x="879285" y="89260"/>
                        <a:pt x="879285" y="72517"/>
                      </a:cubicBezTo>
                      <a:lnTo>
                        <a:pt x="879285" y="72517"/>
                      </a:lnTo>
                      <a:cubicBezTo>
                        <a:pt x="879285" y="67272"/>
                        <a:pt x="882916" y="63743"/>
                        <a:pt x="887354" y="63743"/>
                      </a:cubicBezTo>
                      <a:lnTo>
                        <a:pt x="887354" y="63743"/>
                      </a:lnTo>
                      <a:cubicBezTo>
                        <a:pt x="899961" y="64045"/>
                        <a:pt x="923965" y="79880"/>
                        <a:pt x="948171" y="79779"/>
                      </a:cubicBezTo>
                      <a:lnTo>
                        <a:pt x="948171" y="79779"/>
                      </a:lnTo>
                      <a:cubicBezTo>
                        <a:pt x="978227" y="80183"/>
                        <a:pt x="973184" y="48109"/>
                        <a:pt x="981354" y="30560"/>
                      </a:cubicBezTo>
                      <a:lnTo>
                        <a:pt x="981354" y="30560"/>
                      </a:lnTo>
                      <a:cubicBezTo>
                        <a:pt x="988717" y="15028"/>
                        <a:pt x="993558" y="8170"/>
                        <a:pt x="1031480" y="1109"/>
                      </a:cubicBezTo>
                      <a:lnTo>
                        <a:pt x="1031480" y="1109"/>
                      </a:lnTo>
                      <a:cubicBezTo>
                        <a:pt x="1035212" y="201"/>
                        <a:pt x="1038642" y="0"/>
                        <a:pt x="1041768" y="0"/>
                      </a:cubicBezTo>
                      <a:lnTo>
                        <a:pt x="1041768" y="0"/>
                      </a:lnTo>
                      <a:cubicBezTo>
                        <a:pt x="1075051" y="302"/>
                        <a:pt x="1085742" y="35805"/>
                        <a:pt x="1085742" y="57389"/>
                      </a:cubicBezTo>
                      <a:lnTo>
                        <a:pt x="1085742" y="57389"/>
                      </a:lnTo>
                      <a:cubicBezTo>
                        <a:pt x="1085541" y="78771"/>
                        <a:pt x="1100367" y="88453"/>
                        <a:pt x="1108537" y="112457"/>
                      </a:cubicBezTo>
                      <a:lnTo>
                        <a:pt x="1108537" y="112457"/>
                      </a:lnTo>
                      <a:cubicBezTo>
                        <a:pt x="1110856" y="120929"/>
                        <a:pt x="1125481" y="124863"/>
                        <a:pt x="1142425" y="124661"/>
                      </a:cubicBezTo>
                      <a:lnTo>
                        <a:pt x="1142425" y="124661"/>
                      </a:lnTo>
                      <a:cubicBezTo>
                        <a:pt x="1160882" y="124762"/>
                        <a:pt x="1181356" y="120727"/>
                        <a:pt x="1188820" y="118307"/>
                      </a:cubicBezTo>
                      <a:lnTo>
                        <a:pt x="1188820" y="118307"/>
                      </a:lnTo>
                      <a:cubicBezTo>
                        <a:pt x="1191140" y="117198"/>
                        <a:pt x="1191745" y="116088"/>
                        <a:pt x="1191846" y="112760"/>
                      </a:cubicBezTo>
                      <a:lnTo>
                        <a:pt x="1191846" y="112760"/>
                      </a:lnTo>
                      <a:cubicBezTo>
                        <a:pt x="1192047" y="102775"/>
                        <a:pt x="1181356" y="82704"/>
                        <a:pt x="1181155" y="67777"/>
                      </a:cubicBezTo>
                      <a:lnTo>
                        <a:pt x="1181155" y="67777"/>
                      </a:lnTo>
                      <a:cubicBezTo>
                        <a:pt x="1181155" y="65659"/>
                        <a:pt x="1181356" y="63541"/>
                        <a:pt x="1181962" y="61725"/>
                      </a:cubicBezTo>
                      <a:lnTo>
                        <a:pt x="1181962" y="61725"/>
                      </a:lnTo>
                      <a:cubicBezTo>
                        <a:pt x="1183676" y="55068"/>
                        <a:pt x="1190131" y="52850"/>
                        <a:pt x="1196384" y="52951"/>
                      </a:cubicBezTo>
                      <a:lnTo>
                        <a:pt x="1196384" y="52951"/>
                      </a:lnTo>
                      <a:cubicBezTo>
                        <a:pt x="1213127" y="53556"/>
                        <a:pt x="1237938" y="65054"/>
                        <a:pt x="1239148" y="79477"/>
                      </a:cubicBezTo>
                      <a:lnTo>
                        <a:pt x="1239148" y="79477"/>
                      </a:lnTo>
                      <a:cubicBezTo>
                        <a:pt x="1239148" y="80989"/>
                        <a:pt x="1238846" y="82401"/>
                        <a:pt x="1238140" y="83914"/>
                      </a:cubicBezTo>
                      <a:lnTo>
                        <a:pt x="1238140" y="83914"/>
                      </a:lnTo>
                      <a:cubicBezTo>
                        <a:pt x="1236324" y="87242"/>
                        <a:pt x="1235417" y="91277"/>
                        <a:pt x="1235417" y="95110"/>
                      </a:cubicBezTo>
                      <a:lnTo>
                        <a:pt x="1235417" y="95110"/>
                      </a:lnTo>
                      <a:cubicBezTo>
                        <a:pt x="1235618" y="105700"/>
                        <a:pt x="1241569" y="115684"/>
                        <a:pt x="1261942" y="116088"/>
                      </a:cubicBezTo>
                      <a:lnTo>
                        <a:pt x="1261942" y="116088"/>
                      </a:lnTo>
                      <a:cubicBezTo>
                        <a:pt x="1264665" y="116088"/>
                        <a:pt x="1267691" y="115987"/>
                        <a:pt x="1270919" y="115584"/>
                      </a:cubicBezTo>
                      <a:lnTo>
                        <a:pt x="1270919" y="115584"/>
                      </a:lnTo>
                      <a:cubicBezTo>
                        <a:pt x="1278987" y="114474"/>
                        <a:pt x="1285241" y="113869"/>
                        <a:pt x="1290183" y="113869"/>
                      </a:cubicBezTo>
                      <a:lnTo>
                        <a:pt x="1290183" y="113869"/>
                      </a:lnTo>
                      <a:cubicBezTo>
                        <a:pt x="1309850" y="113667"/>
                        <a:pt x="1308236" y="126476"/>
                        <a:pt x="1309749" y="151288"/>
                      </a:cubicBezTo>
                      <a:lnTo>
                        <a:pt x="1309749" y="151288"/>
                      </a:lnTo>
                      <a:cubicBezTo>
                        <a:pt x="1311161" y="171359"/>
                        <a:pt x="1330627" y="179225"/>
                        <a:pt x="1348479" y="179326"/>
                      </a:cubicBezTo>
                      <a:lnTo>
                        <a:pt x="1348479" y="179326"/>
                      </a:lnTo>
                      <a:cubicBezTo>
                        <a:pt x="1353825" y="179326"/>
                        <a:pt x="1358868" y="178520"/>
                        <a:pt x="1363003" y="177309"/>
                      </a:cubicBezTo>
                      <a:lnTo>
                        <a:pt x="1363003" y="177309"/>
                      </a:lnTo>
                      <a:lnTo>
                        <a:pt x="1363003" y="177309"/>
                      </a:lnTo>
                      <a:lnTo>
                        <a:pt x="1363003" y="177309"/>
                      </a:lnTo>
                      <a:cubicBezTo>
                        <a:pt x="1363103" y="177209"/>
                        <a:pt x="1363305" y="177209"/>
                        <a:pt x="1363406" y="177209"/>
                      </a:cubicBezTo>
                      <a:lnTo>
                        <a:pt x="1363406" y="177209"/>
                      </a:lnTo>
                      <a:cubicBezTo>
                        <a:pt x="1365625" y="176502"/>
                        <a:pt x="1367440" y="175594"/>
                        <a:pt x="1368953" y="174687"/>
                      </a:cubicBezTo>
                      <a:lnTo>
                        <a:pt x="1368953" y="174687"/>
                      </a:lnTo>
                      <a:cubicBezTo>
                        <a:pt x="1370164" y="173880"/>
                        <a:pt x="1371979" y="174283"/>
                        <a:pt x="1372887" y="175494"/>
                      </a:cubicBezTo>
                      <a:lnTo>
                        <a:pt x="1372887" y="175494"/>
                      </a:lnTo>
                      <a:cubicBezTo>
                        <a:pt x="1373189" y="175998"/>
                        <a:pt x="1373290" y="176502"/>
                        <a:pt x="1373290" y="177108"/>
                      </a:cubicBezTo>
                      <a:lnTo>
                        <a:pt x="1373290" y="177108"/>
                      </a:lnTo>
                      <a:cubicBezTo>
                        <a:pt x="1373290" y="178015"/>
                        <a:pt x="1372786" y="178822"/>
                        <a:pt x="1372080" y="179326"/>
                      </a:cubicBezTo>
                      <a:lnTo>
                        <a:pt x="1372080" y="179326"/>
                      </a:lnTo>
                      <a:cubicBezTo>
                        <a:pt x="1370466" y="180436"/>
                        <a:pt x="1368651" y="181243"/>
                        <a:pt x="1366533" y="182050"/>
                      </a:cubicBezTo>
                      <a:lnTo>
                        <a:pt x="1366533" y="182050"/>
                      </a:lnTo>
                      <a:cubicBezTo>
                        <a:pt x="1367340" y="250835"/>
                        <a:pt x="1371172" y="323151"/>
                        <a:pt x="1379846" y="335556"/>
                      </a:cubicBezTo>
                      <a:lnTo>
                        <a:pt x="1379846" y="335556"/>
                      </a:lnTo>
                      <a:cubicBezTo>
                        <a:pt x="1395479" y="362486"/>
                        <a:pt x="1424123" y="327487"/>
                        <a:pt x="1438747" y="375294"/>
                      </a:cubicBezTo>
                      <a:lnTo>
                        <a:pt x="1438747" y="375294"/>
                      </a:lnTo>
                      <a:cubicBezTo>
                        <a:pt x="1451658" y="421185"/>
                        <a:pt x="1455692" y="453157"/>
                        <a:pt x="1473141" y="461226"/>
                      </a:cubicBezTo>
                      <a:lnTo>
                        <a:pt x="1473141" y="461226"/>
                      </a:lnTo>
                      <a:cubicBezTo>
                        <a:pt x="1483529" y="466572"/>
                        <a:pt x="1484739" y="479179"/>
                        <a:pt x="1484840" y="492291"/>
                      </a:cubicBezTo>
                      <a:lnTo>
                        <a:pt x="1484840" y="492291"/>
                      </a:lnTo>
                      <a:cubicBezTo>
                        <a:pt x="1484840" y="500762"/>
                        <a:pt x="1484235" y="509840"/>
                        <a:pt x="1484235" y="518312"/>
                      </a:cubicBezTo>
                      <a:lnTo>
                        <a:pt x="1484235" y="518312"/>
                      </a:lnTo>
                      <a:cubicBezTo>
                        <a:pt x="1484134" y="526885"/>
                        <a:pt x="1484941" y="534752"/>
                        <a:pt x="1487462" y="540703"/>
                      </a:cubicBezTo>
                      <a:lnTo>
                        <a:pt x="1487462" y="540703"/>
                      </a:lnTo>
                      <a:cubicBezTo>
                        <a:pt x="1492606" y="552604"/>
                        <a:pt x="1498556" y="555932"/>
                        <a:pt x="1507533" y="556134"/>
                      </a:cubicBezTo>
                      <a:lnTo>
                        <a:pt x="1507533" y="556134"/>
                      </a:lnTo>
                      <a:cubicBezTo>
                        <a:pt x="1514895" y="556134"/>
                        <a:pt x="1524376" y="553209"/>
                        <a:pt x="1535874" y="548973"/>
                      </a:cubicBezTo>
                      <a:lnTo>
                        <a:pt x="1535874" y="548973"/>
                      </a:lnTo>
                      <a:cubicBezTo>
                        <a:pt x="1542228" y="546452"/>
                        <a:pt x="1546767" y="545241"/>
                        <a:pt x="1550600" y="545241"/>
                      </a:cubicBezTo>
                      <a:lnTo>
                        <a:pt x="1550600" y="545241"/>
                      </a:lnTo>
                      <a:cubicBezTo>
                        <a:pt x="1563913" y="546048"/>
                        <a:pt x="1562097" y="558252"/>
                        <a:pt x="1571478" y="569246"/>
                      </a:cubicBezTo>
                      <a:lnTo>
                        <a:pt x="1571478" y="569246"/>
                      </a:lnTo>
                      <a:cubicBezTo>
                        <a:pt x="1577932" y="577213"/>
                        <a:pt x="1589228" y="582962"/>
                        <a:pt x="1599516" y="582861"/>
                      </a:cubicBezTo>
                      <a:lnTo>
                        <a:pt x="1599516" y="582861"/>
                      </a:lnTo>
                      <a:cubicBezTo>
                        <a:pt x="1608392" y="582861"/>
                        <a:pt x="1616561" y="579130"/>
                        <a:pt x="1622108" y="569548"/>
                      </a:cubicBezTo>
                      <a:lnTo>
                        <a:pt x="1622108" y="569548"/>
                      </a:lnTo>
                      <a:cubicBezTo>
                        <a:pt x="1632900" y="551091"/>
                        <a:pt x="1663259" y="524162"/>
                        <a:pt x="1683733" y="523657"/>
                      </a:cubicBezTo>
                      <a:lnTo>
                        <a:pt x="1683733" y="523657"/>
                      </a:lnTo>
                      <a:cubicBezTo>
                        <a:pt x="1690289" y="523557"/>
                        <a:pt x="1696340" y="527087"/>
                        <a:pt x="1698761" y="534147"/>
                      </a:cubicBezTo>
                      <a:lnTo>
                        <a:pt x="1698761" y="534147"/>
                      </a:lnTo>
                      <a:cubicBezTo>
                        <a:pt x="1705115" y="551091"/>
                        <a:pt x="1712780" y="558555"/>
                        <a:pt x="1719033" y="558353"/>
                      </a:cubicBezTo>
                      <a:lnTo>
                        <a:pt x="1719033" y="558353"/>
                      </a:lnTo>
                      <a:cubicBezTo>
                        <a:pt x="1722261" y="558353"/>
                        <a:pt x="1725892" y="556638"/>
                        <a:pt x="1729926" y="552705"/>
                      </a:cubicBezTo>
                      <a:lnTo>
                        <a:pt x="1729926" y="552705"/>
                      </a:lnTo>
                      <a:cubicBezTo>
                        <a:pt x="1739004" y="543426"/>
                        <a:pt x="1760789" y="528801"/>
                        <a:pt x="1781566" y="528599"/>
                      </a:cubicBezTo>
                      <a:lnTo>
                        <a:pt x="1781566" y="528599"/>
                      </a:lnTo>
                      <a:cubicBezTo>
                        <a:pt x="1791853" y="528599"/>
                        <a:pt x="1802141" y="532735"/>
                        <a:pt x="1808999" y="543325"/>
                      </a:cubicBezTo>
                      <a:lnTo>
                        <a:pt x="1808999" y="543325"/>
                      </a:lnTo>
                      <a:cubicBezTo>
                        <a:pt x="1820497" y="560571"/>
                        <a:pt x="1834113" y="569851"/>
                        <a:pt x="1847225" y="569851"/>
                      </a:cubicBezTo>
                      <a:lnTo>
                        <a:pt x="1847225" y="569851"/>
                      </a:lnTo>
                      <a:cubicBezTo>
                        <a:pt x="1853680" y="569851"/>
                        <a:pt x="1860135" y="567834"/>
                        <a:pt x="1866791" y="563093"/>
                      </a:cubicBezTo>
                      <a:lnTo>
                        <a:pt x="1866791" y="563093"/>
                      </a:lnTo>
                      <a:lnTo>
                        <a:pt x="1870926" y="564304"/>
                      </a:lnTo>
                      <a:cubicBezTo>
                        <a:pt x="1880912" y="589014"/>
                        <a:pt x="1895738" y="624516"/>
                        <a:pt x="1901991" y="637426"/>
                      </a:cubicBezTo>
                      <a:lnTo>
                        <a:pt x="1901991" y="637426"/>
                      </a:lnTo>
                      <a:cubicBezTo>
                        <a:pt x="1909454" y="652555"/>
                        <a:pt x="1921860" y="664658"/>
                        <a:pt x="1922061" y="681602"/>
                      </a:cubicBezTo>
                      <a:lnTo>
                        <a:pt x="1922061" y="681602"/>
                      </a:lnTo>
                      <a:cubicBezTo>
                        <a:pt x="1922061" y="686948"/>
                        <a:pt x="1920750" y="692697"/>
                        <a:pt x="1917624" y="699051"/>
                      </a:cubicBezTo>
                      <a:lnTo>
                        <a:pt x="1917624" y="699051"/>
                      </a:lnTo>
                      <a:cubicBezTo>
                        <a:pt x="1912682" y="708733"/>
                        <a:pt x="1909858" y="717003"/>
                        <a:pt x="1909858" y="723357"/>
                      </a:cubicBezTo>
                      <a:lnTo>
                        <a:pt x="1909858" y="723357"/>
                      </a:lnTo>
                      <a:cubicBezTo>
                        <a:pt x="1910059" y="731931"/>
                        <a:pt x="1914195" y="736974"/>
                        <a:pt x="1927810" y="740201"/>
                      </a:cubicBezTo>
                      <a:lnTo>
                        <a:pt x="1927810" y="740201"/>
                      </a:lnTo>
                      <a:lnTo>
                        <a:pt x="1927306" y="742924"/>
                      </a:lnTo>
                      <a:lnTo>
                        <a:pt x="1926802" y="745647"/>
                      </a:lnTo>
                      <a:cubicBezTo>
                        <a:pt x="1911875" y="742622"/>
                        <a:pt x="1904210" y="734452"/>
                        <a:pt x="1904411" y="723256"/>
                      </a:cubicBezTo>
                      <a:lnTo>
                        <a:pt x="1904411" y="723256"/>
                      </a:lnTo>
                      <a:cubicBezTo>
                        <a:pt x="1904411" y="715390"/>
                        <a:pt x="1907538" y="706514"/>
                        <a:pt x="1912783" y="696428"/>
                      </a:cubicBezTo>
                      <a:lnTo>
                        <a:pt x="1912783" y="696428"/>
                      </a:lnTo>
                      <a:cubicBezTo>
                        <a:pt x="1915607" y="690780"/>
                        <a:pt x="1916615" y="685939"/>
                        <a:pt x="1916615" y="681602"/>
                      </a:cubicBezTo>
                      <a:lnTo>
                        <a:pt x="1916615" y="681602"/>
                      </a:lnTo>
                      <a:cubicBezTo>
                        <a:pt x="1916817" y="667684"/>
                        <a:pt x="1905319" y="655984"/>
                        <a:pt x="1897150" y="639746"/>
                      </a:cubicBezTo>
                      <a:lnTo>
                        <a:pt x="1897150" y="639746"/>
                      </a:lnTo>
                      <a:cubicBezTo>
                        <a:pt x="1890796" y="627038"/>
                        <a:pt x="1877180" y="594158"/>
                        <a:pt x="1867094" y="569447"/>
                      </a:cubicBezTo>
                      <a:lnTo>
                        <a:pt x="1867094" y="569447"/>
                      </a:lnTo>
                      <a:cubicBezTo>
                        <a:pt x="1860639" y="573381"/>
                        <a:pt x="1853982" y="575297"/>
                        <a:pt x="1847225" y="575297"/>
                      </a:cubicBezTo>
                      <a:lnTo>
                        <a:pt x="1847225" y="575297"/>
                      </a:lnTo>
                      <a:cubicBezTo>
                        <a:pt x="1831390" y="575297"/>
                        <a:pt x="1816463" y="564404"/>
                        <a:pt x="1804360" y="546351"/>
                      </a:cubicBezTo>
                      <a:lnTo>
                        <a:pt x="1804360" y="546351"/>
                      </a:lnTo>
                      <a:cubicBezTo>
                        <a:pt x="1798308" y="537273"/>
                        <a:pt x="1790441" y="534147"/>
                        <a:pt x="1781566" y="534147"/>
                      </a:cubicBezTo>
                      <a:lnTo>
                        <a:pt x="1781566" y="534147"/>
                      </a:lnTo>
                      <a:cubicBezTo>
                        <a:pt x="1763613" y="533945"/>
                        <a:pt x="1741928" y="548065"/>
                        <a:pt x="1733860" y="556537"/>
                      </a:cubicBezTo>
                      <a:lnTo>
                        <a:pt x="1733860" y="556537"/>
                      </a:lnTo>
                      <a:cubicBezTo>
                        <a:pt x="1729220" y="561076"/>
                        <a:pt x="1724177" y="563799"/>
                        <a:pt x="1719033" y="563799"/>
                      </a:cubicBezTo>
                      <a:lnTo>
                        <a:pt x="1719033" y="563799"/>
                      </a:lnTo>
                      <a:cubicBezTo>
                        <a:pt x="1708443" y="563598"/>
                        <a:pt x="1700173" y="553512"/>
                        <a:pt x="1693617" y="536063"/>
                      </a:cubicBezTo>
                      <a:lnTo>
                        <a:pt x="1693617" y="536063"/>
                      </a:lnTo>
                      <a:cubicBezTo>
                        <a:pt x="1691499" y="530920"/>
                        <a:pt x="1688675" y="529306"/>
                        <a:pt x="1683834" y="529205"/>
                      </a:cubicBezTo>
                      <a:lnTo>
                        <a:pt x="1683834" y="529205"/>
                      </a:lnTo>
                      <a:cubicBezTo>
                        <a:pt x="1667797" y="528700"/>
                        <a:pt x="1636229" y="555428"/>
                        <a:pt x="1627050" y="572271"/>
                      </a:cubicBezTo>
                      <a:lnTo>
                        <a:pt x="1627050" y="572271"/>
                      </a:lnTo>
                      <a:cubicBezTo>
                        <a:pt x="1620596" y="583568"/>
                        <a:pt x="1610106" y="588509"/>
                        <a:pt x="1599617" y="588409"/>
                      </a:cubicBezTo>
                      <a:lnTo>
                        <a:pt x="1599617" y="588409"/>
                      </a:lnTo>
                      <a:cubicBezTo>
                        <a:pt x="1587212" y="588409"/>
                        <a:pt x="1574906" y="581954"/>
                        <a:pt x="1567241" y="572776"/>
                      </a:cubicBezTo>
                      <a:lnTo>
                        <a:pt x="1567241" y="572776"/>
                      </a:lnTo>
                      <a:cubicBezTo>
                        <a:pt x="1556752" y="558958"/>
                        <a:pt x="1557760" y="550082"/>
                        <a:pt x="1550700" y="550889"/>
                      </a:cubicBezTo>
                      <a:lnTo>
                        <a:pt x="1550700" y="550889"/>
                      </a:lnTo>
                      <a:cubicBezTo>
                        <a:pt x="1548078" y="550889"/>
                        <a:pt x="1544044" y="551596"/>
                        <a:pt x="1537892" y="554117"/>
                      </a:cubicBezTo>
                      <a:lnTo>
                        <a:pt x="1537892" y="554117"/>
                      </a:lnTo>
                      <a:cubicBezTo>
                        <a:pt x="1526293" y="558555"/>
                        <a:pt x="1516308" y="561580"/>
                        <a:pt x="1507533" y="561580"/>
                      </a:cubicBezTo>
                      <a:lnTo>
                        <a:pt x="1507533" y="561580"/>
                      </a:lnTo>
                      <a:cubicBezTo>
                        <a:pt x="1496640" y="561782"/>
                        <a:pt x="1487765" y="555831"/>
                        <a:pt x="1482318" y="542821"/>
                      </a:cubicBezTo>
                      <a:lnTo>
                        <a:pt x="1482318" y="542821"/>
                      </a:lnTo>
                      <a:cubicBezTo>
                        <a:pt x="1479293" y="535660"/>
                        <a:pt x="1478688" y="527087"/>
                        <a:pt x="1478688" y="518211"/>
                      </a:cubicBezTo>
                      <a:lnTo>
                        <a:pt x="1478688" y="518211"/>
                      </a:lnTo>
                      <a:cubicBezTo>
                        <a:pt x="1478688" y="509437"/>
                        <a:pt x="1479293" y="500359"/>
                        <a:pt x="1479293" y="492190"/>
                      </a:cubicBezTo>
                      <a:lnTo>
                        <a:pt x="1479293" y="492190"/>
                      </a:lnTo>
                      <a:cubicBezTo>
                        <a:pt x="1479394" y="479179"/>
                        <a:pt x="1477477" y="469093"/>
                        <a:pt x="1470820" y="466067"/>
                      </a:cubicBezTo>
                      <a:lnTo>
                        <a:pt x="1470820" y="466067"/>
                      </a:lnTo>
                      <a:cubicBezTo>
                        <a:pt x="1449136" y="454670"/>
                        <a:pt x="1446715" y="421791"/>
                        <a:pt x="1433503" y="376706"/>
                      </a:cubicBezTo>
                      <a:lnTo>
                        <a:pt x="1433503" y="376706"/>
                      </a:lnTo>
                      <a:cubicBezTo>
                        <a:pt x="1422105" y="333539"/>
                        <a:pt x="1398707" y="369949"/>
                        <a:pt x="1375408" y="338481"/>
                      </a:cubicBezTo>
                      <a:lnTo>
                        <a:pt x="1375408" y="338481"/>
                      </a:lnTo>
                      <a:cubicBezTo>
                        <a:pt x="1365121" y="322344"/>
                        <a:pt x="1362297" y="253962"/>
                        <a:pt x="1363003" y="183159"/>
                      </a:cubicBezTo>
                      <a:lnTo>
                        <a:pt x="1363003" y="183159"/>
                      </a:lnTo>
                      <a:cubicBezTo>
                        <a:pt x="1358666" y="184268"/>
                        <a:pt x="1353724" y="184873"/>
                        <a:pt x="1348580" y="184873"/>
                      </a:cubicBezTo>
                      <a:lnTo>
                        <a:pt x="1348580" y="184873"/>
                      </a:lnTo>
                      <a:cubicBezTo>
                        <a:pt x="1329618" y="184974"/>
                        <a:pt x="1306219" y="175998"/>
                        <a:pt x="1304202" y="151691"/>
                      </a:cubicBezTo>
                      <a:lnTo>
                        <a:pt x="1304202" y="151691"/>
                      </a:lnTo>
                      <a:cubicBezTo>
                        <a:pt x="1301580" y="124258"/>
                        <a:pt x="1305513" y="119618"/>
                        <a:pt x="1290284" y="119416"/>
                      </a:cubicBezTo>
                      <a:lnTo>
                        <a:pt x="1290284" y="119416"/>
                      </a:lnTo>
                      <a:cubicBezTo>
                        <a:pt x="1285745" y="119416"/>
                        <a:pt x="1279794" y="119921"/>
                        <a:pt x="1271726" y="121131"/>
                      </a:cubicBezTo>
                      <a:lnTo>
                        <a:pt x="1271726" y="121131"/>
                      </a:lnTo>
                      <a:cubicBezTo>
                        <a:pt x="1268296" y="121635"/>
                        <a:pt x="1264968" y="121736"/>
                        <a:pt x="1262043" y="121736"/>
                      </a:cubicBezTo>
                      <a:lnTo>
                        <a:pt x="1262043" y="121736"/>
                      </a:lnTo>
                      <a:cubicBezTo>
                        <a:pt x="1239451" y="121736"/>
                        <a:pt x="1229970" y="108322"/>
                        <a:pt x="1229869" y="95211"/>
                      </a:cubicBezTo>
                      <a:lnTo>
                        <a:pt x="1229869" y="95211"/>
                      </a:lnTo>
                      <a:cubicBezTo>
                        <a:pt x="1229869" y="90470"/>
                        <a:pt x="1231080" y="85528"/>
                        <a:pt x="1233299" y="81493"/>
                      </a:cubicBezTo>
                      <a:lnTo>
                        <a:pt x="1233299" y="81493"/>
                      </a:lnTo>
                      <a:cubicBezTo>
                        <a:pt x="1233500" y="80888"/>
                        <a:pt x="1233601" y="80183"/>
                        <a:pt x="1233601" y="79578"/>
                      </a:cubicBezTo>
                      <a:lnTo>
                        <a:pt x="1233601" y="79578"/>
                      </a:lnTo>
                      <a:cubicBezTo>
                        <a:pt x="1233601" y="72315"/>
                        <a:pt x="1210706" y="58599"/>
                        <a:pt x="1196485" y="58599"/>
                      </a:cubicBezTo>
                      <a:lnTo>
                        <a:pt x="1196485" y="58599"/>
                      </a:lnTo>
                      <a:cubicBezTo>
                        <a:pt x="1190938" y="58700"/>
                        <a:pt x="1188316" y="60111"/>
                        <a:pt x="1187509" y="63238"/>
                      </a:cubicBezTo>
                      <a:lnTo>
                        <a:pt x="1187509" y="63238"/>
                      </a:lnTo>
                      <a:cubicBezTo>
                        <a:pt x="1187005" y="64549"/>
                        <a:pt x="1186904" y="66163"/>
                        <a:pt x="1186904" y="67878"/>
                      </a:cubicBezTo>
                      <a:lnTo>
                        <a:pt x="1186904" y="67878"/>
                      </a:lnTo>
                      <a:cubicBezTo>
                        <a:pt x="1186702" y="80586"/>
                        <a:pt x="1197393" y="100253"/>
                        <a:pt x="1197595" y="112861"/>
                      </a:cubicBezTo>
                      <a:lnTo>
                        <a:pt x="1197595" y="112861"/>
                      </a:lnTo>
                      <a:cubicBezTo>
                        <a:pt x="1197696" y="117198"/>
                        <a:pt x="1195678" y="121837"/>
                        <a:pt x="1190837" y="123552"/>
                      </a:cubicBezTo>
                      <a:lnTo>
                        <a:pt x="1190837" y="123552"/>
                      </a:lnTo>
                      <a:cubicBezTo>
                        <a:pt x="1182365" y="126275"/>
                        <a:pt x="1161891" y="130208"/>
                        <a:pt x="1142526" y="130309"/>
                      </a:cubicBezTo>
                      <a:lnTo>
                        <a:pt x="1142526" y="130309"/>
                      </a:lnTo>
                      <a:cubicBezTo>
                        <a:pt x="1125178" y="130107"/>
                        <a:pt x="1108133" y="127283"/>
                        <a:pt x="1103393" y="114172"/>
                      </a:cubicBezTo>
                      <a:lnTo>
                        <a:pt x="1103393" y="114172"/>
                      </a:lnTo>
                      <a:cubicBezTo>
                        <a:pt x="1096232" y="92185"/>
                        <a:pt x="1080498" y="81796"/>
                        <a:pt x="1080397" y="57389"/>
                      </a:cubicBezTo>
                      <a:lnTo>
                        <a:pt x="1080397" y="57389"/>
                      </a:lnTo>
                      <a:cubicBezTo>
                        <a:pt x="1080397" y="36914"/>
                        <a:pt x="1070109" y="5648"/>
                        <a:pt x="1041869" y="5547"/>
                      </a:cubicBezTo>
                      <a:lnTo>
                        <a:pt x="1041869" y="5547"/>
                      </a:lnTo>
                      <a:cubicBezTo>
                        <a:pt x="1039045" y="5547"/>
                        <a:pt x="1036019" y="5749"/>
                        <a:pt x="1032893" y="6555"/>
                      </a:cubicBezTo>
                      <a:lnTo>
                        <a:pt x="1032893" y="6555"/>
                      </a:lnTo>
                      <a:cubicBezTo>
                        <a:pt x="994566" y="14625"/>
                        <a:pt x="994264" y="18053"/>
                        <a:pt x="986498" y="33081"/>
                      </a:cubicBezTo>
                      <a:lnTo>
                        <a:pt x="986498" y="33081"/>
                      </a:lnTo>
                      <a:cubicBezTo>
                        <a:pt x="979437" y="46193"/>
                        <a:pt x="984581" y="85125"/>
                        <a:pt x="948373" y="85528"/>
                      </a:cubicBezTo>
                      <a:lnTo>
                        <a:pt x="948373" y="85528"/>
                      </a:lnTo>
                      <a:cubicBezTo>
                        <a:pt x="922452" y="85427"/>
                        <a:pt x="896330" y="69088"/>
                        <a:pt x="887555" y="69492"/>
                      </a:cubicBezTo>
                      <a:lnTo>
                        <a:pt x="887555" y="69492"/>
                      </a:lnTo>
                      <a:cubicBezTo>
                        <a:pt x="885135" y="69996"/>
                        <a:pt x="885639" y="68987"/>
                        <a:pt x="885034" y="72618"/>
                      </a:cubicBezTo>
                      <a:lnTo>
                        <a:pt x="885034" y="72618"/>
                      </a:lnTo>
                      <a:cubicBezTo>
                        <a:pt x="885034" y="91378"/>
                        <a:pt x="874545" y="114474"/>
                        <a:pt x="861635" y="132629"/>
                      </a:cubicBezTo>
                      <a:lnTo>
                        <a:pt x="861635" y="132629"/>
                      </a:lnTo>
                      <a:cubicBezTo>
                        <a:pt x="849229" y="148968"/>
                        <a:pt x="835613" y="253559"/>
                        <a:pt x="814332" y="262333"/>
                      </a:cubicBezTo>
                      <a:lnTo>
                        <a:pt x="814332" y="262333"/>
                      </a:lnTo>
                      <a:cubicBezTo>
                        <a:pt x="816349" y="274537"/>
                        <a:pt x="820182" y="286338"/>
                        <a:pt x="827645" y="295415"/>
                      </a:cubicBezTo>
                      <a:lnTo>
                        <a:pt x="827645" y="295415"/>
                      </a:lnTo>
                      <a:cubicBezTo>
                        <a:pt x="853667" y="327790"/>
                        <a:pt x="882815" y="353206"/>
                        <a:pt x="886648" y="372067"/>
                      </a:cubicBezTo>
                      <a:lnTo>
                        <a:pt x="886648" y="372067"/>
                      </a:lnTo>
                      <a:cubicBezTo>
                        <a:pt x="886849" y="373580"/>
                        <a:pt x="887051" y="375093"/>
                        <a:pt x="887051" y="376606"/>
                      </a:cubicBezTo>
                      <a:lnTo>
                        <a:pt x="887051" y="376606"/>
                      </a:lnTo>
                      <a:cubicBezTo>
                        <a:pt x="887051" y="385885"/>
                        <a:pt x="883521" y="397181"/>
                        <a:pt x="883622" y="408275"/>
                      </a:cubicBezTo>
                      <a:lnTo>
                        <a:pt x="883622" y="408275"/>
                      </a:lnTo>
                      <a:cubicBezTo>
                        <a:pt x="883723" y="419975"/>
                        <a:pt x="886950" y="430767"/>
                        <a:pt x="902180" y="439138"/>
                      </a:cubicBezTo>
                      <a:lnTo>
                        <a:pt x="902180" y="439138"/>
                      </a:lnTo>
                      <a:cubicBezTo>
                        <a:pt x="926083" y="452048"/>
                        <a:pt x="934556" y="464050"/>
                        <a:pt x="934455" y="479885"/>
                      </a:cubicBezTo>
                      <a:lnTo>
                        <a:pt x="934455" y="479885"/>
                      </a:lnTo>
                      <a:cubicBezTo>
                        <a:pt x="934455" y="486441"/>
                        <a:pt x="933143" y="493602"/>
                        <a:pt x="931227" y="502175"/>
                      </a:cubicBezTo>
                      <a:lnTo>
                        <a:pt x="931227" y="502175"/>
                      </a:lnTo>
                      <a:cubicBezTo>
                        <a:pt x="925680" y="526381"/>
                        <a:pt x="898851" y="566926"/>
                        <a:pt x="898952" y="598091"/>
                      </a:cubicBezTo>
                      <a:lnTo>
                        <a:pt x="898952" y="598091"/>
                      </a:lnTo>
                      <a:cubicBezTo>
                        <a:pt x="898952" y="603739"/>
                        <a:pt x="899759" y="608883"/>
                        <a:pt x="901877" y="614027"/>
                      </a:cubicBezTo>
                      <a:lnTo>
                        <a:pt x="901877" y="614027"/>
                      </a:lnTo>
                      <a:cubicBezTo>
                        <a:pt x="909946" y="633190"/>
                        <a:pt x="923057" y="636014"/>
                        <a:pt x="935665" y="636316"/>
                      </a:cubicBezTo>
                      <a:lnTo>
                        <a:pt x="935665" y="636316"/>
                      </a:lnTo>
                      <a:cubicBezTo>
                        <a:pt x="942523" y="636316"/>
                        <a:pt x="948877" y="635005"/>
                        <a:pt x="953820" y="635005"/>
                      </a:cubicBezTo>
                      <a:lnTo>
                        <a:pt x="953820" y="635005"/>
                      </a:lnTo>
                      <a:cubicBezTo>
                        <a:pt x="955030" y="635005"/>
                        <a:pt x="956038" y="635207"/>
                        <a:pt x="956543" y="635409"/>
                      </a:cubicBezTo>
                      <a:lnTo>
                        <a:pt x="956543" y="635409"/>
                      </a:lnTo>
                      <a:cubicBezTo>
                        <a:pt x="966225" y="636518"/>
                        <a:pt x="983976" y="640250"/>
                        <a:pt x="983875" y="661834"/>
                      </a:cubicBezTo>
                      <a:lnTo>
                        <a:pt x="983875" y="661834"/>
                      </a:lnTo>
                      <a:cubicBezTo>
                        <a:pt x="983875" y="663548"/>
                        <a:pt x="983674" y="665465"/>
                        <a:pt x="983472" y="667784"/>
                      </a:cubicBezTo>
                      <a:lnTo>
                        <a:pt x="983472" y="667784"/>
                      </a:lnTo>
                      <a:cubicBezTo>
                        <a:pt x="983169" y="669499"/>
                        <a:pt x="983169" y="671113"/>
                        <a:pt x="983169" y="672525"/>
                      </a:cubicBezTo>
                      <a:lnTo>
                        <a:pt x="983169" y="672525"/>
                      </a:lnTo>
                      <a:cubicBezTo>
                        <a:pt x="983270" y="686746"/>
                        <a:pt x="991238" y="692999"/>
                        <a:pt x="999912" y="693100"/>
                      </a:cubicBezTo>
                      <a:lnTo>
                        <a:pt x="999912" y="693100"/>
                      </a:lnTo>
                      <a:cubicBezTo>
                        <a:pt x="1002837" y="693100"/>
                        <a:pt x="1005762" y="692394"/>
                        <a:pt x="1008586" y="691082"/>
                      </a:cubicBezTo>
                      <a:lnTo>
                        <a:pt x="1008586" y="691082"/>
                      </a:lnTo>
                      <a:cubicBezTo>
                        <a:pt x="1015343" y="687250"/>
                        <a:pt x="1023412" y="684930"/>
                        <a:pt x="1030976" y="684930"/>
                      </a:cubicBezTo>
                      <a:lnTo>
                        <a:pt x="1030976" y="684930"/>
                      </a:lnTo>
                      <a:cubicBezTo>
                        <a:pt x="1039448" y="684829"/>
                        <a:pt x="1048021" y="688259"/>
                        <a:pt x="1051047" y="697235"/>
                      </a:cubicBezTo>
                      <a:lnTo>
                        <a:pt x="1051047" y="697235"/>
                      </a:lnTo>
                      <a:cubicBezTo>
                        <a:pt x="1051350" y="698244"/>
                        <a:pt x="1051552" y="699454"/>
                        <a:pt x="1051552" y="700362"/>
                      </a:cubicBezTo>
                      <a:lnTo>
                        <a:pt x="1051552" y="700362"/>
                      </a:lnTo>
                      <a:cubicBezTo>
                        <a:pt x="1050543" y="716701"/>
                        <a:pt x="1016150" y="737680"/>
                        <a:pt x="1017360" y="746353"/>
                      </a:cubicBezTo>
                      <a:lnTo>
                        <a:pt x="1017360" y="746353"/>
                      </a:lnTo>
                      <a:cubicBezTo>
                        <a:pt x="1017360" y="746353"/>
                        <a:pt x="1017461" y="746454"/>
                        <a:pt x="1017461" y="746858"/>
                      </a:cubicBezTo>
                      <a:lnTo>
                        <a:pt x="1017461" y="746858"/>
                      </a:lnTo>
                      <a:cubicBezTo>
                        <a:pt x="1019075" y="758961"/>
                        <a:pt x="1022908" y="787403"/>
                        <a:pt x="1055081" y="787403"/>
                      </a:cubicBezTo>
                      <a:lnTo>
                        <a:pt x="1055081" y="787403"/>
                      </a:lnTo>
                      <a:cubicBezTo>
                        <a:pt x="1055787" y="787403"/>
                        <a:pt x="1056695" y="787302"/>
                        <a:pt x="1057502" y="787403"/>
                      </a:cubicBezTo>
                      <a:lnTo>
                        <a:pt x="1057502" y="787403"/>
                      </a:lnTo>
                      <a:cubicBezTo>
                        <a:pt x="1058410" y="787403"/>
                        <a:pt x="1059418" y="787201"/>
                        <a:pt x="1060629" y="787201"/>
                      </a:cubicBezTo>
                      <a:lnTo>
                        <a:pt x="1060629" y="787201"/>
                      </a:lnTo>
                      <a:cubicBezTo>
                        <a:pt x="1097140" y="787403"/>
                        <a:pt x="1118320" y="814534"/>
                        <a:pt x="1121850" y="829461"/>
                      </a:cubicBezTo>
                      <a:lnTo>
                        <a:pt x="1121850" y="829461"/>
                      </a:lnTo>
                      <a:cubicBezTo>
                        <a:pt x="1122153" y="830974"/>
                        <a:pt x="1122354" y="832587"/>
                        <a:pt x="1122354" y="834100"/>
                      </a:cubicBezTo>
                      <a:lnTo>
                        <a:pt x="1122354" y="834100"/>
                      </a:lnTo>
                      <a:cubicBezTo>
                        <a:pt x="1122153" y="849531"/>
                        <a:pt x="1108335" y="869501"/>
                        <a:pt x="1087155" y="871317"/>
                      </a:cubicBezTo>
                      <a:lnTo>
                        <a:pt x="1087155" y="871317"/>
                      </a:lnTo>
                      <a:cubicBezTo>
                        <a:pt x="1067588" y="871922"/>
                        <a:pt x="989927" y="912064"/>
                        <a:pt x="991440" y="937380"/>
                      </a:cubicBezTo>
                      <a:lnTo>
                        <a:pt x="991440" y="937380"/>
                      </a:lnTo>
                      <a:cubicBezTo>
                        <a:pt x="991440" y="937380"/>
                        <a:pt x="991440" y="938489"/>
                        <a:pt x="991541" y="938892"/>
                      </a:cubicBezTo>
                      <a:lnTo>
                        <a:pt x="991541" y="938892"/>
                      </a:lnTo>
                      <a:cubicBezTo>
                        <a:pt x="992045" y="943834"/>
                        <a:pt x="992247" y="949281"/>
                        <a:pt x="992247" y="954526"/>
                      </a:cubicBezTo>
                      <a:lnTo>
                        <a:pt x="992247" y="954526"/>
                      </a:lnTo>
                      <a:cubicBezTo>
                        <a:pt x="992247" y="979437"/>
                        <a:pt x="986094" y="1007476"/>
                        <a:pt x="962393" y="1007981"/>
                      </a:cubicBezTo>
                      <a:lnTo>
                        <a:pt x="962393" y="1007981"/>
                      </a:lnTo>
                      <a:cubicBezTo>
                        <a:pt x="961485" y="1007981"/>
                        <a:pt x="960476" y="1007981"/>
                        <a:pt x="959165" y="1007981"/>
                      </a:cubicBezTo>
                      <a:lnTo>
                        <a:pt x="959165" y="1007981"/>
                      </a:lnTo>
                      <a:cubicBezTo>
                        <a:pt x="935463" y="1005055"/>
                        <a:pt x="901676" y="984682"/>
                        <a:pt x="886345" y="984984"/>
                      </a:cubicBezTo>
                      <a:lnTo>
                        <a:pt x="886345" y="984984"/>
                      </a:lnTo>
                      <a:cubicBezTo>
                        <a:pt x="883118" y="984984"/>
                        <a:pt x="881403" y="985792"/>
                        <a:pt x="880193" y="987002"/>
                      </a:cubicBezTo>
                      <a:lnTo>
                        <a:pt x="880193" y="987002"/>
                      </a:lnTo>
                      <a:cubicBezTo>
                        <a:pt x="871922" y="996482"/>
                        <a:pt x="858407" y="1014133"/>
                        <a:pt x="858508" y="1030170"/>
                      </a:cubicBezTo>
                      <a:lnTo>
                        <a:pt x="858508" y="1030170"/>
                      </a:lnTo>
                      <a:cubicBezTo>
                        <a:pt x="858508" y="1034809"/>
                        <a:pt x="859517" y="1039145"/>
                        <a:pt x="862038" y="1043684"/>
                      </a:cubicBezTo>
                      <a:lnTo>
                        <a:pt x="862038" y="1043684"/>
                      </a:lnTo>
                      <a:cubicBezTo>
                        <a:pt x="869199" y="1056493"/>
                        <a:pt x="882714" y="1078077"/>
                        <a:pt x="882916" y="1094719"/>
                      </a:cubicBezTo>
                      <a:lnTo>
                        <a:pt x="882916" y="1094719"/>
                      </a:lnTo>
                      <a:cubicBezTo>
                        <a:pt x="882815" y="1105612"/>
                        <a:pt x="875452" y="1113882"/>
                        <a:pt x="859113" y="1113882"/>
                      </a:cubicBezTo>
                      <a:lnTo>
                        <a:pt x="859113" y="1113882"/>
                      </a:lnTo>
                      <a:cubicBezTo>
                        <a:pt x="857903" y="1113882"/>
                        <a:pt x="856491" y="1113882"/>
                        <a:pt x="854978" y="1113882"/>
                      </a:cubicBezTo>
                      <a:lnTo>
                        <a:pt x="854978" y="1113882"/>
                      </a:lnTo>
                      <a:cubicBezTo>
                        <a:pt x="845497" y="1113378"/>
                        <a:pt x="837227" y="1112873"/>
                        <a:pt x="829965" y="1112873"/>
                      </a:cubicBezTo>
                      <a:lnTo>
                        <a:pt x="829965" y="1112873"/>
                      </a:lnTo>
                      <a:cubicBezTo>
                        <a:pt x="801321" y="1112974"/>
                        <a:pt x="788512" y="1117916"/>
                        <a:pt x="779132" y="1134054"/>
                      </a:cubicBezTo>
                      <a:lnTo>
                        <a:pt x="779132" y="1134054"/>
                      </a:lnTo>
                      <a:cubicBezTo>
                        <a:pt x="765214" y="1157553"/>
                        <a:pt x="726182" y="1156747"/>
                        <a:pt x="718416" y="1156948"/>
                      </a:cubicBezTo>
                      <a:lnTo>
                        <a:pt x="718416" y="1156948"/>
                      </a:lnTo>
                      <a:cubicBezTo>
                        <a:pt x="717104" y="1154024"/>
                        <a:pt x="707523" y="1186500"/>
                        <a:pt x="684426" y="1186803"/>
                      </a:cubicBezTo>
                      <a:lnTo>
                        <a:pt x="684426" y="1186803"/>
                      </a:lnTo>
                      <a:cubicBezTo>
                        <a:pt x="677770" y="1186803"/>
                        <a:pt x="670104" y="1184180"/>
                        <a:pt x="661531" y="1177927"/>
                      </a:cubicBezTo>
                      <a:lnTo>
                        <a:pt x="661531" y="1177927"/>
                      </a:lnTo>
                      <a:cubicBezTo>
                        <a:pt x="643679" y="1165017"/>
                        <a:pt x="626332" y="1157957"/>
                        <a:pt x="613220" y="1157957"/>
                      </a:cubicBezTo>
                      <a:lnTo>
                        <a:pt x="613220" y="1157957"/>
                      </a:lnTo>
                      <a:cubicBezTo>
                        <a:pt x="598596" y="1158360"/>
                        <a:pt x="589418" y="1165421"/>
                        <a:pt x="587501" y="1185088"/>
                      </a:cubicBezTo>
                      <a:lnTo>
                        <a:pt x="587501" y="1185088"/>
                      </a:lnTo>
                      <a:cubicBezTo>
                        <a:pt x="587300" y="1188517"/>
                        <a:pt x="586997" y="1191946"/>
                        <a:pt x="586997" y="1195476"/>
                      </a:cubicBezTo>
                      <a:lnTo>
                        <a:pt x="586997" y="1195476"/>
                      </a:lnTo>
                      <a:cubicBezTo>
                        <a:pt x="586997" y="1228457"/>
                        <a:pt x="599604" y="1255991"/>
                        <a:pt x="614531" y="1273642"/>
                      </a:cubicBezTo>
                      <a:lnTo>
                        <a:pt x="614531" y="1273642"/>
                      </a:lnTo>
                      <a:cubicBezTo>
                        <a:pt x="622297" y="1282618"/>
                        <a:pt x="626533" y="1292099"/>
                        <a:pt x="626533" y="1301479"/>
                      </a:cubicBezTo>
                      <a:lnTo>
                        <a:pt x="626533" y="1301479"/>
                      </a:lnTo>
                      <a:cubicBezTo>
                        <a:pt x="626533" y="1313179"/>
                        <a:pt x="619473" y="1324172"/>
                        <a:pt x="606261" y="1333047"/>
                      </a:cubicBezTo>
                      <a:lnTo>
                        <a:pt x="606261" y="1333047"/>
                      </a:lnTo>
                      <a:cubicBezTo>
                        <a:pt x="593956" y="1341217"/>
                        <a:pt x="581752" y="1344445"/>
                        <a:pt x="569447" y="1344445"/>
                      </a:cubicBezTo>
                      <a:lnTo>
                        <a:pt x="569447" y="1344445"/>
                      </a:lnTo>
                      <a:cubicBezTo>
                        <a:pt x="558050" y="1344445"/>
                        <a:pt x="546654" y="1341520"/>
                        <a:pt x="534651" y="1337989"/>
                      </a:cubicBezTo>
                      <a:lnTo>
                        <a:pt x="534651" y="1337989"/>
                      </a:lnTo>
                      <a:cubicBezTo>
                        <a:pt x="526482" y="1335367"/>
                        <a:pt x="518615" y="1334359"/>
                        <a:pt x="510546" y="1334359"/>
                      </a:cubicBezTo>
                      <a:lnTo>
                        <a:pt x="510546" y="1334359"/>
                      </a:lnTo>
                      <a:cubicBezTo>
                        <a:pt x="495216" y="1334359"/>
                        <a:pt x="478877" y="1337888"/>
                        <a:pt x="457696" y="1341116"/>
                      </a:cubicBezTo>
                      <a:lnTo>
                        <a:pt x="457696" y="1341116"/>
                      </a:lnTo>
                      <a:cubicBezTo>
                        <a:pt x="449930" y="1342225"/>
                        <a:pt x="442971" y="1342629"/>
                        <a:pt x="436415" y="1342629"/>
                      </a:cubicBezTo>
                      <a:lnTo>
                        <a:pt x="436415" y="1342629"/>
                      </a:lnTo>
                      <a:cubicBezTo>
                        <a:pt x="414327" y="1342629"/>
                        <a:pt x="396979" y="1338090"/>
                        <a:pt x="377514" y="1338090"/>
                      </a:cubicBezTo>
                      <a:lnTo>
                        <a:pt x="377514" y="1338090"/>
                      </a:lnTo>
                      <a:cubicBezTo>
                        <a:pt x="374992" y="1338090"/>
                        <a:pt x="372673" y="1338090"/>
                        <a:pt x="370454" y="1338090"/>
                      </a:cubicBezTo>
                      <a:lnTo>
                        <a:pt x="370454" y="1338090"/>
                      </a:lnTo>
                      <a:cubicBezTo>
                        <a:pt x="351996" y="1338595"/>
                        <a:pt x="345138" y="1338292"/>
                        <a:pt x="344936" y="1352110"/>
                      </a:cubicBezTo>
                      <a:lnTo>
                        <a:pt x="344936" y="1352110"/>
                      </a:lnTo>
                      <a:cubicBezTo>
                        <a:pt x="344936" y="1355337"/>
                        <a:pt x="345441" y="1359170"/>
                        <a:pt x="346449" y="1364011"/>
                      </a:cubicBezTo>
                      <a:lnTo>
                        <a:pt x="346449" y="1364011"/>
                      </a:lnTo>
                      <a:cubicBezTo>
                        <a:pt x="347357" y="1368852"/>
                        <a:pt x="347760" y="1373593"/>
                        <a:pt x="347760" y="1378232"/>
                      </a:cubicBezTo>
                      <a:lnTo>
                        <a:pt x="347760" y="1378232"/>
                      </a:lnTo>
                      <a:cubicBezTo>
                        <a:pt x="347155" y="1397698"/>
                        <a:pt x="341507" y="1413230"/>
                        <a:pt x="332228" y="1414642"/>
                      </a:cubicBezTo>
                      <a:lnTo>
                        <a:pt x="332228" y="1414642"/>
                      </a:lnTo>
                      <a:cubicBezTo>
                        <a:pt x="328799" y="1414642"/>
                        <a:pt x="326580" y="1411717"/>
                        <a:pt x="325773" y="1408489"/>
                      </a:cubicBezTo>
                      <a:lnTo>
                        <a:pt x="325773" y="1408489"/>
                      </a:lnTo>
                      <a:cubicBezTo>
                        <a:pt x="322243" y="1393966"/>
                        <a:pt x="316595" y="1363003"/>
                        <a:pt x="310443" y="1364818"/>
                      </a:cubicBezTo>
                      <a:lnTo>
                        <a:pt x="310443" y="1364818"/>
                      </a:lnTo>
                      <a:cubicBezTo>
                        <a:pt x="309737" y="1364818"/>
                        <a:pt x="309333" y="1364919"/>
                        <a:pt x="308224" y="1365625"/>
                      </a:cubicBezTo>
                      <a:lnTo>
                        <a:pt x="308224" y="1365625"/>
                      </a:lnTo>
                      <a:cubicBezTo>
                        <a:pt x="300659" y="1369760"/>
                        <a:pt x="291179" y="1372685"/>
                        <a:pt x="278773" y="1372685"/>
                      </a:cubicBezTo>
                      <a:lnTo>
                        <a:pt x="278773" y="1372685"/>
                      </a:lnTo>
                      <a:cubicBezTo>
                        <a:pt x="267376" y="1372685"/>
                        <a:pt x="253256" y="1370264"/>
                        <a:pt x="235303" y="1364414"/>
                      </a:cubicBezTo>
                      <a:lnTo>
                        <a:pt x="235303" y="1364414"/>
                      </a:lnTo>
                      <a:cubicBezTo>
                        <a:pt x="219367" y="1359069"/>
                        <a:pt x="205550" y="1356649"/>
                        <a:pt x="194859" y="1356649"/>
                      </a:cubicBezTo>
                      <a:lnTo>
                        <a:pt x="194859" y="1356649"/>
                      </a:lnTo>
                      <a:cubicBezTo>
                        <a:pt x="181142" y="1356548"/>
                        <a:pt x="173779" y="1360683"/>
                        <a:pt x="172972" y="1365423"/>
                      </a:cubicBezTo>
                      <a:lnTo>
                        <a:pt x="172972" y="1365423"/>
                      </a:lnTo>
                      <a:cubicBezTo>
                        <a:pt x="170148" y="1375610"/>
                        <a:pt x="158550" y="1380451"/>
                        <a:pt x="147657" y="1380451"/>
                      </a:cubicBezTo>
                      <a:lnTo>
                        <a:pt x="147657" y="1380451"/>
                      </a:lnTo>
                      <a:cubicBezTo>
                        <a:pt x="142009" y="1380451"/>
                        <a:pt x="136462" y="1379140"/>
                        <a:pt x="131923" y="1376417"/>
                      </a:cubicBezTo>
                      <a:lnTo>
                        <a:pt x="131923" y="1376417"/>
                      </a:lnTo>
                      <a:cubicBezTo>
                        <a:pt x="123552" y="1370869"/>
                        <a:pt x="107213" y="1356245"/>
                        <a:pt x="97026" y="1356548"/>
                      </a:cubicBezTo>
                      <a:lnTo>
                        <a:pt x="97026" y="1356548"/>
                      </a:lnTo>
                      <a:cubicBezTo>
                        <a:pt x="92084" y="1356649"/>
                        <a:pt x="88150" y="1358867"/>
                        <a:pt x="85528" y="1369961"/>
                      </a:cubicBezTo>
                      <a:lnTo>
                        <a:pt x="85528" y="1369961"/>
                      </a:lnTo>
                      <a:cubicBezTo>
                        <a:pt x="77459" y="1405061"/>
                        <a:pt x="46395" y="1432898"/>
                        <a:pt x="26021" y="1446917"/>
                      </a:cubicBezTo>
                      <a:lnTo>
                        <a:pt x="26021" y="1446917"/>
                      </a:lnTo>
                      <a:cubicBezTo>
                        <a:pt x="17751" y="1452060"/>
                        <a:pt x="11901" y="1474149"/>
                        <a:pt x="12002" y="1497951"/>
                      </a:cubicBezTo>
                      <a:lnTo>
                        <a:pt x="12002" y="1497951"/>
                      </a:lnTo>
                      <a:cubicBezTo>
                        <a:pt x="12002" y="1522661"/>
                        <a:pt x="17751" y="1549490"/>
                        <a:pt x="29652" y="1562602"/>
                      </a:cubicBezTo>
                      <a:lnTo>
                        <a:pt x="29652" y="1562602"/>
                      </a:lnTo>
                      <a:cubicBezTo>
                        <a:pt x="53253" y="1589329"/>
                        <a:pt x="89462" y="1595482"/>
                        <a:pt x="122039" y="1606274"/>
                      </a:cubicBezTo>
                      <a:lnTo>
                        <a:pt x="122039" y="1606274"/>
                      </a:lnTo>
                      <a:cubicBezTo>
                        <a:pt x="155423" y="1617267"/>
                        <a:pt x="163895" y="1641876"/>
                        <a:pt x="168333" y="1655694"/>
                      </a:cubicBezTo>
                      <a:lnTo>
                        <a:pt x="168333" y="1655694"/>
                      </a:lnTo>
                      <a:cubicBezTo>
                        <a:pt x="173073" y="1669713"/>
                        <a:pt x="183764" y="1709754"/>
                        <a:pt x="183865" y="1745559"/>
                      </a:cubicBezTo>
                      <a:lnTo>
                        <a:pt x="183865" y="1745559"/>
                      </a:lnTo>
                      <a:cubicBezTo>
                        <a:pt x="183663" y="1781465"/>
                        <a:pt x="171964" y="1835424"/>
                        <a:pt x="145640" y="1852267"/>
                      </a:cubicBezTo>
                      <a:lnTo>
                        <a:pt x="145640" y="1852267"/>
                      </a:lnTo>
                      <a:cubicBezTo>
                        <a:pt x="130511" y="1861748"/>
                        <a:pt x="119820" y="1877785"/>
                        <a:pt x="119820" y="1895536"/>
                      </a:cubicBezTo>
                      <a:lnTo>
                        <a:pt x="119820" y="1895536"/>
                      </a:lnTo>
                      <a:cubicBezTo>
                        <a:pt x="119820" y="1905319"/>
                        <a:pt x="123048" y="1915809"/>
                        <a:pt x="131116" y="1926500"/>
                      </a:cubicBezTo>
                      <a:lnTo>
                        <a:pt x="131116" y="1926500"/>
                      </a:lnTo>
                      <a:cubicBezTo>
                        <a:pt x="149472" y="1951109"/>
                        <a:pt x="165004" y="1963212"/>
                        <a:pt x="175595" y="1962909"/>
                      </a:cubicBezTo>
                      <a:lnTo>
                        <a:pt x="175595" y="1962909"/>
                      </a:lnTo>
                      <a:cubicBezTo>
                        <a:pt x="178015" y="1962909"/>
                        <a:pt x="180436" y="1962304"/>
                        <a:pt x="182756" y="1961195"/>
                      </a:cubicBezTo>
                      <a:lnTo>
                        <a:pt x="182756" y="1961195"/>
                      </a:lnTo>
                      <a:cubicBezTo>
                        <a:pt x="191833" y="1956152"/>
                        <a:pt x="204440" y="1947680"/>
                        <a:pt x="220174" y="1947680"/>
                      </a:cubicBezTo>
                      <a:lnTo>
                        <a:pt x="220174" y="1947680"/>
                      </a:lnTo>
                      <a:cubicBezTo>
                        <a:pt x="227940" y="1947680"/>
                        <a:pt x="236413" y="1949596"/>
                        <a:pt x="245389" y="1955042"/>
                      </a:cubicBezTo>
                      <a:lnTo>
                        <a:pt x="245389" y="1955042"/>
                      </a:lnTo>
                      <a:cubicBezTo>
                        <a:pt x="271209" y="1970474"/>
                        <a:pt x="288960" y="1977130"/>
                        <a:pt x="289767" y="1991251"/>
                      </a:cubicBezTo>
                      <a:lnTo>
                        <a:pt x="289767" y="1991251"/>
                      </a:lnTo>
                      <a:cubicBezTo>
                        <a:pt x="289666" y="2002547"/>
                        <a:pt x="278975" y="2014246"/>
                        <a:pt x="265258" y="2014347"/>
                      </a:cubicBezTo>
                      <a:lnTo>
                        <a:pt x="265258" y="2014347"/>
                      </a:lnTo>
                      <a:cubicBezTo>
                        <a:pt x="263543" y="2014347"/>
                        <a:pt x="262031" y="2014146"/>
                        <a:pt x="260316" y="2013843"/>
                      </a:cubicBezTo>
                      <a:lnTo>
                        <a:pt x="260316" y="2013843"/>
                      </a:lnTo>
                      <a:cubicBezTo>
                        <a:pt x="253760" y="2012330"/>
                        <a:pt x="236110" y="2010010"/>
                        <a:pt x="219670" y="2010010"/>
                      </a:cubicBezTo>
                      <a:lnTo>
                        <a:pt x="219670" y="2010010"/>
                      </a:lnTo>
                      <a:cubicBezTo>
                        <a:pt x="202826" y="2009708"/>
                        <a:pt x="187093" y="2013036"/>
                        <a:pt x="185076" y="2018583"/>
                      </a:cubicBezTo>
                      <a:lnTo>
                        <a:pt x="185076" y="2018583"/>
                      </a:lnTo>
                      <a:cubicBezTo>
                        <a:pt x="177713" y="2032905"/>
                        <a:pt x="178217" y="2076879"/>
                        <a:pt x="169442" y="2088175"/>
                      </a:cubicBezTo>
                      <a:lnTo>
                        <a:pt x="169442" y="2088175"/>
                      </a:lnTo>
                      <a:cubicBezTo>
                        <a:pt x="162281" y="2095538"/>
                        <a:pt x="125166" y="2101388"/>
                        <a:pt x="88856" y="2101792"/>
                      </a:cubicBezTo>
                      <a:lnTo>
                        <a:pt x="88856" y="2101792"/>
                      </a:lnTo>
                      <a:cubicBezTo>
                        <a:pt x="64448" y="2101691"/>
                        <a:pt x="41554" y="2098766"/>
                        <a:pt x="30258" y="2088478"/>
                      </a:cubicBezTo>
                      <a:lnTo>
                        <a:pt x="30258" y="2088478"/>
                      </a:lnTo>
                      <a:cubicBezTo>
                        <a:pt x="26727" y="2085150"/>
                        <a:pt x="23903" y="2081418"/>
                        <a:pt x="21382" y="2077686"/>
                      </a:cubicBezTo>
                      <a:lnTo>
                        <a:pt x="21382" y="2077686"/>
                      </a:lnTo>
                      <a:cubicBezTo>
                        <a:pt x="17146" y="2103909"/>
                        <a:pt x="12910" y="2126704"/>
                        <a:pt x="9380" y="2136588"/>
                      </a:cubicBezTo>
                      <a:lnTo>
                        <a:pt x="9380" y="2136588"/>
                      </a:lnTo>
                      <a:cubicBezTo>
                        <a:pt x="7766" y="2141227"/>
                        <a:pt x="6959" y="2145564"/>
                        <a:pt x="6959" y="2149599"/>
                      </a:cubicBezTo>
                      <a:lnTo>
                        <a:pt x="6959" y="2149599"/>
                      </a:lnTo>
                      <a:cubicBezTo>
                        <a:pt x="6858" y="2169266"/>
                        <a:pt x="24811" y="2182378"/>
                        <a:pt x="36914" y="2185201"/>
                      </a:cubicBezTo>
                      <a:lnTo>
                        <a:pt x="36914" y="2185201"/>
                      </a:lnTo>
                      <a:cubicBezTo>
                        <a:pt x="47504" y="2187522"/>
                        <a:pt x="74635" y="2196397"/>
                        <a:pt x="97732" y="2196195"/>
                      </a:cubicBezTo>
                      <a:lnTo>
                        <a:pt x="97732" y="2196195"/>
                      </a:lnTo>
                      <a:cubicBezTo>
                        <a:pt x="109734" y="2196296"/>
                        <a:pt x="120224" y="2193674"/>
                        <a:pt x="126577" y="2187421"/>
                      </a:cubicBezTo>
                      <a:lnTo>
                        <a:pt x="126577" y="2187421"/>
                      </a:lnTo>
                      <a:cubicBezTo>
                        <a:pt x="146648" y="2168963"/>
                        <a:pt x="131217" y="2133764"/>
                        <a:pt x="155827" y="2127612"/>
                      </a:cubicBezTo>
                      <a:lnTo>
                        <a:pt x="155827" y="2127612"/>
                      </a:lnTo>
                      <a:cubicBezTo>
                        <a:pt x="157945" y="2127309"/>
                        <a:pt x="160062" y="2127107"/>
                        <a:pt x="162180" y="2127107"/>
                      </a:cubicBezTo>
                      <a:lnTo>
                        <a:pt x="162180" y="2127107"/>
                      </a:lnTo>
                      <a:cubicBezTo>
                        <a:pt x="181747" y="2127107"/>
                        <a:pt x="197279" y="2142740"/>
                        <a:pt x="197279" y="2161701"/>
                      </a:cubicBezTo>
                      <a:lnTo>
                        <a:pt x="197279" y="2161701"/>
                      </a:lnTo>
                      <a:cubicBezTo>
                        <a:pt x="197279" y="2168156"/>
                        <a:pt x="197985" y="2173905"/>
                        <a:pt x="197985" y="2179553"/>
                      </a:cubicBezTo>
                      <a:lnTo>
                        <a:pt x="197985" y="2179553"/>
                      </a:lnTo>
                      <a:cubicBezTo>
                        <a:pt x="198086" y="2190043"/>
                        <a:pt x="195363" y="2200129"/>
                        <a:pt x="182252" y="2210719"/>
                      </a:cubicBezTo>
                      <a:lnTo>
                        <a:pt x="182252" y="2210719"/>
                      </a:lnTo>
                      <a:cubicBezTo>
                        <a:pt x="170653" y="2220301"/>
                        <a:pt x="160668" y="2237951"/>
                        <a:pt x="160870" y="2253886"/>
                      </a:cubicBezTo>
                      <a:lnTo>
                        <a:pt x="160870" y="2253886"/>
                      </a:lnTo>
                      <a:cubicBezTo>
                        <a:pt x="160870" y="2262661"/>
                        <a:pt x="163492" y="2270830"/>
                        <a:pt x="170451" y="2277790"/>
                      </a:cubicBezTo>
                      <a:lnTo>
                        <a:pt x="170451" y="2277790"/>
                      </a:lnTo>
                      <a:cubicBezTo>
                        <a:pt x="178520" y="2285959"/>
                        <a:pt x="190018" y="2290397"/>
                        <a:pt x="201818" y="2290397"/>
                      </a:cubicBezTo>
                      <a:lnTo>
                        <a:pt x="201818" y="2290397"/>
                      </a:lnTo>
                      <a:cubicBezTo>
                        <a:pt x="218460" y="2290296"/>
                        <a:pt x="235303" y="2281521"/>
                        <a:pt x="244279" y="2261350"/>
                      </a:cubicBezTo>
                      <a:lnTo>
                        <a:pt x="244279" y="2261350"/>
                      </a:lnTo>
                      <a:cubicBezTo>
                        <a:pt x="257996" y="2228873"/>
                        <a:pt x="275747" y="2220906"/>
                        <a:pt x="288859" y="2221006"/>
                      </a:cubicBezTo>
                      <a:lnTo>
                        <a:pt x="288859" y="2221006"/>
                      </a:lnTo>
                      <a:cubicBezTo>
                        <a:pt x="290574" y="2221006"/>
                        <a:pt x="292389" y="2221208"/>
                        <a:pt x="294003" y="2221511"/>
                      </a:cubicBezTo>
                      <a:lnTo>
                        <a:pt x="294003" y="2221511"/>
                      </a:lnTo>
                      <a:cubicBezTo>
                        <a:pt x="301264" y="2222519"/>
                        <a:pt x="308526" y="2226251"/>
                        <a:pt x="315284" y="2226150"/>
                      </a:cubicBezTo>
                      <a:lnTo>
                        <a:pt x="315284" y="2226150"/>
                      </a:lnTo>
                      <a:cubicBezTo>
                        <a:pt x="321033" y="2226150"/>
                        <a:pt x="326681" y="2223931"/>
                        <a:pt x="333035" y="2214148"/>
                      </a:cubicBezTo>
                      <a:lnTo>
                        <a:pt x="333035" y="2214148"/>
                      </a:lnTo>
                      <a:cubicBezTo>
                        <a:pt x="342011" y="2199624"/>
                        <a:pt x="361175" y="2193573"/>
                        <a:pt x="377514" y="2193472"/>
                      </a:cubicBezTo>
                      <a:lnTo>
                        <a:pt x="377514" y="2193472"/>
                      </a:lnTo>
                      <a:cubicBezTo>
                        <a:pt x="389314" y="2193573"/>
                        <a:pt x="400005" y="2196498"/>
                        <a:pt x="405452" y="2203457"/>
                      </a:cubicBezTo>
                      <a:lnTo>
                        <a:pt x="405452" y="2203457"/>
                      </a:lnTo>
                      <a:cubicBezTo>
                        <a:pt x="415739" y="2217173"/>
                        <a:pt x="413924" y="2227159"/>
                        <a:pt x="431876" y="2227259"/>
                      </a:cubicBezTo>
                      <a:lnTo>
                        <a:pt x="431876" y="2227259"/>
                      </a:lnTo>
                      <a:cubicBezTo>
                        <a:pt x="434095" y="2227259"/>
                        <a:pt x="436617" y="2226957"/>
                        <a:pt x="439541" y="2226755"/>
                      </a:cubicBezTo>
                      <a:lnTo>
                        <a:pt x="439541" y="2226755"/>
                      </a:lnTo>
                      <a:cubicBezTo>
                        <a:pt x="441660" y="2226554"/>
                        <a:pt x="443576" y="2226251"/>
                        <a:pt x="445391" y="2226251"/>
                      </a:cubicBezTo>
                      <a:lnTo>
                        <a:pt x="445391" y="2226251"/>
                      </a:lnTo>
                      <a:cubicBezTo>
                        <a:pt x="468791" y="2227562"/>
                        <a:pt x="456789" y="2248137"/>
                        <a:pt x="472522" y="2256710"/>
                      </a:cubicBezTo>
                      <a:lnTo>
                        <a:pt x="472522" y="2256710"/>
                      </a:lnTo>
                      <a:cubicBezTo>
                        <a:pt x="490072" y="2268309"/>
                        <a:pt x="503889" y="2261148"/>
                        <a:pt x="508630" y="2279303"/>
                      </a:cubicBezTo>
                      <a:lnTo>
                        <a:pt x="508630" y="2279303"/>
                      </a:lnTo>
                      <a:cubicBezTo>
                        <a:pt x="510344" y="2288480"/>
                        <a:pt x="521641" y="2297558"/>
                        <a:pt x="529507" y="2297255"/>
                      </a:cubicBezTo>
                      <a:lnTo>
                        <a:pt x="529507" y="2297255"/>
                      </a:lnTo>
                      <a:cubicBezTo>
                        <a:pt x="533340" y="2297155"/>
                        <a:pt x="536063" y="2295743"/>
                        <a:pt x="538181" y="2291002"/>
                      </a:cubicBezTo>
                      <a:lnTo>
                        <a:pt x="538181" y="2291002"/>
                      </a:lnTo>
                      <a:cubicBezTo>
                        <a:pt x="543527" y="2278698"/>
                        <a:pt x="550385" y="2259433"/>
                        <a:pt x="565111" y="2258728"/>
                      </a:cubicBezTo>
                      <a:lnTo>
                        <a:pt x="565111" y="2258728"/>
                      </a:lnTo>
                      <a:cubicBezTo>
                        <a:pt x="570860" y="2258828"/>
                        <a:pt x="576609" y="2262056"/>
                        <a:pt x="582862" y="2269318"/>
                      </a:cubicBezTo>
                      <a:lnTo>
                        <a:pt x="582862" y="2269318"/>
                      </a:lnTo>
                      <a:cubicBezTo>
                        <a:pt x="596074" y="2284951"/>
                        <a:pt x="613623" y="2295339"/>
                        <a:pt x="622802" y="2295138"/>
                      </a:cubicBezTo>
                      <a:lnTo>
                        <a:pt x="622802" y="2295138"/>
                      </a:lnTo>
                      <a:cubicBezTo>
                        <a:pt x="627441" y="2294835"/>
                        <a:pt x="629256" y="2293624"/>
                        <a:pt x="630063" y="2288380"/>
                      </a:cubicBezTo>
                      <a:lnTo>
                        <a:pt x="630063" y="2288380"/>
                      </a:lnTo>
                      <a:cubicBezTo>
                        <a:pt x="630063" y="2287875"/>
                        <a:pt x="630063" y="2287270"/>
                        <a:pt x="630063" y="2286665"/>
                      </a:cubicBezTo>
                      <a:lnTo>
                        <a:pt x="630063" y="2286665"/>
                      </a:lnTo>
                      <a:cubicBezTo>
                        <a:pt x="630265" y="2273251"/>
                        <a:pt x="616750" y="2253382"/>
                        <a:pt x="616246" y="2241884"/>
                      </a:cubicBezTo>
                      <a:lnTo>
                        <a:pt x="616246" y="2241884"/>
                      </a:lnTo>
                      <a:cubicBezTo>
                        <a:pt x="616044" y="2237951"/>
                        <a:pt x="619171" y="2233815"/>
                        <a:pt x="623810" y="2233815"/>
                      </a:cubicBezTo>
                      <a:lnTo>
                        <a:pt x="623810" y="2233815"/>
                      </a:lnTo>
                      <a:cubicBezTo>
                        <a:pt x="639040" y="2232101"/>
                        <a:pt x="679182" y="2223326"/>
                        <a:pt x="706615" y="2213139"/>
                      </a:cubicBezTo>
                      <a:lnTo>
                        <a:pt x="706615" y="2213139"/>
                      </a:lnTo>
                      <a:cubicBezTo>
                        <a:pt x="733444" y="2203155"/>
                        <a:pt x="756641" y="2178343"/>
                        <a:pt x="794564" y="2178242"/>
                      </a:cubicBezTo>
                      <a:lnTo>
                        <a:pt x="794564" y="2178242"/>
                      </a:lnTo>
                      <a:cubicBezTo>
                        <a:pt x="808381" y="2178242"/>
                        <a:pt x="820283" y="2177133"/>
                        <a:pt x="831781" y="2177133"/>
                      </a:cubicBezTo>
                      <a:lnTo>
                        <a:pt x="831781" y="2177133"/>
                      </a:lnTo>
                      <a:cubicBezTo>
                        <a:pt x="850036" y="2177133"/>
                        <a:pt x="867485" y="2179856"/>
                        <a:pt x="888261" y="2194279"/>
                      </a:cubicBezTo>
                      <a:lnTo>
                        <a:pt x="888261" y="2194279"/>
                      </a:lnTo>
                      <a:cubicBezTo>
                        <a:pt x="899659" y="2202146"/>
                        <a:pt x="910450" y="2205474"/>
                        <a:pt x="919326" y="2205474"/>
                      </a:cubicBezTo>
                      <a:lnTo>
                        <a:pt x="919326" y="2205474"/>
                      </a:lnTo>
                      <a:cubicBezTo>
                        <a:pt x="933950" y="2205272"/>
                        <a:pt x="943028" y="2196901"/>
                        <a:pt x="943129" y="2181974"/>
                      </a:cubicBezTo>
                      <a:lnTo>
                        <a:pt x="943129" y="2181974"/>
                      </a:lnTo>
                      <a:cubicBezTo>
                        <a:pt x="943129" y="2180663"/>
                        <a:pt x="943129" y="2179049"/>
                        <a:pt x="943028" y="2177839"/>
                      </a:cubicBezTo>
                      <a:lnTo>
                        <a:pt x="943028" y="2177839"/>
                      </a:lnTo>
                      <a:cubicBezTo>
                        <a:pt x="942322" y="2152120"/>
                        <a:pt x="871922" y="2161500"/>
                        <a:pt x="861332" y="2117223"/>
                      </a:cubicBezTo>
                      <a:lnTo>
                        <a:pt x="861332" y="2117223"/>
                      </a:lnTo>
                      <a:cubicBezTo>
                        <a:pt x="858105" y="2101993"/>
                        <a:pt x="856491" y="2082023"/>
                        <a:pt x="856491" y="2060944"/>
                      </a:cubicBezTo>
                      <a:lnTo>
                        <a:pt x="856491" y="2060944"/>
                      </a:lnTo>
                      <a:cubicBezTo>
                        <a:pt x="856592" y="2023021"/>
                        <a:pt x="861433" y="1981972"/>
                        <a:pt x="871922" y="1958976"/>
                      </a:cubicBezTo>
                      <a:lnTo>
                        <a:pt x="871922" y="1958976"/>
                      </a:lnTo>
                      <a:cubicBezTo>
                        <a:pt x="877066" y="1947377"/>
                        <a:pt x="879184" y="1935274"/>
                        <a:pt x="879184" y="1924583"/>
                      </a:cubicBezTo>
                      <a:lnTo>
                        <a:pt x="879184" y="1924583"/>
                      </a:lnTo>
                      <a:cubicBezTo>
                        <a:pt x="879587" y="1904311"/>
                        <a:pt x="870914" y="1888274"/>
                        <a:pt x="866779" y="1888072"/>
                      </a:cubicBezTo>
                      <a:lnTo>
                        <a:pt x="866779" y="1888072"/>
                      </a:lnTo>
                      <a:cubicBezTo>
                        <a:pt x="864560" y="1887568"/>
                        <a:pt x="862442" y="1887164"/>
                        <a:pt x="860122" y="1887164"/>
                      </a:cubicBezTo>
                      <a:lnTo>
                        <a:pt x="860122" y="1887164"/>
                      </a:lnTo>
                      <a:cubicBezTo>
                        <a:pt x="844590" y="1886963"/>
                        <a:pt x="828351" y="1899873"/>
                        <a:pt x="816148" y="1900175"/>
                      </a:cubicBezTo>
                      <a:lnTo>
                        <a:pt x="816148" y="1900175"/>
                      </a:lnTo>
                      <a:cubicBezTo>
                        <a:pt x="807675" y="1899974"/>
                        <a:pt x="803137" y="1892611"/>
                        <a:pt x="803137" y="1876877"/>
                      </a:cubicBezTo>
                      <a:lnTo>
                        <a:pt x="803137" y="1876877"/>
                      </a:lnTo>
                      <a:cubicBezTo>
                        <a:pt x="803137" y="1872843"/>
                        <a:pt x="803338" y="1868001"/>
                        <a:pt x="803944" y="1862555"/>
                      </a:cubicBezTo>
                      <a:lnTo>
                        <a:pt x="803944" y="1862555"/>
                      </a:lnTo>
                      <a:cubicBezTo>
                        <a:pt x="808785" y="1819791"/>
                        <a:pt x="808785" y="1793366"/>
                        <a:pt x="825628" y="1791450"/>
                      </a:cubicBezTo>
                      <a:lnTo>
                        <a:pt x="825628" y="1791450"/>
                      </a:lnTo>
                      <a:cubicBezTo>
                        <a:pt x="827040" y="1791450"/>
                        <a:pt x="828755" y="1791652"/>
                        <a:pt x="830268" y="1792357"/>
                      </a:cubicBezTo>
                      <a:lnTo>
                        <a:pt x="830268" y="1792357"/>
                      </a:lnTo>
                      <a:cubicBezTo>
                        <a:pt x="841766" y="1796392"/>
                        <a:pt x="851145" y="1806780"/>
                        <a:pt x="858206" y="1806276"/>
                      </a:cubicBezTo>
                      <a:lnTo>
                        <a:pt x="858206" y="1806276"/>
                      </a:lnTo>
                      <a:cubicBezTo>
                        <a:pt x="861231" y="1806276"/>
                        <a:pt x="864560" y="1804662"/>
                        <a:pt x="868896" y="1798510"/>
                      </a:cubicBezTo>
                      <a:lnTo>
                        <a:pt x="868896" y="1798510"/>
                      </a:lnTo>
                      <a:cubicBezTo>
                        <a:pt x="870510" y="1796089"/>
                        <a:pt x="870914" y="1794072"/>
                        <a:pt x="870914" y="1792458"/>
                      </a:cubicBezTo>
                      <a:lnTo>
                        <a:pt x="870914" y="1792458"/>
                      </a:lnTo>
                      <a:cubicBezTo>
                        <a:pt x="872326" y="1782171"/>
                        <a:pt x="846203" y="1776724"/>
                        <a:pt x="844489" y="1762301"/>
                      </a:cubicBezTo>
                      <a:lnTo>
                        <a:pt x="844489" y="1762301"/>
                      </a:lnTo>
                      <a:cubicBezTo>
                        <a:pt x="844489" y="1760587"/>
                        <a:pt x="844993" y="1758570"/>
                        <a:pt x="846002" y="1757158"/>
                      </a:cubicBezTo>
                      <a:lnTo>
                        <a:pt x="846002" y="1757158"/>
                      </a:lnTo>
                      <a:cubicBezTo>
                        <a:pt x="855482" y="1740415"/>
                        <a:pt x="866577" y="1736381"/>
                        <a:pt x="866577" y="1715100"/>
                      </a:cubicBezTo>
                      <a:lnTo>
                        <a:pt x="866577" y="1715100"/>
                      </a:lnTo>
                      <a:cubicBezTo>
                        <a:pt x="866476" y="1692407"/>
                        <a:pt x="866678" y="1686557"/>
                        <a:pt x="852759" y="1653475"/>
                      </a:cubicBezTo>
                      <a:lnTo>
                        <a:pt x="852759" y="1653475"/>
                      </a:lnTo>
                      <a:cubicBezTo>
                        <a:pt x="849330" y="1645306"/>
                        <a:pt x="847817" y="1639053"/>
                        <a:pt x="847817" y="1634110"/>
                      </a:cubicBezTo>
                      <a:lnTo>
                        <a:pt x="847817" y="1634110"/>
                      </a:lnTo>
                      <a:cubicBezTo>
                        <a:pt x="847817" y="1625840"/>
                        <a:pt x="853364" y="1621503"/>
                        <a:pt x="859718" y="1621402"/>
                      </a:cubicBezTo>
                      <a:lnTo>
                        <a:pt x="859718" y="1621402"/>
                      </a:lnTo>
                      <a:cubicBezTo>
                        <a:pt x="865366" y="1621503"/>
                        <a:pt x="871721" y="1623924"/>
                        <a:pt x="877671" y="1627353"/>
                      </a:cubicBezTo>
                      <a:lnTo>
                        <a:pt x="877671" y="1627353"/>
                      </a:lnTo>
                      <a:cubicBezTo>
                        <a:pt x="882412" y="1629874"/>
                        <a:pt x="888867" y="1631992"/>
                        <a:pt x="895523" y="1631992"/>
                      </a:cubicBezTo>
                      <a:lnTo>
                        <a:pt x="895523" y="1631992"/>
                      </a:lnTo>
                      <a:cubicBezTo>
                        <a:pt x="909240" y="1631891"/>
                        <a:pt x="924167" y="1623823"/>
                        <a:pt x="929210" y="1589430"/>
                      </a:cubicBezTo>
                      <a:lnTo>
                        <a:pt x="929210" y="1589430"/>
                      </a:lnTo>
                      <a:cubicBezTo>
                        <a:pt x="937178" y="1535773"/>
                        <a:pt x="1024723" y="1435116"/>
                        <a:pt x="1068193" y="1433906"/>
                      </a:cubicBezTo>
                      <a:lnTo>
                        <a:pt x="1068193" y="1433906"/>
                      </a:lnTo>
                      <a:cubicBezTo>
                        <a:pt x="1068193" y="1433906"/>
                        <a:pt x="1068294" y="1433906"/>
                        <a:pt x="1068395" y="1433906"/>
                      </a:cubicBezTo>
                      <a:lnTo>
                        <a:pt x="1068395" y="1433906"/>
                      </a:lnTo>
                      <a:cubicBezTo>
                        <a:pt x="1068597" y="1433906"/>
                        <a:pt x="1069000" y="1433805"/>
                        <a:pt x="1069302" y="1434007"/>
                      </a:cubicBezTo>
                      <a:lnTo>
                        <a:pt x="1069302" y="1434007"/>
                      </a:lnTo>
                      <a:cubicBezTo>
                        <a:pt x="1088667" y="1434814"/>
                        <a:pt x="1105511" y="1439756"/>
                        <a:pt x="1124170" y="1439756"/>
                      </a:cubicBezTo>
                      <a:lnTo>
                        <a:pt x="1124170" y="1439756"/>
                      </a:lnTo>
                      <a:cubicBezTo>
                        <a:pt x="1144846" y="1439756"/>
                        <a:pt x="1167841" y="1433604"/>
                        <a:pt x="1199612" y="1408489"/>
                      </a:cubicBezTo>
                      <a:lnTo>
                        <a:pt x="1199612" y="1408489"/>
                      </a:lnTo>
                      <a:cubicBezTo>
                        <a:pt x="1260833" y="1359472"/>
                        <a:pt x="1309548" y="1340410"/>
                        <a:pt x="1348983" y="1304303"/>
                      </a:cubicBezTo>
                      <a:lnTo>
                        <a:pt x="1348983" y="1304303"/>
                      </a:lnTo>
                      <a:cubicBezTo>
                        <a:pt x="1389428" y="1267590"/>
                        <a:pt x="1458112" y="1215749"/>
                        <a:pt x="1478688" y="1209698"/>
                      </a:cubicBezTo>
                      <a:lnTo>
                        <a:pt x="1478688" y="1209698"/>
                      </a:lnTo>
                      <a:cubicBezTo>
                        <a:pt x="1484336" y="1208185"/>
                        <a:pt x="1491093" y="1207277"/>
                        <a:pt x="1498254" y="1207277"/>
                      </a:cubicBezTo>
                      <a:lnTo>
                        <a:pt x="1498254" y="1207277"/>
                      </a:lnTo>
                      <a:cubicBezTo>
                        <a:pt x="1516611" y="1207377"/>
                        <a:pt x="1537791" y="1212420"/>
                        <a:pt x="1547675" y="1226440"/>
                      </a:cubicBezTo>
                      <a:lnTo>
                        <a:pt x="1547675" y="1226440"/>
                      </a:lnTo>
                      <a:cubicBezTo>
                        <a:pt x="1550902" y="1230979"/>
                        <a:pt x="1551911" y="1236224"/>
                        <a:pt x="1551911" y="1241367"/>
                      </a:cubicBezTo>
                      <a:lnTo>
                        <a:pt x="1551911" y="1241367"/>
                      </a:lnTo>
                      <a:cubicBezTo>
                        <a:pt x="1551911" y="1253571"/>
                        <a:pt x="1546061" y="1266581"/>
                        <a:pt x="1546263" y="1273339"/>
                      </a:cubicBezTo>
                      <a:lnTo>
                        <a:pt x="1546263" y="1273339"/>
                      </a:lnTo>
                      <a:cubicBezTo>
                        <a:pt x="1546363" y="1276163"/>
                        <a:pt x="1546767" y="1276869"/>
                        <a:pt x="1548280" y="1277676"/>
                      </a:cubicBezTo>
                      <a:lnTo>
                        <a:pt x="1548280" y="1277676"/>
                      </a:lnTo>
                      <a:cubicBezTo>
                        <a:pt x="1559677" y="1282820"/>
                        <a:pt x="1569258" y="1294116"/>
                        <a:pt x="1588623" y="1294015"/>
                      </a:cubicBezTo>
                      <a:lnTo>
                        <a:pt x="1588623" y="1294015"/>
                      </a:lnTo>
                      <a:cubicBezTo>
                        <a:pt x="1591750" y="1294015"/>
                        <a:pt x="1595179" y="1293712"/>
                        <a:pt x="1598911" y="1293107"/>
                      </a:cubicBezTo>
                      <a:lnTo>
                        <a:pt x="1598911" y="1293107"/>
                      </a:lnTo>
                      <a:cubicBezTo>
                        <a:pt x="1625840" y="1288064"/>
                        <a:pt x="1637036" y="1273339"/>
                        <a:pt x="1637842" y="1272633"/>
                      </a:cubicBezTo>
                      <a:lnTo>
                        <a:pt x="1637842" y="1272633"/>
                      </a:lnTo>
                      <a:cubicBezTo>
                        <a:pt x="1637943" y="1272633"/>
                        <a:pt x="1702190" y="1232693"/>
                        <a:pt x="1721454" y="1222204"/>
                      </a:cubicBezTo>
                      <a:lnTo>
                        <a:pt x="1721454" y="1222204"/>
                      </a:lnTo>
                      <a:cubicBezTo>
                        <a:pt x="1740012" y="1211715"/>
                        <a:pt x="1751006" y="1210101"/>
                        <a:pt x="1751409" y="1178431"/>
                      </a:cubicBezTo>
                      <a:lnTo>
                        <a:pt x="1751409" y="1178431"/>
                      </a:lnTo>
                      <a:cubicBezTo>
                        <a:pt x="1751409" y="1176515"/>
                        <a:pt x="1751308" y="1174498"/>
                        <a:pt x="1751308" y="1172682"/>
                      </a:cubicBezTo>
                      <a:lnTo>
                        <a:pt x="1751308" y="1172682"/>
                      </a:lnTo>
                      <a:cubicBezTo>
                        <a:pt x="1751207" y="1169959"/>
                        <a:pt x="1751107" y="1167236"/>
                        <a:pt x="1751107" y="1164614"/>
                      </a:cubicBezTo>
                      <a:lnTo>
                        <a:pt x="1751107" y="1164614"/>
                      </a:lnTo>
                      <a:cubicBezTo>
                        <a:pt x="1751107" y="1128809"/>
                        <a:pt x="1761798" y="1093407"/>
                        <a:pt x="1791954" y="1089676"/>
                      </a:cubicBezTo>
                      <a:lnTo>
                        <a:pt x="1791954" y="1089676"/>
                      </a:lnTo>
                      <a:cubicBezTo>
                        <a:pt x="1793770" y="1089474"/>
                        <a:pt x="1795787" y="1089273"/>
                        <a:pt x="1797602" y="1089273"/>
                      </a:cubicBezTo>
                      <a:lnTo>
                        <a:pt x="1797602" y="1089273"/>
                      </a:lnTo>
                      <a:cubicBezTo>
                        <a:pt x="1814345" y="1089373"/>
                        <a:pt x="1829776" y="1097038"/>
                        <a:pt x="1840164" y="1096837"/>
                      </a:cubicBezTo>
                      <a:lnTo>
                        <a:pt x="1840164" y="1096837"/>
                      </a:lnTo>
                      <a:cubicBezTo>
                        <a:pt x="1847427" y="1096534"/>
                        <a:pt x="1852066" y="1094315"/>
                        <a:pt x="1855697" y="1081405"/>
                      </a:cubicBezTo>
                      <a:lnTo>
                        <a:pt x="1855697" y="1081405"/>
                      </a:lnTo>
                      <a:cubicBezTo>
                        <a:pt x="1864270" y="1047013"/>
                        <a:pt x="1860740" y="1038339"/>
                        <a:pt x="1869716" y="1016755"/>
                      </a:cubicBezTo>
                      <a:lnTo>
                        <a:pt x="1869716" y="1016755"/>
                      </a:lnTo>
                      <a:cubicBezTo>
                        <a:pt x="1873851" y="1006770"/>
                        <a:pt x="1875163" y="994768"/>
                        <a:pt x="1875163" y="983270"/>
                      </a:cubicBezTo>
                      <a:lnTo>
                        <a:pt x="1875163" y="983270"/>
                      </a:lnTo>
                      <a:cubicBezTo>
                        <a:pt x="1875163" y="971772"/>
                        <a:pt x="1873851" y="960577"/>
                        <a:pt x="1873044" y="952205"/>
                      </a:cubicBezTo>
                      <a:lnTo>
                        <a:pt x="1873044" y="952205"/>
                      </a:lnTo>
                      <a:cubicBezTo>
                        <a:pt x="1872943" y="951499"/>
                        <a:pt x="1872943" y="950693"/>
                        <a:pt x="1872943" y="949886"/>
                      </a:cubicBezTo>
                      <a:lnTo>
                        <a:pt x="1872943" y="949886"/>
                      </a:lnTo>
                      <a:cubicBezTo>
                        <a:pt x="1873549" y="930723"/>
                        <a:pt x="1898360" y="926285"/>
                        <a:pt x="1912682" y="918115"/>
                      </a:cubicBezTo>
                      <a:lnTo>
                        <a:pt x="1912682" y="918115"/>
                      </a:lnTo>
                      <a:cubicBezTo>
                        <a:pt x="1927205" y="910148"/>
                        <a:pt x="1937795" y="889371"/>
                        <a:pt x="1953933" y="875049"/>
                      </a:cubicBezTo>
                      <a:lnTo>
                        <a:pt x="1953933" y="875049"/>
                      </a:lnTo>
                      <a:cubicBezTo>
                        <a:pt x="1969667" y="861635"/>
                        <a:pt x="1977332" y="834605"/>
                        <a:pt x="1988830" y="832486"/>
                      </a:cubicBezTo>
                      <a:lnTo>
                        <a:pt x="1988830" y="832486"/>
                      </a:lnTo>
                      <a:cubicBezTo>
                        <a:pt x="1988830" y="832486"/>
                        <a:pt x="1995588" y="821190"/>
                        <a:pt x="1995588" y="809390"/>
                      </a:cubicBezTo>
                      <a:lnTo>
                        <a:pt x="1995588" y="809390"/>
                      </a:lnTo>
                      <a:cubicBezTo>
                        <a:pt x="1995689" y="802733"/>
                        <a:pt x="1993873" y="796581"/>
                        <a:pt x="1990444" y="793958"/>
                      </a:cubicBezTo>
                      <a:lnTo>
                        <a:pt x="1990444" y="793958"/>
                      </a:lnTo>
                      <a:cubicBezTo>
                        <a:pt x="1978038" y="783166"/>
                        <a:pt x="1949999" y="750690"/>
                        <a:pt x="1927407" y="745950"/>
                      </a:cubicBezTo>
                      <a:lnTo>
                        <a:pt x="1927407" y="745950"/>
                      </a:lnTo>
                      <a:lnTo>
                        <a:pt x="1927911" y="743227"/>
                      </a:lnTo>
                      <a:lnTo>
                        <a:pt x="1928416" y="740503"/>
                      </a:lnTo>
                      <a:cubicBezTo>
                        <a:pt x="1954437" y="746353"/>
                        <a:pt x="1982173" y="779738"/>
                        <a:pt x="1993974" y="789823"/>
                      </a:cubicBezTo>
                      <a:lnTo>
                        <a:pt x="1993974" y="789823"/>
                      </a:lnTo>
                      <a:cubicBezTo>
                        <a:pt x="1999420" y="794462"/>
                        <a:pt x="2001034" y="802027"/>
                        <a:pt x="2001135" y="809491"/>
                      </a:cubicBezTo>
                      <a:lnTo>
                        <a:pt x="2001135" y="809491"/>
                      </a:lnTo>
                      <a:cubicBezTo>
                        <a:pt x="2000227" y="822703"/>
                        <a:pt x="1997504" y="836319"/>
                        <a:pt x="1988729" y="838235"/>
                      </a:cubicBezTo>
                      <a:lnTo>
                        <a:pt x="1988729" y="838235"/>
                      </a:lnTo>
                      <a:cubicBezTo>
                        <a:pt x="1986208" y="836117"/>
                        <a:pt x="1973096" y="864559"/>
                        <a:pt x="1957463" y="879285"/>
                      </a:cubicBezTo>
                      <a:lnTo>
                        <a:pt x="1957463" y="879285"/>
                      </a:lnTo>
                      <a:cubicBezTo>
                        <a:pt x="1942334" y="892699"/>
                        <a:pt x="1931946" y="913576"/>
                        <a:pt x="1915203" y="923057"/>
                      </a:cubicBezTo>
                      <a:lnTo>
                        <a:pt x="1915203" y="923057"/>
                      </a:lnTo>
                      <a:cubicBezTo>
                        <a:pt x="1899167" y="931328"/>
                        <a:pt x="1877482" y="937279"/>
                        <a:pt x="1878390" y="949987"/>
                      </a:cubicBezTo>
                      <a:lnTo>
                        <a:pt x="1878390" y="949987"/>
                      </a:lnTo>
                      <a:cubicBezTo>
                        <a:pt x="1878390" y="950592"/>
                        <a:pt x="1878390" y="951096"/>
                        <a:pt x="1878490" y="951701"/>
                      </a:cubicBezTo>
                      <a:lnTo>
                        <a:pt x="1878490" y="951701"/>
                      </a:lnTo>
                      <a:cubicBezTo>
                        <a:pt x="1879298" y="960174"/>
                        <a:pt x="1880508" y="971369"/>
                        <a:pt x="1880508" y="983371"/>
                      </a:cubicBezTo>
                      <a:lnTo>
                        <a:pt x="1880508" y="983371"/>
                      </a:lnTo>
                      <a:cubicBezTo>
                        <a:pt x="1880508" y="995373"/>
                        <a:pt x="1879197" y="1007880"/>
                        <a:pt x="1874759" y="1019075"/>
                      </a:cubicBezTo>
                      <a:lnTo>
                        <a:pt x="1874759" y="1019075"/>
                      </a:lnTo>
                      <a:cubicBezTo>
                        <a:pt x="1866186" y="1039145"/>
                        <a:pt x="1869616" y="1047719"/>
                        <a:pt x="1860941" y="1082918"/>
                      </a:cubicBezTo>
                      <a:lnTo>
                        <a:pt x="1860941" y="1082918"/>
                      </a:lnTo>
                      <a:cubicBezTo>
                        <a:pt x="1857613" y="1097139"/>
                        <a:pt x="1849444" y="1102888"/>
                        <a:pt x="1839963" y="1102586"/>
                      </a:cubicBezTo>
                      <a:lnTo>
                        <a:pt x="1839963" y="1102586"/>
                      </a:lnTo>
                      <a:cubicBezTo>
                        <a:pt x="1827356" y="1102384"/>
                        <a:pt x="1812529" y="1094820"/>
                        <a:pt x="1797400" y="1095022"/>
                      </a:cubicBezTo>
                      <a:lnTo>
                        <a:pt x="1797400" y="1095022"/>
                      </a:lnTo>
                      <a:cubicBezTo>
                        <a:pt x="1795888" y="1095022"/>
                        <a:pt x="1794173" y="1095223"/>
                        <a:pt x="1792458" y="1095425"/>
                      </a:cubicBezTo>
                      <a:lnTo>
                        <a:pt x="1792458" y="1095425"/>
                      </a:lnTo>
                      <a:cubicBezTo>
                        <a:pt x="1767446" y="1097845"/>
                        <a:pt x="1756452" y="1129414"/>
                        <a:pt x="1756553" y="1164815"/>
                      </a:cubicBezTo>
                      <a:lnTo>
                        <a:pt x="1756553" y="1164815"/>
                      </a:lnTo>
                      <a:cubicBezTo>
                        <a:pt x="1756553" y="1167337"/>
                        <a:pt x="1756553" y="1169959"/>
                        <a:pt x="1756654" y="1172682"/>
                      </a:cubicBezTo>
                      <a:lnTo>
                        <a:pt x="1756654" y="1172682"/>
                      </a:lnTo>
                      <a:cubicBezTo>
                        <a:pt x="1756755" y="1174598"/>
                        <a:pt x="1756755" y="1176717"/>
                        <a:pt x="1756755" y="1178633"/>
                      </a:cubicBezTo>
                      <a:lnTo>
                        <a:pt x="1756755" y="1178633"/>
                      </a:lnTo>
                      <a:cubicBezTo>
                        <a:pt x="1757259" y="1212219"/>
                        <a:pt x="1741525" y="1218068"/>
                        <a:pt x="1723875" y="1227247"/>
                      </a:cubicBezTo>
                      <a:lnTo>
                        <a:pt x="1723875" y="1227247"/>
                      </a:lnTo>
                      <a:cubicBezTo>
                        <a:pt x="1705014" y="1237635"/>
                        <a:pt x="1640666" y="1277575"/>
                        <a:pt x="1641272" y="1276970"/>
                      </a:cubicBezTo>
                      <a:lnTo>
                        <a:pt x="1641272" y="1276970"/>
                      </a:lnTo>
                      <a:cubicBezTo>
                        <a:pt x="1641070" y="1277273"/>
                        <a:pt x="1628361" y="1293410"/>
                        <a:pt x="1599516" y="1298856"/>
                      </a:cubicBezTo>
                      <a:lnTo>
                        <a:pt x="1599516" y="1298856"/>
                      </a:lnTo>
                      <a:cubicBezTo>
                        <a:pt x="1595481" y="1299360"/>
                        <a:pt x="1591750" y="1299865"/>
                        <a:pt x="1588321" y="1299865"/>
                      </a:cubicBezTo>
                      <a:lnTo>
                        <a:pt x="1588321" y="1299865"/>
                      </a:lnTo>
                      <a:cubicBezTo>
                        <a:pt x="1566636" y="1299764"/>
                        <a:pt x="1555239" y="1286854"/>
                        <a:pt x="1545657" y="1282921"/>
                      </a:cubicBezTo>
                      <a:lnTo>
                        <a:pt x="1545657" y="1282921"/>
                      </a:lnTo>
                      <a:cubicBezTo>
                        <a:pt x="1541724" y="1281206"/>
                        <a:pt x="1540110" y="1277172"/>
                        <a:pt x="1540211" y="1273440"/>
                      </a:cubicBezTo>
                      <a:lnTo>
                        <a:pt x="1540211" y="1273440"/>
                      </a:lnTo>
                      <a:cubicBezTo>
                        <a:pt x="1540312" y="1264464"/>
                        <a:pt x="1546061" y="1252159"/>
                        <a:pt x="1545960" y="1241468"/>
                      </a:cubicBezTo>
                      <a:lnTo>
                        <a:pt x="1545960" y="1241468"/>
                      </a:lnTo>
                      <a:cubicBezTo>
                        <a:pt x="1545960" y="1236930"/>
                        <a:pt x="1545052" y="1232996"/>
                        <a:pt x="1542733" y="1229768"/>
                      </a:cubicBezTo>
                      <a:lnTo>
                        <a:pt x="1542733" y="1229768"/>
                      </a:lnTo>
                      <a:cubicBezTo>
                        <a:pt x="1534866" y="1218371"/>
                        <a:pt x="1515198" y="1212925"/>
                        <a:pt x="1497850" y="1213026"/>
                      </a:cubicBezTo>
                      <a:lnTo>
                        <a:pt x="1497850" y="1213026"/>
                      </a:lnTo>
                      <a:cubicBezTo>
                        <a:pt x="1491194" y="1213026"/>
                        <a:pt x="1484840" y="1213732"/>
                        <a:pt x="1479797" y="1215245"/>
                      </a:cubicBezTo>
                      <a:lnTo>
                        <a:pt x="1479797" y="1215245"/>
                      </a:lnTo>
                      <a:cubicBezTo>
                        <a:pt x="1462046" y="1219884"/>
                        <a:pt x="1391848" y="1272330"/>
                        <a:pt x="1352312" y="1308438"/>
                      </a:cubicBezTo>
                      <a:lnTo>
                        <a:pt x="1352312" y="1308438"/>
                      </a:lnTo>
                      <a:cubicBezTo>
                        <a:pt x="1311767" y="1345453"/>
                        <a:pt x="1263153" y="1364414"/>
                        <a:pt x="1202637" y="1412927"/>
                      </a:cubicBezTo>
                      <a:lnTo>
                        <a:pt x="1202637" y="1412927"/>
                      </a:lnTo>
                      <a:cubicBezTo>
                        <a:pt x="1170262" y="1438647"/>
                        <a:pt x="1145551" y="1445404"/>
                        <a:pt x="1123766" y="1445404"/>
                      </a:cubicBezTo>
                      <a:lnTo>
                        <a:pt x="1123766" y="1445404"/>
                      </a:lnTo>
                      <a:cubicBezTo>
                        <a:pt x="1104200" y="1445202"/>
                        <a:pt x="1087155" y="1440260"/>
                        <a:pt x="1067991" y="1439453"/>
                      </a:cubicBezTo>
                      <a:lnTo>
                        <a:pt x="1067991" y="1439453"/>
                      </a:lnTo>
                      <a:lnTo>
                        <a:pt x="1067790" y="1439453"/>
                      </a:lnTo>
                      <a:cubicBezTo>
                        <a:pt x="1030573" y="1438445"/>
                        <a:pt x="940103" y="1540211"/>
                        <a:pt x="934253" y="1590035"/>
                      </a:cubicBezTo>
                      <a:lnTo>
                        <a:pt x="934253" y="1590035"/>
                      </a:lnTo>
                      <a:cubicBezTo>
                        <a:pt x="929614" y="1625941"/>
                        <a:pt x="911560" y="1637640"/>
                        <a:pt x="895120" y="1637540"/>
                      </a:cubicBezTo>
                      <a:lnTo>
                        <a:pt x="895120" y="1637540"/>
                      </a:lnTo>
                      <a:cubicBezTo>
                        <a:pt x="887253" y="1637540"/>
                        <a:pt x="879991" y="1635119"/>
                        <a:pt x="874545" y="1632093"/>
                      </a:cubicBezTo>
                      <a:lnTo>
                        <a:pt x="874545" y="1632093"/>
                      </a:lnTo>
                      <a:cubicBezTo>
                        <a:pt x="869098" y="1628866"/>
                        <a:pt x="863349" y="1626849"/>
                        <a:pt x="859315" y="1626949"/>
                      </a:cubicBezTo>
                      <a:lnTo>
                        <a:pt x="859315" y="1626949"/>
                      </a:lnTo>
                      <a:cubicBezTo>
                        <a:pt x="854978" y="1627252"/>
                        <a:pt x="853364" y="1627958"/>
                        <a:pt x="852961" y="1634010"/>
                      </a:cubicBezTo>
                      <a:lnTo>
                        <a:pt x="852961" y="1634010"/>
                      </a:lnTo>
                      <a:cubicBezTo>
                        <a:pt x="852961" y="1637741"/>
                        <a:pt x="854171" y="1643389"/>
                        <a:pt x="857600" y="1651256"/>
                      </a:cubicBezTo>
                      <a:lnTo>
                        <a:pt x="857600" y="1651256"/>
                      </a:lnTo>
                      <a:cubicBezTo>
                        <a:pt x="871519" y="1684136"/>
                        <a:pt x="871922" y="1692306"/>
                        <a:pt x="871721" y="1714898"/>
                      </a:cubicBezTo>
                      <a:lnTo>
                        <a:pt x="871721" y="1714898"/>
                      </a:lnTo>
                      <a:cubicBezTo>
                        <a:pt x="871721" y="1738801"/>
                        <a:pt x="858508" y="1744954"/>
                        <a:pt x="850339" y="1759881"/>
                      </a:cubicBezTo>
                      <a:lnTo>
                        <a:pt x="850339" y="1759881"/>
                      </a:lnTo>
                      <a:cubicBezTo>
                        <a:pt x="849834" y="1760688"/>
                        <a:pt x="849632" y="1761394"/>
                        <a:pt x="849632" y="1762201"/>
                      </a:cubicBezTo>
                      <a:lnTo>
                        <a:pt x="849632" y="1762201"/>
                      </a:lnTo>
                      <a:cubicBezTo>
                        <a:pt x="847918" y="1769463"/>
                        <a:pt x="874746" y="1776018"/>
                        <a:pt x="876158" y="1792357"/>
                      </a:cubicBezTo>
                      <a:lnTo>
                        <a:pt x="876158" y="1792357"/>
                      </a:lnTo>
                      <a:cubicBezTo>
                        <a:pt x="876158" y="1795282"/>
                        <a:pt x="875150" y="1798308"/>
                        <a:pt x="872931" y="1801536"/>
                      </a:cubicBezTo>
                      <a:lnTo>
                        <a:pt x="872931" y="1801536"/>
                      </a:lnTo>
                      <a:cubicBezTo>
                        <a:pt x="868291" y="1808293"/>
                        <a:pt x="863147" y="1811823"/>
                        <a:pt x="857701" y="1811823"/>
                      </a:cubicBezTo>
                      <a:lnTo>
                        <a:pt x="857701" y="1811823"/>
                      </a:lnTo>
                      <a:cubicBezTo>
                        <a:pt x="846506" y="1811420"/>
                        <a:pt x="837731" y="1800426"/>
                        <a:pt x="827847" y="1797400"/>
                      </a:cubicBezTo>
                      <a:lnTo>
                        <a:pt x="827847" y="1797400"/>
                      </a:lnTo>
                      <a:cubicBezTo>
                        <a:pt x="826839" y="1796997"/>
                        <a:pt x="826133" y="1796896"/>
                        <a:pt x="825225" y="1796896"/>
                      </a:cubicBezTo>
                      <a:lnTo>
                        <a:pt x="825225" y="1796896"/>
                      </a:lnTo>
                      <a:cubicBezTo>
                        <a:pt x="817257" y="1796190"/>
                        <a:pt x="812618" y="1819589"/>
                        <a:pt x="809087" y="1862858"/>
                      </a:cubicBezTo>
                      <a:lnTo>
                        <a:pt x="809087" y="1862858"/>
                      </a:lnTo>
                      <a:cubicBezTo>
                        <a:pt x="808482" y="1868304"/>
                        <a:pt x="808280" y="1872944"/>
                        <a:pt x="808280" y="1876675"/>
                      </a:cubicBezTo>
                      <a:lnTo>
                        <a:pt x="808280" y="1876675"/>
                      </a:lnTo>
                      <a:cubicBezTo>
                        <a:pt x="808583" y="1892308"/>
                        <a:pt x="811609" y="1894326"/>
                        <a:pt x="815744" y="1894326"/>
                      </a:cubicBezTo>
                      <a:lnTo>
                        <a:pt x="815744" y="1894326"/>
                      </a:lnTo>
                      <a:cubicBezTo>
                        <a:pt x="824317" y="1894729"/>
                        <a:pt x="841766" y="1881516"/>
                        <a:pt x="859718" y="1881415"/>
                      </a:cubicBezTo>
                      <a:lnTo>
                        <a:pt x="859718" y="1881415"/>
                      </a:lnTo>
                      <a:cubicBezTo>
                        <a:pt x="862442" y="1881415"/>
                        <a:pt x="865266" y="1881718"/>
                        <a:pt x="867888" y="1882424"/>
                      </a:cubicBezTo>
                      <a:lnTo>
                        <a:pt x="867888" y="1882424"/>
                      </a:lnTo>
                      <a:cubicBezTo>
                        <a:pt x="877570" y="1885651"/>
                        <a:pt x="884025" y="1902696"/>
                        <a:pt x="884328" y="1924381"/>
                      </a:cubicBezTo>
                      <a:lnTo>
                        <a:pt x="884328" y="1924381"/>
                      </a:lnTo>
                      <a:cubicBezTo>
                        <a:pt x="884328" y="1935879"/>
                        <a:pt x="882311" y="1948588"/>
                        <a:pt x="876663" y="1961094"/>
                      </a:cubicBezTo>
                      <a:lnTo>
                        <a:pt x="876663" y="1961094"/>
                      </a:lnTo>
                      <a:cubicBezTo>
                        <a:pt x="866880" y="1982476"/>
                        <a:pt x="861837" y="2023424"/>
                        <a:pt x="861837" y="2060742"/>
                      </a:cubicBezTo>
                      <a:lnTo>
                        <a:pt x="861837" y="2060742"/>
                      </a:lnTo>
                      <a:cubicBezTo>
                        <a:pt x="861837" y="2081620"/>
                        <a:pt x="863349" y="2101186"/>
                        <a:pt x="866476" y="2115811"/>
                      </a:cubicBezTo>
                      <a:lnTo>
                        <a:pt x="866476" y="2115811"/>
                      </a:lnTo>
                      <a:cubicBezTo>
                        <a:pt x="873233" y="2155045"/>
                        <a:pt x="941918" y="2143648"/>
                        <a:pt x="948272" y="2177032"/>
                      </a:cubicBezTo>
                      <a:lnTo>
                        <a:pt x="948272" y="2177032"/>
                      </a:lnTo>
                      <a:cubicBezTo>
                        <a:pt x="948373" y="2178646"/>
                        <a:pt x="948474" y="2180259"/>
                        <a:pt x="948474" y="2181773"/>
                      </a:cubicBezTo>
                      <a:lnTo>
                        <a:pt x="948474" y="2181773"/>
                      </a:lnTo>
                      <a:cubicBezTo>
                        <a:pt x="948373" y="2199423"/>
                        <a:pt x="936068" y="2210820"/>
                        <a:pt x="918922" y="2210820"/>
                      </a:cubicBezTo>
                      <a:lnTo>
                        <a:pt x="918922" y="2210820"/>
                      </a:lnTo>
                      <a:cubicBezTo>
                        <a:pt x="908635" y="2210820"/>
                        <a:pt x="896835" y="2206987"/>
                        <a:pt x="884731" y="2198717"/>
                      </a:cubicBezTo>
                      <a:lnTo>
                        <a:pt x="884731" y="2198717"/>
                      </a:lnTo>
                      <a:cubicBezTo>
                        <a:pt x="864761" y="2185000"/>
                        <a:pt x="849229" y="2182579"/>
                        <a:pt x="831377" y="2182579"/>
                      </a:cubicBezTo>
                      <a:lnTo>
                        <a:pt x="831377" y="2182579"/>
                      </a:lnTo>
                      <a:cubicBezTo>
                        <a:pt x="820182" y="2182579"/>
                        <a:pt x="808180" y="2183588"/>
                        <a:pt x="794160" y="2183588"/>
                      </a:cubicBezTo>
                      <a:lnTo>
                        <a:pt x="794160" y="2183588"/>
                      </a:lnTo>
                      <a:cubicBezTo>
                        <a:pt x="758961" y="2183487"/>
                        <a:pt x="736772" y="2207189"/>
                        <a:pt x="708229" y="2218081"/>
                      </a:cubicBezTo>
                      <a:lnTo>
                        <a:pt x="708229" y="2218081"/>
                      </a:lnTo>
                      <a:cubicBezTo>
                        <a:pt x="679989" y="2228671"/>
                        <a:pt x="640149" y="2237345"/>
                        <a:pt x="624012" y="2239161"/>
                      </a:cubicBezTo>
                      <a:lnTo>
                        <a:pt x="624012" y="2239161"/>
                      </a:lnTo>
                      <a:cubicBezTo>
                        <a:pt x="621389" y="2239665"/>
                        <a:pt x="621793" y="2239463"/>
                        <a:pt x="621490" y="2241683"/>
                      </a:cubicBezTo>
                      <a:lnTo>
                        <a:pt x="621490" y="2241683"/>
                      </a:lnTo>
                      <a:cubicBezTo>
                        <a:pt x="621188" y="2249650"/>
                        <a:pt x="635106" y="2270528"/>
                        <a:pt x="635308" y="2286464"/>
                      </a:cubicBezTo>
                      <a:lnTo>
                        <a:pt x="635308" y="2286464"/>
                      </a:lnTo>
                      <a:cubicBezTo>
                        <a:pt x="635308" y="2287069"/>
                        <a:pt x="635308" y="2287774"/>
                        <a:pt x="635207" y="2288783"/>
                      </a:cubicBezTo>
                      <a:lnTo>
                        <a:pt x="635207" y="2288783"/>
                      </a:lnTo>
                      <a:cubicBezTo>
                        <a:pt x="634703" y="2296247"/>
                        <a:pt x="628954" y="2300887"/>
                        <a:pt x="622398" y="2300685"/>
                      </a:cubicBezTo>
                      <a:lnTo>
                        <a:pt x="622398" y="2300685"/>
                      </a:lnTo>
                      <a:cubicBezTo>
                        <a:pt x="609993" y="2300483"/>
                        <a:pt x="592443" y="2289288"/>
                        <a:pt x="578121" y="2272948"/>
                      </a:cubicBezTo>
                      <a:lnTo>
                        <a:pt x="578121" y="2272948"/>
                      </a:lnTo>
                      <a:cubicBezTo>
                        <a:pt x="572372" y="2266292"/>
                        <a:pt x="567935" y="2264174"/>
                        <a:pt x="564707" y="2264275"/>
                      </a:cubicBezTo>
                      <a:lnTo>
                        <a:pt x="564707" y="2264275"/>
                      </a:lnTo>
                      <a:cubicBezTo>
                        <a:pt x="556033" y="2263569"/>
                        <a:pt x="547662" y="2280412"/>
                        <a:pt x="542922" y="2293120"/>
                      </a:cubicBezTo>
                      <a:lnTo>
                        <a:pt x="542922" y="2293120"/>
                      </a:lnTo>
                      <a:cubicBezTo>
                        <a:pt x="540299" y="2299575"/>
                        <a:pt x="534752" y="2302702"/>
                        <a:pt x="529104" y="2302702"/>
                      </a:cubicBezTo>
                      <a:lnTo>
                        <a:pt x="529104" y="2302702"/>
                      </a:lnTo>
                      <a:cubicBezTo>
                        <a:pt x="516699" y="2301189"/>
                        <a:pt x="504494" y="2291103"/>
                        <a:pt x="501670" y="2279202"/>
                      </a:cubicBezTo>
                      <a:lnTo>
                        <a:pt x="501670" y="2279202"/>
                      </a:lnTo>
                      <a:close/>
                    </a:path>
                  </a:pathLst>
                </a:custGeom>
                <a:solidFill>
                  <a:srgbClr val="ABDEF6"/>
                </a:solidFill>
                <a:ln w="10085" cap="flat">
                  <a:solidFill>
                    <a:srgbClr val="FFFFFF"/>
                  </a:solidFill>
                  <a:prstDash val="solid"/>
                  <a:miter/>
                </a:ln>
              </p:spPr>
              <p:txBody>
                <a:bodyPr rtlCol="0" anchor="ctr"/>
                <a:lstStyle/>
                <a:p>
                  <a:endParaRPr lang="fr-FR" sz="900"/>
                </a:p>
              </p:txBody>
            </p:sp>
          </p:grpSp>
          <p:grpSp>
            <p:nvGrpSpPr>
              <p:cNvPr id="101" name="Graphique 17">
                <a:extLst>
                  <a:ext uri="{FF2B5EF4-FFF2-40B4-BE49-F238E27FC236}">
                    <a16:creationId xmlns:a16="http://schemas.microsoft.com/office/drawing/2014/main" id="{7EA428F3-9C7E-0E6B-6A52-7CB5CFA146A0}"/>
                  </a:ext>
                </a:extLst>
              </p:cNvPr>
              <p:cNvGrpSpPr/>
              <p:nvPr/>
            </p:nvGrpSpPr>
            <p:grpSpPr>
              <a:xfrm>
                <a:off x="6477491" y="9539016"/>
                <a:ext cx="2167046" cy="1879698"/>
                <a:chOff x="6477491" y="9539016"/>
                <a:chExt cx="2167046" cy="1879698"/>
              </a:xfrm>
              <a:solidFill>
                <a:srgbClr val="ABDEF6"/>
              </a:solidFill>
            </p:grpSpPr>
            <p:sp>
              <p:nvSpPr>
                <p:cNvPr id="102" name="Forme libre : forme 101">
                  <a:extLst>
                    <a:ext uri="{FF2B5EF4-FFF2-40B4-BE49-F238E27FC236}">
                      <a16:creationId xmlns:a16="http://schemas.microsoft.com/office/drawing/2014/main" id="{55617692-D4C7-5CC9-703A-A4C1790896B5}"/>
                    </a:ext>
                  </a:extLst>
                </p:cNvPr>
                <p:cNvSpPr/>
                <p:nvPr/>
              </p:nvSpPr>
              <p:spPr>
                <a:xfrm>
                  <a:off x="6480516" y="9542141"/>
                  <a:ext cx="2161829" cy="1874254"/>
                </a:xfrm>
                <a:custGeom>
                  <a:avLst/>
                  <a:gdLst>
                    <a:gd name="connsiteX0" fmla="*/ 2155448 w 2161829"/>
                    <a:gd name="connsiteY0" fmla="*/ 837227 h 1874254"/>
                    <a:gd name="connsiteX1" fmla="*/ 2126603 w 2161829"/>
                    <a:gd name="connsiteY1" fmla="*/ 800413 h 1874254"/>
                    <a:gd name="connsiteX2" fmla="*/ 2087268 w 2161829"/>
                    <a:gd name="connsiteY2" fmla="*/ 792547 h 1874254"/>
                    <a:gd name="connsiteX3" fmla="*/ 2024131 w 2161829"/>
                    <a:gd name="connsiteY3" fmla="*/ 816248 h 1874254"/>
                    <a:gd name="connsiteX4" fmla="*/ 1955748 w 2161829"/>
                    <a:gd name="connsiteY4" fmla="*/ 847817 h 1874254"/>
                    <a:gd name="connsiteX5" fmla="*/ 1816463 w 2161829"/>
                    <a:gd name="connsiteY5" fmla="*/ 774190 h 1874254"/>
                    <a:gd name="connsiteX6" fmla="*/ 1671932 w 2161829"/>
                    <a:gd name="connsiteY6" fmla="*/ 711154 h 1874254"/>
                    <a:gd name="connsiteX7" fmla="*/ 1640364 w 2161829"/>
                    <a:gd name="connsiteY7" fmla="*/ 579735 h 1874254"/>
                    <a:gd name="connsiteX8" fmla="*/ 1616763 w 2161829"/>
                    <a:gd name="connsiteY8" fmla="*/ 537677 h 1874254"/>
                    <a:gd name="connsiteX9" fmla="*/ 1624629 w 2161829"/>
                    <a:gd name="connsiteY9" fmla="*/ 477162 h 1874254"/>
                    <a:gd name="connsiteX10" fmla="*/ 1653475 w 2161829"/>
                    <a:gd name="connsiteY10" fmla="*/ 408779 h 1874254"/>
                    <a:gd name="connsiteX11" fmla="*/ 1698257 w 2161829"/>
                    <a:gd name="connsiteY11" fmla="*/ 358653 h 1874254"/>
                    <a:gd name="connsiteX12" fmla="*/ 1732447 w 2161829"/>
                    <a:gd name="connsiteY12" fmla="*/ 332329 h 1874254"/>
                    <a:gd name="connsiteX13" fmla="*/ 1700879 w 2161829"/>
                    <a:gd name="connsiteY13" fmla="*/ 253559 h 1874254"/>
                    <a:gd name="connsiteX14" fmla="*/ 1645709 w 2161829"/>
                    <a:gd name="connsiteY14" fmla="*/ 211500 h 1874254"/>
                    <a:gd name="connsiteX15" fmla="*/ 1580050 w 2161829"/>
                    <a:gd name="connsiteY15" fmla="*/ 219367 h 1874254"/>
                    <a:gd name="connsiteX16" fmla="*/ 1522157 w 2161829"/>
                    <a:gd name="connsiteY16" fmla="*/ 187799 h 1874254"/>
                    <a:gd name="connsiteX17" fmla="*/ 1509046 w 2161829"/>
                    <a:gd name="connsiteY17" fmla="*/ 127384 h 1874254"/>
                    <a:gd name="connsiteX18" fmla="*/ 1490690 w 2161829"/>
                    <a:gd name="connsiteY18" fmla="*/ 72214 h 1874254"/>
                    <a:gd name="connsiteX19" fmla="*/ 1438546 w 2161829"/>
                    <a:gd name="connsiteY19" fmla="*/ 0 h 1874254"/>
                    <a:gd name="connsiteX20" fmla="*/ 1436024 w 2161829"/>
                    <a:gd name="connsiteY20" fmla="*/ 3833 h 1874254"/>
                    <a:gd name="connsiteX21" fmla="*/ 1348277 w 2161829"/>
                    <a:gd name="connsiteY21" fmla="*/ 68887 h 1874254"/>
                    <a:gd name="connsiteX22" fmla="*/ 1286451 w 2161829"/>
                    <a:gd name="connsiteY22" fmla="*/ 23399 h 1874254"/>
                    <a:gd name="connsiteX23" fmla="*/ 1218169 w 2161829"/>
                    <a:gd name="connsiteY23" fmla="*/ 33182 h 1874254"/>
                    <a:gd name="connsiteX24" fmla="*/ 1218169 w 2161829"/>
                    <a:gd name="connsiteY24" fmla="*/ 104691 h 1874254"/>
                    <a:gd name="connsiteX25" fmla="*/ 1286451 w 2161829"/>
                    <a:gd name="connsiteY25" fmla="*/ 146951 h 1874254"/>
                    <a:gd name="connsiteX26" fmla="*/ 1244191 w 2161829"/>
                    <a:gd name="connsiteY26" fmla="*/ 251037 h 1874254"/>
                    <a:gd name="connsiteX27" fmla="*/ 1123968 w 2161829"/>
                    <a:gd name="connsiteY27" fmla="*/ 260719 h 1874254"/>
                    <a:gd name="connsiteX28" fmla="*/ 1006972 w 2161829"/>
                    <a:gd name="connsiteY28" fmla="*/ 338784 h 1874254"/>
                    <a:gd name="connsiteX29" fmla="*/ 974495 w 2161829"/>
                    <a:gd name="connsiteY29" fmla="*/ 413520 h 1874254"/>
                    <a:gd name="connsiteX30" fmla="*/ 925781 w 2161829"/>
                    <a:gd name="connsiteY30" fmla="*/ 442769 h 1874254"/>
                    <a:gd name="connsiteX31" fmla="*/ 854171 w 2161829"/>
                    <a:gd name="connsiteY31" fmla="*/ 488256 h 1874254"/>
                    <a:gd name="connsiteX32" fmla="*/ 857399 w 2161829"/>
                    <a:gd name="connsiteY32" fmla="*/ 576003 h 1874254"/>
                    <a:gd name="connsiteX33" fmla="*/ 782662 w 2161829"/>
                    <a:gd name="connsiteY33" fmla="*/ 576003 h 1874254"/>
                    <a:gd name="connsiteX34" fmla="*/ 750186 w 2161829"/>
                    <a:gd name="connsiteY34" fmla="*/ 650739 h 1874254"/>
                    <a:gd name="connsiteX35" fmla="*/ 837933 w 2161829"/>
                    <a:gd name="connsiteY35" fmla="*/ 715793 h 1874254"/>
                    <a:gd name="connsiteX36" fmla="*/ 899759 w 2161829"/>
                    <a:gd name="connsiteY36" fmla="*/ 816551 h 1874254"/>
                    <a:gd name="connsiteX37" fmla="*/ 847817 w 2161829"/>
                    <a:gd name="connsiteY37" fmla="*/ 842572 h 1874254"/>
                    <a:gd name="connsiteX38" fmla="*/ 763298 w 2161829"/>
                    <a:gd name="connsiteY38" fmla="*/ 897843 h 1874254"/>
                    <a:gd name="connsiteX39" fmla="*/ 711355 w 2161829"/>
                    <a:gd name="connsiteY39" fmla="*/ 836117 h 1874254"/>
                    <a:gd name="connsiteX40" fmla="*/ 613825 w 2161829"/>
                    <a:gd name="connsiteY40" fmla="*/ 813424 h 1874254"/>
                    <a:gd name="connsiteX41" fmla="*/ 574793 w 2161829"/>
                    <a:gd name="connsiteY41" fmla="*/ 790731 h 1874254"/>
                    <a:gd name="connsiteX42" fmla="*/ 532432 w 2161829"/>
                    <a:gd name="connsiteY42" fmla="*/ 758255 h 1874254"/>
                    <a:gd name="connsiteX43" fmla="*/ 395971 w 2161829"/>
                    <a:gd name="connsiteY43" fmla="*/ 797287 h 1874254"/>
                    <a:gd name="connsiteX44" fmla="*/ 337472 w 2161829"/>
                    <a:gd name="connsiteY44" fmla="*/ 755027 h 1874254"/>
                    <a:gd name="connsiteX45" fmla="*/ 256180 w 2161829"/>
                    <a:gd name="connsiteY45" fmla="*/ 761482 h 1874254"/>
                    <a:gd name="connsiteX46" fmla="*/ 249625 w 2161829"/>
                    <a:gd name="connsiteY46" fmla="*/ 765718 h 1874254"/>
                    <a:gd name="connsiteX47" fmla="*/ 249726 w 2161829"/>
                    <a:gd name="connsiteY47" fmla="*/ 765718 h 1874254"/>
                    <a:gd name="connsiteX48" fmla="*/ 280891 w 2161829"/>
                    <a:gd name="connsiteY48" fmla="*/ 838941 h 1874254"/>
                    <a:gd name="connsiteX49" fmla="*/ 296524 w 2161829"/>
                    <a:gd name="connsiteY49" fmla="*/ 898044 h 1874254"/>
                    <a:gd name="connsiteX50" fmla="*/ 308728 w 2161829"/>
                    <a:gd name="connsiteY50" fmla="*/ 943229 h 1874254"/>
                    <a:gd name="connsiteX51" fmla="*/ 373076 w 2161829"/>
                    <a:gd name="connsiteY51" fmla="*/ 991944 h 1874254"/>
                    <a:gd name="connsiteX52" fmla="*/ 369546 w 2161829"/>
                    <a:gd name="connsiteY52" fmla="*/ 1035414 h 1874254"/>
                    <a:gd name="connsiteX53" fmla="*/ 336565 w 2161829"/>
                    <a:gd name="connsiteY53" fmla="*/ 1077169 h 1874254"/>
                    <a:gd name="connsiteX54" fmla="*/ 294809 w 2161829"/>
                    <a:gd name="connsiteY54" fmla="*/ 1120639 h 1874254"/>
                    <a:gd name="connsiteX55" fmla="*/ 256685 w 2161829"/>
                    <a:gd name="connsiteY55" fmla="*/ 1152006 h 1874254"/>
                    <a:gd name="connsiteX56" fmla="*/ 253155 w 2161829"/>
                    <a:gd name="connsiteY56" fmla="*/ 1218068 h 1874254"/>
                    <a:gd name="connsiteX57" fmla="*/ 239236 w 2161829"/>
                    <a:gd name="connsiteY57" fmla="*/ 1282316 h 1874254"/>
                    <a:gd name="connsiteX58" fmla="*/ 173174 w 2161829"/>
                    <a:gd name="connsiteY58" fmla="*/ 1292704 h 1874254"/>
                    <a:gd name="connsiteX59" fmla="*/ 134848 w 2161829"/>
                    <a:gd name="connsiteY59" fmla="*/ 1372685 h 1874254"/>
                    <a:gd name="connsiteX60" fmla="*/ 103581 w 2161829"/>
                    <a:gd name="connsiteY60" fmla="*/ 1424829 h 1874254"/>
                    <a:gd name="connsiteX61" fmla="*/ 20071 w 2161829"/>
                    <a:gd name="connsiteY61" fmla="*/ 1475258 h 1874254"/>
                    <a:gd name="connsiteX62" fmla="*/ 0 w 2161829"/>
                    <a:gd name="connsiteY62" fmla="*/ 1489580 h 1874254"/>
                    <a:gd name="connsiteX63" fmla="*/ 60817 w 2161829"/>
                    <a:gd name="connsiteY63" fmla="*/ 1512979 h 1874254"/>
                    <a:gd name="connsiteX64" fmla="*/ 158045 w 2161829"/>
                    <a:gd name="connsiteY64" fmla="*/ 1502389 h 1874254"/>
                    <a:gd name="connsiteX65" fmla="*/ 223805 w 2161829"/>
                    <a:gd name="connsiteY65" fmla="*/ 1510357 h 1874254"/>
                    <a:gd name="connsiteX66" fmla="*/ 210694 w 2161829"/>
                    <a:gd name="connsiteY66" fmla="*/ 1557660 h 1874254"/>
                    <a:gd name="connsiteX67" fmla="*/ 242162 w 2161829"/>
                    <a:gd name="connsiteY67" fmla="*/ 1591851 h 1874254"/>
                    <a:gd name="connsiteX68" fmla="*/ 344634 w 2161829"/>
                    <a:gd name="connsiteY68" fmla="*/ 1586606 h 1874254"/>
                    <a:gd name="connsiteX69" fmla="*/ 347256 w 2161829"/>
                    <a:gd name="connsiteY69" fmla="*/ 1549792 h 1874254"/>
                    <a:gd name="connsiteX70" fmla="*/ 355123 w 2161829"/>
                    <a:gd name="connsiteY70" fmla="*/ 1481411 h 1874254"/>
                    <a:gd name="connsiteX71" fmla="*/ 602226 w 2161829"/>
                    <a:gd name="connsiteY71" fmla="*/ 1460432 h 1874254"/>
                    <a:gd name="connsiteX72" fmla="*/ 607471 w 2161829"/>
                    <a:gd name="connsiteY72" fmla="*/ 1499867 h 1874254"/>
                    <a:gd name="connsiteX73" fmla="*/ 541711 w 2161829"/>
                    <a:gd name="connsiteY73" fmla="*/ 1531436 h 1874254"/>
                    <a:gd name="connsiteX74" fmla="*/ 478674 w 2161829"/>
                    <a:gd name="connsiteY74" fmla="*/ 1539303 h 1874254"/>
                    <a:gd name="connsiteX75" fmla="*/ 557546 w 2161829"/>
                    <a:gd name="connsiteY75" fmla="*/ 1597095 h 1874254"/>
                    <a:gd name="connsiteX76" fmla="*/ 673130 w 2161829"/>
                    <a:gd name="connsiteY76" fmla="*/ 1573394 h 1874254"/>
                    <a:gd name="connsiteX77" fmla="*/ 709944 w 2161829"/>
                    <a:gd name="connsiteY77" fmla="*/ 1602340 h 1874254"/>
                    <a:gd name="connsiteX78" fmla="*/ 733645 w 2161829"/>
                    <a:gd name="connsiteY78" fmla="*/ 1696945 h 1874254"/>
                    <a:gd name="connsiteX79" fmla="*/ 862442 w 2161829"/>
                    <a:gd name="connsiteY79" fmla="*/ 1710057 h 1874254"/>
                    <a:gd name="connsiteX80" fmla="*/ 975403 w 2161829"/>
                    <a:gd name="connsiteY80" fmla="*/ 1746870 h 1874254"/>
                    <a:gd name="connsiteX81" fmla="*/ 1014839 w 2161829"/>
                    <a:gd name="connsiteY81" fmla="*/ 1815151 h 1874254"/>
                    <a:gd name="connsiteX82" fmla="*/ 1088466 w 2161829"/>
                    <a:gd name="connsiteY82" fmla="*/ 1791551 h 1874254"/>
                    <a:gd name="connsiteX83" fmla="*/ 1193560 w 2161829"/>
                    <a:gd name="connsiteY83" fmla="*/ 1773093 h 1874254"/>
                    <a:gd name="connsiteX84" fmla="*/ 1180448 w 2161829"/>
                    <a:gd name="connsiteY84" fmla="*/ 1851864 h 1874254"/>
                    <a:gd name="connsiteX85" fmla="*/ 1238240 w 2161829"/>
                    <a:gd name="connsiteY85" fmla="*/ 1830885 h 1874254"/>
                    <a:gd name="connsiteX86" fmla="*/ 1282921 w 2161829"/>
                    <a:gd name="connsiteY86" fmla="*/ 1752115 h 1874254"/>
                    <a:gd name="connsiteX87" fmla="*/ 1369659 w 2161829"/>
                    <a:gd name="connsiteY87" fmla="*/ 1738902 h 1874254"/>
                    <a:gd name="connsiteX88" fmla="*/ 1477477 w 2161829"/>
                    <a:gd name="connsiteY88" fmla="*/ 1681010 h 1874254"/>
                    <a:gd name="connsiteX89" fmla="*/ 1540615 w 2161829"/>
                    <a:gd name="connsiteY89" fmla="*/ 1654787 h 1874254"/>
                    <a:gd name="connsiteX90" fmla="*/ 1498456 w 2161829"/>
                    <a:gd name="connsiteY90" fmla="*/ 1591649 h 1874254"/>
                    <a:gd name="connsiteX91" fmla="*/ 1577327 w 2161829"/>
                    <a:gd name="connsiteY91" fmla="*/ 1562804 h 1874254"/>
                    <a:gd name="connsiteX92" fmla="*/ 1624629 w 2161829"/>
                    <a:gd name="connsiteY92" fmla="*/ 1473442 h 1874254"/>
                    <a:gd name="connsiteX93" fmla="*/ 1719235 w 2161829"/>
                    <a:gd name="connsiteY93" fmla="*/ 1436629 h 1874254"/>
                    <a:gd name="connsiteX94" fmla="*/ 1771782 w 2161829"/>
                    <a:gd name="connsiteY94" fmla="*/ 1349891 h 1874254"/>
                    <a:gd name="connsiteX95" fmla="*/ 1834819 w 2161829"/>
                    <a:gd name="connsiteY95" fmla="*/ 1294721 h 1874254"/>
                    <a:gd name="connsiteX96" fmla="*/ 1903201 w 2161829"/>
                    <a:gd name="connsiteY96" fmla="*/ 1231685 h 1874254"/>
                    <a:gd name="connsiteX97" fmla="*/ 1982072 w 2161829"/>
                    <a:gd name="connsiteY97" fmla="*/ 1179137 h 1874254"/>
                    <a:gd name="connsiteX98" fmla="*/ 2047731 w 2161829"/>
                    <a:gd name="connsiteY98" fmla="*/ 1131835 h 1874254"/>
                    <a:gd name="connsiteX99" fmla="*/ 2031997 w 2161829"/>
                    <a:gd name="connsiteY99" fmla="*/ 1045197 h 1874254"/>
                    <a:gd name="connsiteX100" fmla="*/ 2079300 w 2161829"/>
                    <a:gd name="connsiteY100" fmla="*/ 1000517 h 1874254"/>
                    <a:gd name="connsiteX101" fmla="*/ 2132049 w 2161829"/>
                    <a:gd name="connsiteY101" fmla="*/ 918922 h 1874254"/>
                    <a:gd name="connsiteX102" fmla="*/ 2155448 w 2161829"/>
                    <a:gd name="connsiteY102" fmla="*/ 837227 h 1874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2161829" h="1874254">
                      <a:moveTo>
                        <a:pt x="2155448" y="837227"/>
                      </a:moveTo>
                      <a:cubicBezTo>
                        <a:pt x="2139714" y="826737"/>
                        <a:pt x="2129225" y="824216"/>
                        <a:pt x="2126603" y="800413"/>
                      </a:cubicBezTo>
                      <a:cubicBezTo>
                        <a:pt x="2123980" y="776712"/>
                        <a:pt x="2103002" y="776712"/>
                        <a:pt x="2087268" y="792547"/>
                      </a:cubicBezTo>
                      <a:cubicBezTo>
                        <a:pt x="2071433" y="808281"/>
                        <a:pt x="2045210" y="816248"/>
                        <a:pt x="2024131" y="816248"/>
                      </a:cubicBezTo>
                      <a:cubicBezTo>
                        <a:pt x="2003051" y="816248"/>
                        <a:pt x="1989939" y="858306"/>
                        <a:pt x="1955748" y="847817"/>
                      </a:cubicBezTo>
                      <a:cubicBezTo>
                        <a:pt x="1921557" y="837227"/>
                        <a:pt x="1861143" y="784579"/>
                        <a:pt x="1816463" y="774190"/>
                      </a:cubicBezTo>
                      <a:cubicBezTo>
                        <a:pt x="1771782" y="763701"/>
                        <a:pt x="1719235" y="800514"/>
                        <a:pt x="1671932" y="711154"/>
                      </a:cubicBezTo>
                      <a:cubicBezTo>
                        <a:pt x="1624629" y="621793"/>
                        <a:pt x="1637741" y="598192"/>
                        <a:pt x="1640364" y="579735"/>
                      </a:cubicBezTo>
                      <a:cubicBezTo>
                        <a:pt x="1642986" y="561278"/>
                        <a:pt x="1645709" y="553512"/>
                        <a:pt x="1616763" y="537677"/>
                      </a:cubicBezTo>
                      <a:cubicBezTo>
                        <a:pt x="1587816" y="521842"/>
                        <a:pt x="1608895" y="487651"/>
                        <a:pt x="1624629" y="477162"/>
                      </a:cubicBezTo>
                      <a:cubicBezTo>
                        <a:pt x="1640364" y="466572"/>
                        <a:pt x="1650853" y="442971"/>
                        <a:pt x="1653475" y="408779"/>
                      </a:cubicBezTo>
                      <a:cubicBezTo>
                        <a:pt x="1656098" y="374589"/>
                        <a:pt x="1674554" y="348264"/>
                        <a:pt x="1698257" y="358653"/>
                      </a:cubicBezTo>
                      <a:cubicBezTo>
                        <a:pt x="1721958" y="369142"/>
                        <a:pt x="1748081" y="353307"/>
                        <a:pt x="1732447" y="332329"/>
                      </a:cubicBezTo>
                      <a:cubicBezTo>
                        <a:pt x="1716713" y="311350"/>
                        <a:pt x="1672033" y="300861"/>
                        <a:pt x="1700879" y="253559"/>
                      </a:cubicBezTo>
                      <a:cubicBezTo>
                        <a:pt x="1729825" y="206256"/>
                        <a:pt x="1656198" y="203533"/>
                        <a:pt x="1645709" y="211500"/>
                      </a:cubicBezTo>
                      <a:cubicBezTo>
                        <a:pt x="1635220" y="219367"/>
                        <a:pt x="1598507" y="240446"/>
                        <a:pt x="1580050" y="219367"/>
                      </a:cubicBezTo>
                      <a:cubicBezTo>
                        <a:pt x="1561593" y="198288"/>
                        <a:pt x="1540615" y="195665"/>
                        <a:pt x="1522157" y="187799"/>
                      </a:cubicBezTo>
                      <a:cubicBezTo>
                        <a:pt x="1503801" y="179931"/>
                        <a:pt x="1501078" y="153708"/>
                        <a:pt x="1509046" y="127384"/>
                      </a:cubicBezTo>
                      <a:cubicBezTo>
                        <a:pt x="1517013" y="101060"/>
                        <a:pt x="1509147" y="72214"/>
                        <a:pt x="1490690" y="72214"/>
                      </a:cubicBezTo>
                      <a:cubicBezTo>
                        <a:pt x="1473644" y="72214"/>
                        <a:pt x="1441370" y="77762"/>
                        <a:pt x="1438546" y="0"/>
                      </a:cubicBezTo>
                      <a:cubicBezTo>
                        <a:pt x="1437638" y="1412"/>
                        <a:pt x="1436932" y="2421"/>
                        <a:pt x="1436024" y="3833"/>
                      </a:cubicBezTo>
                      <a:cubicBezTo>
                        <a:pt x="1400219" y="55875"/>
                        <a:pt x="1384082" y="62331"/>
                        <a:pt x="1348277" y="68887"/>
                      </a:cubicBezTo>
                      <a:cubicBezTo>
                        <a:pt x="1312473" y="75341"/>
                        <a:pt x="1299461" y="39637"/>
                        <a:pt x="1286451" y="23399"/>
                      </a:cubicBezTo>
                      <a:cubicBezTo>
                        <a:pt x="1273440" y="7161"/>
                        <a:pt x="1260429" y="706"/>
                        <a:pt x="1218169" y="33182"/>
                      </a:cubicBezTo>
                      <a:cubicBezTo>
                        <a:pt x="1175910" y="65659"/>
                        <a:pt x="1205159" y="104691"/>
                        <a:pt x="1218169" y="104691"/>
                      </a:cubicBezTo>
                      <a:cubicBezTo>
                        <a:pt x="1231181" y="104691"/>
                        <a:pt x="1270213" y="98236"/>
                        <a:pt x="1286451" y="146951"/>
                      </a:cubicBezTo>
                      <a:cubicBezTo>
                        <a:pt x="1302689" y="195665"/>
                        <a:pt x="1276667" y="241254"/>
                        <a:pt x="1244191" y="251037"/>
                      </a:cubicBezTo>
                      <a:cubicBezTo>
                        <a:pt x="1211715" y="260820"/>
                        <a:pt x="1149889" y="238026"/>
                        <a:pt x="1123968" y="260719"/>
                      </a:cubicBezTo>
                      <a:cubicBezTo>
                        <a:pt x="1097946" y="283412"/>
                        <a:pt x="1059015" y="325773"/>
                        <a:pt x="1006972" y="338784"/>
                      </a:cubicBezTo>
                      <a:cubicBezTo>
                        <a:pt x="954929" y="351694"/>
                        <a:pt x="990734" y="374488"/>
                        <a:pt x="974495" y="413520"/>
                      </a:cubicBezTo>
                      <a:cubicBezTo>
                        <a:pt x="958257" y="452552"/>
                        <a:pt x="951802" y="452552"/>
                        <a:pt x="925781" y="442769"/>
                      </a:cubicBezTo>
                      <a:cubicBezTo>
                        <a:pt x="899759" y="433087"/>
                        <a:pt x="883521" y="445996"/>
                        <a:pt x="854171" y="488256"/>
                      </a:cubicBezTo>
                      <a:cubicBezTo>
                        <a:pt x="824922" y="530415"/>
                        <a:pt x="870510" y="549981"/>
                        <a:pt x="857399" y="576003"/>
                      </a:cubicBezTo>
                      <a:cubicBezTo>
                        <a:pt x="844388" y="602025"/>
                        <a:pt x="818367" y="592241"/>
                        <a:pt x="782662" y="576003"/>
                      </a:cubicBezTo>
                      <a:cubicBezTo>
                        <a:pt x="746858" y="559765"/>
                        <a:pt x="763096" y="618263"/>
                        <a:pt x="750186" y="650739"/>
                      </a:cubicBezTo>
                      <a:cubicBezTo>
                        <a:pt x="737276" y="683216"/>
                        <a:pt x="802128" y="706010"/>
                        <a:pt x="837933" y="715793"/>
                      </a:cubicBezTo>
                      <a:cubicBezTo>
                        <a:pt x="873738" y="725577"/>
                        <a:pt x="893203" y="761280"/>
                        <a:pt x="899759" y="816551"/>
                      </a:cubicBezTo>
                      <a:cubicBezTo>
                        <a:pt x="906214" y="871821"/>
                        <a:pt x="880192" y="842572"/>
                        <a:pt x="847817" y="842572"/>
                      </a:cubicBezTo>
                      <a:cubicBezTo>
                        <a:pt x="815340" y="842572"/>
                        <a:pt x="808785" y="894515"/>
                        <a:pt x="763298" y="897843"/>
                      </a:cubicBezTo>
                      <a:cubicBezTo>
                        <a:pt x="717810" y="901070"/>
                        <a:pt x="711355" y="852356"/>
                        <a:pt x="711355" y="836117"/>
                      </a:cubicBezTo>
                      <a:cubicBezTo>
                        <a:pt x="711355" y="819879"/>
                        <a:pt x="652857" y="806869"/>
                        <a:pt x="613825" y="813424"/>
                      </a:cubicBezTo>
                      <a:cubicBezTo>
                        <a:pt x="574793" y="819980"/>
                        <a:pt x="571565" y="806869"/>
                        <a:pt x="574793" y="790731"/>
                      </a:cubicBezTo>
                      <a:cubicBezTo>
                        <a:pt x="578020" y="774493"/>
                        <a:pt x="571464" y="748371"/>
                        <a:pt x="532432" y="758255"/>
                      </a:cubicBezTo>
                      <a:cubicBezTo>
                        <a:pt x="493400" y="768038"/>
                        <a:pt x="438231" y="797287"/>
                        <a:pt x="395971" y="797287"/>
                      </a:cubicBezTo>
                      <a:cubicBezTo>
                        <a:pt x="353711" y="797287"/>
                        <a:pt x="363494" y="787504"/>
                        <a:pt x="337472" y="755027"/>
                      </a:cubicBezTo>
                      <a:cubicBezTo>
                        <a:pt x="311451" y="722551"/>
                        <a:pt x="278975" y="738789"/>
                        <a:pt x="256180" y="761482"/>
                      </a:cubicBezTo>
                      <a:cubicBezTo>
                        <a:pt x="253962" y="763701"/>
                        <a:pt x="251743" y="764105"/>
                        <a:pt x="249625" y="765718"/>
                      </a:cubicBezTo>
                      <a:cubicBezTo>
                        <a:pt x="249726" y="765718"/>
                        <a:pt x="249726" y="765718"/>
                        <a:pt x="249726" y="765718"/>
                      </a:cubicBezTo>
                      <a:cubicBezTo>
                        <a:pt x="259812" y="790529"/>
                        <a:pt x="274436" y="825931"/>
                        <a:pt x="280891" y="838941"/>
                      </a:cubicBezTo>
                      <a:cubicBezTo>
                        <a:pt x="291280" y="859819"/>
                        <a:pt x="308728" y="873738"/>
                        <a:pt x="296524" y="898044"/>
                      </a:cubicBezTo>
                      <a:cubicBezTo>
                        <a:pt x="284421" y="922452"/>
                        <a:pt x="284421" y="937985"/>
                        <a:pt x="308728" y="943229"/>
                      </a:cubicBezTo>
                      <a:cubicBezTo>
                        <a:pt x="333035" y="948474"/>
                        <a:pt x="360872" y="981455"/>
                        <a:pt x="373076" y="991944"/>
                      </a:cubicBezTo>
                      <a:cubicBezTo>
                        <a:pt x="385280" y="1002433"/>
                        <a:pt x="376505" y="1035414"/>
                        <a:pt x="369546" y="1035414"/>
                      </a:cubicBezTo>
                      <a:cubicBezTo>
                        <a:pt x="362587" y="1035414"/>
                        <a:pt x="352198" y="1063251"/>
                        <a:pt x="336565" y="1077169"/>
                      </a:cubicBezTo>
                      <a:cubicBezTo>
                        <a:pt x="320932" y="1091088"/>
                        <a:pt x="310442" y="1111966"/>
                        <a:pt x="294809" y="1120639"/>
                      </a:cubicBezTo>
                      <a:cubicBezTo>
                        <a:pt x="279176" y="1129313"/>
                        <a:pt x="254869" y="1134558"/>
                        <a:pt x="256685" y="1152006"/>
                      </a:cubicBezTo>
                      <a:cubicBezTo>
                        <a:pt x="258400" y="1169455"/>
                        <a:pt x="261828" y="1197191"/>
                        <a:pt x="253155" y="1218068"/>
                      </a:cubicBezTo>
                      <a:cubicBezTo>
                        <a:pt x="244481" y="1238946"/>
                        <a:pt x="247910" y="1247520"/>
                        <a:pt x="239236" y="1282316"/>
                      </a:cubicBezTo>
                      <a:cubicBezTo>
                        <a:pt x="230563" y="1317112"/>
                        <a:pt x="202725" y="1289275"/>
                        <a:pt x="173174" y="1292704"/>
                      </a:cubicBezTo>
                      <a:cubicBezTo>
                        <a:pt x="143623" y="1296134"/>
                        <a:pt x="133234" y="1334460"/>
                        <a:pt x="134848" y="1372685"/>
                      </a:cubicBezTo>
                      <a:cubicBezTo>
                        <a:pt x="136562" y="1410911"/>
                        <a:pt x="122745" y="1414440"/>
                        <a:pt x="103581" y="1424829"/>
                      </a:cubicBezTo>
                      <a:cubicBezTo>
                        <a:pt x="84520" y="1435217"/>
                        <a:pt x="20071" y="1475258"/>
                        <a:pt x="20071" y="1475258"/>
                      </a:cubicBezTo>
                      <a:cubicBezTo>
                        <a:pt x="20071" y="1475258"/>
                        <a:pt x="13515" y="1483226"/>
                        <a:pt x="0" y="1489580"/>
                      </a:cubicBezTo>
                      <a:cubicBezTo>
                        <a:pt x="14625" y="1499565"/>
                        <a:pt x="36309" y="1511466"/>
                        <a:pt x="60817" y="1512979"/>
                      </a:cubicBezTo>
                      <a:cubicBezTo>
                        <a:pt x="102876" y="1515601"/>
                        <a:pt x="123854" y="1507735"/>
                        <a:pt x="158045" y="1502389"/>
                      </a:cubicBezTo>
                      <a:cubicBezTo>
                        <a:pt x="192236" y="1497145"/>
                        <a:pt x="207970" y="1491900"/>
                        <a:pt x="223805" y="1510357"/>
                      </a:cubicBezTo>
                      <a:cubicBezTo>
                        <a:pt x="239539" y="1528713"/>
                        <a:pt x="228949" y="1539303"/>
                        <a:pt x="210694" y="1557660"/>
                      </a:cubicBezTo>
                      <a:cubicBezTo>
                        <a:pt x="192337" y="1576016"/>
                        <a:pt x="207970" y="1591851"/>
                        <a:pt x="242162" y="1591851"/>
                      </a:cubicBezTo>
                      <a:cubicBezTo>
                        <a:pt x="276352" y="1591851"/>
                        <a:pt x="334144" y="1591851"/>
                        <a:pt x="344634" y="1586606"/>
                      </a:cubicBezTo>
                      <a:cubicBezTo>
                        <a:pt x="355224" y="1581361"/>
                        <a:pt x="378825" y="1578638"/>
                        <a:pt x="347256" y="1549792"/>
                      </a:cubicBezTo>
                      <a:cubicBezTo>
                        <a:pt x="315687" y="1520947"/>
                        <a:pt x="326277" y="1491900"/>
                        <a:pt x="355123" y="1481411"/>
                      </a:cubicBezTo>
                      <a:cubicBezTo>
                        <a:pt x="383969" y="1470921"/>
                        <a:pt x="591737" y="1455187"/>
                        <a:pt x="602226" y="1460432"/>
                      </a:cubicBezTo>
                      <a:cubicBezTo>
                        <a:pt x="612716" y="1465677"/>
                        <a:pt x="631172" y="1471022"/>
                        <a:pt x="607471" y="1499867"/>
                      </a:cubicBezTo>
                      <a:cubicBezTo>
                        <a:pt x="583769" y="1528713"/>
                        <a:pt x="568036" y="1541825"/>
                        <a:pt x="541711" y="1531436"/>
                      </a:cubicBezTo>
                      <a:cubicBezTo>
                        <a:pt x="515488" y="1520947"/>
                        <a:pt x="478674" y="1520846"/>
                        <a:pt x="478674" y="1539303"/>
                      </a:cubicBezTo>
                      <a:cubicBezTo>
                        <a:pt x="478674" y="1557660"/>
                        <a:pt x="491887" y="1599819"/>
                        <a:pt x="557546" y="1597095"/>
                      </a:cubicBezTo>
                      <a:cubicBezTo>
                        <a:pt x="623205" y="1594473"/>
                        <a:pt x="654774" y="1578638"/>
                        <a:pt x="673130" y="1573394"/>
                      </a:cubicBezTo>
                      <a:cubicBezTo>
                        <a:pt x="691587" y="1568149"/>
                        <a:pt x="709944" y="1576016"/>
                        <a:pt x="709944" y="1602340"/>
                      </a:cubicBezTo>
                      <a:cubicBezTo>
                        <a:pt x="709944" y="1628563"/>
                        <a:pt x="670609" y="1696945"/>
                        <a:pt x="733645" y="1696945"/>
                      </a:cubicBezTo>
                      <a:cubicBezTo>
                        <a:pt x="796682" y="1696945"/>
                        <a:pt x="830873" y="1694222"/>
                        <a:pt x="862442" y="1710057"/>
                      </a:cubicBezTo>
                      <a:cubicBezTo>
                        <a:pt x="893910" y="1725791"/>
                        <a:pt x="938691" y="1741626"/>
                        <a:pt x="975403" y="1746870"/>
                      </a:cubicBezTo>
                      <a:cubicBezTo>
                        <a:pt x="1012115" y="1752115"/>
                        <a:pt x="991238" y="1807285"/>
                        <a:pt x="1014839" y="1815151"/>
                      </a:cubicBezTo>
                      <a:cubicBezTo>
                        <a:pt x="1038439" y="1823019"/>
                        <a:pt x="1075253" y="1817875"/>
                        <a:pt x="1088466" y="1791551"/>
                      </a:cubicBezTo>
                      <a:cubicBezTo>
                        <a:pt x="1101577" y="1765226"/>
                        <a:pt x="1167337" y="1754636"/>
                        <a:pt x="1193560" y="1773093"/>
                      </a:cubicBezTo>
                      <a:cubicBezTo>
                        <a:pt x="1219784" y="1791551"/>
                        <a:pt x="1175103" y="1838752"/>
                        <a:pt x="1180448" y="1851864"/>
                      </a:cubicBezTo>
                      <a:cubicBezTo>
                        <a:pt x="1185693" y="1864975"/>
                        <a:pt x="1214640" y="1904512"/>
                        <a:pt x="1238240" y="1830885"/>
                      </a:cubicBezTo>
                      <a:cubicBezTo>
                        <a:pt x="1261942" y="1757259"/>
                        <a:pt x="1232996" y="1741626"/>
                        <a:pt x="1282921" y="1752115"/>
                      </a:cubicBezTo>
                      <a:cubicBezTo>
                        <a:pt x="1332846" y="1762604"/>
                        <a:pt x="1322357" y="1783583"/>
                        <a:pt x="1369659" y="1738902"/>
                      </a:cubicBezTo>
                      <a:cubicBezTo>
                        <a:pt x="1416962" y="1694222"/>
                        <a:pt x="1440663" y="1678387"/>
                        <a:pt x="1477477" y="1681010"/>
                      </a:cubicBezTo>
                      <a:cubicBezTo>
                        <a:pt x="1514291" y="1683632"/>
                        <a:pt x="1524881" y="1696844"/>
                        <a:pt x="1540615" y="1654787"/>
                      </a:cubicBezTo>
                      <a:cubicBezTo>
                        <a:pt x="1556349" y="1612728"/>
                        <a:pt x="1493211" y="1623218"/>
                        <a:pt x="1498456" y="1591649"/>
                      </a:cubicBezTo>
                      <a:cubicBezTo>
                        <a:pt x="1503700" y="1560181"/>
                        <a:pt x="1558971" y="1591750"/>
                        <a:pt x="1577327" y="1562804"/>
                      </a:cubicBezTo>
                      <a:cubicBezTo>
                        <a:pt x="1595683" y="1533857"/>
                        <a:pt x="1579949" y="1473442"/>
                        <a:pt x="1624629" y="1473442"/>
                      </a:cubicBezTo>
                      <a:cubicBezTo>
                        <a:pt x="1669310" y="1473442"/>
                        <a:pt x="1693012" y="1470821"/>
                        <a:pt x="1719235" y="1436629"/>
                      </a:cubicBezTo>
                      <a:cubicBezTo>
                        <a:pt x="1745458" y="1402438"/>
                        <a:pt x="1706224" y="1365625"/>
                        <a:pt x="1771782" y="1349891"/>
                      </a:cubicBezTo>
                      <a:cubicBezTo>
                        <a:pt x="1837441" y="1334157"/>
                        <a:pt x="1832196" y="1323567"/>
                        <a:pt x="1834819" y="1294721"/>
                      </a:cubicBezTo>
                      <a:cubicBezTo>
                        <a:pt x="1837441" y="1265876"/>
                        <a:pt x="1871733" y="1250142"/>
                        <a:pt x="1903201" y="1231685"/>
                      </a:cubicBezTo>
                      <a:cubicBezTo>
                        <a:pt x="1934769" y="1213227"/>
                        <a:pt x="1960993" y="1187004"/>
                        <a:pt x="1982072" y="1179137"/>
                      </a:cubicBezTo>
                      <a:cubicBezTo>
                        <a:pt x="2003152" y="1171271"/>
                        <a:pt x="2042587" y="1163403"/>
                        <a:pt x="2047731" y="1131835"/>
                      </a:cubicBezTo>
                      <a:cubicBezTo>
                        <a:pt x="2052976" y="1100367"/>
                        <a:pt x="2021407" y="1063554"/>
                        <a:pt x="2031997" y="1045197"/>
                      </a:cubicBezTo>
                      <a:cubicBezTo>
                        <a:pt x="2042587" y="1026740"/>
                        <a:pt x="2066188" y="1034708"/>
                        <a:pt x="2079300" y="1000517"/>
                      </a:cubicBezTo>
                      <a:cubicBezTo>
                        <a:pt x="2092512" y="966326"/>
                        <a:pt x="2108347" y="947869"/>
                        <a:pt x="2132049" y="918922"/>
                      </a:cubicBezTo>
                      <a:cubicBezTo>
                        <a:pt x="2155448" y="889774"/>
                        <a:pt x="2171283" y="847817"/>
                        <a:pt x="2155448" y="837227"/>
                      </a:cubicBezTo>
                      <a:close/>
                    </a:path>
                  </a:pathLst>
                </a:custGeom>
                <a:solidFill>
                  <a:schemeClr val="bg1">
                    <a:lumMod val="75000"/>
                  </a:schemeClr>
                </a:solidFill>
                <a:ln w="10085" cap="flat">
                  <a:solidFill>
                    <a:srgbClr val="FFFFFF"/>
                  </a:solidFill>
                  <a:prstDash val="solid"/>
                  <a:miter/>
                </a:ln>
              </p:spPr>
              <p:txBody>
                <a:bodyPr rtlCol="0" anchor="ctr"/>
                <a:lstStyle/>
                <a:p>
                  <a:endParaRPr lang="fr-FR" sz="900"/>
                </a:p>
              </p:txBody>
            </p:sp>
            <p:sp>
              <p:nvSpPr>
                <p:cNvPr id="103" name="Forme libre : forme 102">
                  <a:extLst>
                    <a:ext uri="{FF2B5EF4-FFF2-40B4-BE49-F238E27FC236}">
                      <a16:creationId xmlns:a16="http://schemas.microsoft.com/office/drawing/2014/main" id="{5C9074E6-C3A2-6B3D-CDFE-C9999B6487EE}"/>
                    </a:ext>
                  </a:extLst>
                </p:cNvPr>
                <p:cNvSpPr/>
                <p:nvPr/>
              </p:nvSpPr>
              <p:spPr>
                <a:xfrm>
                  <a:off x="6477491" y="9539016"/>
                  <a:ext cx="2167046" cy="1879698"/>
                </a:xfrm>
                <a:custGeom>
                  <a:avLst/>
                  <a:gdLst>
                    <a:gd name="connsiteX0" fmla="*/ 1180852 w 2167046"/>
                    <a:gd name="connsiteY0" fmla="*/ 1855896 h 1879698"/>
                    <a:gd name="connsiteX1" fmla="*/ 1180045 w 2167046"/>
                    <a:gd name="connsiteY1" fmla="*/ 1852164 h 1879698"/>
                    <a:gd name="connsiteX2" fmla="*/ 1180045 w 2167046"/>
                    <a:gd name="connsiteY2" fmla="*/ 1852164 h 1879698"/>
                    <a:gd name="connsiteX3" fmla="*/ 1202032 w 2167046"/>
                    <a:gd name="connsiteY3" fmla="*/ 1792456 h 1879698"/>
                    <a:gd name="connsiteX4" fmla="*/ 1202032 w 2167046"/>
                    <a:gd name="connsiteY4" fmla="*/ 1792456 h 1879698"/>
                    <a:gd name="connsiteX5" fmla="*/ 1194871 w 2167046"/>
                    <a:gd name="connsiteY5" fmla="*/ 1778235 h 1879698"/>
                    <a:gd name="connsiteX6" fmla="*/ 1194871 w 2167046"/>
                    <a:gd name="connsiteY6" fmla="*/ 1778235 h 1879698"/>
                    <a:gd name="connsiteX7" fmla="*/ 1158966 w 2167046"/>
                    <a:gd name="connsiteY7" fmla="*/ 1769460 h 1879698"/>
                    <a:gd name="connsiteX8" fmla="*/ 1158966 w 2167046"/>
                    <a:gd name="connsiteY8" fmla="*/ 1769460 h 1879698"/>
                    <a:gd name="connsiteX9" fmla="*/ 1093912 w 2167046"/>
                    <a:gd name="connsiteY9" fmla="*/ 1795683 h 1879698"/>
                    <a:gd name="connsiteX10" fmla="*/ 1093912 w 2167046"/>
                    <a:gd name="connsiteY10" fmla="*/ 1795683 h 1879698"/>
                    <a:gd name="connsiteX11" fmla="*/ 1039852 w 2167046"/>
                    <a:gd name="connsiteY11" fmla="*/ 1824024 h 1879698"/>
                    <a:gd name="connsiteX12" fmla="*/ 1039852 w 2167046"/>
                    <a:gd name="connsiteY12" fmla="*/ 1824024 h 1879698"/>
                    <a:gd name="connsiteX13" fmla="*/ 1016956 w 2167046"/>
                    <a:gd name="connsiteY13" fmla="*/ 1820596 h 1879698"/>
                    <a:gd name="connsiteX14" fmla="*/ 1016956 w 2167046"/>
                    <a:gd name="connsiteY14" fmla="*/ 1820596 h 1879698"/>
                    <a:gd name="connsiteX15" fmla="*/ 978025 w 2167046"/>
                    <a:gd name="connsiteY15" fmla="*/ 1752314 h 1879698"/>
                    <a:gd name="connsiteX16" fmla="*/ 978025 w 2167046"/>
                    <a:gd name="connsiteY16" fmla="*/ 1752314 h 1879698"/>
                    <a:gd name="connsiteX17" fmla="*/ 864055 w 2167046"/>
                    <a:gd name="connsiteY17" fmla="*/ 1715299 h 1879698"/>
                    <a:gd name="connsiteX18" fmla="*/ 864055 w 2167046"/>
                    <a:gd name="connsiteY18" fmla="*/ 1715299 h 1879698"/>
                    <a:gd name="connsiteX19" fmla="*/ 779738 w 2167046"/>
                    <a:gd name="connsiteY19" fmla="*/ 1702288 h 1879698"/>
                    <a:gd name="connsiteX20" fmla="*/ 779738 w 2167046"/>
                    <a:gd name="connsiteY20" fmla="*/ 1702288 h 1879698"/>
                    <a:gd name="connsiteX21" fmla="*/ 736570 w 2167046"/>
                    <a:gd name="connsiteY21" fmla="*/ 1702490 h 1879698"/>
                    <a:gd name="connsiteX22" fmla="*/ 736570 w 2167046"/>
                    <a:gd name="connsiteY22" fmla="*/ 1702490 h 1879698"/>
                    <a:gd name="connsiteX23" fmla="*/ 697840 w 2167046"/>
                    <a:gd name="connsiteY23" fmla="*/ 1668803 h 1879698"/>
                    <a:gd name="connsiteX24" fmla="*/ 697840 w 2167046"/>
                    <a:gd name="connsiteY24" fmla="*/ 1668803 h 1879698"/>
                    <a:gd name="connsiteX25" fmla="*/ 710044 w 2167046"/>
                    <a:gd name="connsiteY25" fmla="*/ 1605061 h 1879698"/>
                    <a:gd name="connsiteX26" fmla="*/ 710044 w 2167046"/>
                    <a:gd name="connsiteY26" fmla="*/ 1605061 h 1879698"/>
                    <a:gd name="connsiteX27" fmla="*/ 686544 w 2167046"/>
                    <a:gd name="connsiteY27" fmla="*/ 1577325 h 1879698"/>
                    <a:gd name="connsiteX28" fmla="*/ 686544 w 2167046"/>
                    <a:gd name="connsiteY28" fmla="*/ 1577325 h 1879698"/>
                    <a:gd name="connsiteX29" fmla="*/ 676761 w 2167046"/>
                    <a:gd name="connsiteY29" fmla="*/ 1578837 h 1879698"/>
                    <a:gd name="connsiteX30" fmla="*/ 676761 w 2167046"/>
                    <a:gd name="connsiteY30" fmla="*/ 1578837 h 1879698"/>
                    <a:gd name="connsiteX31" fmla="*/ 560471 w 2167046"/>
                    <a:gd name="connsiteY31" fmla="*/ 1602539 h 1879698"/>
                    <a:gd name="connsiteX32" fmla="*/ 560471 w 2167046"/>
                    <a:gd name="connsiteY32" fmla="*/ 1602539 h 1879698"/>
                    <a:gd name="connsiteX33" fmla="*/ 554621 w 2167046"/>
                    <a:gd name="connsiteY33" fmla="*/ 1602640 h 1879698"/>
                    <a:gd name="connsiteX34" fmla="*/ 554621 w 2167046"/>
                    <a:gd name="connsiteY34" fmla="*/ 1602640 h 1879698"/>
                    <a:gd name="connsiteX35" fmla="*/ 478775 w 2167046"/>
                    <a:gd name="connsiteY35" fmla="*/ 1542024 h 1879698"/>
                    <a:gd name="connsiteX36" fmla="*/ 478775 w 2167046"/>
                    <a:gd name="connsiteY36" fmla="*/ 1542024 h 1879698"/>
                    <a:gd name="connsiteX37" fmla="*/ 508529 w 2167046"/>
                    <a:gd name="connsiteY37" fmla="*/ 1524071 h 1879698"/>
                    <a:gd name="connsiteX38" fmla="*/ 508529 w 2167046"/>
                    <a:gd name="connsiteY38" fmla="*/ 1524071 h 1879698"/>
                    <a:gd name="connsiteX39" fmla="*/ 545544 w 2167046"/>
                    <a:gd name="connsiteY39" fmla="*/ 1531535 h 1879698"/>
                    <a:gd name="connsiteX40" fmla="*/ 545544 w 2167046"/>
                    <a:gd name="connsiteY40" fmla="*/ 1531535 h 1879698"/>
                    <a:gd name="connsiteX41" fmla="*/ 561278 w 2167046"/>
                    <a:gd name="connsiteY41" fmla="*/ 1534661 h 1879698"/>
                    <a:gd name="connsiteX42" fmla="*/ 561278 w 2167046"/>
                    <a:gd name="connsiteY42" fmla="*/ 1534661 h 1879698"/>
                    <a:gd name="connsiteX43" fmla="*/ 608278 w 2167046"/>
                    <a:gd name="connsiteY43" fmla="*/ 1500773 h 1879698"/>
                    <a:gd name="connsiteX44" fmla="*/ 608278 w 2167046"/>
                    <a:gd name="connsiteY44" fmla="*/ 1500773 h 1879698"/>
                    <a:gd name="connsiteX45" fmla="*/ 619069 w 2167046"/>
                    <a:gd name="connsiteY45" fmla="*/ 1479593 h 1879698"/>
                    <a:gd name="connsiteX46" fmla="*/ 619069 w 2167046"/>
                    <a:gd name="connsiteY46" fmla="*/ 1479593 h 1879698"/>
                    <a:gd name="connsiteX47" fmla="*/ 603638 w 2167046"/>
                    <a:gd name="connsiteY47" fmla="*/ 1465573 h 1879698"/>
                    <a:gd name="connsiteX48" fmla="*/ 603638 w 2167046"/>
                    <a:gd name="connsiteY48" fmla="*/ 1465573 h 1879698"/>
                    <a:gd name="connsiteX49" fmla="*/ 590728 w 2167046"/>
                    <a:gd name="connsiteY49" fmla="*/ 1464968 h 1879698"/>
                    <a:gd name="connsiteX50" fmla="*/ 590728 w 2167046"/>
                    <a:gd name="connsiteY50" fmla="*/ 1464968 h 1879698"/>
                    <a:gd name="connsiteX51" fmla="*/ 358955 w 2167046"/>
                    <a:gd name="connsiteY51" fmla="*/ 1486753 h 1879698"/>
                    <a:gd name="connsiteX52" fmla="*/ 358955 w 2167046"/>
                    <a:gd name="connsiteY52" fmla="*/ 1486753 h 1879698"/>
                    <a:gd name="connsiteX53" fmla="*/ 333640 w 2167046"/>
                    <a:gd name="connsiteY53" fmla="*/ 1516910 h 1879698"/>
                    <a:gd name="connsiteX54" fmla="*/ 333640 w 2167046"/>
                    <a:gd name="connsiteY54" fmla="*/ 1516910 h 1879698"/>
                    <a:gd name="connsiteX55" fmla="*/ 351996 w 2167046"/>
                    <a:gd name="connsiteY55" fmla="*/ 1550496 h 1879698"/>
                    <a:gd name="connsiteX56" fmla="*/ 351996 w 2167046"/>
                    <a:gd name="connsiteY56" fmla="*/ 1550496 h 1879698"/>
                    <a:gd name="connsiteX57" fmla="*/ 368537 w 2167046"/>
                    <a:gd name="connsiteY57" fmla="*/ 1575307 h 1879698"/>
                    <a:gd name="connsiteX58" fmla="*/ 368537 w 2167046"/>
                    <a:gd name="connsiteY58" fmla="*/ 1575307 h 1879698"/>
                    <a:gd name="connsiteX59" fmla="*/ 348668 w 2167046"/>
                    <a:gd name="connsiteY59" fmla="*/ 1591747 h 1879698"/>
                    <a:gd name="connsiteX60" fmla="*/ 348668 w 2167046"/>
                    <a:gd name="connsiteY60" fmla="*/ 1591747 h 1879698"/>
                    <a:gd name="connsiteX61" fmla="*/ 244884 w 2167046"/>
                    <a:gd name="connsiteY61" fmla="*/ 1597194 h 1879698"/>
                    <a:gd name="connsiteX62" fmla="*/ 244884 w 2167046"/>
                    <a:gd name="connsiteY62" fmla="*/ 1597194 h 1879698"/>
                    <a:gd name="connsiteX63" fmla="*/ 202826 w 2167046"/>
                    <a:gd name="connsiteY63" fmla="*/ 1575206 h 1879698"/>
                    <a:gd name="connsiteX64" fmla="*/ 202826 w 2167046"/>
                    <a:gd name="connsiteY64" fmla="*/ 1575206 h 1879698"/>
                    <a:gd name="connsiteX65" fmla="*/ 211399 w 2167046"/>
                    <a:gd name="connsiteY65" fmla="*/ 1558464 h 1879698"/>
                    <a:gd name="connsiteX66" fmla="*/ 211399 w 2167046"/>
                    <a:gd name="connsiteY66" fmla="*/ 1558464 h 1879698"/>
                    <a:gd name="connsiteX67" fmla="*/ 231370 w 2167046"/>
                    <a:gd name="connsiteY67" fmla="*/ 1529618 h 1879698"/>
                    <a:gd name="connsiteX68" fmla="*/ 231370 w 2167046"/>
                    <a:gd name="connsiteY68" fmla="*/ 1529618 h 1879698"/>
                    <a:gd name="connsiteX69" fmla="*/ 224511 w 2167046"/>
                    <a:gd name="connsiteY69" fmla="*/ 1514893 h 1879698"/>
                    <a:gd name="connsiteX70" fmla="*/ 224511 w 2167046"/>
                    <a:gd name="connsiteY70" fmla="*/ 1514893 h 1879698"/>
                    <a:gd name="connsiteX71" fmla="*/ 198792 w 2167046"/>
                    <a:gd name="connsiteY71" fmla="*/ 1502991 h 1879698"/>
                    <a:gd name="connsiteX72" fmla="*/ 198792 w 2167046"/>
                    <a:gd name="connsiteY72" fmla="*/ 1502991 h 1879698"/>
                    <a:gd name="connsiteX73" fmla="*/ 161273 w 2167046"/>
                    <a:gd name="connsiteY73" fmla="*/ 1507833 h 1879698"/>
                    <a:gd name="connsiteX74" fmla="*/ 161273 w 2167046"/>
                    <a:gd name="connsiteY74" fmla="*/ 1507833 h 1879698"/>
                    <a:gd name="connsiteX75" fmla="*/ 79678 w 2167046"/>
                    <a:gd name="connsiteY75" fmla="*/ 1518826 h 1879698"/>
                    <a:gd name="connsiteX76" fmla="*/ 79678 w 2167046"/>
                    <a:gd name="connsiteY76" fmla="*/ 1518826 h 1879698"/>
                    <a:gd name="connsiteX77" fmla="*/ 63440 w 2167046"/>
                    <a:gd name="connsiteY77" fmla="*/ 1518423 h 1879698"/>
                    <a:gd name="connsiteX78" fmla="*/ 63440 w 2167046"/>
                    <a:gd name="connsiteY78" fmla="*/ 1518423 h 1879698"/>
                    <a:gd name="connsiteX79" fmla="*/ 1210 w 2167046"/>
                    <a:gd name="connsiteY79" fmla="*/ 1494520 h 1879698"/>
                    <a:gd name="connsiteX80" fmla="*/ 1210 w 2167046"/>
                    <a:gd name="connsiteY80" fmla="*/ 1494520 h 1879698"/>
                    <a:gd name="connsiteX81" fmla="*/ 0 w 2167046"/>
                    <a:gd name="connsiteY81" fmla="*/ 1491897 h 1879698"/>
                    <a:gd name="connsiteX82" fmla="*/ 0 w 2167046"/>
                    <a:gd name="connsiteY82" fmla="*/ 1491897 h 1879698"/>
                    <a:gd name="connsiteX83" fmla="*/ 1613 w 2167046"/>
                    <a:gd name="connsiteY83" fmla="*/ 1489578 h 1879698"/>
                    <a:gd name="connsiteX84" fmla="*/ 1613 w 2167046"/>
                    <a:gd name="connsiteY84" fmla="*/ 1489578 h 1879698"/>
                    <a:gd name="connsiteX85" fmla="*/ 21382 w 2167046"/>
                    <a:gd name="connsiteY85" fmla="*/ 1475457 h 1879698"/>
                    <a:gd name="connsiteX86" fmla="*/ 21382 w 2167046"/>
                    <a:gd name="connsiteY86" fmla="*/ 1475457 h 1879698"/>
                    <a:gd name="connsiteX87" fmla="*/ 104993 w 2167046"/>
                    <a:gd name="connsiteY87" fmla="*/ 1425028 h 1879698"/>
                    <a:gd name="connsiteX88" fmla="*/ 104993 w 2167046"/>
                    <a:gd name="connsiteY88" fmla="*/ 1425028 h 1879698"/>
                    <a:gd name="connsiteX89" fmla="*/ 134948 w 2167046"/>
                    <a:gd name="connsiteY89" fmla="*/ 1381356 h 1879698"/>
                    <a:gd name="connsiteX90" fmla="*/ 134948 w 2167046"/>
                    <a:gd name="connsiteY90" fmla="*/ 1381356 h 1879698"/>
                    <a:gd name="connsiteX91" fmla="*/ 134848 w 2167046"/>
                    <a:gd name="connsiteY91" fmla="*/ 1375507 h 1879698"/>
                    <a:gd name="connsiteX92" fmla="*/ 134848 w 2167046"/>
                    <a:gd name="connsiteY92" fmla="*/ 1375507 h 1879698"/>
                    <a:gd name="connsiteX93" fmla="*/ 134646 w 2167046"/>
                    <a:gd name="connsiteY93" fmla="*/ 1367437 h 1879698"/>
                    <a:gd name="connsiteX94" fmla="*/ 134646 w 2167046"/>
                    <a:gd name="connsiteY94" fmla="*/ 1367437 h 1879698"/>
                    <a:gd name="connsiteX95" fmla="*/ 175393 w 2167046"/>
                    <a:gd name="connsiteY95" fmla="*/ 1292702 h 1879698"/>
                    <a:gd name="connsiteX96" fmla="*/ 175393 w 2167046"/>
                    <a:gd name="connsiteY96" fmla="*/ 1292702 h 1879698"/>
                    <a:gd name="connsiteX97" fmla="*/ 181243 w 2167046"/>
                    <a:gd name="connsiteY97" fmla="*/ 1292096 h 1879698"/>
                    <a:gd name="connsiteX98" fmla="*/ 181243 w 2167046"/>
                    <a:gd name="connsiteY98" fmla="*/ 1292096 h 1879698"/>
                    <a:gd name="connsiteX99" fmla="*/ 223805 w 2167046"/>
                    <a:gd name="connsiteY99" fmla="*/ 1299863 h 1879698"/>
                    <a:gd name="connsiteX100" fmla="*/ 223805 w 2167046"/>
                    <a:gd name="connsiteY100" fmla="*/ 1299863 h 1879698"/>
                    <a:gd name="connsiteX101" fmla="*/ 239236 w 2167046"/>
                    <a:gd name="connsiteY101" fmla="*/ 1284431 h 1879698"/>
                    <a:gd name="connsiteX102" fmla="*/ 239236 w 2167046"/>
                    <a:gd name="connsiteY102" fmla="*/ 1284431 h 1879698"/>
                    <a:gd name="connsiteX103" fmla="*/ 253256 w 2167046"/>
                    <a:gd name="connsiteY103" fmla="*/ 1219781 h 1879698"/>
                    <a:gd name="connsiteX104" fmla="*/ 253256 w 2167046"/>
                    <a:gd name="connsiteY104" fmla="*/ 1219781 h 1879698"/>
                    <a:gd name="connsiteX105" fmla="*/ 258702 w 2167046"/>
                    <a:gd name="connsiteY105" fmla="*/ 1186195 h 1879698"/>
                    <a:gd name="connsiteX106" fmla="*/ 258702 w 2167046"/>
                    <a:gd name="connsiteY106" fmla="*/ 1186195 h 1879698"/>
                    <a:gd name="connsiteX107" fmla="*/ 256584 w 2167046"/>
                    <a:gd name="connsiteY107" fmla="*/ 1155332 h 1879698"/>
                    <a:gd name="connsiteX108" fmla="*/ 256584 w 2167046"/>
                    <a:gd name="connsiteY108" fmla="*/ 1155332 h 1879698"/>
                    <a:gd name="connsiteX109" fmla="*/ 256281 w 2167046"/>
                    <a:gd name="connsiteY109" fmla="*/ 1152912 h 1879698"/>
                    <a:gd name="connsiteX110" fmla="*/ 256281 w 2167046"/>
                    <a:gd name="connsiteY110" fmla="*/ 1152912 h 1879698"/>
                    <a:gd name="connsiteX111" fmla="*/ 296121 w 2167046"/>
                    <a:gd name="connsiteY111" fmla="*/ 1121040 h 1879698"/>
                    <a:gd name="connsiteX112" fmla="*/ 296121 w 2167046"/>
                    <a:gd name="connsiteY112" fmla="*/ 1121040 h 1879698"/>
                    <a:gd name="connsiteX113" fmla="*/ 337371 w 2167046"/>
                    <a:gd name="connsiteY113" fmla="*/ 1077873 h 1879698"/>
                    <a:gd name="connsiteX114" fmla="*/ 337371 w 2167046"/>
                    <a:gd name="connsiteY114" fmla="*/ 1077873 h 1879698"/>
                    <a:gd name="connsiteX115" fmla="*/ 372269 w 2167046"/>
                    <a:gd name="connsiteY115" fmla="*/ 1035411 h 1879698"/>
                    <a:gd name="connsiteX116" fmla="*/ 372269 w 2167046"/>
                    <a:gd name="connsiteY116" fmla="*/ 1035411 h 1879698"/>
                    <a:gd name="connsiteX117" fmla="*/ 379026 w 2167046"/>
                    <a:gd name="connsiteY117" fmla="*/ 1012315 h 1879698"/>
                    <a:gd name="connsiteX118" fmla="*/ 379026 w 2167046"/>
                    <a:gd name="connsiteY118" fmla="*/ 1012315 h 1879698"/>
                    <a:gd name="connsiteX119" fmla="*/ 373882 w 2167046"/>
                    <a:gd name="connsiteY119" fmla="*/ 996782 h 1879698"/>
                    <a:gd name="connsiteX120" fmla="*/ 373882 w 2167046"/>
                    <a:gd name="connsiteY120" fmla="*/ 996782 h 1879698"/>
                    <a:gd name="connsiteX121" fmla="*/ 310846 w 2167046"/>
                    <a:gd name="connsiteY121" fmla="*/ 948673 h 1879698"/>
                    <a:gd name="connsiteX122" fmla="*/ 310846 w 2167046"/>
                    <a:gd name="connsiteY122" fmla="*/ 948673 h 1879698"/>
                    <a:gd name="connsiteX123" fmla="*/ 288455 w 2167046"/>
                    <a:gd name="connsiteY123" fmla="*/ 926282 h 1879698"/>
                    <a:gd name="connsiteX124" fmla="*/ 288455 w 2167046"/>
                    <a:gd name="connsiteY124" fmla="*/ 926282 h 1879698"/>
                    <a:gd name="connsiteX125" fmla="*/ 296726 w 2167046"/>
                    <a:gd name="connsiteY125" fmla="*/ 899454 h 1879698"/>
                    <a:gd name="connsiteX126" fmla="*/ 296726 w 2167046"/>
                    <a:gd name="connsiteY126" fmla="*/ 899454 h 1879698"/>
                    <a:gd name="connsiteX127" fmla="*/ 300558 w 2167046"/>
                    <a:gd name="connsiteY127" fmla="*/ 884628 h 1879698"/>
                    <a:gd name="connsiteX128" fmla="*/ 300558 w 2167046"/>
                    <a:gd name="connsiteY128" fmla="*/ 884628 h 1879698"/>
                    <a:gd name="connsiteX129" fmla="*/ 281193 w 2167046"/>
                    <a:gd name="connsiteY129" fmla="*/ 842873 h 1879698"/>
                    <a:gd name="connsiteX130" fmla="*/ 281193 w 2167046"/>
                    <a:gd name="connsiteY130" fmla="*/ 842873 h 1879698"/>
                    <a:gd name="connsiteX131" fmla="*/ 252348 w 2167046"/>
                    <a:gd name="connsiteY131" fmla="*/ 771162 h 1879698"/>
                    <a:gd name="connsiteX132" fmla="*/ 252348 w 2167046"/>
                    <a:gd name="connsiteY132" fmla="*/ 771162 h 1879698"/>
                    <a:gd name="connsiteX133" fmla="*/ 249625 w 2167046"/>
                    <a:gd name="connsiteY133" fmla="*/ 769245 h 1879698"/>
                    <a:gd name="connsiteX134" fmla="*/ 249625 w 2167046"/>
                    <a:gd name="connsiteY134" fmla="*/ 769245 h 1879698"/>
                    <a:gd name="connsiteX135" fmla="*/ 250734 w 2167046"/>
                    <a:gd name="connsiteY135" fmla="*/ 766119 h 1879698"/>
                    <a:gd name="connsiteX136" fmla="*/ 250734 w 2167046"/>
                    <a:gd name="connsiteY136" fmla="*/ 766119 h 1879698"/>
                    <a:gd name="connsiteX137" fmla="*/ 256786 w 2167046"/>
                    <a:gd name="connsiteY137" fmla="*/ 762186 h 1879698"/>
                    <a:gd name="connsiteX138" fmla="*/ 256786 w 2167046"/>
                    <a:gd name="connsiteY138" fmla="*/ 762186 h 1879698"/>
                    <a:gd name="connsiteX139" fmla="*/ 306408 w 2167046"/>
                    <a:gd name="connsiteY139" fmla="*/ 736466 h 1879698"/>
                    <a:gd name="connsiteX140" fmla="*/ 306408 w 2167046"/>
                    <a:gd name="connsiteY140" fmla="*/ 736466 h 1879698"/>
                    <a:gd name="connsiteX141" fmla="*/ 342314 w 2167046"/>
                    <a:gd name="connsiteY141" fmla="*/ 755933 h 1879698"/>
                    <a:gd name="connsiteX142" fmla="*/ 342314 w 2167046"/>
                    <a:gd name="connsiteY142" fmla="*/ 755933 h 1879698"/>
                    <a:gd name="connsiteX143" fmla="*/ 398694 w 2167046"/>
                    <a:gd name="connsiteY143" fmla="*/ 797082 h 1879698"/>
                    <a:gd name="connsiteX144" fmla="*/ 398694 w 2167046"/>
                    <a:gd name="connsiteY144" fmla="*/ 797082 h 1879698"/>
                    <a:gd name="connsiteX145" fmla="*/ 534449 w 2167046"/>
                    <a:gd name="connsiteY145" fmla="*/ 758252 h 1879698"/>
                    <a:gd name="connsiteX146" fmla="*/ 534449 w 2167046"/>
                    <a:gd name="connsiteY146" fmla="*/ 758252 h 1879698"/>
                    <a:gd name="connsiteX147" fmla="*/ 550688 w 2167046"/>
                    <a:gd name="connsiteY147" fmla="*/ 755933 h 1879698"/>
                    <a:gd name="connsiteX148" fmla="*/ 550688 w 2167046"/>
                    <a:gd name="connsiteY148" fmla="*/ 755933 h 1879698"/>
                    <a:gd name="connsiteX149" fmla="*/ 580945 w 2167046"/>
                    <a:gd name="connsiteY149" fmla="*/ 786089 h 1879698"/>
                    <a:gd name="connsiteX150" fmla="*/ 580945 w 2167046"/>
                    <a:gd name="connsiteY150" fmla="*/ 786089 h 1879698"/>
                    <a:gd name="connsiteX151" fmla="*/ 580340 w 2167046"/>
                    <a:gd name="connsiteY151" fmla="*/ 794158 h 1879698"/>
                    <a:gd name="connsiteX152" fmla="*/ 580340 w 2167046"/>
                    <a:gd name="connsiteY152" fmla="*/ 794158 h 1879698"/>
                    <a:gd name="connsiteX153" fmla="*/ 579231 w 2167046"/>
                    <a:gd name="connsiteY153" fmla="*/ 801621 h 1879698"/>
                    <a:gd name="connsiteX154" fmla="*/ 579231 w 2167046"/>
                    <a:gd name="connsiteY154" fmla="*/ 801621 h 1879698"/>
                    <a:gd name="connsiteX155" fmla="*/ 598696 w 2167046"/>
                    <a:gd name="connsiteY155" fmla="*/ 815036 h 1879698"/>
                    <a:gd name="connsiteX156" fmla="*/ 598696 w 2167046"/>
                    <a:gd name="connsiteY156" fmla="*/ 815036 h 1879698"/>
                    <a:gd name="connsiteX157" fmla="*/ 616145 w 2167046"/>
                    <a:gd name="connsiteY157" fmla="*/ 813421 h 1879698"/>
                    <a:gd name="connsiteX158" fmla="*/ 616145 w 2167046"/>
                    <a:gd name="connsiteY158" fmla="*/ 813421 h 1879698"/>
                    <a:gd name="connsiteX159" fmla="*/ 639141 w 2167046"/>
                    <a:gd name="connsiteY159" fmla="*/ 811606 h 1879698"/>
                    <a:gd name="connsiteX160" fmla="*/ 639141 w 2167046"/>
                    <a:gd name="connsiteY160" fmla="*/ 811606 h 1879698"/>
                    <a:gd name="connsiteX161" fmla="*/ 717003 w 2167046"/>
                    <a:gd name="connsiteY161" fmla="*/ 839040 h 1879698"/>
                    <a:gd name="connsiteX162" fmla="*/ 717003 w 2167046"/>
                    <a:gd name="connsiteY162" fmla="*/ 839040 h 1879698"/>
                    <a:gd name="connsiteX163" fmla="*/ 761885 w 2167046"/>
                    <a:gd name="connsiteY163" fmla="*/ 898042 h 1879698"/>
                    <a:gd name="connsiteX164" fmla="*/ 761885 w 2167046"/>
                    <a:gd name="connsiteY164" fmla="*/ 898042 h 1879698"/>
                    <a:gd name="connsiteX165" fmla="*/ 765920 w 2167046"/>
                    <a:gd name="connsiteY165" fmla="*/ 897941 h 1879698"/>
                    <a:gd name="connsiteX166" fmla="*/ 765920 w 2167046"/>
                    <a:gd name="connsiteY166" fmla="*/ 897941 h 1879698"/>
                    <a:gd name="connsiteX167" fmla="*/ 850742 w 2167046"/>
                    <a:gd name="connsiteY167" fmla="*/ 842671 h 1879698"/>
                    <a:gd name="connsiteX168" fmla="*/ 850742 w 2167046"/>
                    <a:gd name="connsiteY168" fmla="*/ 842671 h 1879698"/>
                    <a:gd name="connsiteX169" fmla="*/ 892094 w 2167046"/>
                    <a:gd name="connsiteY169" fmla="*/ 850235 h 1879698"/>
                    <a:gd name="connsiteX170" fmla="*/ 892094 w 2167046"/>
                    <a:gd name="connsiteY170" fmla="*/ 850235 h 1879698"/>
                    <a:gd name="connsiteX171" fmla="*/ 900868 w 2167046"/>
                    <a:gd name="connsiteY171" fmla="*/ 833997 h 1879698"/>
                    <a:gd name="connsiteX172" fmla="*/ 900868 w 2167046"/>
                    <a:gd name="connsiteY172" fmla="*/ 833997 h 1879698"/>
                    <a:gd name="connsiteX173" fmla="*/ 899860 w 2167046"/>
                    <a:gd name="connsiteY173" fmla="*/ 819675 h 1879698"/>
                    <a:gd name="connsiteX174" fmla="*/ 899860 w 2167046"/>
                    <a:gd name="connsiteY174" fmla="*/ 819675 h 1879698"/>
                    <a:gd name="connsiteX175" fmla="*/ 840152 w 2167046"/>
                    <a:gd name="connsiteY175" fmla="*/ 721338 h 1879698"/>
                    <a:gd name="connsiteX176" fmla="*/ 840152 w 2167046"/>
                    <a:gd name="connsiteY176" fmla="*/ 721338 h 1879698"/>
                    <a:gd name="connsiteX177" fmla="*/ 748673 w 2167046"/>
                    <a:gd name="connsiteY177" fmla="*/ 661831 h 1879698"/>
                    <a:gd name="connsiteX178" fmla="*/ 748673 w 2167046"/>
                    <a:gd name="connsiteY178" fmla="*/ 661831 h 1879698"/>
                    <a:gd name="connsiteX179" fmla="*/ 750488 w 2167046"/>
                    <a:gd name="connsiteY179" fmla="*/ 652452 h 1879698"/>
                    <a:gd name="connsiteX180" fmla="*/ 750488 w 2167046"/>
                    <a:gd name="connsiteY180" fmla="*/ 652452 h 1879698"/>
                    <a:gd name="connsiteX181" fmla="*/ 774896 w 2167046"/>
                    <a:gd name="connsiteY181" fmla="*/ 573076 h 1879698"/>
                    <a:gd name="connsiteX182" fmla="*/ 774896 w 2167046"/>
                    <a:gd name="connsiteY182" fmla="*/ 573076 h 1879698"/>
                    <a:gd name="connsiteX183" fmla="*/ 786797 w 2167046"/>
                    <a:gd name="connsiteY183" fmla="*/ 576303 h 1879698"/>
                    <a:gd name="connsiteX184" fmla="*/ 786797 w 2167046"/>
                    <a:gd name="connsiteY184" fmla="*/ 576303 h 1879698"/>
                    <a:gd name="connsiteX185" fmla="*/ 835714 w 2167046"/>
                    <a:gd name="connsiteY185" fmla="*/ 591936 h 1879698"/>
                    <a:gd name="connsiteX186" fmla="*/ 835714 w 2167046"/>
                    <a:gd name="connsiteY186" fmla="*/ 591936 h 1879698"/>
                    <a:gd name="connsiteX187" fmla="*/ 857903 w 2167046"/>
                    <a:gd name="connsiteY187" fmla="*/ 577614 h 1879698"/>
                    <a:gd name="connsiteX188" fmla="*/ 857903 w 2167046"/>
                    <a:gd name="connsiteY188" fmla="*/ 577614 h 1879698"/>
                    <a:gd name="connsiteX189" fmla="*/ 859920 w 2167046"/>
                    <a:gd name="connsiteY189" fmla="*/ 568839 h 1879698"/>
                    <a:gd name="connsiteX190" fmla="*/ 859920 w 2167046"/>
                    <a:gd name="connsiteY190" fmla="*/ 568839 h 1879698"/>
                    <a:gd name="connsiteX191" fmla="*/ 844287 w 2167046"/>
                    <a:gd name="connsiteY191" fmla="*/ 519015 h 1879698"/>
                    <a:gd name="connsiteX192" fmla="*/ 844287 w 2167046"/>
                    <a:gd name="connsiteY192" fmla="*/ 519015 h 1879698"/>
                    <a:gd name="connsiteX193" fmla="*/ 854877 w 2167046"/>
                    <a:gd name="connsiteY193" fmla="*/ 489464 h 1879698"/>
                    <a:gd name="connsiteX194" fmla="*/ 854877 w 2167046"/>
                    <a:gd name="connsiteY194" fmla="*/ 489464 h 1879698"/>
                    <a:gd name="connsiteX195" fmla="*/ 913576 w 2167046"/>
                    <a:gd name="connsiteY195" fmla="*/ 439640 h 1879698"/>
                    <a:gd name="connsiteX196" fmla="*/ 913576 w 2167046"/>
                    <a:gd name="connsiteY196" fmla="*/ 439640 h 1879698"/>
                    <a:gd name="connsiteX197" fmla="*/ 929714 w 2167046"/>
                    <a:gd name="connsiteY197" fmla="*/ 442867 h 1879698"/>
                    <a:gd name="connsiteX198" fmla="*/ 929714 w 2167046"/>
                    <a:gd name="connsiteY198" fmla="*/ 442867 h 1879698"/>
                    <a:gd name="connsiteX199" fmla="*/ 949281 w 2167046"/>
                    <a:gd name="connsiteY199" fmla="*/ 448011 h 1879698"/>
                    <a:gd name="connsiteX200" fmla="*/ 949281 w 2167046"/>
                    <a:gd name="connsiteY200" fmla="*/ 448011 h 1879698"/>
                    <a:gd name="connsiteX201" fmla="*/ 975000 w 2167046"/>
                    <a:gd name="connsiteY201" fmla="*/ 415232 h 1879698"/>
                    <a:gd name="connsiteX202" fmla="*/ 975000 w 2167046"/>
                    <a:gd name="connsiteY202" fmla="*/ 415232 h 1879698"/>
                    <a:gd name="connsiteX203" fmla="*/ 979336 w 2167046"/>
                    <a:gd name="connsiteY203" fmla="*/ 392337 h 1879698"/>
                    <a:gd name="connsiteX204" fmla="*/ 979336 w 2167046"/>
                    <a:gd name="connsiteY204" fmla="*/ 392337 h 1879698"/>
                    <a:gd name="connsiteX205" fmla="*/ 977521 w 2167046"/>
                    <a:gd name="connsiteY205" fmla="*/ 367526 h 1879698"/>
                    <a:gd name="connsiteX206" fmla="*/ 977521 w 2167046"/>
                    <a:gd name="connsiteY206" fmla="*/ 367526 h 1879698"/>
                    <a:gd name="connsiteX207" fmla="*/ 1009392 w 2167046"/>
                    <a:gd name="connsiteY207" fmla="*/ 338781 h 1879698"/>
                    <a:gd name="connsiteX208" fmla="*/ 1009392 w 2167046"/>
                    <a:gd name="connsiteY208" fmla="*/ 338781 h 1879698"/>
                    <a:gd name="connsiteX209" fmla="*/ 1125178 w 2167046"/>
                    <a:gd name="connsiteY209" fmla="*/ 261423 h 1879698"/>
                    <a:gd name="connsiteX210" fmla="*/ 1125178 w 2167046"/>
                    <a:gd name="connsiteY210" fmla="*/ 261423 h 1879698"/>
                    <a:gd name="connsiteX211" fmla="*/ 1166227 w 2167046"/>
                    <a:gd name="connsiteY211" fmla="*/ 250026 h 1879698"/>
                    <a:gd name="connsiteX212" fmla="*/ 1166227 w 2167046"/>
                    <a:gd name="connsiteY212" fmla="*/ 250026 h 1879698"/>
                    <a:gd name="connsiteX213" fmla="*/ 1225331 w 2167046"/>
                    <a:gd name="connsiteY213" fmla="*/ 253455 h 1879698"/>
                    <a:gd name="connsiteX214" fmla="*/ 1225331 w 2167046"/>
                    <a:gd name="connsiteY214" fmla="*/ 253455 h 1879698"/>
                    <a:gd name="connsiteX215" fmla="*/ 1246511 w 2167046"/>
                    <a:gd name="connsiteY215" fmla="*/ 251035 h 1879698"/>
                    <a:gd name="connsiteX216" fmla="*/ 1246511 w 2167046"/>
                    <a:gd name="connsiteY216" fmla="*/ 251035 h 1879698"/>
                    <a:gd name="connsiteX217" fmla="*/ 1291796 w 2167046"/>
                    <a:gd name="connsiteY217" fmla="*/ 179728 h 1879698"/>
                    <a:gd name="connsiteX218" fmla="*/ 1291796 w 2167046"/>
                    <a:gd name="connsiteY218" fmla="*/ 179728 h 1879698"/>
                    <a:gd name="connsiteX219" fmla="*/ 1287056 w 2167046"/>
                    <a:gd name="connsiteY219" fmla="*/ 150478 h 1879698"/>
                    <a:gd name="connsiteX220" fmla="*/ 1287056 w 2167046"/>
                    <a:gd name="connsiteY220" fmla="*/ 150478 h 1879698"/>
                    <a:gd name="connsiteX221" fmla="*/ 1232592 w 2167046"/>
                    <a:gd name="connsiteY221" fmla="*/ 109833 h 1879698"/>
                    <a:gd name="connsiteX222" fmla="*/ 1232592 w 2167046"/>
                    <a:gd name="connsiteY222" fmla="*/ 109833 h 1879698"/>
                    <a:gd name="connsiteX223" fmla="*/ 1221296 w 2167046"/>
                    <a:gd name="connsiteY223" fmla="*/ 110135 h 1879698"/>
                    <a:gd name="connsiteX224" fmla="*/ 1221296 w 2167046"/>
                    <a:gd name="connsiteY224" fmla="*/ 110135 h 1879698"/>
                    <a:gd name="connsiteX225" fmla="*/ 1196485 w 2167046"/>
                    <a:gd name="connsiteY225" fmla="*/ 73826 h 1879698"/>
                    <a:gd name="connsiteX226" fmla="*/ 1196485 w 2167046"/>
                    <a:gd name="connsiteY226" fmla="*/ 73826 h 1879698"/>
                    <a:gd name="connsiteX227" fmla="*/ 1219683 w 2167046"/>
                    <a:gd name="connsiteY227" fmla="*/ 33684 h 1879698"/>
                    <a:gd name="connsiteX228" fmla="*/ 1219683 w 2167046"/>
                    <a:gd name="connsiteY228" fmla="*/ 33684 h 1879698"/>
                    <a:gd name="connsiteX229" fmla="*/ 1267388 w 2167046"/>
                    <a:gd name="connsiteY229" fmla="*/ 9780 h 1879698"/>
                    <a:gd name="connsiteX230" fmla="*/ 1267388 w 2167046"/>
                    <a:gd name="connsiteY230" fmla="*/ 9780 h 1879698"/>
                    <a:gd name="connsiteX231" fmla="*/ 1291695 w 2167046"/>
                    <a:gd name="connsiteY231" fmla="*/ 24405 h 1879698"/>
                    <a:gd name="connsiteX232" fmla="*/ 1291695 w 2167046"/>
                    <a:gd name="connsiteY232" fmla="*/ 24405 h 1879698"/>
                    <a:gd name="connsiteX233" fmla="*/ 1343133 w 2167046"/>
                    <a:gd name="connsiteY233" fmla="*/ 69590 h 1879698"/>
                    <a:gd name="connsiteX234" fmla="*/ 1343133 w 2167046"/>
                    <a:gd name="connsiteY234" fmla="*/ 69590 h 1879698"/>
                    <a:gd name="connsiteX235" fmla="*/ 1351000 w 2167046"/>
                    <a:gd name="connsiteY235" fmla="*/ 68984 h 1879698"/>
                    <a:gd name="connsiteX236" fmla="*/ 1351000 w 2167046"/>
                    <a:gd name="connsiteY236" fmla="*/ 68984 h 1879698"/>
                    <a:gd name="connsiteX237" fmla="*/ 1436831 w 2167046"/>
                    <a:gd name="connsiteY237" fmla="*/ 5141 h 1879698"/>
                    <a:gd name="connsiteX238" fmla="*/ 1436831 w 2167046"/>
                    <a:gd name="connsiteY238" fmla="*/ 5141 h 1879698"/>
                    <a:gd name="connsiteX239" fmla="*/ 1439453 w 2167046"/>
                    <a:gd name="connsiteY239" fmla="*/ 1208 h 1879698"/>
                    <a:gd name="connsiteX240" fmla="*/ 1439453 w 2167046"/>
                    <a:gd name="connsiteY240" fmla="*/ 1208 h 1879698"/>
                    <a:gd name="connsiteX241" fmla="*/ 1442479 w 2167046"/>
                    <a:gd name="connsiteY241" fmla="*/ 98 h 1879698"/>
                    <a:gd name="connsiteX242" fmla="*/ 1442479 w 2167046"/>
                    <a:gd name="connsiteY242" fmla="*/ 98 h 1879698"/>
                    <a:gd name="connsiteX243" fmla="*/ 1444496 w 2167046"/>
                    <a:gd name="connsiteY243" fmla="*/ 2720 h 1879698"/>
                    <a:gd name="connsiteX244" fmla="*/ 1444496 w 2167046"/>
                    <a:gd name="connsiteY244" fmla="*/ 2720 h 1879698"/>
                    <a:gd name="connsiteX245" fmla="*/ 1486655 w 2167046"/>
                    <a:gd name="connsiteY245" fmla="*/ 72212 h 1879698"/>
                    <a:gd name="connsiteX246" fmla="*/ 1486655 w 2167046"/>
                    <a:gd name="connsiteY246" fmla="*/ 72212 h 1879698"/>
                    <a:gd name="connsiteX247" fmla="*/ 1493816 w 2167046"/>
                    <a:gd name="connsiteY247" fmla="*/ 72212 h 1879698"/>
                    <a:gd name="connsiteX248" fmla="*/ 1493816 w 2167046"/>
                    <a:gd name="connsiteY248" fmla="*/ 72212 h 1879698"/>
                    <a:gd name="connsiteX249" fmla="*/ 1517921 w 2167046"/>
                    <a:gd name="connsiteY249" fmla="*/ 109429 h 1879698"/>
                    <a:gd name="connsiteX250" fmla="*/ 1517921 w 2167046"/>
                    <a:gd name="connsiteY250" fmla="*/ 109429 h 1879698"/>
                    <a:gd name="connsiteX251" fmla="*/ 1514795 w 2167046"/>
                    <a:gd name="connsiteY251" fmla="*/ 131013 h 1879698"/>
                    <a:gd name="connsiteX252" fmla="*/ 1514795 w 2167046"/>
                    <a:gd name="connsiteY252" fmla="*/ 131013 h 1879698"/>
                    <a:gd name="connsiteX253" fmla="*/ 1510659 w 2167046"/>
                    <a:gd name="connsiteY253" fmla="*/ 156530 h 1879698"/>
                    <a:gd name="connsiteX254" fmla="*/ 1510659 w 2167046"/>
                    <a:gd name="connsiteY254" fmla="*/ 156530 h 1879698"/>
                    <a:gd name="connsiteX255" fmla="*/ 1526393 w 2167046"/>
                    <a:gd name="connsiteY255" fmla="*/ 187998 h 1879698"/>
                    <a:gd name="connsiteX256" fmla="*/ 1526393 w 2167046"/>
                    <a:gd name="connsiteY256" fmla="*/ 187998 h 1879698"/>
                    <a:gd name="connsiteX257" fmla="*/ 1585194 w 2167046"/>
                    <a:gd name="connsiteY257" fmla="*/ 220373 h 1879698"/>
                    <a:gd name="connsiteX258" fmla="*/ 1585194 w 2167046"/>
                    <a:gd name="connsiteY258" fmla="*/ 220373 h 1879698"/>
                    <a:gd name="connsiteX259" fmla="*/ 1604660 w 2167046"/>
                    <a:gd name="connsiteY259" fmla="*/ 228341 h 1879698"/>
                    <a:gd name="connsiteX260" fmla="*/ 1604660 w 2167046"/>
                    <a:gd name="connsiteY260" fmla="*/ 228341 h 1879698"/>
                    <a:gd name="connsiteX261" fmla="*/ 1647020 w 2167046"/>
                    <a:gd name="connsiteY261" fmla="*/ 212204 h 1879698"/>
                    <a:gd name="connsiteX262" fmla="*/ 1647020 w 2167046"/>
                    <a:gd name="connsiteY262" fmla="*/ 212204 h 1879698"/>
                    <a:gd name="connsiteX263" fmla="*/ 1667091 w 2167046"/>
                    <a:gd name="connsiteY263" fmla="*/ 207867 h 1879698"/>
                    <a:gd name="connsiteX264" fmla="*/ 1667091 w 2167046"/>
                    <a:gd name="connsiteY264" fmla="*/ 207867 h 1879698"/>
                    <a:gd name="connsiteX265" fmla="*/ 1713486 w 2167046"/>
                    <a:gd name="connsiteY265" fmla="*/ 236511 h 1879698"/>
                    <a:gd name="connsiteX266" fmla="*/ 1713486 w 2167046"/>
                    <a:gd name="connsiteY266" fmla="*/ 236511 h 1879698"/>
                    <a:gd name="connsiteX267" fmla="*/ 1706325 w 2167046"/>
                    <a:gd name="connsiteY267" fmla="*/ 257792 h 1879698"/>
                    <a:gd name="connsiteX268" fmla="*/ 1706325 w 2167046"/>
                    <a:gd name="connsiteY268" fmla="*/ 257792 h 1879698"/>
                    <a:gd name="connsiteX269" fmla="*/ 1697147 w 2167046"/>
                    <a:gd name="connsiteY269" fmla="*/ 284015 h 1879698"/>
                    <a:gd name="connsiteX270" fmla="*/ 1697147 w 2167046"/>
                    <a:gd name="connsiteY270" fmla="*/ 284015 h 1879698"/>
                    <a:gd name="connsiteX271" fmla="*/ 1737692 w 2167046"/>
                    <a:gd name="connsiteY271" fmla="*/ 333335 h 1879698"/>
                    <a:gd name="connsiteX272" fmla="*/ 1737692 w 2167046"/>
                    <a:gd name="connsiteY272" fmla="*/ 333335 h 1879698"/>
                    <a:gd name="connsiteX273" fmla="*/ 1742937 w 2167046"/>
                    <a:gd name="connsiteY273" fmla="*/ 347253 h 1879698"/>
                    <a:gd name="connsiteX274" fmla="*/ 1742937 w 2167046"/>
                    <a:gd name="connsiteY274" fmla="*/ 347253 h 1879698"/>
                    <a:gd name="connsiteX275" fmla="*/ 1716713 w 2167046"/>
                    <a:gd name="connsiteY275" fmla="*/ 367324 h 1879698"/>
                    <a:gd name="connsiteX276" fmla="*/ 1716713 w 2167046"/>
                    <a:gd name="connsiteY276" fmla="*/ 367324 h 1879698"/>
                    <a:gd name="connsiteX277" fmla="*/ 1700172 w 2167046"/>
                    <a:gd name="connsiteY277" fmla="*/ 363794 h 1879698"/>
                    <a:gd name="connsiteX278" fmla="*/ 1700172 w 2167046"/>
                    <a:gd name="connsiteY278" fmla="*/ 363794 h 1879698"/>
                    <a:gd name="connsiteX279" fmla="*/ 1690894 w 2167046"/>
                    <a:gd name="connsiteY279" fmla="*/ 361777 h 1879698"/>
                    <a:gd name="connsiteX280" fmla="*/ 1690894 w 2167046"/>
                    <a:gd name="connsiteY280" fmla="*/ 361777 h 1879698"/>
                    <a:gd name="connsiteX281" fmla="*/ 1659224 w 2167046"/>
                    <a:gd name="connsiteY281" fmla="*/ 411601 h 1879698"/>
                    <a:gd name="connsiteX282" fmla="*/ 1659224 w 2167046"/>
                    <a:gd name="connsiteY282" fmla="*/ 411601 h 1879698"/>
                    <a:gd name="connsiteX283" fmla="*/ 1629067 w 2167046"/>
                    <a:gd name="connsiteY283" fmla="*/ 482101 h 1879698"/>
                    <a:gd name="connsiteX284" fmla="*/ 1629067 w 2167046"/>
                    <a:gd name="connsiteY284" fmla="*/ 482101 h 1879698"/>
                    <a:gd name="connsiteX285" fmla="*/ 1607988 w 2167046"/>
                    <a:gd name="connsiteY285" fmla="*/ 517805 h 1879698"/>
                    <a:gd name="connsiteX286" fmla="*/ 1607988 w 2167046"/>
                    <a:gd name="connsiteY286" fmla="*/ 517805 h 1879698"/>
                    <a:gd name="connsiteX287" fmla="*/ 1620999 w 2167046"/>
                    <a:gd name="connsiteY287" fmla="*/ 537674 h 1879698"/>
                    <a:gd name="connsiteX288" fmla="*/ 1620999 w 2167046"/>
                    <a:gd name="connsiteY288" fmla="*/ 537674 h 1879698"/>
                    <a:gd name="connsiteX289" fmla="*/ 1647625 w 2167046"/>
                    <a:gd name="connsiteY289" fmla="*/ 568335 h 1879698"/>
                    <a:gd name="connsiteX290" fmla="*/ 1647625 w 2167046"/>
                    <a:gd name="connsiteY290" fmla="*/ 568335 h 1879698"/>
                    <a:gd name="connsiteX291" fmla="*/ 1646011 w 2167046"/>
                    <a:gd name="connsiteY291" fmla="*/ 582557 h 1879698"/>
                    <a:gd name="connsiteX292" fmla="*/ 1646011 w 2167046"/>
                    <a:gd name="connsiteY292" fmla="*/ 582557 h 1879698"/>
                    <a:gd name="connsiteX293" fmla="*/ 1642381 w 2167046"/>
                    <a:gd name="connsiteY293" fmla="*/ 609788 h 1879698"/>
                    <a:gd name="connsiteX294" fmla="*/ 1642381 w 2167046"/>
                    <a:gd name="connsiteY294" fmla="*/ 609788 h 1879698"/>
                    <a:gd name="connsiteX295" fmla="*/ 1677177 w 2167046"/>
                    <a:gd name="connsiteY295" fmla="*/ 712362 h 1879698"/>
                    <a:gd name="connsiteX296" fmla="*/ 1677177 w 2167046"/>
                    <a:gd name="connsiteY296" fmla="*/ 712362 h 1879698"/>
                    <a:gd name="connsiteX297" fmla="*/ 1764117 w 2167046"/>
                    <a:gd name="connsiteY297" fmla="*/ 772776 h 1879698"/>
                    <a:gd name="connsiteX298" fmla="*/ 1764117 w 2167046"/>
                    <a:gd name="connsiteY298" fmla="*/ 772776 h 1879698"/>
                    <a:gd name="connsiteX299" fmla="*/ 1798005 w 2167046"/>
                    <a:gd name="connsiteY299" fmla="*/ 771767 h 1879698"/>
                    <a:gd name="connsiteX300" fmla="*/ 1798005 w 2167046"/>
                    <a:gd name="connsiteY300" fmla="*/ 771767 h 1879698"/>
                    <a:gd name="connsiteX301" fmla="*/ 1819992 w 2167046"/>
                    <a:gd name="connsiteY301" fmla="*/ 773986 h 1879698"/>
                    <a:gd name="connsiteX302" fmla="*/ 1819992 w 2167046"/>
                    <a:gd name="connsiteY302" fmla="*/ 773986 h 1879698"/>
                    <a:gd name="connsiteX303" fmla="*/ 1959278 w 2167046"/>
                    <a:gd name="connsiteY303" fmla="*/ 847714 h 1879698"/>
                    <a:gd name="connsiteX304" fmla="*/ 1959278 w 2167046"/>
                    <a:gd name="connsiteY304" fmla="*/ 847714 h 1879698"/>
                    <a:gd name="connsiteX305" fmla="*/ 1969163 w 2167046"/>
                    <a:gd name="connsiteY305" fmla="*/ 849227 h 1879698"/>
                    <a:gd name="connsiteX306" fmla="*/ 1969163 w 2167046"/>
                    <a:gd name="connsiteY306" fmla="*/ 849227 h 1879698"/>
                    <a:gd name="connsiteX307" fmla="*/ 2026954 w 2167046"/>
                    <a:gd name="connsiteY307" fmla="*/ 816044 h 1879698"/>
                    <a:gd name="connsiteX308" fmla="*/ 2026954 w 2167046"/>
                    <a:gd name="connsiteY308" fmla="*/ 816044 h 1879698"/>
                    <a:gd name="connsiteX309" fmla="*/ 2088075 w 2167046"/>
                    <a:gd name="connsiteY309" fmla="*/ 793250 h 1879698"/>
                    <a:gd name="connsiteX310" fmla="*/ 2088075 w 2167046"/>
                    <a:gd name="connsiteY310" fmla="*/ 793250 h 1879698"/>
                    <a:gd name="connsiteX311" fmla="*/ 2112382 w 2167046"/>
                    <a:gd name="connsiteY311" fmla="*/ 781248 h 1879698"/>
                    <a:gd name="connsiteX312" fmla="*/ 2112382 w 2167046"/>
                    <a:gd name="connsiteY312" fmla="*/ 781248 h 1879698"/>
                    <a:gd name="connsiteX313" fmla="*/ 2132251 w 2167046"/>
                    <a:gd name="connsiteY313" fmla="*/ 802730 h 1879698"/>
                    <a:gd name="connsiteX314" fmla="*/ 2132251 w 2167046"/>
                    <a:gd name="connsiteY314" fmla="*/ 802730 h 1879698"/>
                    <a:gd name="connsiteX315" fmla="*/ 2159785 w 2167046"/>
                    <a:gd name="connsiteY315" fmla="*/ 837527 h 1879698"/>
                    <a:gd name="connsiteX316" fmla="*/ 2159785 w 2167046"/>
                    <a:gd name="connsiteY316" fmla="*/ 837527 h 1879698"/>
                    <a:gd name="connsiteX317" fmla="*/ 2158272 w 2167046"/>
                    <a:gd name="connsiteY317" fmla="*/ 839846 h 1879698"/>
                    <a:gd name="connsiteX318" fmla="*/ 2156759 w 2167046"/>
                    <a:gd name="connsiteY318" fmla="*/ 842167 h 1879698"/>
                    <a:gd name="connsiteX319" fmla="*/ 2126603 w 2167046"/>
                    <a:gd name="connsiteY319" fmla="*/ 803437 h 1879698"/>
                    <a:gd name="connsiteX320" fmla="*/ 2126603 w 2167046"/>
                    <a:gd name="connsiteY320" fmla="*/ 803437 h 1879698"/>
                    <a:gd name="connsiteX321" fmla="*/ 2112281 w 2167046"/>
                    <a:gd name="connsiteY321" fmla="*/ 786997 h 1879698"/>
                    <a:gd name="connsiteX322" fmla="*/ 2112281 w 2167046"/>
                    <a:gd name="connsiteY322" fmla="*/ 786997 h 1879698"/>
                    <a:gd name="connsiteX323" fmla="*/ 2092008 w 2167046"/>
                    <a:gd name="connsiteY323" fmla="*/ 797284 h 1879698"/>
                    <a:gd name="connsiteX324" fmla="*/ 2092008 w 2167046"/>
                    <a:gd name="connsiteY324" fmla="*/ 797284 h 1879698"/>
                    <a:gd name="connsiteX325" fmla="*/ 2026954 w 2167046"/>
                    <a:gd name="connsiteY325" fmla="*/ 821793 h 1879698"/>
                    <a:gd name="connsiteX326" fmla="*/ 2026954 w 2167046"/>
                    <a:gd name="connsiteY326" fmla="*/ 821793 h 1879698"/>
                    <a:gd name="connsiteX327" fmla="*/ 1969163 w 2167046"/>
                    <a:gd name="connsiteY327" fmla="*/ 854975 h 1879698"/>
                    <a:gd name="connsiteX328" fmla="*/ 1969163 w 2167046"/>
                    <a:gd name="connsiteY328" fmla="*/ 854975 h 1879698"/>
                    <a:gd name="connsiteX329" fmla="*/ 1957665 w 2167046"/>
                    <a:gd name="connsiteY329" fmla="*/ 853261 h 1879698"/>
                    <a:gd name="connsiteX330" fmla="*/ 1957665 w 2167046"/>
                    <a:gd name="connsiteY330" fmla="*/ 853261 h 1879698"/>
                    <a:gd name="connsiteX331" fmla="*/ 1818681 w 2167046"/>
                    <a:gd name="connsiteY331" fmla="*/ 779634 h 1879698"/>
                    <a:gd name="connsiteX332" fmla="*/ 1818681 w 2167046"/>
                    <a:gd name="connsiteY332" fmla="*/ 779634 h 1879698"/>
                    <a:gd name="connsiteX333" fmla="*/ 1798005 w 2167046"/>
                    <a:gd name="connsiteY333" fmla="*/ 777718 h 1879698"/>
                    <a:gd name="connsiteX334" fmla="*/ 1798005 w 2167046"/>
                    <a:gd name="connsiteY334" fmla="*/ 777718 h 1879698"/>
                    <a:gd name="connsiteX335" fmla="*/ 1764117 w 2167046"/>
                    <a:gd name="connsiteY335" fmla="*/ 778726 h 1879698"/>
                    <a:gd name="connsiteX336" fmla="*/ 1764117 w 2167046"/>
                    <a:gd name="connsiteY336" fmla="*/ 778726 h 1879698"/>
                    <a:gd name="connsiteX337" fmla="*/ 1672436 w 2167046"/>
                    <a:gd name="connsiteY337" fmla="*/ 715185 h 1879698"/>
                    <a:gd name="connsiteX338" fmla="*/ 1672436 w 2167046"/>
                    <a:gd name="connsiteY338" fmla="*/ 715185 h 1879698"/>
                    <a:gd name="connsiteX339" fmla="*/ 1636733 w 2167046"/>
                    <a:gd name="connsiteY339" fmla="*/ 610091 h 1879698"/>
                    <a:gd name="connsiteX340" fmla="*/ 1636733 w 2167046"/>
                    <a:gd name="connsiteY340" fmla="*/ 610091 h 1879698"/>
                    <a:gd name="connsiteX341" fmla="*/ 1640464 w 2167046"/>
                    <a:gd name="connsiteY341" fmla="*/ 582153 h 1879698"/>
                    <a:gd name="connsiteX342" fmla="*/ 1640464 w 2167046"/>
                    <a:gd name="connsiteY342" fmla="*/ 582153 h 1879698"/>
                    <a:gd name="connsiteX343" fmla="*/ 1641977 w 2167046"/>
                    <a:gd name="connsiteY343" fmla="*/ 568638 h 1879698"/>
                    <a:gd name="connsiteX344" fmla="*/ 1641977 w 2167046"/>
                    <a:gd name="connsiteY344" fmla="*/ 568638 h 1879698"/>
                    <a:gd name="connsiteX345" fmla="*/ 1618477 w 2167046"/>
                    <a:gd name="connsiteY345" fmla="*/ 543020 h 1879698"/>
                    <a:gd name="connsiteX346" fmla="*/ 1618477 w 2167046"/>
                    <a:gd name="connsiteY346" fmla="*/ 543020 h 1879698"/>
                    <a:gd name="connsiteX347" fmla="*/ 1602642 w 2167046"/>
                    <a:gd name="connsiteY347" fmla="*/ 518209 h 1879698"/>
                    <a:gd name="connsiteX348" fmla="*/ 1602642 w 2167046"/>
                    <a:gd name="connsiteY348" fmla="*/ 518209 h 1879698"/>
                    <a:gd name="connsiteX349" fmla="*/ 1626042 w 2167046"/>
                    <a:gd name="connsiteY349" fmla="*/ 477865 h 1879698"/>
                    <a:gd name="connsiteX350" fmla="*/ 1626042 w 2167046"/>
                    <a:gd name="connsiteY350" fmla="*/ 477865 h 1879698"/>
                    <a:gd name="connsiteX351" fmla="*/ 1653778 w 2167046"/>
                    <a:gd name="connsiteY351" fmla="*/ 411601 h 1879698"/>
                    <a:gd name="connsiteX352" fmla="*/ 1653778 w 2167046"/>
                    <a:gd name="connsiteY352" fmla="*/ 411601 h 1879698"/>
                    <a:gd name="connsiteX353" fmla="*/ 1690894 w 2167046"/>
                    <a:gd name="connsiteY353" fmla="*/ 356633 h 1879698"/>
                    <a:gd name="connsiteX354" fmla="*/ 1690894 w 2167046"/>
                    <a:gd name="connsiteY354" fmla="*/ 356633 h 1879698"/>
                    <a:gd name="connsiteX355" fmla="*/ 1702291 w 2167046"/>
                    <a:gd name="connsiteY355" fmla="*/ 359155 h 1879698"/>
                    <a:gd name="connsiteX356" fmla="*/ 1702291 w 2167046"/>
                    <a:gd name="connsiteY356" fmla="*/ 359155 h 1879698"/>
                    <a:gd name="connsiteX357" fmla="*/ 1716612 w 2167046"/>
                    <a:gd name="connsiteY357" fmla="*/ 362180 h 1879698"/>
                    <a:gd name="connsiteX358" fmla="*/ 1716612 w 2167046"/>
                    <a:gd name="connsiteY358" fmla="*/ 362180 h 1879698"/>
                    <a:gd name="connsiteX359" fmla="*/ 1737188 w 2167046"/>
                    <a:gd name="connsiteY359" fmla="*/ 347657 h 1879698"/>
                    <a:gd name="connsiteX360" fmla="*/ 1737188 w 2167046"/>
                    <a:gd name="connsiteY360" fmla="*/ 347657 h 1879698"/>
                    <a:gd name="connsiteX361" fmla="*/ 1732951 w 2167046"/>
                    <a:gd name="connsiteY361" fmla="*/ 337067 h 1879698"/>
                    <a:gd name="connsiteX362" fmla="*/ 1732951 w 2167046"/>
                    <a:gd name="connsiteY362" fmla="*/ 337067 h 1879698"/>
                    <a:gd name="connsiteX363" fmla="*/ 1691297 w 2167046"/>
                    <a:gd name="connsiteY363" fmla="*/ 284419 h 1879698"/>
                    <a:gd name="connsiteX364" fmla="*/ 1691297 w 2167046"/>
                    <a:gd name="connsiteY364" fmla="*/ 284419 h 1879698"/>
                    <a:gd name="connsiteX365" fmla="*/ 1701282 w 2167046"/>
                    <a:gd name="connsiteY365" fmla="*/ 255170 h 1879698"/>
                    <a:gd name="connsiteX366" fmla="*/ 1701282 w 2167046"/>
                    <a:gd name="connsiteY366" fmla="*/ 255170 h 1879698"/>
                    <a:gd name="connsiteX367" fmla="*/ 1707434 w 2167046"/>
                    <a:gd name="connsiteY367" fmla="*/ 236914 h 1879698"/>
                    <a:gd name="connsiteX368" fmla="*/ 1707434 w 2167046"/>
                    <a:gd name="connsiteY368" fmla="*/ 236914 h 1879698"/>
                    <a:gd name="connsiteX369" fmla="*/ 1666688 w 2167046"/>
                    <a:gd name="connsiteY369" fmla="*/ 213818 h 1879698"/>
                    <a:gd name="connsiteX370" fmla="*/ 1666688 w 2167046"/>
                    <a:gd name="connsiteY370" fmla="*/ 213818 h 1879698"/>
                    <a:gd name="connsiteX371" fmla="*/ 1650046 w 2167046"/>
                    <a:gd name="connsiteY371" fmla="*/ 216944 h 1879698"/>
                    <a:gd name="connsiteX372" fmla="*/ 1650046 w 2167046"/>
                    <a:gd name="connsiteY372" fmla="*/ 216944 h 1879698"/>
                    <a:gd name="connsiteX373" fmla="*/ 1604256 w 2167046"/>
                    <a:gd name="connsiteY373" fmla="*/ 234292 h 1879698"/>
                    <a:gd name="connsiteX374" fmla="*/ 1604256 w 2167046"/>
                    <a:gd name="connsiteY374" fmla="*/ 234292 h 1879698"/>
                    <a:gd name="connsiteX375" fmla="*/ 1580655 w 2167046"/>
                    <a:gd name="connsiteY375" fmla="*/ 224408 h 1879698"/>
                    <a:gd name="connsiteX376" fmla="*/ 1580655 w 2167046"/>
                    <a:gd name="connsiteY376" fmla="*/ 224408 h 1879698"/>
                    <a:gd name="connsiteX377" fmla="*/ 1523872 w 2167046"/>
                    <a:gd name="connsiteY377" fmla="*/ 193444 h 1879698"/>
                    <a:gd name="connsiteX378" fmla="*/ 1523872 w 2167046"/>
                    <a:gd name="connsiteY378" fmla="*/ 193444 h 1879698"/>
                    <a:gd name="connsiteX379" fmla="*/ 1504809 w 2167046"/>
                    <a:gd name="connsiteY379" fmla="*/ 156933 h 1879698"/>
                    <a:gd name="connsiteX380" fmla="*/ 1504809 w 2167046"/>
                    <a:gd name="connsiteY380" fmla="*/ 156933 h 1879698"/>
                    <a:gd name="connsiteX381" fmla="*/ 1509146 w 2167046"/>
                    <a:gd name="connsiteY381" fmla="*/ 129701 h 1879698"/>
                    <a:gd name="connsiteX382" fmla="*/ 1509146 w 2167046"/>
                    <a:gd name="connsiteY382" fmla="*/ 129701 h 1879698"/>
                    <a:gd name="connsiteX383" fmla="*/ 1512071 w 2167046"/>
                    <a:gd name="connsiteY383" fmla="*/ 109833 h 1879698"/>
                    <a:gd name="connsiteX384" fmla="*/ 1512071 w 2167046"/>
                    <a:gd name="connsiteY384" fmla="*/ 109833 h 1879698"/>
                    <a:gd name="connsiteX385" fmla="*/ 1493513 w 2167046"/>
                    <a:gd name="connsiteY385" fmla="*/ 78163 h 1879698"/>
                    <a:gd name="connsiteX386" fmla="*/ 1493513 w 2167046"/>
                    <a:gd name="connsiteY386" fmla="*/ 78163 h 1879698"/>
                    <a:gd name="connsiteX387" fmla="*/ 1486353 w 2167046"/>
                    <a:gd name="connsiteY387" fmla="*/ 78163 h 1879698"/>
                    <a:gd name="connsiteX388" fmla="*/ 1486353 w 2167046"/>
                    <a:gd name="connsiteY388" fmla="*/ 78163 h 1879698"/>
                    <a:gd name="connsiteX389" fmla="*/ 1438848 w 2167046"/>
                    <a:gd name="connsiteY389" fmla="*/ 11798 h 1879698"/>
                    <a:gd name="connsiteX390" fmla="*/ 1438848 w 2167046"/>
                    <a:gd name="connsiteY390" fmla="*/ 11798 h 1879698"/>
                    <a:gd name="connsiteX391" fmla="*/ 1351505 w 2167046"/>
                    <a:gd name="connsiteY391" fmla="*/ 74834 h 1879698"/>
                    <a:gd name="connsiteX392" fmla="*/ 1351505 w 2167046"/>
                    <a:gd name="connsiteY392" fmla="*/ 74834 h 1879698"/>
                    <a:gd name="connsiteX393" fmla="*/ 1342730 w 2167046"/>
                    <a:gd name="connsiteY393" fmla="*/ 75540 h 1879698"/>
                    <a:gd name="connsiteX394" fmla="*/ 1342730 w 2167046"/>
                    <a:gd name="connsiteY394" fmla="*/ 75540 h 1879698"/>
                    <a:gd name="connsiteX395" fmla="*/ 1287056 w 2167046"/>
                    <a:gd name="connsiteY395" fmla="*/ 28238 h 1879698"/>
                    <a:gd name="connsiteX396" fmla="*/ 1287056 w 2167046"/>
                    <a:gd name="connsiteY396" fmla="*/ 28238 h 1879698"/>
                    <a:gd name="connsiteX397" fmla="*/ 1266985 w 2167046"/>
                    <a:gd name="connsiteY397" fmla="*/ 15731 h 1879698"/>
                    <a:gd name="connsiteX398" fmla="*/ 1266985 w 2167046"/>
                    <a:gd name="connsiteY398" fmla="*/ 15731 h 1879698"/>
                    <a:gd name="connsiteX399" fmla="*/ 1222607 w 2167046"/>
                    <a:gd name="connsiteY399" fmla="*/ 38425 h 1879698"/>
                    <a:gd name="connsiteX400" fmla="*/ 1222607 w 2167046"/>
                    <a:gd name="connsiteY400" fmla="*/ 38425 h 1879698"/>
                    <a:gd name="connsiteX401" fmla="*/ 1201729 w 2167046"/>
                    <a:gd name="connsiteY401" fmla="*/ 74229 h 1879698"/>
                    <a:gd name="connsiteX402" fmla="*/ 1201729 w 2167046"/>
                    <a:gd name="connsiteY402" fmla="*/ 74229 h 1879698"/>
                    <a:gd name="connsiteX403" fmla="*/ 1220893 w 2167046"/>
                    <a:gd name="connsiteY403" fmla="*/ 104991 h 1879698"/>
                    <a:gd name="connsiteX404" fmla="*/ 1220893 w 2167046"/>
                    <a:gd name="connsiteY404" fmla="*/ 104991 h 1879698"/>
                    <a:gd name="connsiteX405" fmla="*/ 1232189 w 2167046"/>
                    <a:gd name="connsiteY405" fmla="*/ 104588 h 1879698"/>
                    <a:gd name="connsiteX406" fmla="*/ 1232189 w 2167046"/>
                    <a:gd name="connsiteY406" fmla="*/ 104588 h 1879698"/>
                    <a:gd name="connsiteX407" fmla="*/ 1291897 w 2167046"/>
                    <a:gd name="connsiteY407" fmla="*/ 149167 h 1879698"/>
                    <a:gd name="connsiteX408" fmla="*/ 1291897 w 2167046"/>
                    <a:gd name="connsiteY408" fmla="*/ 149167 h 1879698"/>
                    <a:gd name="connsiteX409" fmla="*/ 1296940 w 2167046"/>
                    <a:gd name="connsiteY409" fmla="*/ 180131 h 1879698"/>
                    <a:gd name="connsiteX410" fmla="*/ 1296940 w 2167046"/>
                    <a:gd name="connsiteY410" fmla="*/ 180131 h 1879698"/>
                    <a:gd name="connsiteX411" fmla="*/ 1247721 w 2167046"/>
                    <a:gd name="connsiteY411" fmla="*/ 256884 h 1879698"/>
                    <a:gd name="connsiteX412" fmla="*/ 1247721 w 2167046"/>
                    <a:gd name="connsiteY412" fmla="*/ 256884 h 1879698"/>
                    <a:gd name="connsiteX413" fmla="*/ 1224927 w 2167046"/>
                    <a:gd name="connsiteY413" fmla="*/ 259405 h 1879698"/>
                    <a:gd name="connsiteX414" fmla="*/ 1224927 w 2167046"/>
                    <a:gd name="connsiteY414" fmla="*/ 259405 h 1879698"/>
                    <a:gd name="connsiteX415" fmla="*/ 1165824 w 2167046"/>
                    <a:gd name="connsiteY415" fmla="*/ 255977 h 1879698"/>
                    <a:gd name="connsiteX416" fmla="*/ 1165824 w 2167046"/>
                    <a:gd name="connsiteY416" fmla="*/ 255977 h 1879698"/>
                    <a:gd name="connsiteX417" fmla="*/ 1128506 w 2167046"/>
                    <a:gd name="connsiteY417" fmla="*/ 265961 h 1879698"/>
                    <a:gd name="connsiteX418" fmla="*/ 1128506 w 2167046"/>
                    <a:gd name="connsiteY418" fmla="*/ 265961 h 1879698"/>
                    <a:gd name="connsiteX419" fmla="*/ 1010401 w 2167046"/>
                    <a:gd name="connsiteY419" fmla="*/ 344530 h 1879698"/>
                    <a:gd name="connsiteX420" fmla="*/ 1010401 w 2167046"/>
                    <a:gd name="connsiteY420" fmla="*/ 344530 h 1879698"/>
                    <a:gd name="connsiteX421" fmla="*/ 982665 w 2167046"/>
                    <a:gd name="connsiteY421" fmla="*/ 367828 h 1879698"/>
                    <a:gd name="connsiteX422" fmla="*/ 982665 w 2167046"/>
                    <a:gd name="connsiteY422" fmla="*/ 367828 h 1879698"/>
                    <a:gd name="connsiteX423" fmla="*/ 984480 w 2167046"/>
                    <a:gd name="connsiteY423" fmla="*/ 392640 h 1879698"/>
                    <a:gd name="connsiteX424" fmla="*/ 984480 w 2167046"/>
                    <a:gd name="connsiteY424" fmla="*/ 392640 h 1879698"/>
                    <a:gd name="connsiteX425" fmla="*/ 979538 w 2167046"/>
                    <a:gd name="connsiteY425" fmla="*/ 417552 h 1879698"/>
                    <a:gd name="connsiteX426" fmla="*/ 979538 w 2167046"/>
                    <a:gd name="connsiteY426" fmla="*/ 417552 h 1879698"/>
                    <a:gd name="connsiteX427" fmla="*/ 948877 w 2167046"/>
                    <a:gd name="connsiteY427" fmla="*/ 453962 h 1879698"/>
                    <a:gd name="connsiteX428" fmla="*/ 948877 w 2167046"/>
                    <a:gd name="connsiteY428" fmla="*/ 453962 h 1879698"/>
                    <a:gd name="connsiteX429" fmla="*/ 927294 w 2167046"/>
                    <a:gd name="connsiteY429" fmla="*/ 448414 h 1879698"/>
                    <a:gd name="connsiteX430" fmla="*/ 927294 w 2167046"/>
                    <a:gd name="connsiteY430" fmla="*/ 448414 h 1879698"/>
                    <a:gd name="connsiteX431" fmla="*/ 913173 w 2167046"/>
                    <a:gd name="connsiteY431" fmla="*/ 445490 h 1879698"/>
                    <a:gd name="connsiteX432" fmla="*/ 913173 w 2167046"/>
                    <a:gd name="connsiteY432" fmla="*/ 445490 h 1879698"/>
                    <a:gd name="connsiteX433" fmla="*/ 859012 w 2167046"/>
                    <a:gd name="connsiteY433" fmla="*/ 492893 h 1879698"/>
                    <a:gd name="connsiteX434" fmla="*/ 859012 w 2167046"/>
                    <a:gd name="connsiteY434" fmla="*/ 492893 h 1879698"/>
                    <a:gd name="connsiteX435" fmla="*/ 849532 w 2167046"/>
                    <a:gd name="connsiteY435" fmla="*/ 519217 h 1879698"/>
                    <a:gd name="connsiteX436" fmla="*/ 849532 w 2167046"/>
                    <a:gd name="connsiteY436" fmla="*/ 519217 h 1879698"/>
                    <a:gd name="connsiteX437" fmla="*/ 865064 w 2167046"/>
                    <a:gd name="connsiteY437" fmla="*/ 569041 h 1879698"/>
                    <a:gd name="connsiteX438" fmla="*/ 865064 w 2167046"/>
                    <a:gd name="connsiteY438" fmla="*/ 569041 h 1879698"/>
                    <a:gd name="connsiteX439" fmla="*/ 862542 w 2167046"/>
                    <a:gd name="connsiteY439" fmla="*/ 580237 h 1879698"/>
                    <a:gd name="connsiteX440" fmla="*/ 862542 w 2167046"/>
                    <a:gd name="connsiteY440" fmla="*/ 580237 h 1879698"/>
                    <a:gd name="connsiteX441" fmla="*/ 835210 w 2167046"/>
                    <a:gd name="connsiteY441" fmla="*/ 597786 h 1879698"/>
                    <a:gd name="connsiteX442" fmla="*/ 835210 w 2167046"/>
                    <a:gd name="connsiteY442" fmla="*/ 597786 h 1879698"/>
                    <a:gd name="connsiteX443" fmla="*/ 783973 w 2167046"/>
                    <a:gd name="connsiteY443" fmla="*/ 581548 h 1879698"/>
                    <a:gd name="connsiteX444" fmla="*/ 783973 w 2167046"/>
                    <a:gd name="connsiteY444" fmla="*/ 581548 h 1879698"/>
                    <a:gd name="connsiteX445" fmla="*/ 774493 w 2167046"/>
                    <a:gd name="connsiteY445" fmla="*/ 578925 h 1879698"/>
                    <a:gd name="connsiteX446" fmla="*/ 774493 w 2167046"/>
                    <a:gd name="connsiteY446" fmla="*/ 578925 h 1879698"/>
                    <a:gd name="connsiteX447" fmla="*/ 755329 w 2167046"/>
                    <a:gd name="connsiteY447" fmla="*/ 654771 h 1879698"/>
                    <a:gd name="connsiteX448" fmla="*/ 755329 w 2167046"/>
                    <a:gd name="connsiteY448" fmla="*/ 654771 h 1879698"/>
                    <a:gd name="connsiteX449" fmla="*/ 753817 w 2167046"/>
                    <a:gd name="connsiteY449" fmla="*/ 662033 h 1879698"/>
                    <a:gd name="connsiteX450" fmla="*/ 753817 w 2167046"/>
                    <a:gd name="connsiteY450" fmla="*/ 662033 h 1879698"/>
                    <a:gd name="connsiteX451" fmla="*/ 841261 w 2167046"/>
                    <a:gd name="connsiteY451" fmla="*/ 716093 h 1879698"/>
                    <a:gd name="connsiteX452" fmla="*/ 841261 w 2167046"/>
                    <a:gd name="connsiteY452" fmla="*/ 716093 h 1879698"/>
                    <a:gd name="connsiteX453" fmla="*/ 905004 w 2167046"/>
                    <a:gd name="connsiteY453" fmla="*/ 819271 h 1879698"/>
                    <a:gd name="connsiteX454" fmla="*/ 905004 w 2167046"/>
                    <a:gd name="connsiteY454" fmla="*/ 819271 h 1879698"/>
                    <a:gd name="connsiteX455" fmla="*/ 906012 w 2167046"/>
                    <a:gd name="connsiteY455" fmla="*/ 834098 h 1879698"/>
                    <a:gd name="connsiteX456" fmla="*/ 906012 w 2167046"/>
                    <a:gd name="connsiteY456" fmla="*/ 834098 h 1879698"/>
                    <a:gd name="connsiteX457" fmla="*/ 891589 w 2167046"/>
                    <a:gd name="connsiteY457" fmla="*/ 855883 h 1879698"/>
                    <a:gd name="connsiteX458" fmla="*/ 891589 w 2167046"/>
                    <a:gd name="connsiteY458" fmla="*/ 855883 h 1879698"/>
                    <a:gd name="connsiteX459" fmla="*/ 850238 w 2167046"/>
                    <a:gd name="connsiteY459" fmla="*/ 848319 h 1879698"/>
                    <a:gd name="connsiteX460" fmla="*/ 850238 w 2167046"/>
                    <a:gd name="connsiteY460" fmla="*/ 848319 h 1879698"/>
                    <a:gd name="connsiteX461" fmla="*/ 765819 w 2167046"/>
                    <a:gd name="connsiteY461" fmla="*/ 903488 h 1879698"/>
                    <a:gd name="connsiteX462" fmla="*/ 765819 w 2167046"/>
                    <a:gd name="connsiteY462" fmla="*/ 903488 h 1879698"/>
                    <a:gd name="connsiteX463" fmla="*/ 761482 w 2167046"/>
                    <a:gd name="connsiteY463" fmla="*/ 903589 h 1879698"/>
                    <a:gd name="connsiteX464" fmla="*/ 761482 w 2167046"/>
                    <a:gd name="connsiteY464" fmla="*/ 903589 h 1879698"/>
                    <a:gd name="connsiteX465" fmla="*/ 711053 w 2167046"/>
                    <a:gd name="connsiteY465" fmla="*/ 838939 h 1879698"/>
                    <a:gd name="connsiteX466" fmla="*/ 711053 w 2167046"/>
                    <a:gd name="connsiteY466" fmla="*/ 838939 h 1879698"/>
                    <a:gd name="connsiteX467" fmla="*/ 638737 w 2167046"/>
                    <a:gd name="connsiteY467" fmla="*/ 817153 h 1879698"/>
                    <a:gd name="connsiteX468" fmla="*/ 638737 w 2167046"/>
                    <a:gd name="connsiteY468" fmla="*/ 817153 h 1879698"/>
                    <a:gd name="connsiteX469" fmla="*/ 616649 w 2167046"/>
                    <a:gd name="connsiteY469" fmla="*/ 818868 h 1879698"/>
                    <a:gd name="connsiteX470" fmla="*/ 616649 w 2167046"/>
                    <a:gd name="connsiteY470" fmla="*/ 818868 h 1879698"/>
                    <a:gd name="connsiteX471" fmla="*/ 598393 w 2167046"/>
                    <a:gd name="connsiteY471" fmla="*/ 820583 h 1879698"/>
                    <a:gd name="connsiteX472" fmla="*/ 598393 w 2167046"/>
                    <a:gd name="connsiteY472" fmla="*/ 820583 h 1879698"/>
                    <a:gd name="connsiteX473" fmla="*/ 573482 w 2167046"/>
                    <a:gd name="connsiteY473" fmla="*/ 801520 h 1879698"/>
                    <a:gd name="connsiteX474" fmla="*/ 573482 w 2167046"/>
                    <a:gd name="connsiteY474" fmla="*/ 801520 h 1879698"/>
                    <a:gd name="connsiteX475" fmla="*/ 574591 w 2167046"/>
                    <a:gd name="connsiteY475" fmla="*/ 792847 h 1879698"/>
                    <a:gd name="connsiteX476" fmla="*/ 574591 w 2167046"/>
                    <a:gd name="connsiteY476" fmla="*/ 792847 h 1879698"/>
                    <a:gd name="connsiteX477" fmla="*/ 575196 w 2167046"/>
                    <a:gd name="connsiteY477" fmla="*/ 785988 h 1879698"/>
                    <a:gd name="connsiteX478" fmla="*/ 575196 w 2167046"/>
                    <a:gd name="connsiteY478" fmla="*/ 785988 h 1879698"/>
                    <a:gd name="connsiteX479" fmla="*/ 550486 w 2167046"/>
                    <a:gd name="connsiteY479" fmla="*/ 761379 h 1879698"/>
                    <a:gd name="connsiteX480" fmla="*/ 550486 w 2167046"/>
                    <a:gd name="connsiteY480" fmla="*/ 761379 h 1879698"/>
                    <a:gd name="connsiteX481" fmla="*/ 535660 w 2167046"/>
                    <a:gd name="connsiteY481" fmla="*/ 763597 h 1879698"/>
                    <a:gd name="connsiteX482" fmla="*/ 535660 w 2167046"/>
                    <a:gd name="connsiteY482" fmla="*/ 763597 h 1879698"/>
                    <a:gd name="connsiteX483" fmla="*/ 398593 w 2167046"/>
                    <a:gd name="connsiteY483" fmla="*/ 802730 h 1879698"/>
                    <a:gd name="connsiteX484" fmla="*/ 398593 w 2167046"/>
                    <a:gd name="connsiteY484" fmla="*/ 802730 h 1879698"/>
                    <a:gd name="connsiteX485" fmla="*/ 337775 w 2167046"/>
                    <a:gd name="connsiteY485" fmla="*/ 759462 h 1879698"/>
                    <a:gd name="connsiteX486" fmla="*/ 337775 w 2167046"/>
                    <a:gd name="connsiteY486" fmla="*/ 759462 h 1879698"/>
                    <a:gd name="connsiteX487" fmla="*/ 306307 w 2167046"/>
                    <a:gd name="connsiteY487" fmla="*/ 742014 h 1879698"/>
                    <a:gd name="connsiteX488" fmla="*/ 306307 w 2167046"/>
                    <a:gd name="connsiteY488" fmla="*/ 742014 h 1879698"/>
                    <a:gd name="connsiteX489" fmla="*/ 260719 w 2167046"/>
                    <a:gd name="connsiteY489" fmla="*/ 766018 h 1879698"/>
                    <a:gd name="connsiteX490" fmla="*/ 260719 w 2167046"/>
                    <a:gd name="connsiteY490" fmla="*/ 766018 h 1879698"/>
                    <a:gd name="connsiteX491" fmla="*/ 255676 w 2167046"/>
                    <a:gd name="connsiteY491" fmla="*/ 769447 h 1879698"/>
                    <a:gd name="connsiteX492" fmla="*/ 255676 w 2167046"/>
                    <a:gd name="connsiteY492" fmla="*/ 769447 h 1879698"/>
                    <a:gd name="connsiteX493" fmla="*/ 285934 w 2167046"/>
                    <a:gd name="connsiteY493" fmla="*/ 840250 h 1879698"/>
                    <a:gd name="connsiteX494" fmla="*/ 285934 w 2167046"/>
                    <a:gd name="connsiteY494" fmla="*/ 840250 h 1879698"/>
                    <a:gd name="connsiteX495" fmla="*/ 306005 w 2167046"/>
                    <a:gd name="connsiteY495" fmla="*/ 884527 h 1879698"/>
                    <a:gd name="connsiteX496" fmla="*/ 306005 w 2167046"/>
                    <a:gd name="connsiteY496" fmla="*/ 884527 h 1879698"/>
                    <a:gd name="connsiteX497" fmla="*/ 301567 w 2167046"/>
                    <a:gd name="connsiteY497" fmla="*/ 901774 h 1879698"/>
                    <a:gd name="connsiteX498" fmla="*/ 301567 w 2167046"/>
                    <a:gd name="connsiteY498" fmla="*/ 901774 h 1879698"/>
                    <a:gd name="connsiteX499" fmla="*/ 293800 w 2167046"/>
                    <a:gd name="connsiteY499" fmla="*/ 926181 h 1879698"/>
                    <a:gd name="connsiteX500" fmla="*/ 293800 w 2167046"/>
                    <a:gd name="connsiteY500" fmla="*/ 926181 h 1879698"/>
                    <a:gd name="connsiteX501" fmla="*/ 311754 w 2167046"/>
                    <a:gd name="connsiteY501" fmla="*/ 943126 h 1879698"/>
                    <a:gd name="connsiteX502" fmla="*/ 311754 w 2167046"/>
                    <a:gd name="connsiteY502" fmla="*/ 943126 h 1879698"/>
                    <a:gd name="connsiteX503" fmla="*/ 377312 w 2167046"/>
                    <a:gd name="connsiteY503" fmla="*/ 992345 h 1879698"/>
                    <a:gd name="connsiteX504" fmla="*/ 377312 w 2167046"/>
                    <a:gd name="connsiteY504" fmla="*/ 992345 h 1879698"/>
                    <a:gd name="connsiteX505" fmla="*/ 384372 w 2167046"/>
                    <a:gd name="connsiteY505" fmla="*/ 1012113 h 1879698"/>
                    <a:gd name="connsiteX506" fmla="*/ 384372 w 2167046"/>
                    <a:gd name="connsiteY506" fmla="*/ 1012113 h 1879698"/>
                    <a:gd name="connsiteX507" fmla="*/ 372067 w 2167046"/>
                    <a:gd name="connsiteY507" fmla="*/ 1040757 h 1879698"/>
                    <a:gd name="connsiteX508" fmla="*/ 372067 w 2167046"/>
                    <a:gd name="connsiteY508" fmla="*/ 1040757 h 1879698"/>
                    <a:gd name="connsiteX509" fmla="*/ 341003 w 2167046"/>
                    <a:gd name="connsiteY509" fmla="*/ 1081706 h 1879698"/>
                    <a:gd name="connsiteX510" fmla="*/ 341003 w 2167046"/>
                    <a:gd name="connsiteY510" fmla="*/ 1081706 h 1879698"/>
                    <a:gd name="connsiteX511" fmla="*/ 298642 w 2167046"/>
                    <a:gd name="connsiteY511" fmla="*/ 1125579 h 1879698"/>
                    <a:gd name="connsiteX512" fmla="*/ 298642 w 2167046"/>
                    <a:gd name="connsiteY512" fmla="*/ 1125579 h 1879698"/>
                    <a:gd name="connsiteX513" fmla="*/ 261627 w 2167046"/>
                    <a:gd name="connsiteY513" fmla="*/ 1152609 h 1879698"/>
                    <a:gd name="connsiteX514" fmla="*/ 261627 w 2167046"/>
                    <a:gd name="connsiteY514" fmla="*/ 1152609 h 1879698"/>
                    <a:gd name="connsiteX515" fmla="*/ 261727 w 2167046"/>
                    <a:gd name="connsiteY515" fmla="*/ 1154223 h 1879698"/>
                    <a:gd name="connsiteX516" fmla="*/ 261727 w 2167046"/>
                    <a:gd name="connsiteY516" fmla="*/ 1154223 h 1879698"/>
                    <a:gd name="connsiteX517" fmla="*/ 263947 w 2167046"/>
                    <a:gd name="connsiteY517" fmla="*/ 1185892 h 1879698"/>
                    <a:gd name="connsiteX518" fmla="*/ 263947 w 2167046"/>
                    <a:gd name="connsiteY518" fmla="*/ 1185892 h 1879698"/>
                    <a:gd name="connsiteX519" fmla="*/ 258097 w 2167046"/>
                    <a:gd name="connsiteY519" fmla="*/ 1221596 h 1879698"/>
                    <a:gd name="connsiteX520" fmla="*/ 258097 w 2167046"/>
                    <a:gd name="connsiteY520" fmla="*/ 1221596 h 1879698"/>
                    <a:gd name="connsiteX521" fmla="*/ 244380 w 2167046"/>
                    <a:gd name="connsiteY521" fmla="*/ 1285440 h 1879698"/>
                    <a:gd name="connsiteX522" fmla="*/ 244380 w 2167046"/>
                    <a:gd name="connsiteY522" fmla="*/ 1285440 h 1879698"/>
                    <a:gd name="connsiteX523" fmla="*/ 223603 w 2167046"/>
                    <a:gd name="connsiteY523" fmla="*/ 1305208 h 1879698"/>
                    <a:gd name="connsiteX524" fmla="*/ 223603 w 2167046"/>
                    <a:gd name="connsiteY524" fmla="*/ 1305208 h 1879698"/>
                    <a:gd name="connsiteX525" fmla="*/ 181041 w 2167046"/>
                    <a:gd name="connsiteY525" fmla="*/ 1297442 h 1879698"/>
                    <a:gd name="connsiteX526" fmla="*/ 181041 w 2167046"/>
                    <a:gd name="connsiteY526" fmla="*/ 1297442 h 1879698"/>
                    <a:gd name="connsiteX527" fmla="*/ 176099 w 2167046"/>
                    <a:gd name="connsiteY527" fmla="*/ 1297845 h 1879698"/>
                    <a:gd name="connsiteX528" fmla="*/ 176099 w 2167046"/>
                    <a:gd name="connsiteY528" fmla="*/ 1297845 h 1879698"/>
                    <a:gd name="connsiteX529" fmla="*/ 140092 w 2167046"/>
                    <a:gd name="connsiteY529" fmla="*/ 1367135 h 1879698"/>
                    <a:gd name="connsiteX530" fmla="*/ 140092 w 2167046"/>
                    <a:gd name="connsiteY530" fmla="*/ 1367135 h 1879698"/>
                    <a:gd name="connsiteX531" fmla="*/ 140193 w 2167046"/>
                    <a:gd name="connsiteY531" fmla="*/ 1375002 h 1879698"/>
                    <a:gd name="connsiteX532" fmla="*/ 140193 w 2167046"/>
                    <a:gd name="connsiteY532" fmla="*/ 1375002 h 1879698"/>
                    <a:gd name="connsiteX533" fmla="*/ 140294 w 2167046"/>
                    <a:gd name="connsiteY533" fmla="*/ 1381054 h 1879698"/>
                    <a:gd name="connsiteX534" fmla="*/ 140294 w 2167046"/>
                    <a:gd name="connsiteY534" fmla="*/ 1381054 h 1879698"/>
                    <a:gd name="connsiteX535" fmla="*/ 107515 w 2167046"/>
                    <a:gd name="connsiteY535" fmla="*/ 1429567 h 1879698"/>
                    <a:gd name="connsiteX536" fmla="*/ 107515 w 2167046"/>
                    <a:gd name="connsiteY536" fmla="*/ 1429567 h 1879698"/>
                    <a:gd name="connsiteX537" fmla="*/ 24811 w 2167046"/>
                    <a:gd name="connsiteY537" fmla="*/ 1479391 h 1879698"/>
                    <a:gd name="connsiteX538" fmla="*/ 24811 w 2167046"/>
                    <a:gd name="connsiteY538" fmla="*/ 1479391 h 1879698"/>
                    <a:gd name="connsiteX539" fmla="*/ 8069 w 2167046"/>
                    <a:gd name="connsiteY539" fmla="*/ 1492300 h 1879698"/>
                    <a:gd name="connsiteX540" fmla="*/ 8069 w 2167046"/>
                    <a:gd name="connsiteY540" fmla="*/ 1492300 h 1879698"/>
                    <a:gd name="connsiteX541" fmla="*/ 63541 w 2167046"/>
                    <a:gd name="connsiteY541" fmla="*/ 1512674 h 1879698"/>
                    <a:gd name="connsiteX542" fmla="*/ 63541 w 2167046"/>
                    <a:gd name="connsiteY542" fmla="*/ 1512674 h 1879698"/>
                    <a:gd name="connsiteX543" fmla="*/ 79577 w 2167046"/>
                    <a:gd name="connsiteY543" fmla="*/ 1513077 h 1879698"/>
                    <a:gd name="connsiteX544" fmla="*/ 79577 w 2167046"/>
                    <a:gd name="connsiteY544" fmla="*/ 1513077 h 1879698"/>
                    <a:gd name="connsiteX545" fmla="*/ 160365 w 2167046"/>
                    <a:gd name="connsiteY545" fmla="*/ 1502185 h 1879698"/>
                    <a:gd name="connsiteX546" fmla="*/ 160365 w 2167046"/>
                    <a:gd name="connsiteY546" fmla="*/ 1502185 h 1879698"/>
                    <a:gd name="connsiteX547" fmla="*/ 198691 w 2167046"/>
                    <a:gd name="connsiteY547" fmla="*/ 1497142 h 1879698"/>
                    <a:gd name="connsiteX548" fmla="*/ 198691 w 2167046"/>
                    <a:gd name="connsiteY548" fmla="*/ 1497142 h 1879698"/>
                    <a:gd name="connsiteX549" fmla="*/ 228646 w 2167046"/>
                    <a:gd name="connsiteY549" fmla="*/ 1511061 h 1879698"/>
                    <a:gd name="connsiteX550" fmla="*/ 228646 w 2167046"/>
                    <a:gd name="connsiteY550" fmla="*/ 1511061 h 1879698"/>
                    <a:gd name="connsiteX551" fmla="*/ 237018 w 2167046"/>
                    <a:gd name="connsiteY551" fmla="*/ 1529417 h 1879698"/>
                    <a:gd name="connsiteX552" fmla="*/ 237018 w 2167046"/>
                    <a:gd name="connsiteY552" fmla="*/ 1529417 h 1879698"/>
                    <a:gd name="connsiteX553" fmla="*/ 215333 w 2167046"/>
                    <a:gd name="connsiteY553" fmla="*/ 1562196 h 1879698"/>
                    <a:gd name="connsiteX554" fmla="*/ 215333 w 2167046"/>
                    <a:gd name="connsiteY554" fmla="*/ 1562196 h 1879698"/>
                    <a:gd name="connsiteX555" fmla="*/ 208273 w 2167046"/>
                    <a:gd name="connsiteY555" fmla="*/ 1575106 h 1879698"/>
                    <a:gd name="connsiteX556" fmla="*/ 208273 w 2167046"/>
                    <a:gd name="connsiteY556" fmla="*/ 1575106 h 1879698"/>
                    <a:gd name="connsiteX557" fmla="*/ 244783 w 2167046"/>
                    <a:gd name="connsiteY557" fmla="*/ 1591546 h 1879698"/>
                    <a:gd name="connsiteX558" fmla="*/ 244783 w 2167046"/>
                    <a:gd name="connsiteY558" fmla="*/ 1591546 h 1879698"/>
                    <a:gd name="connsiteX559" fmla="*/ 345945 w 2167046"/>
                    <a:gd name="connsiteY559" fmla="*/ 1586604 h 1879698"/>
                    <a:gd name="connsiteX560" fmla="*/ 345945 w 2167046"/>
                    <a:gd name="connsiteY560" fmla="*/ 1586604 h 1879698"/>
                    <a:gd name="connsiteX561" fmla="*/ 362889 w 2167046"/>
                    <a:gd name="connsiteY561" fmla="*/ 1575106 h 1879698"/>
                    <a:gd name="connsiteX562" fmla="*/ 362889 w 2167046"/>
                    <a:gd name="connsiteY562" fmla="*/ 1575106 h 1879698"/>
                    <a:gd name="connsiteX563" fmla="*/ 348062 w 2167046"/>
                    <a:gd name="connsiteY563" fmla="*/ 1554329 h 1879698"/>
                    <a:gd name="connsiteX564" fmla="*/ 348062 w 2167046"/>
                    <a:gd name="connsiteY564" fmla="*/ 1554329 h 1879698"/>
                    <a:gd name="connsiteX565" fmla="*/ 327891 w 2167046"/>
                    <a:gd name="connsiteY565" fmla="*/ 1516709 h 1879698"/>
                    <a:gd name="connsiteX566" fmla="*/ 327891 w 2167046"/>
                    <a:gd name="connsiteY566" fmla="*/ 1516709 h 1879698"/>
                    <a:gd name="connsiteX567" fmla="*/ 356938 w 2167046"/>
                    <a:gd name="connsiteY567" fmla="*/ 1481408 h 1879698"/>
                    <a:gd name="connsiteX568" fmla="*/ 356938 w 2167046"/>
                    <a:gd name="connsiteY568" fmla="*/ 1481408 h 1879698"/>
                    <a:gd name="connsiteX569" fmla="*/ 590527 w 2167046"/>
                    <a:gd name="connsiteY569" fmla="*/ 1459118 h 1879698"/>
                    <a:gd name="connsiteX570" fmla="*/ 590527 w 2167046"/>
                    <a:gd name="connsiteY570" fmla="*/ 1459118 h 1879698"/>
                    <a:gd name="connsiteX571" fmla="*/ 606059 w 2167046"/>
                    <a:gd name="connsiteY571" fmla="*/ 1460631 h 1879698"/>
                    <a:gd name="connsiteX572" fmla="*/ 606059 w 2167046"/>
                    <a:gd name="connsiteY572" fmla="*/ 1460631 h 1879698"/>
                    <a:gd name="connsiteX573" fmla="*/ 624314 w 2167046"/>
                    <a:gd name="connsiteY573" fmla="*/ 1479492 h 1879698"/>
                    <a:gd name="connsiteX574" fmla="*/ 624314 w 2167046"/>
                    <a:gd name="connsiteY574" fmla="*/ 1479492 h 1879698"/>
                    <a:gd name="connsiteX575" fmla="*/ 612211 w 2167046"/>
                    <a:gd name="connsiteY575" fmla="*/ 1504202 h 1879698"/>
                    <a:gd name="connsiteX576" fmla="*/ 612211 w 2167046"/>
                    <a:gd name="connsiteY576" fmla="*/ 1504202 h 1879698"/>
                    <a:gd name="connsiteX577" fmla="*/ 560975 w 2167046"/>
                    <a:gd name="connsiteY577" fmla="*/ 1540208 h 1879698"/>
                    <a:gd name="connsiteX578" fmla="*/ 560975 w 2167046"/>
                    <a:gd name="connsiteY578" fmla="*/ 1540208 h 1879698"/>
                    <a:gd name="connsiteX579" fmla="*/ 543325 w 2167046"/>
                    <a:gd name="connsiteY579" fmla="*/ 1536577 h 1879698"/>
                    <a:gd name="connsiteX580" fmla="*/ 543325 w 2167046"/>
                    <a:gd name="connsiteY580" fmla="*/ 1536577 h 1879698"/>
                    <a:gd name="connsiteX581" fmla="*/ 508226 w 2167046"/>
                    <a:gd name="connsiteY581" fmla="*/ 1529618 h 1879698"/>
                    <a:gd name="connsiteX582" fmla="*/ 508226 w 2167046"/>
                    <a:gd name="connsiteY582" fmla="*/ 1529618 h 1879698"/>
                    <a:gd name="connsiteX583" fmla="*/ 484121 w 2167046"/>
                    <a:gd name="connsiteY583" fmla="*/ 1541923 h 1879698"/>
                    <a:gd name="connsiteX584" fmla="*/ 484121 w 2167046"/>
                    <a:gd name="connsiteY584" fmla="*/ 1541923 h 1879698"/>
                    <a:gd name="connsiteX585" fmla="*/ 554318 w 2167046"/>
                    <a:gd name="connsiteY585" fmla="*/ 1596891 h 1879698"/>
                    <a:gd name="connsiteX586" fmla="*/ 554318 w 2167046"/>
                    <a:gd name="connsiteY586" fmla="*/ 1596891 h 1879698"/>
                    <a:gd name="connsiteX587" fmla="*/ 560067 w 2167046"/>
                    <a:gd name="connsiteY587" fmla="*/ 1596891 h 1879698"/>
                    <a:gd name="connsiteX588" fmla="*/ 560067 w 2167046"/>
                    <a:gd name="connsiteY588" fmla="*/ 1596891 h 1879698"/>
                    <a:gd name="connsiteX589" fmla="*/ 674945 w 2167046"/>
                    <a:gd name="connsiteY589" fmla="*/ 1573391 h 1879698"/>
                    <a:gd name="connsiteX590" fmla="*/ 674945 w 2167046"/>
                    <a:gd name="connsiteY590" fmla="*/ 1573391 h 1879698"/>
                    <a:gd name="connsiteX591" fmla="*/ 686241 w 2167046"/>
                    <a:gd name="connsiteY591" fmla="*/ 1571676 h 1879698"/>
                    <a:gd name="connsiteX592" fmla="*/ 686241 w 2167046"/>
                    <a:gd name="connsiteY592" fmla="*/ 1571676 h 1879698"/>
                    <a:gd name="connsiteX593" fmla="*/ 715390 w 2167046"/>
                    <a:gd name="connsiteY593" fmla="*/ 1605061 h 1879698"/>
                    <a:gd name="connsiteX594" fmla="*/ 715390 w 2167046"/>
                    <a:gd name="connsiteY594" fmla="*/ 1605061 h 1879698"/>
                    <a:gd name="connsiteX595" fmla="*/ 703186 w 2167046"/>
                    <a:gd name="connsiteY595" fmla="*/ 1668803 h 1879698"/>
                    <a:gd name="connsiteX596" fmla="*/ 703186 w 2167046"/>
                    <a:gd name="connsiteY596" fmla="*/ 1668803 h 1879698"/>
                    <a:gd name="connsiteX597" fmla="*/ 736268 w 2167046"/>
                    <a:gd name="connsiteY597" fmla="*/ 1696842 h 1879698"/>
                    <a:gd name="connsiteX598" fmla="*/ 736268 w 2167046"/>
                    <a:gd name="connsiteY598" fmla="*/ 1696842 h 1879698"/>
                    <a:gd name="connsiteX599" fmla="*/ 779435 w 2167046"/>
                    <a:gd name="connsiteY599" fmla="*/ 1696640 h 1879698"/>
                    <a:gd name="connsiteX600" fmla="*/ 779435 w 2167046"/>
                    <a:gd name="connsiteY600" fmla="*/ 1696640 h 1879698"/>
                    <a:gd name="connsiteX601" fmla="*/ 866274 w 2167046"/>
                    <a:gd name="connsiteY601" fmla="*/ 1710357 h 1879698"/>
                    <a:gd name="connsiteX602" fmla="*/ 866274 w 2167046"/>
                    <a:gd name="connsiteY602" fmla="*/ 1710357 h 1879698"/>
                    <a:gd name="connsiteX603" fmla="*/ 978428 w 2167046"/>
                    <a:gd name="connsiteY603" fmla="*/ 1746868 h 1879698"/>
                    <a:gd name="connsiteX604" fmla="*/ 978428 w 2167046"/>
                    <a:gd name="connsiteY604" fmla="*/ 1746868 h 1879698"/>
                    <a:gd name="connsiteX605" fmla="*/ 1018369 w 2167046"/>
                    <a:gd name="connsiteY605" fmla="*/ 1815250 h 1879698"/>
                    <a:gd name="connsiteX606" fmla="*/ 1018369 w 2167046"/>
                    <a:gd name="connsiteY606" fmla="*/ 1815250 h 1879698"/>
                    <a:gd name="connsiteX607" fmla="*/ 1039448 w 2167046"/>
                    <a:gd name="connsiteY607" fmla="*/ 1818376 h 1879698"/>
                    <a:gd name="connsiteX608" fmla="*/ 1039448 w 2167046"/>
                    <a:gd name="connsiteY608" fmla="*/ 1818376 h 1879698"/>
                    <a:gd name="connsiteX609" fmla="*/ 1088566 w 2167046"/>
                    <a:gd name="connsiteY609" fmla="*/ 1793061 h 1879698"/>
                    <a:gd name="connsiteX610" fmla="*/ 1088566 w 2167046"/>
                    <a:gd name="connsiteY610" fmla="*/ 1793061 h 1879698"/>
                    <a:gd name="connsiteX611" fmla="*/ 1158562 w 2167046"/>
                    <a:gd name="connsiteY611" fmla="*/ 1763711 h 1879698"/>
                    <a:gd name="connsiteX612" fmla="*/ 1158562 w 2167046"/>
                    <a:gd name="connsiteY612" fmla="*/ 1763711 h 1879698"/>
                    <a:gd name="connsiteX613" fmla="*/ 1197696 w 2167046"/>
                    <a:gd name="connsiteY613" fmla="*/ 1773595 h 1879698"/>
                    <a:gd name="connsiteX614" fmla="*/ 1197696 w 2167046"/>
                    <a:gd name="connsiteY614" fmla="*/ 1773595 h 1879698"/>
                    <a:gd name="connsiteX615" fmla="*/ 1207176 w 2167046"/>
                    <a:gd name="connsiteY615" fmla="*/ 1792355 h 1879698"/>
                    <a:gd name="connsiteX616" fmla="*/ 1207176 w 2167046"/>
                    <a:gd name="connsiteY616" fmla="*/ 1792355 h 1879698"/>
                    <a:gd name="connsiteX617" fmla="*/ 1185189 w 2167046"/>
                    <a:gd name="connsiteY617" fmla="*/ 1852063 h 1879698"/>
                    <a:gd name="connsiteX618" fmla="*/ 1185189 w 2167046"/>
                    <a:gd name="connsiteY618" fmla="*/ 1852063 h 1879698"/>
                    <a:gd name="connsiteX619" fmla="*/ 1185491 w 2167046"/>
                    <a:gd name="connsiteY619" fmla="*/ 1853576 h 1879698"/>
                    <a:gd name="connsiteX620" fmla="*/ 1185491 w 2167046"/>
                    <a:gd name="connsiteY620" fmla="*/ 1853576 h 1879698"/>
                    <a:gd name="connsiteX621" fmla="*/ 1208084 w 2167046"/>
                    <a:gd name="connsiteY621" fmla="*/ 1874151 h 1879698"/>
                    <a:gd name="connsiteX622" fmla="*/ 1208084 w 2167046"/>
                    <a:gd name="connsiteY622" fmla="*/ 1874151 h 1879698"/>
                    <a:gd name="connsiteX623" fmla="*/ 1238039 w 2167046"/>
                    <a:gd name="connsiteY623" fmla="*/ 1832900 h 1879698"/>
                    <a:gd name="connsiteX624" fmla="*/ 1238039 w 2167046"/>
                    <a:gd name="connsiteY624" fmla="*/ 1832900 h 1879698"/>
                    <a:gd name="connsiteX625" fmla="*/ 1265371 w 2167046"/>
                    <a:gd name="connsiteY625" fmla="*/ 1749187 h 1879698"/>
                    <a:gd name="connsiteX626" fmla="*/ 1265371 w 2167046"/>
                    <a:gd name="connsiteY626" fmla="*/ 1749187 h 1879698"/>
                    <a:gd name="connsiteX627" fmla="*/ 1286047 w 2167046"/>
                    <a:gd name="connsiteY627" fmla="*/ 1752213 h 1879698"/>
                    <a:gd name="connsiteX628" fmla="*/ 1286047 w 2167046"/>
                    <a:gd name="connsiteY628" fmla="*/ 1752213 h 1879698"/>
                    <a:gd name="connsiteX629" fmla="*/ 1331736 w 2167046"/>
                    <a:gd name="connsiteY629" fmla="*/ 1766233 h 1879698"/>
                    <a:gd name="connsiteX630" fmla="*/ 1331736 w 2167046"/>
                    <a:gd name="connsiteY630" fmla="*/ 1766233 h 1879698"/>
                    <a:gd name="connsiteX631" fmla="*/ 1370264 w 2167046"/>
                    <a:gd name="connsiteY631" fmla="*/ 1739707 h 1879698"/>
                    <a:gd name="connsiteX632" fmla="*/ 1370264 w 2167046"/>
                    <a:gd name="connsiteY632" fmla="*/ 1739707 h 1879698"/>
                    <a:gd name="connsiteX633" fmla="*/ 1472434 w 2167046"/>
                    <a:gd name="connsiteY633" fmla="*/ 1680705 h 1879698"/>
                    <a:gd name="connsiteX634" fmla="*/ 1472434 w 2167046"/>
                    <a:gd name="connsiteY634" fmla="*/ 1680705 h 1879698"/>
                    <a:gd name="connsiteX635" fmla="*/ 1480099 w 2167046"/>
                    <a:gd name="connsiteY635" fmla="*/ 1681108 h 1879698"/>
                    <a:gd name="connsiteX636" fmla="*/ 1480099 w 2167046"/>
                    <a:gd name="connsiteY636" fmla="*/ 1681108 h 1879698"/>
                    <a:gd name="connsiteX637" fmla="*/ 1514492 w 2167046"/>
                    <a:gd name="connsiteY637" fmla="*/ 1685142 h 1879698"/>
                    <a:gd name="connsiteX638" fmla="*/ 1514492 w 2167046"/>
                    <a:gd name="connsiteY638" fmla="*/ 1685142 h 1879698"/>
                    <a:gd name="connsiteX639" fmla="*/ 1540514 w 2167046"/>
                    <a:gd name="connsiteY639" fmla="*/ 1656801 h 1879698"/>
                    <a:gd name="connsiteX640" fmla="*/ 1540514 w 2167046"/>
                    <a:gd name="connsiteY640" fmla="*/ 1656801 h 1879698"/>
                    <a:gd name="connsiteX641" fmla="*/ 1542732 w 2167046"/>
                    <a:gd name="connsiteY641" fmla="*/ 1645404 h 1879698"/>
                    <a:gd name="connsiteX642" fmla="*/ 1542732 w 2167046"/>
                    <a:gd name="connsiteY642" fmla="*/ 1645404 h 1879698"/>
                    <a:gd name="connsiteX643" fmla="*/ 1497750 w 2167046"/>
                    <a:gd name="connsiteY643" fmla="*/ 1598001 h 1879698"/>
                    <a:gd name="connsiteX644" fmla="*/ 1497750 w 2167046"/>
                    <a:gd name="connsiteY644" fmla="*/ 1598001 h 1879698"/>
                    <a:gd name="connsiteX645" fmla="*/ 1498254 w 2167046"/>
                    <a:gd name="connsiteY645" fmla="*/ 1594067 h 1879698"/>
                    <a:gd name="connsiteX646" fmla="*/ 1498254 w 2167046"/>
                    <a:gd name="connsiteY646" fmla="*/ 1594067 h 1879698"/>
                    <a:gd name="connsiteX647" fmla="*/ 1529016 w 2167046"/>
                    <a:gd name="connsiteY647" fmla="*/ 1576215 h 1879698"/>
                    <a:gd name="connsiteX648" fmla="*/ 1529016 w 2167046"/>
                    <a:gd name="connsiteY648" fmla="*/ 1576215 h 1879698"/>
                    <a:gd name="connsiteX649" fmla="*/ 1543943 w 2167046"/>
                    <a:gd name="connsiteY649" fmla="*/ 1576316 h 1879698"/>
                    <a:gd name="connsiteX650" fmla="*/ 1543943 w 2167046"/>
                    <a:gd name="connsiteY650" fmla="*/ 1576316 h 1879698"/>
                    <a:gd name="connsiteX651" fmla="*/ 1577428 w 2167046"/>
                    <a:gd name="connsiteY651" fmla="*/ 1564112 h 1879698"/>
                    <a:gd name="connsiteX652" fmla="*/ 1577428 w 2167046"/>
                    <a:gd name="connsiteY652" fmla="*/ 1564112 h 1879698"/>
                    <a:gd name="connsiteX653" fmla="*/ 1627050 w 2167046"/>
                    <a:gd name="connsiteY653" fmla="*/ 1473440 h 1879698"/>
                    <a:gd name="connsiteX654" fmla="*/ 1627050 w 2167046"/>
                    <a:gd name="connsiteY654" fmla="*/ 1473440 h 1879698"/>
                    <a:gd name="connsiteX655" fmla="*/ 1719538 w 2167046"/>
                    <a:gd name="connsiteY655" fmla="*/ 1437736 h 1879698"/>
                    <a:gd name="connsiteX656" fmla="*/ 1719538 w 2167046"/>
                    <a:gd name="connsiteY656" fmla="*/ 1437736 h 1879698"/>
                    <a:gd name="connsiteX657" fmla="*/ 1773699 w 2167046"/>
                    <a:gd name="connsiteY657" fmla="*/ 1349989 h 1879698"/>
                    <a:gd name="connsiteX658" fmla="*/ 1773699 w 2167046"/>
                    <a:gd name="connsiteY658" fmla="*/ 1349989 h 1879698"/>
                    <a:gd name="connsiteX659" fmla="*/ 1834516 w 2167046"/>
                    <a:gd name="connsiteY659" fmla="*/ 1297341 h 1879698"/>
                    <a:gd name="connsiteX660" fmla="*/ 1834516 w 2167046"/>
                    <a:gd name="connsiteY660" fmla="*/ 1297341 h 1879698"/>
                    <a:gd name="connsiteX661" fmla="*/ 1904210 w 2167046"/>
                    <a:gd name="connsiteY661" fmla="*/ 1232186 h 1879698"/>
                    <a:gd name="connsiteX662" fmla="*/ 1904210 w 2167046"/>
                    <a:gd name="connsiteY662" fmla="*/ 1232186 h 1879698"/>
                    <a:gd name="connsiteX663" fmla="*/ 1983484 w 2167046"/>
                    <a:gd name="connsiteY663" fmla="*/ 1179337 h 1879698"/>
                    <a:gd name="connsiteX664" fmla="*/ 1983484 w 2167046"/>
                    <a:gd name="connsiteY664" fmla="*/ 1179337 h 1879698"/>
                    <a:gd name="connsiteX665" fmla="*/ 2047429 w 2167046"/>
                    <a:gd name="connsiteY665" fmla="*/ 1134253 h 1879698"/>
                    <a:gd name="connsiteX666" fmla="*/ 2047429 w 2167046"/>
                    <a:gd name="connsiteY666" fmla="*/ 1134253 h 1879698"/>
                    <a:gd name="connsiteX667" fmla="*/ 2047933 w 2167046"/>
                    <a:gd name="connsiteY667" fmla="*/ 1127193 h 1879698"/>
                    <a:gd name="connsiteX668" fmla="*/ 2047933 w 2167046"/>
                    <a:gd name="connsiteY668" fmla="*/ 1127193 h 1879698"/>
                    <a:gd name="connsiteX669" fmla="*/ 2029375 w 2167046"/>
                    <a:gd name="connsiteY669" fmla="*/ 1056995 h 1879698"/>
                    <a:gd name="connsiteX670" fmla="*/ 2029375 w 2167046"/>
                    <a:gd name="connsiteY670" fmla="*/ 1056995 h 1879698"/>
                    <a:gd name="connsiteX671" fmla="*/ 2031997 w 2167046"/>
                    <a:gd name="connsiteY671" fmla="*/ 1046506 h 1879698"/>
                    <a:gd name="connsiteX672" fmla="*/ 2031997 w 2167046"/>
                    <a:gd name="connsiteY672" fmla="*/ 1046506 h 1879698"/>
                    <a:gd name="connsiteX673" fmla="*/ 2078997 w 2167046"/>
                    <a:gd name="connsiteY673" fmla="*/ 1002229 h 1879698"/>
                    <a:gd name="connsiteX674" fmla="*/ 2078997 w 2167046"/>
                    <a:gd name="connsiteY674" fmla="*/ 1002229 h 1879698"/>
                    <a:gd name="connsiteX675" fmla="*/ 2132150 w 2167046"/>
                    <a:gd name="connsiteY675" fmla="*/ 919928 h 1879698"/>
                    <a:gd name="connsiteX676" fmla="*/ 2132150 w 2167046"/>
                    <a:gd name="connsiteY676" fmla="*/ 919928 h 1879698"/>
                    <a:gd name="connsiteX677" fmla="*/ 2161500 w 2167046"/>
                    <a:gd name="connsiteY677" fmla="*/ 855480 h 1879698"/>
                    <a:gd name="connsiteX678" fmla="*/ 2161500 w 2167046"/>
                    <a:gd name="connsiteY678" fmla="*/ 855480 h 1879698"/>
                    <a:gd name="connsiteX679" fmla="*/ 2156457 w 2167046"/>
                    <a:gd name="connsiteY679" fmla="*/ 842469 h 1879698"/>
                    <a:gd name="connsiteX680" fmla="*/ 2156457 w 2167046"/>
                    <a:gd name="connsiteY680" fmla="*/ 842469 h 1879698"/>
                    <a:gd name="connsiteX681" fmla="*/ 2157970 w 2167046"/>
                    <a:gd name="connsiteY681" fmla="*/ 840149 h 1879698"/>
                    <a:gd name="connsiteX682" fmla="*/ 2159483 w 2167046"/>
                    <a:gd name="connsiteY682" fmla="*/ 837830 h 1879698"/>
                    <a:gd name="connsiteX683" fmla="*/ 2167047 w 2167046"/>
                    <a:gd name="connsiteY683" fmla="*/ 855480 h 1879698"/>
                    <a:gd name="connsiteX684" fmla="*/ 2167047 w 2167046"/>
                    <a:gd name="connsiteY684" fmla="*/ 855480 h 1879698"/>
                    <a:gd name="connsiteX685" fmla="*/ 2136588 w 2167046"/>
                    <a:gd name="connsiteY685" fmla="*/ 923458 h 1879698"/>
                    <a:gd name="connsiteX686" fmla="*/ 2136588 w 2167046"/>
                    <a:gd name="connsiteY686" fmla="*/ 923458 h 1879698"/>
                    <a:gd name="connsiteX687" fmla="*/ 2084242 w 2167046"/>
                    <a:gd name="connsiteY687" fmla="*/ 1004246 h 1879698"/>
                    <a:gd name="connsiteX688" fmla="*/ 2084242 w 2167046"/>
                    <a:gd name="connsiteY688" fmla="*/ 1004246 h 1879698"/>
                    <a:gd name="connsiteX689" fmla="*/ 2036738 w 2167046"/>
                    <a:gd name="connsiteY689" fmla="*/ 1049532 h 1879698"/>
                    <a:gd name="connsiteX690" fmla="*/ 2036738 w 2167046"/>
                    <a:gd name="connsiteY690" fmla="*/ 1049532 h 1879698"/>
                    <a:gd name="connsiteX691" fmla="*/ 2034922 w 2167046"/>
                    <a:gd name="connsiteY691" fmla="*/ 1057096 h 1879698"/>
                    <a:gd name="connsiteX692" fmla="*/ 2034922 w 2167046"/>
                    <a:gd name="connsiteY692" fmla="*/ 1057096 h 1879698"/>
                    <a:gd name="connsiteX693" fmla="*/ 2053480 w 2167046"/>
                    <a:gd name="connsiteY693" fmla="*/ 1127293 h 1879698"/>
                    <a:gd name="connsiteX694" fmla="*/ 2053480 w 2167046"/>
                    <a:gd name="connsiteY694" fmla="*/ 1127293 h 1879698"/>
                    <a:gd name="connsiteX695" fmla="*/ 2052976 w 2167046"/>
                    <a:gd name="connsiteY695" fmla="*/ 1135060 h 1879698"/>
                    <a:gd name="connsiteX696" fmla="*/ 2052976 w 2167046"/>
                    <a:gd name="connsiteY696" fmla="*/ 1135060 h 1879698"/>
                    <a:gd name="connsiteX697" fmla="*/ 1985401 w 2167046"/>
                    <a:gd name="connsiteY697" fmla="*/ 1184581 h 1879698"/>
                    <a:gd name="connsiteX698" fmla="*/ 1985401 w 2167046"/>
                    <a:gd name="connsiteY698" fmla="*/ 1184581 h 1879698"/>
                    <a:gd name="connsiteX699" fmla="*/ 1906932 w 2167046"/>
                    <a:gd name="connsiteY699" fmla="*/ 1237027 h 1879698"/>
                    <a:gd name="connsiteX700" fmla="*/ 1906932 w 2167046"/>
                    <a:gd name="connsiteY700" fmla="*/ 1237027 h 1879698"/>
                    <a:gd name="connsiteX701" fmla="*/ 1839963 w 2167046"/>
                    <a:gd name="connsiteY701" fmla="*/ 1297845 h 1879698"/>
                    <a:gd name="connsiteX702" fmla="*/ 1839963 w 2167046"/>
                    <a:gd name="connsiteY702" fmla="*/ 1297845 h 1879698"/>
                    <a:gd name="connsiteX703" fmla="*/ 1774909 w 2167046"/>
                    <a:gd name="connsiteY703" fmla="*/ 1355536 h 1879698"/>
                    <a:gd name="connsiteX704" fmla="*/ 1774909 w 2167046"/>
                    <a:gd name="connsiteY704" fmla="*/ 1355536 h 1879698"/>
                    <a:gd name="connsiteX705" fmla="*/ 1723874 w 2167046"/>
                    <a:gd name="connsiteY705" fmla="*/ 1441266 h 1879698"/>
                    <a:gd name="connsiteX706" fmla="*/ 1723874 w 2167046"/>
                    <a:gd name="connsiteY706" fmla="*/ 1441266 h 1879698"/>
                    <a:gd name="connsiteX707" fmla="*/ 1627050 w 2167046"/>
                    <a:gd name="connsiteY707" fmla="*/ 1479189 h 1879698"/>
                    <a:gd name="connsiteX708" fmla="*/ 1627050 w 2167046"/>
                    <a:gd name="connsiteY708" fmla="*/ 1479189 h 1879698"/>
                    <a:gd name="connsiteX709" fmla="*/ 1582168 w 2167046"/>
                    <a:gd name="connsiteY709" fmla="*/ 1567138 h 1879698"/>
                    <a:gd name="connsiteX710" fmla="*/ 1582168 w 2167046"/>
                    <a:gd name="connsiteY710" fmla="*/ 1567138 h 1879698"/>
                    <a:gd name="connsiteX711" fmla="*/ 1543943 w 2167046"/>
                    <a:gd name="connsiteY711" fmla="*/ 1581863 h 1879698"/>
                    <a:gd name="connsiteX712" fmla="*/ 1543943 w 2167046"/>
                    <a:gd name="connsiteY712" fmla="*/ 1581863 h 1879698"/>
                    <a:gd name="connsiteX713" fmla="*/ 1529016 w 2167046"/>
                    <a:gd name="connsiteY713" fmla="*/ 1581762 h 1879698"/>
                    <a:gd name="connsiteX714" fmla="*/ 1529016 w 2167046"/>
                    <a:gd name="connsiteY714" fmla="*/ 1581762 h 1879698"/>
                    <a:gd name="connsiteX715" fmla="*/ 1503599 w 2167046"/>
                    <a:gd name="connsiteY715" fmla="*/ 1595176 h 1879698"/>
                    <a:gd name="connsiteX716" fmla="*/ 1503599 w 2167046"/>
                    <a:gd name="connsiteY716" fmla="*/ 1595176 h 1879698"/>
                    <a:gd name="connsiteX717" fmla="*/ 1503297 w 2167046"/>
                    <a:gd name="connsiteY717" fmla="*/ 1598001 h 1879698"/>
                    <a:gd name="connsiteX718" fmla="*/ 1503297 w 2167046"/>
                    <a:gd name="connsiteY718" fmla="*/ 1598001 h 1879698"/>
                    <a:gd name="connsiteX719" fmla="*/ 1548380 w 2167046"/>
                    <a:gd name="connsiteY719" fmla="*/ 1645404 h 1879698"/>
                    <a:gd name="connsiteX720" fmla="*/ 1548380 w 2167046"/>
                    <a:gd name="connsiteY720" fmla="*/ 1645404 h 1879698"/>
                    <a:gd name="connsiteX721" fmla="*/ 1545758 w 2167046"/>
                    <a:gd name="connsiteY721" fmla="*/ 1658717 h 1879698"/>
                    <a:gd name="connsiteX722" fmla="*/ 1545758 w 2167046"/>
                    <a:gd name="connsiteY722" fmla="*/ 1658717 h 1879698"/>
                    <a:gd name="connsiteX723" fmla="*/ 1514593 w 2167046"/>
                    <a:gd name="connsiteY723" fmla="*/ 1690690 h 1879698"/>
                    <a:gd name="connsiteX724" fmla="*/ 1514593 w 2167046"/>
                    <a:gd name="connsiteY724" fmla="*/ 1690690 h 1879698"/>
                    <a:gd name="connsiteX725" fmla="*/ 1479595 w 2167046"/>
                    <a:gd name="connsiteY725" fmla="*/ 1686655 h 1879698"/>
                    <a:gd name="connsiteX726" fmla="*/ 1479595 w 2167046"/>
                    <a:gd name="connsiteY726" fmla="*/ 1686655 h 1879698"/>
                    <a:gd name="connsiteX727" fmla="*/ 1472535 w 2167046"/>
                    <a:gd name="connsiteY727" fmla="*/ 1686353 h 1879698"/>
                    <a:gd name="connsiteX728" fmla="*/ 1472535 w 2167046"/>
                    <a:gd name="connsiteY728" fmla="*/ 1686353 h 1879698"/>
                    <a:gd name="connsiteX729" fmla="*/ 1374097 w 2167046"/>
                    <a:gd name="connsiteY729" fmla="*/ 1743842 h 1879698"/>
                    <a:gd name="connsiteX730" fmla="*/ 1374097 w 2167046"/>
                    <a:gd name="connsiteY730" fmla="*/ 1743842 h 1879698"/>
                    <a:gd name="connsiteX731" fmla="*/ 1331736 w 2167046"/>
                    <a:gd name="connsiteY731" fmla="*/ 1771780 h 1879698"/>
                    <a:gd name="connsiteX732" fmla="*/ 1331736 w 2167046"/>
                    <a:gd name="connsiteY732" fmla="*/ 1771780 h 1879698"/>
                    <a:gd name="connsiteX733" fmla="*/ 1284938 w 2167046"/>
                    <a:gd name="connsiteY733" fmla="*/ 1757559 h 1879698"/>
                    <a:gd name="connsiteX734" fmla="*/ 1284938 w 2167046"/>
                    <a:gd name="connsiteY734" fmla="*/ 1757559 h 1879698"/>
                    <a:gd name="connsiteX735" fmla="*/ 1265371 w 2167046"/>
                    <a:gd name="connsiteY735" fmla="*/ 1754735 h 1879698"/>
                    <a:gd name="connsiteX736" fmla="*/ 1265371 w 2167046"/>
                    <a:gd name="connsiteY736" fmla="*/ 1754735 h 1879698"/>
                    <a:gd name="connsiteX737" fmla="*/ 1243384 w 2167046"/>
                    <a:gd name="connsiteY737" fmla="*/ 1834413 h 1879698"/>
                    <a:gd name="connsiteX738" fmla="*/ 1243384 w 2167046"/>
                    <a:gd name="connsiteY738" fmla="*/ 1834413 h 1879698"/>
                    <a:gd name="connsiteX739" fmla="*/ 1208185 w 2167046"/>
                    <a:gd name="connsiteY739" fmla="*/ 1879698 h 1879698"/>
                    <a:gd name="connsiteX740" fmla="*/ 1208185 w 2167046"/>
                    <a:gd name="connsiteY740" fmla="*/ 1879698 h 1879698"/>
                    <a:gd name="connsiteX741" fmla="*/ 1180852 w 2167046"/>
                    <a:gd name="connsiteY741" fmla="*/ 1855896 h 1879698"/>
                    <a:gd name="connsiteX742" fmla="*/ 1180852 w 2167046"/>
                    <a:gd name="connsiteY742" fmla="*/ 1855896 h 1879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Lst>
                  <a:rect l="l" t="t" r="r" b="b"/>
                  <a:pathLst>
                    <a:path w="2167046" h="1879698">
                      <a:moveTo>
                        <a:pt x="1180852" y="1855896"/>
                      </a:moveTo>
                      <a:cubicBezTo>
                        <a:pt x="1180348" y="1854686"/>
                        <a:pt x="1180045" y="1853375"/>
                        <a:pt x="1180045" y="1852164"/>
                      </a:cubicBezTo>
                      <a:lnTo>
                        <a:pt x="1180045" y="1852164"/>
                      </a:lnTo>
                      <a:cubicBezTo>
                        <a:pt x="1180549" y="1837943"/>
                        <a:pt x="1202234" y="1811215"/>
                        <a:pt x="1202032" y="1792456"/>
                      </a:cubicBezTo>
                      <a:lnTo>
                        <a:pt x="1202032" y="1792456"/>
                      </a:lnTo>
                      <a:cubicBezTo>
                        <a:pt x="1202032" y="1786606"/>
                        <a:pt x="1200217" y="1781967"/>
                        <a:pt x="1194871" y="1778235"/>
                      </a:cubicBezTo>
                      <a:lnTo>
                        <a:pt x="1194871" y="1778235"/>
                      </a:lnTo>
                      <a:cubicBezTo>
                        <a:pt x="1186601" y="1772385"/>
                        <a:pt x="1173186" y="1769460"/>
                        <a:pt x="1158966" y="1769460"/>
                      </a:cubicBezTo>
                      <a:lnTo>
                        <a:pt x="1158966" y="1769460"/>
                      </a:lnTo>
                      <a:cubicBezTo>
                        <a:pt x="1131734" y="1769359"/>
                        <a:pt x="1101174" y="1780151"/>
                        <a:pt x="1093912" y="1795683"/>
                      </a:cubicBezTo>
                      <a:lnTo>
                        <a:pt x="1093912" y="1795683"/>
                      </a:lnTo>
                      <a:cubicBezTo>
                        <a:pt x="1083725" y="1815855"/>
                        <a:pt x="1060729" y="1824024"/>
                        <a:pt x="1039852" y="1824024"/>
                      </a:cubicBezTo>
                      <a:lnTo>
                        <a:pt x="1039852" y="1824024"/>
                      </a:lnTo>
                      <a:cubicBezTo>
                        <a:pt x="1031682" y="1824024"/>
                        <a:pt x="1023815" y="1822915"/>
                        <a:pt x="1016956" y="1820596"/>
                      </a:cubicBezTo>
                      <a:lnTo>
                        <a:pt x="1016956" y="1820596"/>
                      </a:lnTo>
                      <a:cubicBezTo>
                        <a:pt x="990229" y="1808896"/>
                        <a:pt x="1011712" y="1755643"/>
                        <a:pt x="978025" y="1752314"/>
                      </a:cubicBezTo>
                      <a:lnTo>
                        <a:pt x="978025" y="1752314"/>
                      </a:lnTo>
                      <a:cubicBezTo>
                        <a:pt x="940808" y="1747069"/>
                        <a:pt x="895825" y="1731134"/>
                        <a:pt x="864055" y="1715299"/>
                      </a:cubicBezTo>
                      <a:lnTo>
                        <a:pt x="864055" y="1715299"/>
                      </a:lnTo>
                      <a:cubicBezTo>
                        <a:pt x="841362" y="1703700"/>
                        <a:pt x="816954" y="1702288"/>
                        <a:pt x="779738" y="1702288"/>
                      </a:cubicBezTo>
                      <a:lnTo>
                        <a:pt x="779738" y="1702288"/>
                      </a:lnTo>
                      <a:cubicBezTo>
                        <a:pt x="766928" y="1702288"/>
                        <a:pt x="752707" y="1702490"/>
                        <a:pt x="736570" y="1702490"/>
                      </a:cubicBezTo>
                      <a:lnTo>
                        <a:pt x="736570" y="1702490"/>
                      </a:lnTo>
                      <a:cubicBezTo>
                        <a:pt x="707321" y="1702389"/>
                        <a:pt x="697941" y="1686958"/>
                        <a:pt x="697840" y="1668803"/>
                      </a:cubicBezTo>
                      <a:lnTo>
                        <a:pt x="697840" y="1668803"/>
                      </a:lnTo>
                      <a:cubicBezTo>
                        <a:pt x="697941" y="1646312"/>
                        <a:pt x="710246" y="1618475"/>
                        <a:pt x="710044" y="1605061"/>
                      </a:cubicBezTo>
                      <a:lnTo>
                        <a:pt x="710044" y="1605061"/>
                      </a:lnTo>
                      <a:cubicBezTo>
                        <a:pt x="709842" y="1584788"/>
                        <a:pt x="699555" y="1577627"/>
                        <a:pt x="686544" y="1577325"/>
                      </a:cubicBezTo>
                      <a:lnTo>
                        <a:pt x="686544" y="1577325"/>
                      </a:lnTo>
                      <a:cubicBezTo>
                        <a:pt x="683417" y="1577325"/>
                        <a:pt x="680190" y="1577829"/>
                        <a:pt x="676761" y="1578837"/>
                      </a:cubicBezTo>
                      <a:lnTo>
                        <a:pt x="676761" y="1578837"/>
                      </a:lnTo>
                      <a:cubicBezTo>
                        <a:pt x="658808" y="1583880"/>
                        <a:pt x="626634" y="1600018"/>
                        <a:pt x="560471" y="1602539"/>
                      </a:cubicBezTo>
                      <a:lnTo>
                        <a:pt x="560471" y="1602539"/>
                      </a:lnTo>
                      <a:cubicBezTo>
                        <a:pt x="558554" y="1602539"/>
                        <a:pt x="556538" y="1602640"/>
                        <a:pt x="554621" y="1602640"/>
                      </a:cubicBezTo>
                      <a:lnTo>
                        <a:pt x="554621" y="1602640"/>
                      </a:lnTo>
                      <a:cubicBezTo>
                        <a:pt x="492492" y="1602539"/>
                        <a:pt x="478876" y="1560784"/>
                        <a:pt x="478775" y="1542024"/>
                      </a:cubicBezTo>
                      <a:lnTo>
                        <a:pt x="478775" y="1542024"/>
                      </a:lnTo>
                      <a:cubicBezTo>
                        <a:pt x="479078" y="1528610"/>
                        <a:pt x="493198" y="1524172"/>
                        <a:pt x="508529" y="1524071"/>
                      </a:cubicBezTo>
                      <a:lnTo>
                        <a:pt x="508529" y="1524071"/>
                      </a:lnTo>
                      <a:cubicBezTo>
                        <a:pt x="520430" y="1524071"/>
                        <a:pt x="533945" y="1526694"/>
                        <a:pt x="545544" y="1531535"/>
                      </a:cubicBezTo>
                      <a:lnTo>
                        <a:pt x="545544" y="1531535"/>
                      </a:lnTo>
                      <a:cubicBezTo>
                        <a:pt x="551293" y="1533552"/>
                        <a:pt x="556437" y="1534661"/>
                        <a:pt x="561278" y="1534661"/>
                      </a:cubicBezTo>
                      <a:lnTo>
                        <a:pt x="561278" y="1534661"/>
                      </a:lnTo>
                      <a:cubicBezTo>
                        <a:pt x="576810" y="1534762"/>
                        <a:pt x="590023" y="1522962"/>
                        <a:pt x="608278" y="1500773"/>
                      </a:cubicBezTo>
                      <a:lnTo>
                        <a:pt x="608278" y="1500773"/>
                      </a:lnTo>
                      <a:cubicBezTo>
                        <a:pt x="616448" y="1490788"/>
                        <a:pt x="619069" y="1483728"/>
                        <a:pt x="619069" y="1479593"/>
                      </a:cubicBezTo>
                      <a:lnTo>
                        <a:pt x="619069" y="1479593"/>
                      </a:lnTo>
                      <a:cubicBezTo>
                        <a:pt x="619372" y="1472331"/>
                        <a:pt x="611102" y="1469103"/>
                        <a:pt x="603638" y="1465573"/>
                      </a:cubicBezTo>
                      <a:lnTo>
                        <a:pt x="603638" y="1465573"/>
                      </a:lnTo>
                      <a:cubicBezTo>
                        <a:pt x="603638" y="1465371"/>
                        <a:pt x="598292" y="1464766"/>
                        <a:pt x="590728" y="1464968"/>
                      </a:cubicBezTo>
                      <a:lnTo>
                        <a:pt x="590728" y="1464968"/>
                      </a:lnTo>
                      <a:cubicBezTo>
                        <a:pt x="542014" y="1464766"/>
                        <a:pt x="382657" y="1478080"/>
                        <a:pt x="358955" y="1486753"/>
                      </a:cubicBezTo>
                      <a:lnTo>
                        <a:pt x="358955" y="1486753"/>
                      </a:lnTo>
                      <a:cubicBezTo>
                        <a:pt x="343120" y="1492502"/>
                        <a:pt x="333640" y="1503697"/>
                        <a:pt x="333640" y="1516910"/>
                      </a:cubicBezTo>
                      <a:lnTo>
                        <a:pt x="333640" y="1516910"/>
                      </a:lnTo>
                      <a:cubicBezTo>
                        <a:pt x="333640" y="1526794"/>
                        <a:pt x="338985" y="1538494"/>
                        <a:pt x="351996" y="1550496"/>
                      </a:cubicBezTo>
                      <a:lnTo>
                        <a:pt x="351996" y="1550496"/>
                      </a:lnTo>
                      <a:cubicBezTo>
                        <a:pt x="363696" y="1561288"/>
                        <a:pt x="368436" y="1568751"/>
                        <a:pt x="368537" y="1575307"/>
                      </a:cubicBezTo>
                      <a:lnTo>
                        <a:pt x="368537" y="1575307"/>
                      </a:lnTo>
                      <a:cubicBezTo>
                        <a:pt x="367831" y="1586805"/>
                        <a:pt x="354417" y="1588621"/>
                        <a:pt x="348668" y="1591747"/>
                      </a:cubicBezTo>
                      <a:lnTo>
                        <a:pt x="348668" y="1591747"/>
                      </a:lnTo>
                      <a:cubicBezTo>
                        <a:pt x="336161" y="1597597"/>
                        <a:pt x="279378" y="1597093"/>
                        <a:pt x="244884" y="1597194"/>
                      </a:cubicBezTo>
                      <a:lnTo>
                        <a:pt x="244884" y="1597194"/>
                      </a:lnTo>
                      <a:cubicBezTo>
                        <a:pt x="220275" y="1597194"/>
                        <a:pt x="203230" y="1589427"/>
                        <a:pt x="202826" y="1575206"/>
                      </a:cubicBezTo>
                      <a:lnTo>
                        <a:pt x="202826" y="1575206"/>
                      </a:lnTo>
                      <a:cubicBezTo>
                        <a:pt x="202826" y="1569558"/>
                        <a:pt x="205953" y="1563910"/>
                        <a:pt x="211399" y="1558464"/>
                      </a:cubicBezTo>
                      <a:lnTo>
                        <a:pt x="211399" y="1558464"/>
                      </a:lnTo>
                      <a:cubicBezTo>
                        <a:pt x="223603" y="1546159"/>
                        <a:pt x="231672" y="1537485"/>
                        <a:pt x="231370" y="1529618"/>
                      </a:cubicBezTo>
                      <a:lnTo>
                        <a:pt x="231370" y="1529618"/>
                      </a:lnTo>
                      <a:cubicBezTo>
                        <a:pt x="231370" y="1525584"/>
                        <a:pt x="229554" y="1520844"/>
                        <a:pt x="224511" y="1514893"/>
                      </a:cubicBezTo>
                      <a:lnTo>
                        <a:pt x="224511" y="1514893"/>
                      </a:lnTo>
                      <a:cubicBezTo>
                        <a:pt x="216341" y="1505715"/>
                        <a:pt x="209282" y="1502991"/>
                        <a:pt x="198792" y="1502991"/>
                      </a:cubicBezTo>
                      <a:lnTo>
                        <a:pt x="198792" y="1502991"/>
                      </a:lnTo>
                      <a:cubicBezTo>
                        <a:pt x="189311" y="1502891"/>
                        <a:pt x="177410" y="1505413"/>
                        <a:pt x="161273" y="1507833"/>
                      </a:cubicBezTo>
                      <a:lnTo>
                        <a:pt x="161273" y="1507833"/>
                      </a:lnTo>
                      <a:cubicBezTo>
                        <a:pt x="131923" y="1512170"/>
                        <a:pt x="112054" y="1518826"/>
                        <a:pt x="79678" y="1518826"/>
                      </a:cubicBezTo>
                      <a:lnTo>
                        <a:pt x="79678" y="1518826"/>
                      </a:lnTo>
                      <a:cubicBezTo>
                        <a:pt x="74635" y="1518826"/>
                        <a:pt x="69189" y="1518725"/>
                        <a:pt x="63440" y="1518423"/>
                      </a:cubicBezTo>
                      <a:lnTo>
                        <a:pt x="63440" y="1518423"/>
                      </a:lnTo>
                      <a:cubicBezTo>
                        <a:pt x="38124" y="1516709"/>
                        <a:pt x="16036" y="1504505"/>
                        <a:pt x="1210" y="1494520"/>
                      </a:cubicBezTo>
                      <a:lnTo>
                        <a:pt x="1210" y="1494520"/>
                      </a:lnTo>
                      <a:cubicBezTo>
                        <a:pt x="302" y="1493814"/>
                        <a:pt x="0" y="1492906"/>
                        <a:pt x="0" y="1491897"/>
                      </a:cubicBezTo>
                      <a:lnTo>
                        <a:pt x="0" y="1491897"/>
                      </a:lnTo>
                      <a:cubicBezTo>
                        <a:pt x="100" y="1490989"/>
                        <a:pt x="705" y="1490082"/>
                        <a:pt x="1613" y="1489578"/>
                      </a:cubicBezTo>
                      <a:lnTo>
                        <a:pt x="1613" y="1489578"/>
                      </a:lnTo>
                      <a:cubicBezTo>
                        <a:pt x="14624" y="1483526"/>
                        <a:pt x="20676" y="1476062"/>
                        <a:pt x="21382" y="1475457"/>
                      </a:cubicBezTo>
                      <a:lnTo>
                        <a:pt x="21382" y="1475457"/>
                      </a:lnTo>
                      <a:cubicBezTo>
                        <a:pt x="21382" y="1475457"/>
                        <a:pt x="85730" y="1435417"/>
                        <a:pt x="104993" y="1425028"/>
                      </a:cubicBezTo>
                      <a:lnTo>
                        <a:pt x="104993" y="1425028"/>
                      </a:lnTo>
                      <a:cubicBezTo>
                        <a:pt x="123451" y="1414539"/>
                        <a:pt x="134444" y="1412925"/>
                        <a:pt x="134948" y="1381356"/>
                      </a:cubicBezTo>
                      <a:lnTo>
                        <a:pt x="134948" y="1381356"/>
                      </a:lnTo>
                      <a:cubicBezTo>
                        <a:pt x="134948" y="1379440"/>
                        <a:pt x="134948" y="1377523"/>
                        <a:pt x="134848" y="1375507"/>
                      </a:cubicBezTo>
                      <a:lnTo>
                        <a:pt x="134848" y="1375507"/>
                      </a:lnTo>
                      <a:cubicBezTo>
                        <a:pt x="134747" y="1372783"/>
                        <a:pt x="134646" y="1370060"/>
                        <a:pt x="134646" y="1367437"/>
                      </a:cubicBezTo>
                      <a:lnTo>
                        <a:pt x="134646" y="1367437"/>
                      </a:lnTo>
                      <a:cubicBezTo>
                        <a:pt x="134646" y="1331734"/>
                        <a:pt x="145438" y="1296433"/>
                        <a:pt x="175393" y="1292702"/>
                      </a:cubicBezTo>
                      <a:lnTo>
                        <a:pt x="175393" y="1292702"/>
                      </a:lnTo>
                      <a:cubicBezTo>
                        <a:pt x="177309" y="1292197"/>
                        <a:pt x="179326" y="1292096"/>
                        <a:pt x="181243" y="1292096"/>
                      </a:cubicBezTo>
                      <a:lnTo>
                        <a:pt x="181243" y="1292096"/>
                      </a:lnTo>
                      <a:cubicBezTo>
                        <a:pt x="197985" y="1292197"/>
                        <a:pt x="213416" y="1300064"/>
                        <a:pt x="223805" y="1299863"/>
                      </a:cubicBezTo>
                      <a:lnTo>
                        <a:pt x="223805" y="1299863"/>
                      </a:lnTo>
                      <a:cubicBezTo>
                        <a:pt x="231067" y="1299661"/>
                        <a:pt x="235706" y="1297442"/>
                        <a:pt x="239236" y="1284431"/>
                      </a:cubicBezTo>
                      <a:lnTo>
                        <a:pt x="239236" y="1284431"/>
                      </a:lnTo>
                      <a:cubicBezTo>
                        <a:pt x="247809" y="1250039"/>
                        <a:pt x="244380" y="1241364"/>
                        <a:pt x="253256" y="1219781"/>
                      </a:cubicBezTo>
                      <a:lnTo>
                        <a:pt x="253256" y="1219781"/>
                      </a:lnTo>
                      <a:cubicBezTo>
                        <a:pt x="257391" y="1209695"/>
                        <a:pt x="258702" y="1197794"/>
                        <a:pt x="258702" y="1186195"/>
                      </a:cubicBezTo>
                      <a:lnTo>
                        <a:pt x="258702" y="1186195"/>
                      </a:lnTo>
                      <a:cubicBezTo>
                        <a:pt x="258702" y="1174798"/>
                        <a:pt x="257492" y="1163704"/>
                        <a:pt x="256584" y="1155332"/>
                      </a:cubicBezTo>
                      <a:lnTo>
                        <a:pt x="256584" y="1155332"/>
                      </a:lnTo>
                      <a:cubicBezTo>
                        <a:pt x="256281" y="1154324"/>
                        <a:pt x="256281" y="1153416"/>
                        <a:pt x="256281" y="1152912"/>
                      </a:cubicBezTo>
                      <a:lnTo>
                        <a:pt x="256281" y="1152912"/>
                      </a:lnTo>
                      <a:cubicBezTo>
                        <a:pt x="257189" y="1133748"/>
                        <a:pt x="281799" y="1129412"/>
                        <a:pt x="296121" y="1121040"/>
                      </a:cubicBezTo>
                      <a:lnTo>
                        <a:pt x="296121" y="1121040"/>
                      </a:lnTo>
                      <a:cubicBezTo>
                        <a:pt x="310644" y="1113072"/>
                        <a:pt x="321234" y="1092296"/>
                        <a:pt x="337371" y="1077873"/>
                      </a:cubicBezTo>
                      <a:lnTo>
                        <a:pt x="337371" y="1077873"/>
                      </a:lnTo>
                      <a:cubicBezTo>
                        <a:pt x="353105" y="1064560"/>
                        <a:pt x="360872" y="1037328"/>
                        <a:pt x="372269" y="1035411"/>
                      </a:cubicBezTo>
                      <a:lnTo>
                        <a:pt x="372269" y="1035411"/>
                      </a:lnTo>
                      <a:cubicBezTo>
                        <a:pt x="372269" y="1035411"/>
                        <a:pt x="379026" y="1024014"/>
                        <a:pt x="379026" y="1012315"/>
                      </a:cubicBezTo>
                      <a:lnTo>
                        <a:pt x="379026" y="1012315"/>
                      </a:lnTo>
                      <a:cubicBezTo>
                        <a:pt x="379026" y="1005557"/>
                        <a:pt x="377413" y="999607"/>
                        <a:pt x="373882" y="996782"/>
                      </a:cubicBezTo>
                      <a:lnTo>
                        <a:pt x="373882" y="996782"/>
                      </a:lnTo>
                      <a:cubicBezTo>
                        <a:pt x="361477" y="985991"/>
                        <a:pt x="333438" y="953514"/>
                        <a:pt x="310846" y="948673"/>
                      </a:cubicBezTo>
                      <a:lnTo>
                        <a:pt x="310846" y="948673"/>
                      </a:lnTo>
                      <a:cubicBezTo>
                        <a:pt x="295919" y="945647"/>
                        <a:pt x="288253" y="937478"/>
                        <a:pt x="288455" y="926282"/>
                      </a:cubicBezTo>
                      <a:lnTo>
                        <a:pt x="288455" y="926282"/>
                      </a:lnTo>
                      <a:cubicBezTo>
                        <a:pt x="288455" y="918517"/>
                        <a:pt x="291582" y="909742"/>
                        <a:pt x="296726" y="899454"/>
                      </a:cubicBezTo>
                      <a:lnTo>
                        <a:pt x="296726" y="899454"/>
                      </a:lnTo>
                      <a:cubicBezTo>
                        <a:pt x="299549" y="893806"/>
                        <a:pt x="300558" y="888965"/>
                        <a:pt x="300558" y="884628"/>
                      </a:cubicBezTo>
                      <a:lnTo>
                        <a:pt x="300558" y="884628"/>
                      </a:lnTo>
                      <a:cubicBezTo>
                        <a:pt x="300760" y="870709"/>
                        <a:pt x="289262" y="859111"/>
                        <a:pt x="281193" y="842873"/>
                      </a:cubicBezTo>
                      <a:lnTo>
                        <a:pt x="281193" y="842873"/>
                      </a:lnTo>
                      <a:cubicBezTo>
                        <a:pt x="274537" y="829559"/>
                        <a:pt x="259912" y="794259"/>
                        <a:pt x="252348" y="771162"/>
                      </a:cubicBezTo>
                      <a:lnTo>
                        <a:pt x="252348" y="771162"/>
                      </a:lnTo>
                      <a:cubicBezTo>
                        <a:pt x="251137" y="771162"/>
                        <a:pt x="250129" y="770254"/>
                        <a:pt x="249625" y="769245"/>
                      </a:cubicBezTo>
                      <a:lnTo>
                        <a:pt x="249625" y="769245"/>
                      </a:lnTo>
                      <a:cubicBezTo>
                        <a:pt x="249221" y="768035"/>
                        <a:pt x="249725" y="766724"/>
                        <a:pt x="250734" y="766119"/>
                      </a:cubicBezTo>
                      <a:lnTo>
                        <a:pt x="250734" y="766119"/>
                      </a:lnTo>
                      <a:cubicBezTo>
                        <a:pt x="253457" y="764202"/>
                        <a:pt x="255373" y="763799"/>
                        <a:pt x="256786" y="762186"/>
                      </a:cubicBezTo>
                      <a:lnTo>
                        <a:pt x="256786" y="762186"/>
                      </a:lnTo>
                      <a:cubicBezTo>
                        <a:pt x="270603" y="748166"/>
                        <a:pt x="288052" y="736466"/>
                        <a:pt x="306408" y="736466"/>
                      </a:cubicBezTo>
                      <a:lnTo>
                        <a:pt x="306408" y="736466"/>
                      </a:lnTo>
                      <a:cubicBezTo>
                        <a:pt x="318814" y="736466"/>
                        <a:pt x="331320" y="742316"/>
                        <a:pt x="342314" y="755933"/>
                      </a:cubicBezTo>
                      <a:lnTo>
                        <a:pt x="342314" y="755933"/>
                      </a:lnTo>
                      <a:cubicBezTo>
                        <a:pt x="369545" y="789619"/>
                        <a:pt x="357140" y="796780"/>
                        <a:pt x="398694" y="797082"/>
                      </a:cubicBezTo>
                      <a:lnTo>
                        <a:pt x="398694" y="797082"/>
                      </a:lnTo>
                      <a:cubicBezTo>
                        <a:pt x="439743" y="797284"/>
                        <a:pt x="494912" y="768237"/>
                        <a:pt x="534449" y="758252"/>
                      </a:cubicBezTo>
                      <a:lnTo>
                        <a:pt x="534449" y="758252"/>
                      </a:lnTo>
                      <a:cubicBezTo>
                        <a:pt x="540400" y="756638"/>
                        <a:pt x="545847" y="755933"/>
                        <a:pt x="550688" y="755933"/>
                      </a:cubicBezTo>
                      <a:lnTo>
                        <a:pt x="550688" y="755933"/>
                      </a:lnTo>
                      <a:cubicBezTo>
                        <a:pt x="573179" y="755933"/>
                        <a:pt x="580945" y="772372"/>
                        <a:pt x="580945" y="786089"/>
                      </a:cubicBezTo>
                      <a:lnTo>
                        <a:pt x="580945" y="786089"/>
                      </a:lnTo>
                      <a:cubicBezTo>
                        <a:pt x="580945" y="788712"/>
                        <a:pt x="580743" y="791535"/>
                        <a:pt x="580340" y="794158"/>
                      </a:cubicBezTo>
                      <a:lnTo>
                        <a:pt x="580340" y="794158"/>
                      </a:lnTo>
                      <a:cubicBezTo>
                        <a:pt x="579735" y="796679"/>
                        <a:pt x="579231" y="799403"/>
                        <a:pt x="579231" y="801621"/>
                      </a:cubicBezTo>
                      <a:lnTo>
                        <a:pt x="579231" y="801621"/>
                      </a:lnTo>
                      <a:cubicBezTo>
                        <a:pt x="579735" y="809791"/>
                        <a:pt x="582054" y="814632"/>
                        <a:pt x="598696" y="815036"/>
                      </a:cubicBezTo>
                      <a:lnTo>
                        <a:pt x="598696" y="815036"/>
                      </a:lnTo>
                      <a:cubicBezTo>
                        <a:pt x="603436" y="815036"/>
                        <a:pt x="609185" y="814632"/>
                        <a:pt x="616145" y="813421"/>
                      </a:cubicBezTo>
                      <a:lnTo>
                        <a:pt x="616145" y="813421"/>
                      </a:lnTo>
                      <a:cubicBezTo>
                        <a:pt x="623407" y="812010"/>
                        <a:pt x="631172" y="811606"/>
                        <a:pt x="639141" y="811606"/>
                      </a:cubicBezTo>
                      <a:lnTo>
                        <a:pt x="639141" y="811606"/>
                      </a:lnTo>
                      <a:cubicBezTo>
                        <a:pt x="675450" y="812413"/>
                        <a:pt x="714986" y="820986"/>
                        <a:pt x="717003" y="839040"/>
                      </a:cubicBezTo>
                      <a:lnTo>
                        <a:pt x="717003" y="839040"/>
                      </a:lnTo>
                      <a:cubicBezTo>
                        <a:pt x="717003" y="854471"/>
                        <a:pt x="722954" y="898042"/>
                        <a:pt x="761885" y="898042"/>
                      </a:cubicBezTo>
                      <a:lnTo>
                        <a:pt x="761885" y="898042"/>
                      </a:lnTo>
                      <a:cubicBezTo>
                        <a:pt x="763197" y="898042"/>
                        <a:pt x="764609" y="898042"/>
                        <a:pt x="765920" y="897941"/>
                      </a:cubicBezTo>
                      <a:lnTo>
                        <a:pt x="765920" y="897941"/>
                      </a:lnTo>
                      <a:cubicBezTo>
                        <a:pt x="809289" y="895722"/>
                        <a:pt x="814937" y="844083"/>
                        <a:pt x="850742" y="842671"/>
                      </a:cubicBezTo>
                      <a:lnTo>
                        <a:pt x="850742" y="842671"/>
                      </a:lnTo>
                      <a:cubicBezTo>
                        <a:pt x="868089" y="842772"/>
                        <a:pt x="883622" y="850437"/>
                        <a:pt x="892094" y="850235"/>
                      </a:cubicBezTo>
                      <a:lnTo>
                        <a:pt x="892094" y="850235"/>
                      </a:lnTo>
                      <a:cubicBezTo>
                        <a:pt x="897742" y="849832"/>
                        <a:pt x="900364" y="848622"/>
                        <a:pt x="900868" y="833997"/>
                      </a:cubicBezTo>
                      <a:lnTo>
                        <a:pt x="900868" y="833997"/>
                      </a:lnTo>
                      <a:cubicBezTo>
                        <a:pt x="900868" y="830063"/>
                        <a:pt x="900566" y="825323"/>
                        <a:pt x="899860" y="819675"/>
                      </a:cubicBezTo>
                      <a:lnTo>
                        <a:pt x="899860" y="819675"/>
                      </a:lnTo>
                      <a:cubicBezTo>
                        <a:pt x="893405" y="764808"/>
                        <a:pt x="874343" y="730617"/>
                        <a:pt x="840152" y="721338"/>
                      </a:cubicBezTo>
                      <a:lnTo>
                        <a:pt x="840152" y="721338"/>
                      </a:lnTo>
                      <a:cubicBezTo>
                        <a:pt x="807474" y="711756"/>
                        <a:pt x="749883" y="693501"/>
                        <a:pt x="748673" y="661831"/>
                      </a:cubicBezTo>
                      <a:lnTo>
                        <a:pt x="748673" y="661831"/>
                      </a:lnTo>
                      <a:cubicBezTo>
                        <a:pt x="748673" y="658806"/>
                        <a:pt x="749278" y="655578"/>
                        <a:pt x="750488" y="652452"/>
                      </a:cubicBezTo>
                      <a:lnTo>
                        <a:pt x="750488" y="652452"/>
                      </a:lnTo>
                      <a:cubicBezTo>
                        <a:pt x="762390" y="625422"/>
                        <a:pt x="748169" y="575900"/>
                        <a:pt x="774896" y="573076"/>
                      </a:cubicBezTo>
                      <a:lnTo>
                        <a:pt x="774896" y="573076"/>
                      </a:lnTo>
                      <a:cubicBezTo>
                        <a:pt x="778426" y="573076"/>
                        <a:pt x="782259" y="574185"/>
                        <a:pt x="786797" y="576303"/>
                      </a:cubicBezTo>
                      <a:lnTo>
                        <a:pt x="786797" y="576303"/>
                      </a:lnTo>
                      <a:cubicBezTo>
                        <a:pt x="806566" y="585078"/>
                        <a:pt x="823409" y="591936"/>
                        <a:pt x="835714" y="591936"/>
                      </a:cubicBezTo>
                      <a:lnTo>
                        <a:pt x="835714" y="591936"/>
                      </a:lnTo>
                      <a:cubicBezTo>
                        <a:pt x="845497" y="591835"/>
                        <a:pt x="852355" y="588205"/>
                        <a:pt x="857903" y="577614"/>
                      </a:cubicBezTo>
                      <a:lnTo>
                        <a:pt x="857903" y="577614"/>
                      </a:lnTo>
                      <a:cubicBezTo>
                        <a:pt x="859415" y="574286"/>
                        <a:pt x="859920" y="571563"/>
                        <a:pt x="859920" y="568839"/>
                      </a:cubicBezTo>
                      <a:lnTo>
                        <a:pt x="859920" y="568839"/>
                      </a:lnTo>
                      <a:cubicBezTo>
                        <a:pt x="860424" y="555224"/>
                        <a:pt x="844489" y="540599"/>
                        <a:pt x="844287" y="519015"/>
                      </a:cubicBezTo>
                      <a:lnTo>
                        <a:pt x="844287" y="519015"/>
                      </a:lnTo>
                      <a:cubicBezTo>
                        <a:pt x="844287" y="510140"/>
                        <a:pt x="847212" y="500357"/>
                        <a:pt x="854877" y="489464"/>
                      </a:cubicBezTo>
                      <a:lnTo>
                        <a:pt x="854877" y="489464"/>
                      </a:lnTo>
                      <a:cubicBezTo>
                        <a:pt x="877974" y="455878"/>
                        <a:pt x="893405" y="439741"/>
                        <a:pt x="913576" y="439640"/>
                      </a:cubicBezTo>
                      <a:lnTo>
                        <a:pt x="913576" y="439640"/>
                      </a:lnTo>
                      <a:cubicBezTo>
                        <a:pt x="918821" y="439640"/>
                        <a:pt x="924066" y="440750"/>
                        <a:pt x="929714" y="442867"/>
                      </a:cubicBezTo>
                      <a:lnTo>
                        <a:pt x="929714" y="442867"/>
                      </a:lnTo>
                      <a:cubicBezTo>
                        <a:pt x="938287" y="446095"/>
                        <a:pt x="944742" y="448112"/>
                        <a:pt x="949281" y="448011"/>
                      </a:cubicBezTo>
                      <a:lnTo>
                        <a:pt x="949281" y="448011"/>
                      </a:lnTo>
                      <a:cubicBezTo>
                        <a:pt x="957954" y="448213"/>
                        <a:pt x="964006" y="441355"/>
                        <a:pt x="975000" y="415232"/>
                      </a:cubicBezTo>
                      <a:lnTo>
                        <a:pt x="975000" y="415232"/>
                      </a:lnTo>
                      <a:cubicBezTo>
                        <a:pt x="978328" y="406760"/>
                        <a:pt x="979336" y="399195"/>
                        <a:pt x="979336" y="392337"/>
                      </a:cubicBezTo>
                      <a:lnTo>
                        <a:pt x="979336" y="392337"/>
                      </a:lnTo>
                      <a:cubicBezTo>
                        <a:pt x="979336" y="383058"/>
                        <a:pt x="977521" y="374990"/>
                        <a:pt x="977521" y="367526"/>
                      </a:cubicBezTo>
                      <a:lnTo>
                        <a:pt x="977521" y="367526"/>
                      </a:lnTo>
                      <a:cubicBezTo>
                        <a:pt x="977218" y="355020"/>
                        <a:pt x="984076" y="344631"/>
                        <a:pt x="1009392" y="338781"/>
                      </a:cubicBezTo>
                      <a:lnTo>
                        <a:pt x="1009392" y="338781"/>
                      </a:lnTo>
                      <a:cubicBezTo>
                        <a:pt x="1060427" y="326073"/>
                        <a:pt x="1099156" y="284318"/>
                        <a:pt x="1125178" y="261423"/>
                      </a:cubicBezTo>
                      <a:lnTo>
                        <a:pt x="1125178" y="261423"/>
                      </a:lnTo>
                      <a:cubicBezTo>
                        <a:pt x="1135364" y="252144"/>
                        <a:pt x="1150292" y="250026"/>
                        <a:pt x="1166227" y="250026"/>
                      </a:cubicBezTo>
                      <a:lnTo>
                        <a:pt x="1166227" y="250026"/>
                      </a:lnTo>
                      <a:cubicBezTo>
                        <a:pt x="1185794" y="250026"/>
                        <a:pt x="1207277" y="253455"/>
                        <a:pt x="1225331" y="253455"/>
                      </a:cubicBezTo>
                      <a:lnTo>
                        <a:pt x="1225331" y="253455"/>
                      </a:lnTo>
                      <a:cubicBezTo>
                        <a:pt x="1233298" y="253455"/>
                        <a:pt x="1240661" y="252850"/>
                        <a:pt x="1246511" y="251035"/>
                      </a:cubicBezTo>
                      <a:lnTo>
                        <a:pt x="1246511" y="251035"/>
                      </a:lnTo>
                      <a:cubicBezTo>
                        <a:pt x="1270616" y="243772"/>
                        <a:pt x="1291897" y="214725"/>
                        <a:pt x="1291796" y="179728"/>
                      </a:cubicBezTo>
                      <a:lnTo>
                        <a:pt x="1291796" y="179728"/>
                      </a:lnTo>
                      <a:cubicBezTo>
                        <a:pt x="1291796" y="170348"/>
                        <a:pt x="1290284" y="160564"/>
                        <a:pt x="1287056" y="150478"/>
                      </a:cubicBezTo>
                      <a:lnTo>
                        <a:pt x="1287056" y="150478"/>
                      </a:lnTo>
                      <a:cubicBezTo>
                        <a:pt x="1274348" y="113161"/>
                        <a:pt x="1249435" y="110034"/>
                        <a:pt x="1232592" y="109833"/>
                      </a:cubicBezTo>
                      <a:lnTo>
                        <a:pt x="1232592" y="109833"/>
                      </a:lnTo>
                      <a:cubicBezTo>
                        <a:pt x="1228154" y="109833"/>
                        <a:pt x="1224322" y="110135"/>
                        <a:pt x="1221296" y="110135"/>
                      </a:cubicBezTo>
                      <a:lnTo>
                        <a:pt x="1221296" y="110135"/>
                      </a:lnTo>
                      <a:cubicBezTo>
                        <a:pt x="1210504" y="109530"/>
                        <a:pt x="1196788" y="93897"/>
                        <a:pt x="1196485" y="73826"/>
                      </a:cubicBezTo>
                      <a:lnTo>
                        <a:pt x="1196485" y="73826"/>
                      </a:lnTo>
                      <a:cubicBezTo>
                        <a:pt x="1196485" y="61017"/>
                        <a:pt x="1202839" y="46493"/>
                        <a:pt x="1219683" y="33684"/>
                      </a:cubicBezTo>
                      <a:lnTo>
                        <a:pt x="1219683" y="33684"/>
                      </a:lnTo>
                      <a:cubicBezTo>
                        <a:pt x="1241670" y="16639"/>
                        <a:pt x="1255991" y="9881"/>
                        <a:pt x="1267388" y="9780"/>
                      </a:cubicBezTo>
                      <a:lnTo>
                        <a:pt x="1267388" y="9780"/>
                      </a:lnTo>
                      <a:cubicBezTo>
                        <a:pt x="1278180" y="9780"/>
                        <a:pt x="1285342" y="16337"/>
                        <a:pt x="1291695" y="24405"/>
                      </a:cubicBezTo>
                      <a:lnTo>
                        <a:pt x="1291695" y="24405"/>
                      </a:lnTo>
                      <a:cubicBezTo>
                        <a:pt x="1304000" y="40038"/>
                        <a:pt x="1315800" y="69892"/>
                        <a:pt x="1343133" y="69590"/>
                      </a:cubicBezTo>
                      <a:lnTo>
                        <a:pt x="1343133" y="69590"/>
                      </a:lnTo>
                      <a:cubicBezTo>
                        <a:pt x="1345554" y="69590"/>
                        <a:pt x="1348176" y="69388"/>
                        <a:pt x="1351000" y="68984"/>
                      </a:cubicBezTo>
                      <a:lnTo>
                        <a:pt x="1351000" y="68984"/>
                      </a:lnTo>
                      <a:cubicBezTo>
                        <a:pt x="1386401" y="62328"/>
                        <a:pt x="1400925" y="56882"/>
                        <a:pt x="1436831" y="5141"/>
                      </a:cubicBezTo>
                      <a:lnTo>
                        <a:pt x="1436831" y="5141"/>
                      </a:lnTo>
                      <a:cubicBezTo>
                        <a:pt x="1437840" y="3628"/>
                        <a:pt x="1438445" y="2720"/>
                        <a:pt x="1439453" y="1208"/>
                      </a:cubicBezTo>
                      <a:lnTo>
                        <a:pt x="1439453" y="1208"/>
                      </a:lnTo>
                      <a:cubicBezTo>
                        <a:pt x="1439957" y="199"/>
                        <a:pt x="1441269" y="-204"/>
                        <a:pt x="1442479" y="98"/>
                      </a:cubicBezTo>
                      <a:lnTo>
                        <a:pt x="1442479" y="98"/>
                      </a:lnTo>
                      <a:cubicBezTo>
                        <a:pt x="1443588" y="401"/>
                        <a:pt x="1444395" y="1410"/>
                        <a:pt x="1444496" y="2720"/>
                      </a:cubicBezTo>
                      <a:lnTo>
                        <a:pt x="1444496" y="2720"/>
                      </a:lnTo>
                      <a:cubicBezTo>
                        <a:pt x="1447522" y="70094"/>
                        <a:pt x="1469913" y="71607"/>
                        <a:pt x="1486655" y="72212"/>
                      </a:cubicBezTo>
                      <a:lnTo>
                        <a:pt x="1486655" y="72212"/>
                      </a:lnTo>
                      <a:cubicBezTo>
                        <a:pt x="1489176" y="72212"/>
                        <a:pt x="1491597" y="72212"/>
                        <a:pt x="1493816" y="72212"/>
                      </a:cubicBezTo>
                      <a:lnTo>
                        <a:pt x="1493816" y="72212"/>
                      </a:lnTo>
                      <a:cubicBezTo>
                        <a:pt x="1509953" y="72515"/>
                        <a:pt x="1517820" y="90165"/>
                        <a:pt x="1517921" y="109429"/>
                      </a:cubicBezTo>
                      <a:lnTo>
                        <a:pt x="1517921" y="109429"/>
                      </a:lnTo>
                      <a:cubicBezTo>
                        <a:pt x="1517921" y="116388"/>
                        <a:pt x="1516912" y="123751"/>
                        <a:pt x="1514795" y="131013"/>
                      </a:cubicBezTo>
                      <a:lnTo>
                        <a:pt x="1514795" y="131013"/>
                      </a:lnTo>
                      <a:cubicBezTo>
                        <a:pt x="1511971" y="139686"/>
                        <a:pt x="1510659" y="148562"/>
                        <a:pt x="1510659" y="156530"/>
                      </a:cubicBezTo>
                      <a:lnTo>
                        <a:pt x="1510659" y="156530"/>
                      </a:lnTo>
                      <a:cubicBezTo>
                        <a:pt x="1510659" y="171860"/>
                        <a:pt x="1515702" y="183459"/>
                        <a:pt x="1526393" y="187998"/>
                      </a:cubicBezTo>
                      <a:lnTo>
                        <a:pt x="1526393" y="187998"/>
                      </a:lnTo>
                      <a:cubicBezTo>
                        <a:pt x="1544245" y="195764"/>
                        <a:pt x="1566132" y="198487"/>
                        <a:pt x="1585194" y="220373"/>
                      </a:cubicBezTo>
                      <a:lnTo>
                        <a:pt x="1585194" y="220373"/>
                      </a:lnTo>
                      <a:cubicBezTo>
                        <a:pt x="1590439" y="226122"/>
                        <a:pt x="1597095" y="228341"/>
                        <a:pt x="1604660" y="228341"/>
                      </a:cubicBezTo>
                      <a:lnTo>
                        <a:pt x="1604660" y="228341"/>
                      </a:lnTo>
                      <a:cubicBezTo>
                        <a:pt x="1620898" y="228442"/>
                        <a:pt x="1640363" y="217348"/>
                        <a:pt x="1647020" y="212204"/>
                      </a:cubicBezTo>
                      <a:lnTo>
                        <a:pt x="1647020" y="212204"/>
                      </a:lnTo>
                      <a:cubicBezTo>
                        <a:pt x="1651155" y="208976"/>
                        <a:pt x="1658316" y="207968"/>
                        <a:pt x="1667091" y="207867"/>
                      </a:cubicBezTo>
                      <a:lnTo>
                        <a:pt x="1667091" y="207867"/>
                      </a:lnTo>
                      <a:cubicBezTo>
                        <a:pt x="1685851" y="207867"/>
                        <a:pt x="1712881" y="214120"/>
                        <a:pt x="1713486" y="236511"/>
                      </a:cubicBezTo>
                      <a:lnTo>
                        <a:pt x="1713486" y="236511"/>
                      </a:lnTo>
                      <a:cubicBezTo>
                        <a:pt x="1713486" y="242764"/>
                        <a:pt x="1711166" y="249723"/>
                        <a:pt x="1706325" y="257792"/>
                      </a:cubicBezTo>
                      <a:lnTo>
                        <a:pt x="1706325" y="257792"/>
                      </a:lnTo>
                      <a:cubicBezTo>
                        <a:pt x="1699668" y="268382"/>
                        <a:pt x="1697147" y="277056"/>
                        <a:pt x="1697147" y="284015"/>
                      </a:cubicBezTo>
                      <a:lnTo>
                        <a:pt x="1697147" y="284015"/>
                      </a:lnTo>
                      <a:cubicBezTo>
                        <a:pt x="1696743" y="306507"/>
                        <a:pt x="1724379" y="316290"/>
                        <a:pt x="1737692" y="333335"/>
                      </a:cubicBezTo>
                      <a:lnTo>
                        <a:pt x="1737692" y="333335"/>
                      </a:lnTo>
                      <a:cubicBezTo>
                        <a:pt x="1741323" y="338075"/>
                        <a:pt x="1742937" y="342816"/>
                        <a:pt x="1742937" y="347253"/>
                      </a:cubicBezTo>
                      <a:lnTo>
                        <a:pt x="1742937" y="347253"/>
                      </a:lnTo>
                      <a:cubicBezTo>
                        <a:pt x="1742735" y="359659"/>
                        <a:pt x="1730430" y="367324"/>
                        <a:pt x="1716713" y="367324"/>
                      </a:cubicBezTo>
                      <a:lnTo>
                        <a:pt x="1716713" y="367324"/>
                      </a:lnTo>
                      <a:cubicBezTo>
                        <a:pt x="1711368" y="367324"/>
                        <a:pt x="1705619" y="366215"/>
                        <a:pt x="1700172" y="363794"/>
                      </a:cubicBezTo>
                      <a:lnTo>
                        <a:pt x="1700172" y="363794"/>
                      </a:lnTo>
                      <a:cubicBezTo>
                        <a:pt x="1696844" y="362281"/>
                        <a:pt x="1693819" y="361777"/>
                        <a:pt x="1690894" y="361777"/>
                      </a:cubicBezTo>
                      <a:lnTo>
                        <a:pt x="1690894" y="361777"/>
                      </a:lnTo>
                      <a:cubicBezTo>
                        <a:pt x="1675059" y="361373"/>
                        <a:pt x="1661443" y="383159"/>
                        <a:pt x="1659224" y="411601"/>
                      </a:cubicBezTo>
                      <a:lnTo>
                        <a:pt x="1659224" y="411601"/>
                      </a:lnTo>
                      <a:cubicBezTo>
                        <a:pt x="1656602" y="446196"/>
                        <a:pt x="1646112" y="470704"/>
                        <a:pt x="1629067" y="482101"/>
                      </a:cubicBezTo>
                      <a:lnTo>
                        <a:pt x="1629067" y="482101"/>
                      </a:lnTo>
                      <a:cubicBezTo>
                        <a:pt x="1619788" y="488052"/>
                        <a:pt x="1607887" y="504189"/>
                        <a:pt x="1607988" y="517805"/>
                      </a:cubicBezTo>
                      <a:lnTo>
                        <a:pt x="1607988" y="517805"/>
                      </a:lnTo>
                      <a:cubicBezTo>
                        <a:pt x="1608189" y="525369"/>
                        <a:pt x="1611316" y="532329"/>
                        <a:pt x="1620999" y="537674"/>
                      </a:cubicBezTo>
                      <a:lnTo>
                        <a:pt x="1620999" y="537674"/>
                      </a:lnTo>
                      <a:cubicBezTo>
                        <a:pt x="1641574" y="548567"/>
                        <a:pt x="1647726" y="557241"/>
                        <a:pt x="1647625" y="568335"/>
                      </a:cubicBezTo>
                      <a:lnTo>
                        <a:pt x="1647625" y="568335"/>
                      </a:lnTo>
                      <a:cubicBezTo>
                        <a:pt x="1647625" y="572773"/>
                        <a:pt x="1646818" y="577312"/>
                        <a:pt x="1646011" y="582557"/>
                      </a:cubicBezTo>
                      <a:lnTo>
                        <a:pt x="1646011" y="582557"/>
                      </a:lnTo>
                      <a:cubicBezTo>
                        <a:pt x="1644801" y="590020"/>
                        <a:pt x="1642381" y="597685"/>
                        <a:pt x="1642381" y="609788"/>
                      </a:cubicBezTo>
                      <a:lnTo>
                        <a:pt x="1642381" y="609788"/>
                      </a:lnTo>
                      <a:cubicBezTo>
                        <a:pt x="1642381" y="628346"/>
                        <a:pt x="1648634" y="658100"/>
                        <a:pt x="1677177" y="712362"/>
                      </a:cubicBezTo>
                      <a:lnTo>
                        <a:pt x="1677177" y="712362"/>
                      </a:lnTo>
                      <a:cubicBezTo>
                        <a:pt x="1705921" y="766018"/>
                        <a:pt x="1734868" y="772574"/>
                        <a:pt x="1764117" y="772776"/>
                      </a:cubicBezTo>
                      <a:lnTo>
                        <a:pt x="1764117" y="772776"/>
                      </a:lnTo>
                      <a:cubicBezTo>
                        <a:pt x="1775514" y="772776"/>
                        <a:pt x="1786810" y="771767"/>
                        <a:pt x="1798005" y="771767"/>
                      </a:cubicBezTo>
                      <a:lnTo>
                        <a:pt x="1798005" y="771767"/>
                      </a:lnTo>
                      <a:cubicBezTo>
                        <a:pt x="1805368" y="771767"/>
                        <a:pt x="1812731" y="772272"/>
                        <a:pt x="1819992" y="773986"/>
                      </a:cubicBezTo>
                      <a:lnTo>
                        <a:pt x="1819992" y="773986"/>
                      </a:lnTo>
                      <a:cubicBezTo>
                        <a:pt x="1865682" y="784879"/>
                        <a:pt x="1926298" y="837628"/>
                        <a:pt x="1959278" y="847714"/>
                      </a:cubicBezTo>
                      <a:lnTo>
                        <a:pt x="1959278" y="847714"/>
                      </a:lnTo>
                      <a:cubicBezTo>
                        <a:pt x="1962909" y="848622"/>
                        <a:pt x="1966237" y="849227"/>
                        <a:pt x="1969163" y="849227"/>
                      </a:cubicBezTo>
                      <a:lnTo>
                        <a:pt x="1969163" y="849227"/>
                      </a:lnTo>
                      <a:cubicBezTo>
                        <a:pt x="1993368" y="849932"/>
                        <a:pt x="2005068" y="817153"/>
                        <a:pt x="2026954" y="816044"/>
                      </a:cubicBezTo>
                      <a:lnTo>
                        <a:pt x="2026954" y="816044"/>
                      </a:lnTo>
                      <a:cubicBezTo>
                        <a:pt x="2047328" y="816145"/>
                        <a:pt x="2073047" y="808278"/>
                        <a:pt x="2088075" y="793250"/>
                      </a:cubicBezTo>
                      <a:lnTo>
                        <a:pt x="2088075" y="793250"/>
                      </a:lnTo>
                      <a:cubicBezTo>
                        <a:pt x="2095538" y="785685"/>
                        <a:pt x="2104313" y="781348"/>
                        <a:pt x="2112382" y="781248"/>
                      </a:cubicBezTo>
                      <a:lnTo>
                        <a:pt x="2112382" y="781248"/>
                      </a:lnTo>
                      <a:cubicBezTo>
                        <a:pt x="2122468" y="781147"/>
                        <a:pt x="2130940" y="788812"/>
                        <a:pt x="2132251" y="802730"/>
                      </a:cubicBezTo>
                      <a:lnTo>
                        <a:pt x="2132251" y="802730"/>
                      </a:lnTo>
                      <a:cubicBezTo>
                        <a:pt x="2134974" y="825424"/>
                        <a:pt x="2143446" y="826433"/>
                        <a:pt x="2159785" y="837527"/>
                      </a:cubicBezTo>
                      <a:lnTo>
                        <a:pt x="2159785" y="837527"/>
                      </a:lnTo>
                      <a:lnTo>
                        <a:pt x="2158272" y="839846"/>
                      </a:lnTo>
                      <a:lnTo>
                        <a:pt x="2156759" y="842167"/>
                      </a:lnTo>
                      <a:cubicBezTo>
                        <a:pt x="2141429" y="832282"/>
                        <a:pt x="2129124" y="828147"/>
                        <a:pt x="2126603" y="803437"/>
                      </a:cubicBezTo>
                      <a:lnTo>
                        <a:pt x="2126603" y="803437"/>
                      </a:lnTo>
                      <a:cubicBezTo>
                        <a:pt x="2124989" y="791233"/>
                        <a:pt x="2119442" y="787098"/>
                        <a:pt x="2112281" y="786997"/>
                      </a:cubicBezTo>
                      <a:lnTo>
                        <a:pt x="2112281" y="786997"/>
                      </a:lnTo>
                      <a:cubicBezTo>
                        <a:pt x="2106229" y="786997"/>
                        <a:pt x="2098665" y="790426"/>
                        <a:pt x="2092008" y="797284"/>
                      </a:cubicBezTo>
                      <a:lnTo>
                        <a:pt x="2092008" y="797284"/>
                      </a:lnTo>
                      <a:cubicBezTo>
                        <a:pt x="2075265" y="813825"/>
                        <a:pt x="2048639" y="821793"/>
                        <a:pt x="2026954" y="821793"/>
                      </a:cubicBezTo>
                      <a:lnTo>
                        <a:pt x="2026954" y="821793"/>
                      </a:lnTo>
                      <a:cubicBezTo>
                        <a:pt x="2011321" y="820684"/>
                        <a:pt x="1997907" y="854270"/>
                        <a:pt x="1969163" y="854975"/>
                      </a:cubicBezTo>
                      <a:lnTo>
                        <a:pt x="1969163" y="854975"/>
                      </a:lnTo>
                      <a:cubicBezTo>
                        <a:pt x="1965431" y="854975"/>
                        <a:pt x="1961699" y="854370"/>
                        <a:pt x="1957665" y="853261"/>
                      </a:cubicBezTo>
                      <a:lnTo>
                        <a:pt x="1957665" y="853261"/>
                      </a:lnTo>
                      <a:cubicBezTo>
                        <a:pt x="1922465" y="842267"/>
                        <a:pt x="1862151" y="789720"/>
                        <a:pt x="1818681" y="779634"/>
                      </a:cubicBezTo>
                      <a:lnTo>
                        <a:pt x="1818681" y="779634"/>
                      </a:lnTo>
                      <a:cubicBezTo>
                        <a:pt x="1812025" y="778121"/>
                        <a:pt x="1805166" y="777718"/>
                        <a:pt x="1798005" y="777718"/>
                      </a:cubicBezTo>
                      <a:lnTo>
                        <a:pt x="1798005" y="777718"/>
                      </a:lnTo>
                      <a:cubicBezTo>
                        <a:pt x="1787213" y="777718"/>
                        <a:pt x="1775816" y="778726"/>
                        <a:pt x="1764117" y="778726"/>
                      </a:cubicBezTo>
                      <a:lnTo>
                        <a:pt x="1764117" y="778726"/>
                      </a:lnTo>
                      <a:cubicBezTo>
                        <a:pt x="1733859" y="778827"/>
                        <a:pt x="1701282" y="770355"/>
                        <a:pt x="1672436" y="715185"/>
                      </a:cubicBezTo>
                      <a:lnTo>
                        <a:pt x="1672436" y="715185"/>
                      </a:lnTo>
                      <a:cubicBezTo>
                        <a:pt x="1643390" y="660520"/>
                        <a:pt x="1636733" y="630061"/>
                        <a:pt x="1636733" y="610091"/>
                      </a:cubicBezTo>
                      <a:lnTo>
                        <a:pt x="1636733" y="610091"/>
                      </a:lnTo>
                      <a:cubicBezTo>
                        <a:pt x="1636733" y="597181"/>
                        <a:pt x="1639355" y="588911"/>
                        <a:pt x="1640464" y="582153"/>
                      </a:cubicBezTo>
                      <a:lnTo>
                        <a:pt x="1640464" y="582153"/>
                      </a:lnTo>
                      <a:cubicBezTo>
                        <a:pt x="1641271" y="576808"/>
                        <a:pt x="1641977" y="572370"/>
                        <a:pt x="1641977" y="568638"/>
                      </a:cubicBezTo>
                      <a:lnTo>
                        <a:pt x="1641977" y="568638"/>
                      </a:lnTo>
                      <a:cubicBezTo>
                        <a:pt x="1641977" y="559964"/>
                        <a:pt x="1638750" y="554215"/>
                        <a:pt x="1618477" y="543020"/>
                      </a:cubicBezTo>
                      <a:lnTo>
                        <a:pt x="1618477" y="543020"/>
                      </a:lnTo>
                      <a:cubicBezTo>
                        <a:pt x="1607181" y="536968"/>
                        <a:pt x="1602440" y="527488"/>
                        <a:pt x="1602642" y="518209"/>
                      </a:cubicBezTo>
                      <a:lnTo>
                        <a:pt x="1602642" y="518209"/>
                      </a:lnTo>
                      <a:cubicBezTo>
                        <a:pt x="1602743" y="501567"/>
                        <a:pt x="1615250" y="485026"/>
                        <a:pt x="1626042" y="477865"/>
                      </a:cubicBezTo>
                      <a:lnTo>
                        <a:pt x="1626042" y="477865"/>
                      </a:lnTo>
                      <a:cubicBezTo>
                        <a:pt x="1640666" y="468082"/>
                        <a:pt x="1651256" y="445288"/>
                        <a:pt x="1653778" y="411601"/>
                      </a:cubicBezTo>
                      <a:lnTo>
                        <a:pt x="1653778" y="411601"/>
                      </a:lnTo>
                      <a:cubicBezTo>
                        <a:pt x="1656097" y="382050"/>
                        <a:pt x="1669612" y="357036"/>
                        <a:pt x="1690894" y="356633"/>
                      </a:cubicBezTo>
                      <a:lnTo>
                        <a:pt x="1690894" y="356633"/>
                      </a:lnTo>
                      <a:cubicBezTo>
                        <a:pt x="1694625" y="356633"/>
                        <a:pt x="1698357" y="357339"/>
                        <a:pt x="1702291" y="359155"/>
                      </a:cubicBezTo>
                      <a:lnTo>
                        <a:pt x="1702291" y="359155"/>
                      </a:lnTo>
                      <a:cubicBezTo>
                        <a:pt x="1707031" y="361273"/>
                        <a:pt x="1712074" y="362180"/>
                        <a:pt x="1716612" y="362180"/>
                      </a:cubicBezTo>
                      <a:lnTo>
                        <a:pt x="1716612" y="362180"/>
                      </a:lnTo>
                      <a:cubicBezTo>
                        <a:pt x="1728615" y="362180"/>
                        <a:pt x="1737188" y="355725"/>
                        <a:pt x="1737188" y="347657"/>
                      </a:cubicBezTo>
                      <a:lnTo>
                        <a:pt x="1737188" y="347657"/>
                      </a:lnTo>
                      <a:cubicBezTo>
                        <a:pt x="1737188" y="344631"/>
                        <a:pt x="1736078" y="341000"/>
                        <a:pt x="1732951" y="337067"/>
                      </a:cubicBezTo>
                      <a:lnTo>
                        <a:pt x="1732951" y="337067"/>
                      </a:lnTo>
                      <a:cubicBezTo>
                        <a:pt x="1722260" y="321938"/>
                        <a:pt x="1691802" y="311852"/>
                        <a:pt x="1691297" y="284419"/>
                      </a:cubicBezTo>
                      <a:lnTo>
                        <a:pt x="1691297" y="284419"/>
                      </a:lnTo>
                      <a:cubicBezTo>
                        <a:pt x="1691297" y="275946"/>
                        <a:pt x="1694323" y="266466"/>
                        <a:pt x="1701282" y="255170"/>
                      </a:cubicBezTo>
                      <a:lnTo>
                        <a:pt x="1701282" y="255170"/>
                      </a:lnTo>
                      <a:cubicBezTo>
                        <a:pt x="1705820" y="247706"/>
                        <a:pt x="1707434" y="241755"/>
                        <a:pt x="1707434" y="236914"/>
                      </a:cubicBezTo>
                      <a:lnTo>
                        <a:pt x="1707434" y="236914"/>
                      </a:lnTo>
                      <a:cubicBezTo>
                        <a:pt x="1707434" y="220575"/>
                        <a:pt x="1684943" y="213818"/>
                        <a:pt x="1666688" y="213818"/>
                      </a:cubicBezTo>
                      <a:lnTo>
                        <a:pt x="1666688" y="213818"/>
                      </a:lnTo>
                      <a:cubicBezTo>
                        <a:pt x="1658619" y="213717"/>
                        <a:pt x="1651559" y="215431"/>
                        <a:pt x="1650046" y="216944"/>
                      </a:cubicBezTo>
                      <a:lnTo>
                        <a:pt x="1650046" y="216944"/>
                      </a:lnTo>
                      <a:cubicBezTo>
                        <a:pt x="1642381" y="222391"/>
                        <a:pt x="1622814" y="234191"/>
                        <a:pt x="1604256" y="234292"/>
                      </a:cubicBezTo>
                      <a:lnTo>
                        <a:pt x="1604256" y="234292"/>
                      </a:lnTo>
                      <a:cubicBezTo>
                        <a:pt x="1595582" y="234292"/>
                        <a:pt x="1587009" y="231568"/>
                        <a:pt x="1580655" y="224408"/>
                      </a:cubicBezTo>
                      <a:lnTo>
                        <a:pt x="1580655" y="224408"/>
                      </a:lnTo>
                      <a:cubicBezTo>
                        <a:pt x="1562904" y="204034"/>
                        <a:pt x="1542833" y="201513"/>
                        <a:pt x="1523872" y="193444"/>
                      </a:cubicBezTo>
                      <a:lnTo>
                        <a:pt x="1523872" y="193444"/>
                      </a:lnTo>
                      <a:cubicBezTo>
                        <a:pt x="1510357" y="187594"/>
                        <a:pt x="1504809" y="173171"/>
                        <a:pt x="1504809" y="156933"/>
                      </a:cubicBezTo>
                      <a:lnTo>
                        <a:pt x="1504809" y="156933"/>
                      </a:lnTo>
                      <a:cubicBezTo>
                        <a:pt x="1504809" y="148260"/>
                        <a:pt x="1506322" y="138879"/>
                        <a:pt x="1509146" y="129701"/>
                      </a:cubicBezTo>
                      <a:lnTo>
                        <a:pt x="1509146" y="129701"/>
                      </a:lnTo>
                      <a:cubicBezTo>
                        <a:pt x="1511063" y="123045"/>
                        <a:pt x="1512071" y="116186"/>
                        <a:pt x="1512071" y="109833"/>
                      </a:cubicBezTo>
                      <a:lnTo>
                        <a:pt x="1512071" y="109833"/>
                      </a:lnTo>
                      <a:cubicBezTo>
                        <a:pt x="1512071" y="91476"/>
                        <a:pt x="1504406" y="78163"/>
                        <a:pt x="1493513" y="78163"/>
                      </a:cubicBezTo>
                      <a:lnTo>
                        <a:pt x="1493513" y="78163"/>
                      </a:lnTo>
                      <a:cubicBezTo>
                        <a:pt x="1491295" y="78163"/>
                        <a:pt x="1488974" y="78163"/>
                        <a:pt x="1486353" y="78163"/>
                      </a:cubicBezTo>
                      <a:lnTo>
                        <a:pt x="1486353" y="78163"/>
                      </a:lnTo>
                      <a:cubicBezTo>
                        <a:pt x="1468601" y="78667"/>
                        <a:pt x="1442681" y="72313"/>
                        <a:pt x="1438848" y="11798"/>
                      </a:cubicBezTo>
                      <a:lnTo>
                        <a:pt x="1438848" y="11798"/>
                      </a:lnTo>
                      <a:cubicBezTo>
                        <a:pt x="1404657" y="61219"/>
                        <a:pt x="1386704" y="68581"/>
                        <a:pt x="1351505" y="74834"/>
                      </a:cubicBezTo>
                      <a:lnTo>
                        <a:pt x="1351505" y="74834"/>
                      </a:lnTo>
                      <a:cubicBezTo>
                        <a:pt x="1348378" y="75339"/>
                        <a:pt x="1345554" y="75540"/>
                        <a:pt x="1342730" y="75540"/>
                      </a:cubicBezTo>
                      <a:lnTo>
                        <a:pt x="1342730" y="75540"/>
                      </a:lnTo>
                      <a:cubicBezTo>
                        <a:pt x="1310758" y="75339"/>
                        <a:pt x="1298453" y="42156"/>
                        <a:pt x="1287056" y="28238"/>
                      </a:cubicBezTo>
                      <a:lnTo>
                        <a:pt x="1287056" y="28238"/>
                      </a:lnTo>
                      <a:cubicBezTo>
                        <a:pt x="1280702" y="20471"/>
                        <a:pt x="1275356" y="15731"/>
                        <a:pt x="1266985" y="15731"/>
                      </a:cubicBezTo>
                      <a:lnTo>
                        <a:pt x="1266985" y="15731"/>
                      </a:lnTo>
                      <a:cubicBezTo>
                        <a:pt x="1257908" y="15630"/>
                        <a:pt x="1244191" y="21581"/>
                        <a:pt x="1222607" y="38425"/>
                      </a:cubicBezTo>
                      <a:lnTo>
                        <a:pt x="1222607" y="38425"/>
                      </a:lnTo>
                      <a:cubicBezTo>
                        <a:pt x="1206772" y="50628"/>
                        <a:pt x="1201729" y="63135"/>
                        <a:pt x="1201729" y="74229"/>
                      </a:cubicBezTo>
                      <a:lnTo>
                        <a:pt x="1201729" y="74229"/>
                      </a:lnTo>
                      <a:cubicBezTo>
                        <a:pt x="1201729" y="91678"/>
                        <a:pt x="1215648" y="104991"/>
                        <a:pt x="1220893" y="104991"/>
                      </a:cubicBezTo>
                      <a:lnTo>
                        <a:pt x="1220893" y="104991"/>
                      </a:lnTo>
                      <a:cubicBezTo>
                        <a:pt x="1223414" y="104991"/>
                        <a:pt x="1227348" y="104588"/>
                        <a:pt x="1232189" y="104588"/>
                      </a:cubicBezTo>
                      <a:lnTo>
                        <a:pt x="1232189" y="104588"/>
                      </a:lnTo>
                      <a:cubicBezTo>
                        <a:pt x="1249738" y="104386"/>
                        <a:pt x="1278786" y="109227"/>
                        <a:pt x="1291897" y="149167"/>
                      </a:cubicBezTo>
                      <a:lnTo>
                        <a:pt x="1291897" y="149167"/>
                      </a:lnTo>
                      <a:cubicBezTo>
                        <a:pt x="1295427" y="159757"/>
                        <a:pt x="1296940" y="170146"/>
                        <a:pt x="1296940" y="180131"/>
                      </a:cubicBezTo>
                      <a:lnTo>
                        <a:pt x="1296940" y="180131"/>
                      </a:lnTo>
                      <a:cubicBezTo>
                        <a:pt x="1296839" y="217549"/>
                        <a:pt x="1274751" y="248513"/>
                        <a:pt x="1247721" y="256884"/>
                      </a:cubicBezTo>
                      <a:lnTo>
                        <a:pt x="1247721" y="256884"/>
                      </a:lnTo>
                      <a:cubicBezTo>
                        <a:pt x="1240964" y="258800"/>
                        <a:pt x="1233197" y="259405"/>
                        <a:pt x="1224927" y="259405"/>
                      </a:cubicBezTo>
                      <a:lnTo>
                        <a:pt x="1224927" y="259405"/>
                      </a:lnTo>
                      <a:cubicBezTo>
                        <a:pt x="1206268" y="259405"/>
                        <a:pt x="1184583" y="255977"/>
                        <a:pt x="1165824" y="255977"/>
                      </a:cubicBezTo>
                      <a:lnTo>
                        <a:pt x="1165824" y="255977"/>
                      </a:lnTo>
                      <a:cubicBezTo>
                        <a:pt x="1150393" y="255977"/>
                        <a:pt x="1136877" y="258296"/>
                        <a:pt x="1128506" y="265961"/>
                      </a:cubicBezTo>
                      <a:lnTo>
                        <a:pt x="1128506" y="265961"/>
                      </a:lnTo>
                      <a:cubicBezTo>
                        <a:pt x="1102686" y="288453"/>
                        <a:pt x="1063453" y="331318"/>
                        <a:pt x="1010401" y="344530"/>
                      </a:cubicBezTo>
                      <a:lnTo>
                        <a:pt x="1010401" y="344530"/>
                      </a:lnTo>
                      <a:cubicBezTo>
                        <a:pt x="985792" y="350985"/>
                        <a:pt x="982967" y="357541"/>
                        <a:pt x="982665" y="367828"/>
                      </a:cubicBezTo>
                      <a:lnTo>
                        <a:pt x="982665" y="367828"/>
                      </a:lnTo>
                      <a:cubicBezTo>
                        <a:pt x="982665" y="374384"/>
                        <a:pt x="984480" y="382655"/>
                        <a:pt x="984480" y="392640"/>
                      </a:cubicBezTo>
                      <a:lnTo>
                        <a:pt x="984480" y="392640"/>
                      </a:lnTo>
                      <a:cubicBezTo>
                        <a:pt x="984480" y="400002"/>
                        <a:pt x="983371" y="408374"/>
                        <a:pt x="979538" y="417552"/>
                      </a:cubicBezTo>
                      <a:lnTo>
                        <a:pt x="979538" y="417552"/>
                      </a:lnTo>
                      <a:cubicBezTo>
                        <a:pt x="968847" y="443472"/>
                        <a:pt x="961888" y="453760"/>
                        <a:pt x="948877" y="453962"/>
                      </a:cubicBezTo>
                      <a:lnTo>
                        <a:pt x="948877" y="453962"/>
                      </a:lnTo>
                      <a:cubicBezTo>
                        <a:pt x="942725" y="453861"/>
                        <a:pt x="936068" y="451541"/>
                        <a:pt x="927294" y="448414"/>
                      </a:cubicBezTo>
                      <a:lnTo>
                        <a:pt x="927294" y="448414"/>
                      </a:lnTo>
                      <a:cubicBezTo>
                        <a:pt x="922150" y="446498"/>
                        <a:pt x="917409" y="445490"/>
                        <a:pt x="913173" y="445490"/>
                      </a:cubicBezTo>
                      <a:lnTo>
                        <a:pt x="913173" y="445490"/>
                      </a:lnTo>
                      <a:cubicBezTo>
                        <a:pt x="896834" y="445288"/>
                        <a:pt x="882109" y="459206"/>
                        <a:pt x="859012" y="492893"/>
                      </a:cubicBezTo>
                      <a:lnTo>
                        <a:pt x="859012" y="492893"/>
                      </a:lnTo>
                      <a:cubicBezTo>
                        <a:pt x="851851" y="503080"/>
                        <a:pt x="849532" y="511653"/>
                        <a:pt x="849532" y="519217"/>
                      </a:cubicBezTo>
                      <a:lnTo>
                        <a:pt x="849532" y="519217"/>
                      </a:lnTo>
                      <a:cubicBezTo>
                        <a:pt x="849229" y="537876"/>
                        <a:pt x="864761" y="551694"/>
                        <a:pt x="865064" y="569041"/>
                      </a:cubicBezTo>
                      <a:lnTo>
                        <a:pt x="865064" y="569041"/>
                      </a:lnTo>
                      <a:cubicBezTo>
                        <a:pt x="865064" y="572571"/>
                        <a:pt x="864257" y="576303"/>
                        <a:pt x="862542" y="580237"/>
                      </a:cubicBezTo>
                      <a:lnTo>
                        <a:pt x="862542" y="580237"/>
                      </a:lnTo>
                      <a:cubicBezTo>
                        <a:pt x="856390" y="592643"/>
                        <a:pt x="846707" y="597887"/>
                        <a:pt x="835210" y="597786"/>
                      </a:cubicBezTo>
                      <a:lnTo>
                        <a:pt x="835210" y="597786"/>
                      </a:lnTo>
                      <a:cubicBezTo>
                        <a:pt x="820988" y="597685"/>
                        <a:pt x="803842" y="590322"/>
                        <a:pt x="783973" y="581548"/>
                      </a:cubicBezTo>
                      <a:lnTo>
                        <a:pt x="783973" y="581548"/>
                      </a:lnTo>
                      <a:cubicBezTo>
                        <a:pt x="779939" y="579732"/>
                        <a:pt x="776812" y="578925"/>
                        <a:pt x="774493" y="578925"/>
                      </a:cubicBezTo>
                      <a:lnTo>
                        <a:pt x="774493" y="578925"/>
                      </a:lnTo>
                      <a:cubicBezTo>
                        <a:pt x="757650" y="576303"/>
                        <a:pt x="766020" y="624312"/>
                        <a:pt x="755329" y="654771"/>
                      </a:cubicBezTo>
                      <a:lnTo>
                        <a:pt x="755329" y="654771"/>
                      </a:lnTo>
                      <a:cubicBezTo>
                        <a:pt x="754220" y="657293"/>
                        <a:pt x="753817" y="659713"/>
                        <a:pt x="753817" y="662033"/>
                      </a:cubicBezTo>
                      <a:lnTo>
                        <a:pt x="753817" y="662033"/>
                      </a:lnTo>
                      <a:cubicBezTo>
                        <a:pt x="752707" y="686441"/>
                        <a:pt x="808583" y="707621"/>
                        <a:pt x="841261" y="716093"/>
                      </a:cubicBezTo>
                      <a:lnTo>
                        <a:pt x="841261" y="716093"/>
                      </a:lnTo>
                      <a:cubicBezTo>
                        <a:pt x="878680" y="726380"/>
                        <a:pt x="898549" y="763597"/>
                        <a:pt x="905004" y="819271"/>
                      </a:cubicBezTo>
                      <a:lnTo>
                        <a:pt x="905004" y="819271"/>
                      </a:lnTo>
                      <a:cubicBezTo>
                        <a:pt x="905609" y="825020"/>
                        <a:pt x="906012" y="829962"/>
                        <a:pt x="906012" y="834098"/>
                      </a:cubicBezTo>
                      <a:lnTo>
                        <a:pt x="906012" y="834098"/>
                      </a:lnTo>
                      <a:cubicBezTo>
                        <a:pt x="906012" y="849025"/>
                        <a:pt x="900465" y="855782"/>
                        <a:pt x="891589" y="855883"/>
                      </a:cubicBezTo>
                      <a:lnTo>
                        <a:pt x="891589" y="855883"/>
                      </a:lnTo>
                      <a:cubicBezTo>
                        <a:pt x="880596" y="855681"/>
                        <a:pt x="866072" y="848218"/>
                        <a:pt x="850238" y="848319"/>
                      </a:cubicBezTo>
                      <a:lnTo>
                        <a:pt x="850238" y="848319"/>
                      </a:lnTo>
                      <a:cubicBezTo>
                        <a:pt x="821190" y="846907"/>
                        <a:pt x="813626" y="899252"/>
                        <a:pt x="765819" y="903488"/>
                      </a:cubicBezTo>
                      <a:lnTo>
                        <a:pt x="765819" y="903488"/>
                      </a:lnTo>
                      <a:cubicBezTo>
                        <a:pt x="764306" y="903589"/>
                        <a:pt x="762995" y="903589"/>
                        <a:pt x="761482" y="903589"/>
                      </a:cubicBezTo>
                      <a:lnTo>
                        <a:pt x="761482" y="903589"/>
                      </a:lnTo>
                      <a:cubicBezTo>
                        <a:pt x="716902" y="903287"/>
                        <a:pt x="711053" y="854673"/>
                        <a:pt x="711053" y="838939"/>
                      </a:cubicBezTo>
                      <a:lnTo>
                        <a:pt x="711053" y="838939"/>
                      </a:lnTo>
                      <a:cubicBezTo>
                        <a:pt x="710952" y="830063"/>
                        <a:pt x="674037" y="817153"/>
                        <a:pt x="638737" y="817153"/>
                      </a:cubicBezTo>
                      <a:lnTo>
                        <a:pt x="638737" y="817153"/>
                      </a:lnTo>
                      <a:cubicBezTo>
                        <a:pt x="631072" y="817153"/>
                        <a:pt x="623507" y="817557"/>
                        <a:pt x="616649" y="818868"/>
                      </a:cubicBezTo>
                      <a:lnTo>
                        <a:pt x="616649" y="818868"/>
                      </a:lnTo>
                      <a:cubicBezTo>
                        <a:pt x="609589" y="820078"/>
                        <a:pt x="603436" y="820583"/>
                        <a:pt x="598393" y="820583"/>
                      </a:cubicBezTo>
                      <a:lnTo>
                        <a:pt x="598393" y="820583"/>
                      </a:lnTo>
                      <a:cubicBezTo>
                        <a:pt x="580441" y="820482"/>
                        <a:pt x="573482" y="812110"/>
                        <a:pt x="573482" y="801520"/>
                      </a:cubicBezTo>
                      <a:lnTo>
                        <a:pt x="573482" y="801520"/>
                      </a:lnTo>
                      <a:cubicBezTo>
                        <a:pt x="573482" y="798596"/>
                        <a:pt x="573986" y="795671"/>
                        <a:pt x="574591" y="792847"/>
                      </a:cubicBezTo>
                      <a:lnTo>
                        <a:pt x="574591" y="792847"/>
                      </a:lnTo>
                      <a:cubicBezTo>
                        <a:pt x="574894" y="790829"/>
                        <a:pt x="575196" y="788409"/>
                        <a:pt x="575196" y="785988"/>
                      </a:cubicBezTo>
                      <a:lnTo>
                        <a:pt x="575196" y="785988"/>
                      </a:lnTo>
                      <a:cubicBezTo>
                        <a:pt x="574793" y="773885"/>
                        <a:pt x="569951" y="761581"/>
                        <a:pt x="550486" y="761379"/>
                      </a:cubicBezTo>
                      <a:lnTo>
                        <a:pt x="550486" y="761379"/>
                      </a:lnTo>
                      <a:cubicBezTo>
                        <a:pt x="546250" y="761379"/>
                        <a:pt x="541308" y="761984"/>
                        <a:pt x="535660" y="763597"/>
                      </a:cubicBezTo>
                      <a:lnTo>
                        <a:pt x="535660" y="763597"/>
                      </a:lnTo>
                      <a:cubicBezTo>
                        <a:pt x="497132" y="773078"/>
                        <a:pt x="441861" y="802630"/>
                        <a:pt x="398593" y="802730"/>
                      </a:cubicBezTo>
                      <a:lnTo>
                        <a:pt x="398593" y="802730"/>
                      </a:lnTo>
                      <a:cubicBezTo>
                        <a:pt x="355425" y="803235"/>
                        <a:pt x="362586" y="790628"/>
                        <a:pt x="337775" y="759462"/>
                      </a:cubicBezTo>
                      <a:lnTo>
                        <a:pt x="337775" y="759462"/>
                      </a:lnTo>
                      <a:cubicBezTo>
                        <a:pt x="327588" y="746754"/>
                        <a:pt x="316998" y="742014"/>
                        <a:pt x="306307" y="742014"/>
                      </a:cubicBezTo>
                      <a:lnTo>
                        <a:pt x="306307" y="742014"/>
                      </a:lnTo>
                      <a:cubicBezTo>
                        <a:pt x="290574" y="741913"/>
                        <a:pt x="273932" y="752503"/>
                        <a:pt x="260719" y="766018"/>
                      </a:cubicBezTo>
                      <a:lnTo>
                        <a:pt x="260719" y="766018"/>
                      </a:lnTo>
                      <a:cubicBezTo>
                        <a:pt x="258803" y="767834"/>
                        <a:pt x="257088" y="768741"/>
                        <a:pt x="255676" y="769447"/>
                      </a:cubicBezTo>
                      <a:lnTo>
                        <a:pt x="255676" y="769447"/>
                      </a:lnTo>
                      <a:cubicBezTo>
                        <a:pt x="265762" y="794057"/>
                        <a:pt x="279782" y="827844"/>
                        <a:pt x="285934" y="840250"/>
                      </a:cubicBezTo>
                      <a:lnTo>
                        <a:pt x="285934" y="840250"/>
                      </a:lnTo>
                      <a:cubicBezTo>
                        <a:pt x="293397" y="855480"/>
                        <a:pt x="305803" y="867482"/>
                        <a:pt x="306005" y="884527"/>
                      </a:cubicBezTo>
                      <a:lnTo>
                        <a:pt x="306005" y="884527"/>
                      </a:lnTo>
                      <a:cubicBezTo>
                        <a:pt x="306005" y="889872"/>
                        <a:pt x="304693" y="895520"/>
                        <a:pt x="301567" y="901774"/>
                      </a:cubicBezTo>
                      <a:lnTo>
                        <a:pt x="301567" y="901774"/>
                      </a:lnTo>
                      <a:cubicBezTo>
                        <a:pt x="296625" y="911658"/>
                        <a:pt x="293800" y="919928"/>
                        <a:pt x="293800" y="926181"/>
                      </a:cubicBezTo>
                      <a:lnTo>
                        <a:pt x="293800" y="926181"/>
                      </a:lnTo>
                      <a:cubicBezTo>
                        <a:pt x="294002" y="934755"/>
                        <a:pt x="298037" y="939798"/>
                        <a:pt x="311754" y="943126"/>
                      </a:cubicBezTo>
                      <a:lnTo>
                        <a:pt x="311754" y="943126"/>
                      </a:lnTo>
                      <a:cubicBezTo>
                        <a:pt x="337674" y="948874"/>
                        <a:pt x="365410" y="982360"/>
                        <a:pt x="377312" y="992345"/>
                      </a:cubicBezTo>
                      <a:lnTo>
                        <a:pt x="377312" y="992345"/>
                      </a:lnTo>
                      <a:cubicBezTo>
                        <a:pt x="382859" y="996984"/>
                        <a:pt x="384372" y="1004649"/>
                        <a:pt x="384372" y="1012113"/>
                      </a:cubicBezTo>
                      <a:lnTo>
                        <a:pt x="384372" y="1012113"/>
                      </a:lnTo>
                      <a:cubicBezTo>
                        <a:pt x="383565" y="1025224"/>
                        <a:pt x="380741" y="1038942"/>
                        <a:pt x="372067" y="1040757"/>
                      </a:cubicBezTo>
                      <a:lnTo>
                        <a:pt x="372067" y="1040757"/>
                      </a:lnTo>
                      <a:cubicBezTo>
                        <a:pt x="369545" y="1038639"/>
                        <a:pt x="356434" y="1067081"/>
                        <a:pt x="341003" y="1081706"/>
                      </a:cubicBezTo>
                      <a:lnTo>
                        <a:pt x="341003" y="1081706"/>
                      </a:lnTo>
                      <a:cubicBezTo>
                        <a:pt x="325672" y="1095119"/>
                        <a:pt x="315485" y="1115997"/>
                        <a:pt x="298642" y="1125579"/>
                      </a:cubicBezTo>
                      <a:lnTo>
                        <a:pt x="298642" y="1125579"/>
                      </a:lnTo>
                      <a:cubicBezTo>
                        <a:pt x="282605" y="1134051"/>
                        <a:pt x="260921" y="1139901"/>
                        <a:pt x="261627" y="1152609"/>
                      </a:cubicBezTo>
                      <a:lnTo>
                        <a:pt x="261627" y="1152609"/>
                      </a:lnTo>
                      <a:cubicBezTo>
                        <a:pt x="261627" y="1152609"/>
                        <a:pt x="261727" y="1153920"/>
                        <a:pt x="261727" y="1154223"/>
                      </a:cubicBezTo>
                      <a:lnTo>
                        <a:pt x="261727" y="1154223"/>
                      </a:lnTo>
                      <a:cubicBezTo>
                        <a:pt x="262635" y="1162796"/>
                        <a:pt x="263947" y="1174092"/>
                        <a:pt x="263947" y="1185892"/>
                      </a:cubicBezTo>
                      <a:lnTo>
                        <a:pt x="263947" y="1185892"/>
                      </a:lnTo>
                      <a:cubicBezTo>
                        <a:pt x="263947" y="1197894"/>
                        <a:pt x="262736" y="1210401"/>
                        <a:pt x="258097" y="1221596"/>
                      </a:cubicBezTo>
                      <a:lnTo>
                        <a:pt x="258097" y="1221596"/>
                      </a:lnTo>
                      <a:cubicBezTo>
                        <a:pt x="249725" y="1241667"/>
                        <a:pt x="253054" y="1250341"/>
                        <a:pt x="244380" y="1285440"/>
                      </a:cubicBezTo>
                      <a:lnTo>
                        <a:pt x="244380" y="1285440"/>
                      </a:lnTo>
                      <a:cubicBezTo>
                        <a:pt x="241052" y="1299762"/>
                        <a:pt x="232882" y="1305410"/>
                        <a:pt x="223603" y="1305208"/>
                      </a:cubicBezTo>
                      <a:lnTo>
                        <a:pt x="223603" y="1305208"/>
                      </a:lnTo>
                      <a:cubicBezTo>
                        <a:pt x="210895" y="1305007"/>
                        <a:pt x="196069" y="1297341"/>
                        <a:pt x="181041" y="1297442"/>
                      </a:cubicBezTo>
                      <a:lnTo>
                        <a:pt x="181041" y="1297442"/>
                      </a:lnTo>
                      <a:cubicBezTo>
                        <a:pt x="179326" y="1297442"/>
                        <a:pt x="177713" y="1297543"/>
                        <a:pt x="176099" y="1297845"/>
                      </a:cubicBezTo>
                      <a:lnTo>
                        <a:pt x="176099" y="1297845"/>
                      </a:lnTo>
                      <a:cubicBezTo>
                        <a:pt x="150985" y="1300367"/>
                        <a:pt x="139991" y="1332037"/>
                        <a:pt x="140092" y="1367135"/>
                      </a:cubicBezTo>
                      <a:lnTo>
                        <a:pt x="140092" y="1367135"/>
                      </a:lnTo>
                      <a:cubicBezTo>
                        <a:pt x="140092" y="1369657"/>
                        <a:pt x="140092" y="1372178"/>
                        <a:pt x="140193" y="1375002"/>
                      </a:cubicBezTo>
                      <a:lnTo>
                        <a:pt x="140193" y="1375002"/>
                      </a:lnTo>
                      <a:cubicBezTo>
                        <a:pt x="140294" y="1377019"/>
                        <a:pt x="140294" y="1379137"/>
                        <a:pt x="140294" y="1381054"/>
                      </a:cubicBezTo>
                      <a:lnTo>
                        <a:pt x="140294" y="1381054"/>
                      </a:lnTo>
                      <a:cubicBezTo>
                        <a:pt x="140697" y="1414539"/>
                        <a:pt x="125064" y="1420288"/>
                        <a:pt x="107515" y="1429567"/>
                      </a:cubicBezTo>
                      <a:lnTo>
                        <a:pt x="107515" y="1429567"/>
                      </a:lnTo>
                      <a:cubicBezTo>
                        <a:pt x="88554" y="1439955"/>
                        <a:pt x="24206" y="1479996"/>
                        <a:pt x="24811" y="1479391"/>
                      </a:cubicBezTo>
                      <a:lnTo>
                        <a:pt x="24811" y="1479391"/>
                      </a:lnTo>
                      <a:cubicBezTo>
                        <a:pt x="24710" y="1479593"/>
                        <a:pt x="19264" y="1486148"/>
                        <a:pt x="8069" y="1492300"/>
                      </a:cubicBezTo>
                      <a:lnTo>
                        <a:pt x="8069" y="1492300"/>
                      </a:lnTo>
                      <a:cubicBezTo>
                        <a:pt x="22289" y="1501479"/>
                        <a:pt x="41856" y="1511363"/>
                        <a:pt x="63541" y="1512674"/>
                      </a:cubicBezTo>
                      <a:lnTo>
                        <a:pt x="63541" y="1512674"/>
                      </a:lnTo>
                      <a:cubicBezTo>
                        <a:pt x="69290" y="1512977"/>
                        <a:pt x="74433" y="1513077"/>
                        <a:pt x="79577" y="1513077"/>
                      </a:cubicBezTo>
                      <a:lnTo>
                        <a:pt x="79577" y="1513077"/>
                      </a:lnTo>
                      <a:cubicBezTo>
                        <a:pt x="110944" y="1513077"/>
                        <a:pt x="130410" y="1506522"/>
                        <a:pt x="160365" y="1502185"/>
                      </a:cubicBezTo>
                      <a:lnTo>
                        <a:pt x="160365" y="1502185"/>
                      </a:lnTo>
                      <a:cubicBezTo>
                        <a:pt x="176402" y="1499664"/>
                        <a:pt x="188303" y="1497243"/>
                        <a:pt x="198691" y="1497142"/>
                      </a:cubicBezTo>
                      <a:lnTo>
                        <a:pt x="198691" y="1497142"/>
                      </a:lnTo>
                      <a:cubicBezTo>
                        <a:pt x="210189" y="1497142"/>
                        <a:pt x="219872" y="1500672"/>
                        <a:pt x="228646" y="1511061"/>
                      </a:cubicBezTo>
                      <a:lnTo>
                        <a:pt x="228646" y="1511061"/>
                      </a:lnTo>
                      <a:cubicBezTo>
                        <a:pt x="234294" y="1517515"/>
                        <a:pt x="237018" y="1523466"/>
                        <a:pt x="237018" y="1529417"/>
                      </a:cubicBezTo>
                      <a:lnTo>
                        <a:pt x="237018" y="1529417"/>
                      </a:lnTo>
                      <a:cubicBezTo>
                        <a:pt x="236816" y="1541116"/>
                        <a:pt x="227234" y="1549891"/>
                        <a:pt x="215333" y="1562196"/>
                      </a:cubicBezTo>
                      <a:lnTo>
                        <a:pt x="215333" y="1562196"/>
                      </a:lnTo>
                      <a:cubicBezTo>
                        <a:pt x="210290" y="1567138"/>
                        <a:pt x="208172" y="1571576"/>
                        <a:pt x="208273" y="1575106"/>
                      </a:cubicBezTo>
                      <a:lnTo>
                        <a:pt x="208273" y="1575106"/>
                      </a:lnTo>
                      <a:cubicBezTo>
                        <a:pt x="208273" y="1583275"/>
                        <a:pt x="220678" y="1591546"/>
                        <a:pt x="244783" y="1591546"/>
                      </a:cubicBezTo>
                      <a:lnTo>
                        <a:pt x="244783" y="1591546"/>
                      </a:lnTo>
                      <a:cubicBezTo>
                        <a:pt x="278672" y="1591646"/>
                        <a:pt x="337472" y="1591243"/>
                        <a:pt x="345945" y="1586604"/>
                      </a:cubicBezTo>
                      <a:lnTo>
                        <a:pt x="345945" y="1586604"/>
                      </a:lnTo>
                      <a:cubicBezTo>
                        <a:pt x="353509" y="1583073"/>
                        <a:pt x="363595" y="1580148"/>
                        <a:pt x="362889" y="1575106"/>
                      </a:cubicBezTo>
                      <a:lnTo>
                        <a:pt x="362889" y="1575106"/>
                      </a:lnTo>
                      <a:cubicBezTo>
                        <a:pt x="362990" y="1571676"/>
                        <a:pt x="359560" y="1564818"/>
                        <a:pt x="348062" y="1554329"/>
                      </a:cubicBezTo>
                      <a:lnTo>
                        <a:pt x="348062" y="1554329"/>
                      </a:lnTo>
                      <a:cubicBezTo>
                        <a:pt x="334245" y="1541721"/>
                        <a:pt x="327891" y="1528711"/>
                        <a:pt x="327891" y="1516709"/>
                      </a:cubicBezTo>
                      <a:lnTo>
                        <a:pt x="327891" y="1516709"/>
                      </a:lnTo>
                      <a:cubicBezTo>
                        <a:pt x="327891" y="1500470"/>
                        <a:pt x="339490" y="1487459"/>
                        <a:pt x="356938" y="1481408"/>
                      </a:cubicBezTo>
                      <a:lnTo>
                        <a:pt x="356938" y="1481408"/>
                      </a:lnTo>
                      <a:cubicBezTo>
                        <a:pt x="383061" y="1472129"/>
                        <a:pt x="540703" y="1459219"/>
                        <a:pt x="590527" y="1459118"/>
                      </a:cubicBezTo>
                      <a:lnTo>
                        <a:pt x="590527" y="1459118"/>
                      </a:lnTo>
                      <a:cubicBezTo>
                        <a:pt x="598595" y="1459320"/>
                        <a:pt x="603134" y="1459118"/>
                        <a:pt x="606059" y="1460631"/>
                      </a:cubicBezTo>
                      <a:lnTo>
                        <a:pt x="606059" y="1460631"/>
                      </a:lnTo>
                      <a:cubicBezTo>
                        <a:pt x="612211" y="1463758"/>
                        <a:pt x="624112" y="1467389"/>
                        <a:pt x="624314" y="1479492"/>
                      </a:cubicBezTo>
                      <a:lnTo>
                        <a:pt x="624314" y="1479492"/>
                      </a:lnTo>
                      <a:cubicBezTo>
                        <a:pt x="624314" y="1485946"/>
                        <a:pt x="620683" y="1493713"/>
                        <a:pt x="612211" y="1504202"/>
                      </a:cubicBezTo>
                      <a:lnTo>
                        <a:pt x="612211" y="1504202"/>
                      </a:lnTo>
                      <a:cubicBezTo>
                        <a:pt x="593956" y="1526391"/>
                        <a:pt x="579937" y="1540108"/>
                        <a:pt x="560975" y="1540208"/>
                      </a:cubicBezTo>
                      <a:lnTo>
                        <a:pt x="560975" y="1540208"/>
                      </a:lnTo>
                      <a:cubicBezTo>
                        <a:pt x="555327" y="1540208"/>
                        <a:pt x="549477" y="1538998"/>
                        <a:pt x="543325" y="1536577"/>
                      </a:cubicBezTo>
                      <a:lnTo>
                        <a:pt x="543325" y="1536577"/>
                      </a:lnTo>
                      <a:cubicBezTo>
                        <a:pt x="532331" y="1532140"/>
                        <a:pt x="519220" y="1529618"/>
                        <a:pt x="508226" y="1529618"/>
                      </a:cubicBezTo>
                      <a:lnTo>
                        <a:pt x="508226" y="1529618"/>
                      </a:lnTo>
                      <a:cubicBezTo>
                        <a:pt x="493198" y="1529618"/>
                        <a:pt x="484121" y="1533955"/>
                        <a:pt x="484121" y="1541923"/>
                      </a:cubicBezTo>
                      <a:lnTo>
                        <a:pt x="484121" y="1541923"/>
                      </a:lnTo>
                      <a:cubicBezTo>
                        <a:pt x="484322" y="1558666"/>
                        <a:pt x="495114" y="1596790"/>
                        <a:pt x="554318" y="1596891"/>
                      </a:cubicBezTo>
                      <a:lnTo>
                        <a:pt x="554318" y="1596891"/>
                      </a:lnTo>
                      <a:cubicBezTo>
                        <a:pt x="556134" y="1596891"/>
                        <a:pt x="558151" y="1596891"/>
                        <a:pt x="560067" y="1596891"/>
                      </a:cubicBezTo>
                      <a:lnTo>
                        <a:pt x="560067" y="1596891"/>
                      </a:lnTo>
                      <a:cubicBezTo>
                        <a:pt x="625423" y="1594269"/>
                        <a:pt x="656085" y="1578736"/>
                        <a:pt x="674945" y="1573391"/>
                      </a:cubicBezTo>
                      <a:lnTo>
                        <a:pt x="674945" y="1573391"/>
                      </a:lnTo>
                      <a:cubicBezTo>
                        <a:pt x="678778" y="1572382"/>
                        <a:pt x="682409" y="1571676"/>
                        <a:pt x="686241" y="1571676"/>
                      </a:cubicBezTo>
                      <a:lnTo>
                        <a:pt x="686241" y="1571676"/>
                      </a:lnTo>
                      <a:cubicBezTo>
                        <a:pt x="701773" y="1571676"/>
                        <a:pt x="715289" y="1582468"/>
                        <a:pt x="715390" y="1605061"/>
                      </a:cubicBezTo>
                      <a:lnTo>
                        <a:pt x="715390" y="1605061"/>
                      </a:lnTo>
                      <a:cubicBezTo>
                        <a:pt x="715188" y="1620795"/>
                        <a:pt x="703085" y="1647926"/>
                        <a:pt x="703186" y="1668803"/>
                      </a:cubicBezTo>
                      <a:lnTo>
                        <a:pt x="703186" y="1668803"/>
                      </a:lnTo>
                      <a:cubicBezTo>
                        <a:pt x="703589" y="1685142"/>
                        <a:pt x="709137" y="1696439"/>
                        <a:pt x="736268" y="1696842"/>
                      </a:cubicBezTo>
                      <a:lnTo>
                        <a:pt x="736268" y="1696842"/>
                      </a:lnTo>
                      <a:cubicBezTo>
                        <a:pt x="752405" y="1696842"/>
                        <a:pt x="766525" y="1696640"/>
                        <a:pt x="779435" y="1696640"/>
                      </a:cubicBezTo>
                      <a:lnTo>
                        <a:pt x="779435" y="1696640"/>
                      </a:lnTo>
                      <a:cubicBezTo>
                        <a:pt x="816551" y="1696640"/>
                        <a:pt x="841967" y="1698052"/>
                        <a:pt x="866274" y="1710357"/>
                      </a:cubicBezTo>
                      <a:lnTo>
                        <a:pt x="866274" y="1710357"/>
                      </a:lnTo>
                      <a:cubicBezTo>
                        <a:pt x="897439" y="1725889"/>
                        <a:pt x="942120" y="1741623"/>
                        <a:pt x="978428" y="1746868"/>
                      </a:cubicBezTo>
                      <a:lnTo>
                        <a:pt x="978428" y="1746868"/>
                      </a:lnTo>
                      <a:cubicBezTo>
                        <a:pt x="1018268" y="1754129"/>
                        <a:pt x="997794" y="1811215"/>
                        <a:pt x="1018369" y="1815250"/>
                      </a:cubicBezTo>
                      <a:lnTo>
                        <a:pt x="1018369" y="1815250"/>
                      </a:lnTo>
                      <a:cubicBezTo>
                        <a:pt x="1024420" y="1817267"/>
                        <a:pt x="1031783" y="1818376"/>
                        <a:pt x="1039448" y="1818376"/>
                      </a:cubicBezTo>
                      <a:lnTo>
                        <a:pt x="1039448" y="1818376"/>
                      </a:lnTo>
                      <a:cubicBezTo>
                        <a:pt x="1059015" y="1818376"/>
                        <a:pt x="1079691" y="1810610"/>
                        <a:pt x="1088566" y="1793061"/>
                      </a:cubicBezTo>
                      <a:lnTo>
                        <a:pt x="1088566" y="1793061"/>
                      </a:lnTo>
                      <a:cubicBezTo>
                        <a:pt x="1098349" y="1774099"/>
                        <a:pt x="1130120" y="1764013"/>
                        <a:pt x="1158562" y="1763711"/>
                      </a:cubicBezTo>
                      <a:lnTo>
                        <a:pt x="1158562" y="1763711"/>
                      </a:lnTo>
                      <a:cubicBezTo>
                        <a:pt x="1173590" y="1763812"/>
                        <a:pt x="1187811" y="1766535"/>
                        <a:pt x="1197696" y="1773595"/>
                      </a:cubicBezTo>
                      <a:lnTo>
                        <a:pt x="1197696" y="1773595"/>
                      </a:lnTo>
                      <a:cubicBezTo>
                        <a:pt x="1204453" y="1778336"/>
                        <a:pt x="1207176" y="1785194"/>
                        <a:pt x="1207176" y="1792355"/>
                      </a:cubicBezTo>
                      <a:lnTo>
                        <a:pt x="1207176" y="1792355"/>
                      </a:lnTo>
                      <a:cubicBezTo>
                        <a:pt x="1206873" y="1814039"/>
                        <a:pt x="1184583" y="1842179"/>
                        <a:pt x="1185189" y="1852063"/>
                      </a:cubicBezTo>
                      <a:lnTo>
                        <a:pt x="1185189" y="1852063"/>
                      </a:lnTo>
                      <a:cubicBezTo>
                        <a:pt x="1185189" y="1852769"/>
                        <a:pt x="1185189" y="1853072"/>
                        <a:pt x="1185491" y="1853576"/>
                      </a:cubicBezTo>
                      <a:lnTo>
                        <a:pt x="1185491" y="1853576"/>
                      </a:lnTo>
                      <a:cubicBezTo>
                        <a:pt x="1188013" y="1860334"/>
                        <a:pt x="1198200" y="1874656"/>
                        <a:pt x="1208084" y="1874151"/>
                      </a:cubicBezTo>
                      <a:lnTo>
                        <a:pt x="1208084" y="1874151"/>
                      </a:lnTo>
                      <a:cubicBezTo>
                        <a:pt x="1216051" y="1874454"/>
                        <a:pt x="1227448" y="1865679"/>
                        <a:pt x="1238039" y="1832900"/>
                      </a:cubicBezTo>
                      <a:lnTo>
                        <a:pt x="1238039" y="1832900"/>
                      </a:lnTo>
                      <a:cubicBezTo>
                        <a:pt x="1257706" y="1773999"/>
                        <a:pt x="1239854" y="1751306"/>
                        <a:pt x="1265371" y="1749187"/>
                      </a:cubicBezTo>
                      <a:lnTo>
                        <a:pt x="1265371" y="1749187"/>
                      </a:lnTo>
                      <a:cubicBezTo>
                        <a:pt x="1270313" y="1749187"/>
                        <a:pt x="1276869" y="1750196"/>
                        <a:pt x="1286047" y="1752213"/>
                      </a:cubicBezTo>
                      <a:lnTo>
                        <a:pt x="1286047" y="1752213"/>
                      </a:lnTo>
                      <a:cubicBezTo>
                        <a:pt x="1313178" y="1757962"/>
                        <a:pt x="1323264" y="1766535"/>
                        <a:pt x="1331736" y="1766233"/>
                      </a:cubicBezTo>
                      <a:lnTo>
                        <a:pt x="1331736" y="1766233"/>
                      </a:lnTo>
                      <a:cubicBezTo>
                        <a:pt x="1338998" y="1766435"/>
                        <a:pt x="1348176" y="1760484"/>
                        <a:pt x="1370264" y="1739707"/>
                      </a:cubicBezTo>
                      <a:lnTo>
                        <a:pt x="1370264" y="1739707"/>
                      </a:lnTo>
                      <a:cubicBezTo>
                        <a:pt x="1414239" y="1698254"/>
                        <a:pt x="1438545" y="1680705"/>
                        <a:pt x="1472434" y="1680705"/>
                      </a:cubicBezTo>
                      <a:lnTo>
                        <a:pt x="1472434" y="1680705"/>
                      </a:lnTo>
                      <a:cubicBezTo>
                        <a:pt x="1474754" y="1680705"/>
                        <a:pt x="1477376" y="1680705"/>
                        <a:pt x="1480099" y="1681108"/>
                      </a:cubicBezTo>
                      <a:lnTo>
                        <a:pt x="1480099" y="1681108"/>
                      </a:lnTo>
                      <a:cubicBezTo>
                        <a:pt x="1495631" y="1682217"/>
                        <a:pt x="1506726" y="1685142"/>
                        <a:pt x="1514492" y="1685142"/>
                      </a:cubicBezTo>
                      <a:lnTo>
                        <a:pt x="1514492" y="1685142"/>
                      </a:lnTo>
                      <a:cubicBezTo>
                        <a:pt x="1525082" y="1684941"/>
                        <a:pt x="1530932" y="1681108"/>
                        <a:pt x="1540514" y="1656801"/>
                      </a:cubicBezTo>
                      <a:lnTo>
                        <a:pt x="1540514" y="1656801"/>
                      </a:lnTo>
                      <a:cubicBezTo>
                        <a:pt x="1542127" y="1652363"/>
                        <a:pt x="1542732" y="1648531"/>
                        <a:pt x="1542732" y="1645404"/>
                      </a:cubicBezTo>
                      <a:lnTo>
                        <a:pt x="1542732" y="1645404"/>
                      </a:lnTo>
                      <a:cubicBezTo>
                        <a:pt x="1544447" y="1622005"/>
                        <a:pt x="1499666" y="1625737"/>
                        <a:pt x="1497750" y="1598001"/>
                      </a:cubicBezTo>
                      <a:lnTo>
                        <a:pt x="1497750" y="1598001"/>
                      </a:lnTo>
                      <a:cubicBezTo>
                        <a:pt x="1497750" y="1596790"/>
                        <a:pt x="1497850" y="1595378"/>
                        <a:pt x="1498254" y="1594067"/>
                      </a:cubicBezTo>
                      <a:lnTo>
                        <a:pt x="1498254" y="1594067"/>
                      </a:lnTo>
                      <a:cubicBezTo>
                        <a:pt x="1500876" y="1578232"/>
                        <a:pt x="1515097" y="1576014"/>
                        <a:pt x="1529016" y="1576215"/>
                      </a:cubicBezTo>
                      <a:lnTo>
                        <a:pt x="1529016" y="1576215"/>
                      </a:lnTo>
                      <a:cubicBezTo>
                        <a:pt x="1533857" y="1576215"/>
                        <a:pt x="1538900" y="1576316"/>
                        <a:pt x="1543943" y="1576316"/>
                      </a:cubicBezTo>
                      <a:lnTo>
                        <a:pt x="1543943" y="1576316"/>
                      </a:lnTo>
                      <a:cubicBezTo>
                        <a:pt x="1558164" y="1576316"/>
                        <a:pt x="1570771" y="1574601"/>
                        <a:pt x="1577428" y="1564112"/>
                      </a:cubicBezTo>
                      <a:lnTo>
                        <a:pt x="1577428" y="1564112"/>
                      </a:lnTo>
                      <a:cubicBezTo>
                        <a:pt x="1595179" y="1537889"/>
                        <a:pt x="1578537" y="1474550"/>
                        <a:pt x="1627050" y="1473440"/>
                      </a:cubicBezTo>
                      <a:lnTo>
                        <a:pt x="1627050" y="1473440"/>
                      </a:lnTo>
                      <a:cubicBezTo>
                        <a:pt x="1671831" y="1473339"/>
                        <a:pt x="1693617" y="1471019"/>
                        <a:pt x="1719538" y="1437736"/>
                      </a:cubicBezTo>
                      <a:lnTo>
                        <a:pt x="1719538" y="1437736"/>
                      </a:lnTo>
                      <a:cubicBezTo>
                        <a:pt x="1744449" y="1407277"/>
                        <a:pt x="1705820" y="1366429"/>
                        <a:pt x="1773699" y="1349989"/>
                      </a:cubicBezTo>
                      <a:lnTo>
                        <a:pt x="1773699" y="1349989"/>
                      </a:lnTo>
                      <a:cubicBezTo>
                        <a:pt x="1839257" y="1333348"/>
                        <a:pt x="1831087" y="1326590"/>
                        <a:pt x="1834516" y="1297341"/>
                      </a:cubicBezTo>
                      <a:lnTo>
                        <a:pt x="1834516" y="1297341"/>
                      </a:lnTo>
                      <a:cubicBezTo>
                        <a:pt x="1837744" y="1266075"/>
                        <a:pt x="1873044" y="1250543"/>
                        <a:pt x="1904210" y="1232186"/>
                      </a:cubicBezTo>
                      <a:lnTo>
                        <a:pt x="1904210" y="1232186"/>
                      </a:lnTo>
                      <a:cubicBezTo>
                        <a:pt x="1935375" y="1214032"/>
                        <a:pt x="1961396" y="1187909"/>
                        <a:pt x="1983484" y="1179337"/>
                      </a:cubicBezTo>
                      <a:lnTo>
                        <a:pt x="1983484" y="1179337"/>
                      </a:lnTo>
                      <a:cubicBezTo>
                        <a:pt x="2005169" y="1171369"/>
                        <a:pt x="2043091" y="1163199"/>
                        <a:pt x="2047429" y="1134253"/>
                      </a:cubicBezTo>
                      <a:lnTo>
                        <a:pt x="2047429" y="1134253"/>
                      </a:lnTo>
                      <a:cubicBezTo>
                        <a:pt x="2047832" y="1131933"/>
                        <a:pt x="2047933" y="1129512"/>
                        <a:pt x="2047933" y="1127193"/>
                      </a:cubicBezTo>
                      <a:lnTo>
                        <a:pt x="2047933" y="1127193"/>
                      </a:lnTo>
                      <a:cubicBezTo>
                        <a:pt x="2048034" y="1103289"/>
                        <a:pt x="2029577" y="1076562"/>
                        <a:pt x="2029375" y="1056995"/>
                      </a:cubicBezTo>
                      <a:lnTo>
                        <a:pt x="2029375" y="1056995"/>
                      </a:lnTo>
                      <a:cubicBezTo>
                        <a:pt x="2029375" y="1053162"/>
                        <a:pt x="2030081" y="1049532"/>
                        <a:pt x="2031997" y="1046506"/>
                      </a:cubicBezTo>
                      <a:lnTo>
                        <a:pt x="2031997" y="1046506"/>
                      </a:lnTo>
                      <a:cubicBezTo>
                        <a:pt x="2044706" y="1026031"/>
                        <a:pt x="2066794" y="1035008"/>
                        <a:pt x="2078997" y="1002229"/>
                      </a:cubicBezTo>
                      <a:lnTo>
                        <a:pt x="2078997" y="1002229"/>
                      </a:lnTo>
                      <a:cubicBezTo>
                        <a:pt x="2092411" y="967635"/>
                        <a:pt x="2108549" y="948774"/>
                        <a:pt x="2132150" y="919928"/>
                      </a:cubicBezTo>
                      <a:lnTo>
                        <a:pt x="2132150" y="919928"/>
                      </a:lnTo>
                      <a:cubicBezTo>
                        <a:pt x="2148792" y="899555"/>
                        <a:pt x="2161600" y="871920"/>
                        <a:pt x="2161500" y="855480"/>
                      </a:cubicBezTo>
                      <a:lnTo>
                        <a:pt x="2161500" y="855480"/>
                      </a:lnTo>
                      <a:cubicBezTo>
                        <a:pt x="2161500" y="849025"/>
                        <a:pt x="2159684" y="844688"/>
                        <a:pt x="2156457" y="842469"/>
                      </a:cubicBezTo>
                      <a:lnTo>
                        <a:pt x="2156457" y="842469"/>
                      </a:lnTo>
                      <a:lnTo>
                        <a:pt x="2157970" y="840149"/>
                      </a:lnTo>
                      <a:lnTo>
                        <a:pt x="2159483" y="837830"/>
                      </a:lnTo>
                      <a:cubicBezTo>
                        <a:pt x="2165030" y="841561"/>
                        <a:pt x="2167047" y="848117"/>
                        <a:pt x="2167047" y="855480"/>
                      </a:cubicBezTo>
                      <a:lnTo>
                        <a:pt x="2167047" y="855480"/>
                      </a:lnTo>
                      <a:cubicBezTo>
                        <a:pt x="2166946" y="874340"/>
                        <a:pt x="2153835" y="902077"/>
                        <a:pt x="2136588" y="923458"/>
                      </a:cubicBezTo>
                      <a:lnTo>
                        <a:pt x="2136588" y="923458"/>
                      </a:lnTo>
                      <a:cubicBezTo>
                        <a:pt x="2112886" y="952304"/>
                        <a:pt x="2097253" y="970458"/>
                        <a:pt x="2084242" y="1004246"/>
                      </a:cubicBezTo>
                      <a:lnTo>
                        <a:pt x="2084242" y="1004246"/>
                      </a:lnTo>
                      <a:cubicBezTo>
                        <a:pt x="2070323" y="1039950"/>
                        <a:pt x="2045109" y="1032890"/>
                        <a:pt x="2036738" y="1049532"/>
                      </a:cubicBezTo>
                      <a:lnTo>
                        <a:pt x="2036738" y="1049532"/>
                      </a:lnTo>
                      <a:cubicBezTo>
                        <a:pt x="2035427" y="1051448"/>
                        <a:pt x="2034922" y="1053970"/>
                        <a:pt x="2034922" y="1057096"/>
                      </a:cubicBezTo>
                      <a:lnTo>
                        <a:pt x="2034922" y="1057096"/>
                      </a:lnTo>
                      <a:cubicBezTo>
                        <a:pt x="2034721" y="1073536"/>
                        <a:pt x="2053278" y="1101070"/>
                        <a:pt x="2053480" y="1127293"/>
                      </a:cubicBezTo>
                      <a:lnTo>
                        <a:pt x="2053480" y="1127293"/>
                      </a:lnTo>
                      <a:cubicBezTo>
                        <a:pt x="2053480" y="1129916"/>
                        <a:pt x="2053278" y="1132437"/>
                        <a:pt x="2052976" y="1135060"/>
                      </a:cubicBezTo>
                      <a:lnTo>
                        <a:pt x="2052976" y="1135060"/>
                      </a:lnTo>
                      <a:cubicBezTo>
                        <a:pt x="2047025" y="1169150"/>
                        <a:pt x="2005976" y="1176714"/>
                        <a:pt x="1985401" y="1184581"/>
                      </a:cubicBezTo>
                      <a:lnTo>
                        <a:pt x="1985401" y="1184581"/>
                      </a:lnTo>
                      <a:cubicBezTo>
                        <a:pt x="1965431" y="1192045"/>
                        <a:pt x="1938804" y="1218268"/>
                        <a:pt x="1906932" y="1237027"/>
                      </a:cubicBezTo>
                      <a:lnTo>
                        <a:pt x="1906932" y="1237027"/>
                      </a:lnTo>
                      <a:cubicBezTo>
                        <a:pt x="1875162" y="1255384"/>
                        <a:pt x="1841979" y="1271320"/>
                        <a:pt x="1839963" y="1297845"/>
                      </a:cubicBezTo>
                      <a:lnTo>
                        <a:pt x="1839963" y="1297845"/>
                      </a:lnTo>
                      <a:cubicBezTo>
                        <a:pt x="1838147" y="1326187"/>
                        <a:pt x="1840568" y="1340609"/>
                        <a:pt x="1774909" y="1355536"/>
                      </a:cubicBezTo>
                      <a:lnTo>
                        <a:pt x="1774909" y="1355536"/>
                      </a:lnTo>
                      <a:cubicBezTo>
                        <a:pt x="1711469" y="1370464"/>
                        <a:pt x="1751308" y="1403444"/>
                        <a:pt x="1723874" y="1441266"/>
                      </a:cubicBezTo>
                      <a:lnTo>
                        <a:pt x="1723874" y="1441266"/>
                      </a:lnTo>
                      <a:cubicBezTo>
                        <a:pt x="1697248" y="1476264"/>
                        <a:pt x="1671630" y="1479290"/>
                        <a:pt x="1627050" y="1479189"/>
                      </a:cubicBezTo>
                      <a:lnTo>
                        <a:pt x="1627050" y="1479189"/>
                      </a:lnTo>
                      <a:cubicBezTo>
                        <a:pt x="1586202" y="1477979"/>
                        <a:pt x="1600928" y="1535569"/>
                        <a:pt x="1582168" y="1567138"/>
                      </a:cubicBezTo>
                      <a:lnTo>
                        <a:pt x="1582168" y="1567138"/>
                      </a:lnTo>
                      <a:cubicBezTo>
                        <a:pt x="1573494" y="1580350"/>
                        <a:pt x="1558265" y="1581863"/>
                        <a:pt x="1543943" y="1581863"/>
                      </a:cubicBezTo>
                      <a:lnTo>
                        <a:pt x="1543943" y="1581863"/>
                      </a:lnTo>
                      <a:cubicBezTo>
                        <a:pt x="1538900" y="1581863"/>
                        <a:pt x="1533756" y="1581762"/>
                        <a:pt x="1529016" y="1581762"/>
                      </a:cubicBezTo>
                      <a:lnTo>
                        <a:pt x="1529016" y="1581762"/>
                      </a:lnTo>
                      <a:cubicBezTo>
                        <a:pt x="1514795" y="1581964"/>
                        <a:pt x="1505717" y="1583376"/>
                        <a:pt x="1503599" y="1595176"/>
                      </a:cubicBezTo>
                      <a:lnTo>
                        <a:pt x="1503599" y="1595176"/>
                      </a:lnTo>
                      <a:cubicBezTo>
                        <a:pt x="1503398" y="1596084"/>
                        <a:pt x="1503297" y="1597093"/>
                        <a:pt x="1503297" y="1598001"/>
                      </a:cubicBezTo>
                      <a:lnTo>
                        <a:pt x="1503297" y="1598001"/>
                      </a:lnTo>
                      <a:cubicBezTo>
                        <a:pt x="1501380" y="1618273"/>
                        <a:pt x="1546666" y="1615247"/>
                        <a:pt x="1548380" y="1645404"/>
                      </a:cubicBezTo>
                      <a:lnTo>
                        <a:pt x="1548380" y="1645404"/>
                      </a:lnTo>
                      <a:cubicBezTo>
                        <a:pt x="1548380" y="1649337"/>
                        <a:pt x="1547574" y="1653775"/>
                        <a:pt x="1545758" y="1658717"/>
                      </a:cubicBezTo>
                      <a:lnTo>
                        <a:pt x="1545758" y="1658717"/>
                      </a:lnTo>
                      <a:cubicBezTo>
                        <a:pt x="1536681" y="1683125"/>
                        <a:pt x="1527805" y="1690791"/>
                        <a:pt x="1514593" y="1690690"/>
                      </a:cubicBezTo>
                      <a:lnTo>
                        <a:pt x="1514593" y="1690690"/>
                      </a:lnTo>
                      <a:cubicBezTo>
                        <a:pt x="1505414" y="1690589"/>
                        <a:pt x="1494925" y="1687663"/>
                        <a:pt x="1479595" y="1686655"/>
                      </a:cubicBezTo>
                      <a:lnTo>
                        <a:pt x="1479595" y="1686655"/>
                      </a:lnTo>
                      <a:cubicBezTo>
                        <a:pt x="1477174" y="1686353"/>
                        <a:pt x="1474956" y="1686353"/>
                        <a:pt x="1472535" y="1686353"/>
                      </a:cubicBezTo>
                      <a:lnTo>
                        <a:pt x="1472535" y="1686353"/>
                      </a:lnTo>
                      <a:cubicBezTo>
                        <a:pt x="1440966" y="1686353"/>
                        <a:pt x="1418172" y="1702087"/>
                        <a:pt x="1374097" y="1743842"/>
                      </a:cubicBezTo>
                      <a:lnTo>
                        <a:pt x="1374097" y="1743842"/>
                      </a:lnTo>
                      <a:cubicBezTo>
                        <a:pt x="1352009" y="1764417"/>
                        <a:pt x="1342427" y="1771679"/>
                        <a:pt x="1331736" y="1771780"/>
                      </a:cubicBezTo>
                      <a:lnTo>
                        <a:pt x="1331736" y="1771780"/>
                      </a:lnTo>
                      <a:cubicBezTo>
                        <a:pt x="1319835" y="1771477"/>
                        <a:pt x="1311161" y="1763005"/>
                        <a:pt x="1284938" y="1757559"/>
                      </a:cubicBezTo>
                      <a:lnTo>
                        <a:pt x="1284938" y="1757559"/>
                      </a:lnTo>
                      <a:cubicBezTo>
                        <a:pt x="1275961" y="1755643"/>
                        <a:pt x="1269507" y="1754735"/>
                        <a:pt x="1265371" y="1754735"/>
                      </a:cubicBezTo>
                      <a:lnTo>
                        <a:pt x="1265371" y="1754735"/>
                      </a:lnTo>
                      <a:cubicBezTo>
                        <a:pt x="1248528" y="1752516"/>
                        <a:pt x="1262547" y="1772688"/>
                        <a:pt x="1243384" y="1834413"/>
                      </a:cubicBezTo>
                      <a:lnTo>
                        <a:pt x="1243384" y="1834413"/>
                      </a:lnTo>
                      <a:cubicBezTo>
                        <a:pt x="1232693" y="1867797"/>
                        <a:pt x="1220590" y="1879497"/>
                        <a:pt x="1208185" y="1879698"/>
                      </a:cubicBezTo>
                      <a:lnTo>
                        <a:pt x="1208185" y="1879698"/>
                      </a:lnTo>
                      <a:cubicBezTo>
                        <a:pt x="1193863" y="1879497"/>
                        <a:pt x="1184079" y="1863460"/>
                        <a:pt x="1180852" y="1855896"/>
                      </a:cubicBezTo>
                      <a:lnTo>
                        <a:pt x="1180852" y="1855896"/>
                      </a:lnTo>
                      <a:close/>
                    </a:path>
                  </a:pathLst>
                </a:custGeom>
                <a:solidFill>
                  <a:srgbClr val="ABDEF6"/>
                </a:solidFill>
                <a:ln w="10085" cap="flat">
                  <a:solidFill>
                    <a:srgbClr val="FFFFFF"/>
                  </a:solidFill>
                  <a:prstDash val="solid"/>
                  <a:miter/>
                </a:ln>
              </p:spPr>
              <p:txBody>
                <a:bodyPr rtlCol="0" anchor="ctr"/>
                <a:lstStyle/>
                <a:p>
                  <a:endParaRPr lang="fr-FR" sz="900"/>
                </a:p>
              </p:txBody>
            </p:sp>
          </p:grpSp>
          <p:sp>
            <p:nvSpPr>
              <p:cNvPr id="104" name="Forme libre : forme 103">
                <a:extLst>
                  <a:ext uri="{FF2B5EF4-FFF2-40B4-BE49-F238E27FC236}">
                    <a16:creationId xmlns:a16="http://schemas.microsoft.com/office/drawing/2014/main" id="{074122F1-64AC-27C1-E914-8DC5CB68D4D9}"/>
                  </a:ext>
                </a:extLst>
              </p:cNvPr>
              <p:cNvSpPr/>
              <p:nvPr/>
            </p:nvSpPr>
            <p:spPr>
              <a:xfrm>
                <a:off x="2930752" y="8541422"/>
                <a:ext cx="182052" cy="113029"/>
              </a:xfrm>
              <a:custGeom>
                <a:avLst/>
                <a:gdLst>
                  <a:gd name="connsiteX0" fmla="*/ 147906 w 182052"/>
                  <a:gd name="connsiteY0" fmla="*/ 110037 h 113029"/>
                  <a:gd name="connsiteX1" fmla="*/ 108773 w 182052"/>
                  <a:gd name="connsiteY1" fmla="*/ 92588 h 113029"/>
                  <a:gd name="connsiteX2" fmla="*/ 58041 w 182052"/>
                  <a:gd name="connsiteY2" fmla="*/ 72315 h 113029"/>
                  <a:gd name="connsiteX3" fmla="*/ 148 w 182052"/>
                  <a:gd name="connsiteY3" fmla="*/ 31770 h 113029"/>
                  <a:gd name="connsiteX4" fmla="*/ 26270 w 182052"/>
                  <a:gd name="connsiteY4" fmla="*/ 0 h 113029"/>
                  <a:gd name="connsiteX5" fmla="*/ 69740 w 182052"/>
                  <a:gd name="connsiteY5" fmla="*/ 26021 h 113029"/>
                  <a:gd name="connsiteX6" fmla="*/ 123296 w 182052"/>
                  <a:gd name="connsiteY6" fmla="*/ 39032 h 113029"/>
                  <a:gd name="connsiteX7" fmla="*/ 179777 w 182052"/>
                  <a:gd name="connsiteY7" fmla="*/ 79577 h 113029"/>
                  <a:gd name="connsiteX8" fmla="*/ 169691 w 182052"/>
                  <a:gd name="connsiteY8" fmla="*/ 111348 h 113029"/>
                  <a:gd name="connsiteX9" fmla="*/ 147906 w 182052"/>
                  <a:gd name="connsiteY9" fmla="*/ 110037 h 1130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2052" h="113029">
                    <a:moveTo>
                      <a:pt x="147906" y="110037"/>
                    </a:moveTo>
                    <a:cubicBezTo>
                      <a:pt x="147906" y="110037"/>
                      <a:pt x="133382" y="102775"/>
                      <a:pt x="108773" y="92588"/>
                    </a:cubicBezTo>
                    <a:cubicBezTo>
                      <a:pt x="84163" y="82502"/>
                      <a:pt x="78313" y="73728"/>
                      <a:pt x="58041" y="72315"/>
                    </a:cubicBezTo>
                    <a:cubicBezTo>
                      <a:pt x="37768" y="70803"/>
                      <a:pt x="1560" y="49118"/>
                      <a:pt x="148" y="31770"/>
                    </a:cubicBezTo>
                    <a:cubicBezTo>
                      <a:pt x="-1365" y="14423"/>
                      <a:pt x="8822" y="0"/>
                      <a:pt x="26270" y="0"/>
                    </a:cubicBezTo>
                    <a:cubicBezTo>
                      <a:pt x="43618" y="0"/>
                      <a:pt x="49468" y="17348"/>
                      <a:pt x="69740" y="26021"/>
                    </a:cubicBezTo>
                    <a:cubicBezTo>
                      <a:pt x="90013" y="34695"/>
                      <a:pt x="116034" y="36107"/>
                      <a:pt x="123296" y="39032"/>
                    </a:cubicBezTo>
                    <a:cubicBezTo>
                      <a:pt x="130558" y="41957"/>
                      <a:pt x="176852" y="70904"/>
                      <a:pt x="179777" y="79577"/>
                    </a:cubicBezTo>
                    <a:cubicBezTo>
                      <a:pt x="182702" y="88251"/>
                      <a:pt x="185526" y="107011"/>
                      <a:pt x="169691" y="111348"/>
                    </a:cubicBezTo>
                    <a:cubicBezTo>
                      <a:pt x="153655" y="115785"/>
                      <a:pt x="147906" y="110037"/>
                      <a:pt x="147906" y="110037"/>
                    </a:cubicBezTo>
                    <a:close/>
                  </a:path>
                </a:pathLst>
              </a:custGeom>
              <a:solidFill>
                <a:srgbClr val="ABDEF6"/>
              </a:solidFill>
              <a:ln w="10085" cap="flat">
                <a:solidFill>
                  <a:srgbClr val="FFFFFF"/>
                </a:solidFill>
                <a:prstDash val="solid"/>
                <a:miter/>
              </a:ln>
            </p:spPr>
            <p:txBody>
              <a:bodyPr rtlCol="0" anchor="ctr"/>
              <a:lstStyle/>
              <a:p>
                <a:endParaRPr lang="fr-FR" sz="900"/>
              </a:p>
            </p:txBody>
          </p:sp>
          <p:sp>
            <p:nvSpPr>
              <p:cNvPr id="105" name="Forme libre : forme 104">
                <a:extLst>
                  <a:ext uri="{FF2B5EF4-FFF2-40B4-BE49-F238E27FC236}">
                    <a16:creationId xmlns:a16="http://schemas.microsoft.com/office/drawing/2014/main" id="{6CDC1A09-1486-8F06-2B02-99E39F69D3B6}"/>
                  </a:ext>
                </a:extLst>
              </p:cNvPr>
              <p:cNvSpPr/>
              <p:nvPr/>
            </p:nvSpPr>
            <p:spPr>
              <a:xfrm>
                <a:off x="3006363" y="8731137"/>
                <a:ext cx="127125" cy="200138"/>
              </a:xfrm>
              <a:custGeom>
                <a:avLst/>
                <a:gdLst>
                  <a:gd name="connsiteX0" fmla="*/ 50510 w 127125"/>
                  <a:gd name="connsiteY0" fmla="*/ 40545 h 200138"/>
                  <a:gd name="connsiteX1" fmla="*/ 18638 w 127125"/>
                  <a:gd name="connsiteY1" fmla="*/ 0 h 200138"/>
                  <a:gd name="connsiteX2" fmla="*/ 2703 w 127125"/>
                  <a:gd name="connsiteY2" fmla="*/ 30459 h 200138"/>
                  <a:gd name="connsiteX3" fmla="*/ 20050 w 127125"/>
                  <a:gd name="connsiteY3" fmla="*/ 73929 h 200138"/>
                  <a:gd name="connsiteX4" fmla="*/ 27312 w 127125"/>
                  <a:gd name="connsiteY4" fmla="*/ 105801 h 200138"/>
                  <a:gd name="connsiteX5" fmla="*/ 62108 w 127125"/>
                  <a:gd name="connsiteY5" fmla="*/ 133335 h 200138"/>
                  <a:gd name="connsiteX6" fmla="*/ 88231 w 127125"/>
                  <a:gd name="connsiteY6" fmla="*/ 182655 h 200138"/>
                  <a:gd name="connsiteX7" fmla="*/ 112840 w 127125"/>
                  <a:gd name="connsiteY7" fmla="*/ 188404 h 200138"/>
                  <a:gd name="connsiteX8" fmla="*/ 124439 w 127125"/>
                  <a:gd name="connsiteY8" fmla="*/ 114575 h 200138"/>
                  <a:gd name="connsiteX9" fmla="*/ 98316 w 127125"/>
                  <a:gd name="connsiteY9" fmla="*/ 66768 h 200138"/>
                  <a:gd name="connsiteX10" fmla="*/ 83793 w 127125"/>
                  <a:gd name="connsiteY10" fmla="*/ 37822 h 200138"/>
                  <a:gd name="connsiteX11" fmla="*/ 50510 w 127125"/>
                  <a:gd name="connsiteY11" fmla="*/ 40545 h 200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7125" h="200138">
                    <a:moveTo>
                      <a:pt x="50510" y="40545"/>
                    </a:moveTo>
                    <a:cubicBezTo>
                      <a:pt x="50510" y="40545"/>
                      <a:pt x="37499" y="0"/>
                      <a:pt x="18638" y="0"/>
                    </a:cubicBezTo>
                    <a:cubicBezTo>
                      <a:pt x="-222" y="0"/>
                      <a:pt x="-3147" y="14524"/>
                      <a:pt x="2703" y="30459"/>
                    </a:cubicBezTo>
                    <a:cubicBezTo>
                      <a:pt x="8452" y="46395"/>
                      <a:pt x="20050" y="59406"/>
                      <a:pt x="20050" y="73929"/>
                    </a:cubicBezTo>
                    <a:cubicBezTo>
                      <a:pt x="20050" y="88453"/>
                      <a:pt x="12889" y="101464"/>
                      <a:pt x="27312" y="105801"/>
                    </a:cubicBezTo>
                    <a:cubicBezTo>
                      <a:pt x="41735" y="110137"/>
                      <a:pt x="48997" y="110137"/>
                      <a:pt x="62108" y="133335"/>
                    </a:cubicBezTo>
                    <a:cubicBezTo>
                      <a:pt x="75119" y="156532"/>
                      <a:pt x="86718" y="165206"/>
                      <a:pt x="88231" y="182655"/>
                    </a:cubicBezTo>
                    <a:cubicBezTo>
                      <a:pt x="89744" y="200002"/>
                      <a:pt x="102754" y="208676"/>
                      <a:pt x="112840" y="188404"/>
                    </a:cubicBezTo>
                    <a:cubicBezTo>
                      <a:pt x="123027" y="168131"/>
                      <a:pt x="131701" y="131923"/>
                      <a:pt x="124439" y="114575"/>
                    </a:cubicBezTo>
                    <a:cubicBezTo>
                      <a:pt x="117177" y="97127"/>
                      <a:pt x="98316" y="84116"/>
                      <a:pt x="98316" y="66768"/>
                    </a:cubicBezTo>
                    <a:cubicBezTo>
                      <a:pt x="98316" y="49320"/>
                      <a:pt x="93980" y="39234"/>
                      <a:pt x="83793" y="37822"/>
                    </a:cubicBezTo>
                    <a:cubicBezTo>
                      <a:pt x="73707" y="36208"/>
                      <a:pt x="50510" y="40545"/>
                      <a:pt x="50510" y="40545"/>
                    </a:cubicBezTo>
                    <a:close/>
                  </a:path>
                </a:pathLst>
              </a:custGeom>
              <a:solidFill>
                <a:srgbClr val="ABDEF6"/>
              </a:solidFill>
              <a:ln w="10085" cap="flat">
                <a:solidFill>
                  <a:srgbClr val="FFFFFF"/>
                </a:solidFill>
                <a:prstDash val="solid"/>
                <a:miter/>
              </a:ln>
            </p:spPr>
            <p:txBody>
              <a:bodyPr rtlCol="0" anchor="ctr"/>
              <a:lstStyle/>
              <a:p>
                <a:endParaRPr lang="fr-FR" sz="900"/>
              </a:p>
            </p:txBody>
          </p:sp>
          <p:grpSp>
            <p:nvGrpSpPr>
              <p:cNvPr id="106" name="Graphique 17">
                <a:extLst>
                  <a:ext uri="{FF2B5EF4-FFF2-40B4-BE49-F238E27FC236}">
                    <a16:creationId xmlns:a16="http://schemas.microsoft.com/office/drawing/2014/main" id="{2EA12665-A551-46E4-AC07-DA8849976D0B}"/>
                  </a:ext>
                </a:extLst>
              </p:cNvPr>
              <p:cNvGrpSpPr/>
              <p:nvPr/>
            </p:nvGrpSpPr>
            <p:grpSpPr>
              <a:xfrm>
                <a:off x="3414920" y="9801447"/>
                <a:ext cx="69995" cy="69995"/>
                <a:chOff x="3414920" y="9801447"/>
                <a:chExt cx="69995" cy="69995"/>
              </a:xfrm>
              <a:solidFill>
                <a:srgbClr val="ABDEF6"/>
              </a:solidFill>
            </p:grpSpPr>
            <p:sp>
              <p:nvSpPr>
                <p:cNvPr id="107" name="Forme libre : forme 106">
                  <a:extLst>
                    <a:ext uri="{FF2B5EF4-FFF2-40B4-BE49-F238E27FC236}">
                      <a16:creationId xmlns:a16="http://schemas.microsoft.com/office/drawing/2014/main" id="{D64A9219-6F18-9A75-7A99-40A3AE519A5B}"/>
                    </a:ext>
                  </a:extLst>
                </p:cNvPr>
                <p:cNvSpPr/>
                <p:nvPr/>
              </p:nvSpPr>
              <p:spPr>
                <a:xfrm>
                  <a:off x="3414920" y="9801447"/>
                  <a:ext cx="69995" cy="69995"/>
                </a:xfrm>
                <a:custGeom>
                  <a:avLst/>
                  <a:gdLst>
                    <a:gd name="connsiteX0" fmla="*/ 69996 w 69995"/>
                    <a:gd name="connsiteY0" fmla="*/ 34998 h 69995"/>
                    <a:gd name="connsiteX1" fmla="*/ 34998 w 69995"/>
                    <a:gd name="connsiteY1" fmla="*/ 69996 h 69995"/>
                    <a:gd name="connsiteX2" fmla="*/ 0 w 69995"/>
                    <a:gd name="connsiteY2" fmla="*/ 34998 h 69995"/>
                    <a:gd name="connsiteX3" fmla="*/ 34998 w 69995"/>
                    <a:gd name="connsiteY3" fmla="*/ 0 h 69995"/>
                    <a:gd name="connsiteX4" fmla="*/ 69996 w 69995"/>
                    <a:gd name="connsiteY4" fmla="*/ 34998 h 699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995" h="69995">
                      <a:moveTo>
                        <a:pt x="69996" y="34998"/>
                      </a:moveTo>
                      <a:cubicBezTo>
                        <a:pt x="69996" y="54262"/>
                        <a:pt x="54363" y="69996"/>
                        <a:pt x="34998" y="69996"/>
                      </a:cubicBezTo>
                      <a:cubicBezTo>
                        <a:pt x="15734" y="69996"/>
                        <a:pt x="0" y="54363"/>
                        <a:pt x="0" y="34998"/>
                      </a:cubicBezTo>
                      <a:cubicBezTo>
                        <a:pt x="0" y="15634"/>
                        <a:pt x="15633" y="0"/>
                        <a:pt x="34998" y="0"/>
                      </a:cubicBezTo>
                      <a:cubicBezTo>
                        <a:pt x="54363" y="0"/>
                        <a:pt x="69996" y="15634"/>
                        <a:pt x="69996" y="34998"/>
                      </a:cubicBezTo>
                      <a:close/>
                    </a:path>
                  </a:pathLst>
                </a:custGeom>
                <a:solidFill>
                  <a:srgbClr val="ABDEF6"/>
                </a:solidFill>
                <a:ln w="10085" cap="flat">
                  <a:solidFill>
                    <a:srgbClr val="FFFFFF"/>
                  </a:solidFill>
                  <a:prstDash val="solid"/>
                  <a:miter/>
                </a:ln>
              </p:spPr>
              <p:txBody>
                <a:bodyPr rtlCol="0" anchor="ctr"/>
                <a:lstStyle/>
                <a:p>
                  <a:endParaRPr lang="fr-FR" sz="900"/>
                </a:p>
              </p:txBody>
            </p:sp>
            <p:sp>
              <p:nvSpPr>
                <p:cNvPr id="108" name="Forme libre : forme 107">
                  <a:extLst>
                    <a:ext uri="{FF2B5EF4-FFF2-40B4-BE49-F238E27FC236}">
                      <a16:creationId xmlns:a16="http://schemas.microsoft.com/office/drawing/2014/main" id="{94B306BF-D8F9-1FA5-E539-E019A204D99F}"/>
                    </a:ext>
                  </a:extLst>
                </p:cNvPr>
                <p:cNvSpPr/>
                <p:nvPr/>
              </p:nvSpPr>
              <p:spPr>
                <a:xfrm>
                  <a:off x="3430452" y="9818795"/>
                  <a:ext cx="38830" cy="38831"/>
                </a:xfrm>
                <a:custGeom>
                  <a:avLst/>
                  <a:gdLst>
                    <a:gd name="connsiteX0" fmla="*/ 38831 w 38830"/>
                    <a:gd name="connsiteY0" fmla="*/ 19366 h 38831"/>
                    <a:gd name="connsiteX1" fmla="*/ 19365 w 38830"/>
                    <a:gd name="connsiteY1" fmla="*/ 38831 h 38831"/>
                    <a:gd name="connsiteX2" fmla="*/ 0 w 38830"/>
                    <a:gd name="connsiteY2" fmla="*/ 19366 h 38831"/>
                    <a:gd name="connsiteX3" fmla="*/ 19365 w 38830"/>
                    <a:gd name="connsiteY3" fmla="*/ 1 h 38831"/>
                    <a:gd name="connsiteX4" fmla="*/ 38831 w 38830"/>
                    <a:gd name="connsiteY4" fmla="*/ 19366 h 38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830" h="38831">
                      <a:moveTo>
                        <a:pt x="38831" y="19366"/>
                      </a:moveTo>
                      <a:cubicBezTo>
                        <a:pt x="38831" y="30057"/>
                        <a:pt x="30157" y="38831"/>
                        <a:pt x="19365" y="38831"/>
                      </a:cubicBezTo>
                      <a:cubicBezTo>
                        <a:pt x="8674" y="38831"/>
                        <a:pt x="0" y="30157"/>
                        <a:pt x="0" y="19366"/>
                      </a:cubicBezTo>
                      <a:cubicBezTo>
                        <a:pt x="0" y="8675"/>
                        <a:pt x="8674" y="1"/>
                        <a:pt x="19365" y="1"/>
                      </a:cubicBezTo>
                      <a:cubicBezTo>
                        <a:pt x="30157" y="-100"/>
                        <a:pt x="38831" y="8675"/>
                        <a:pt x="38831" y="19366"/>
                      </a:cubicBezTo>
                      <a:close/>
                    </a:path>
                  </a:pathLst>
                </a:custGeom>
                <a:solidFill>
                  <a:srgbClr val="ABDEF6"/>
                </a:solidFill>
                <a:ln w="10085" cap="flat">
                  <a:solidFill>
                    <a:srgbClr val="FFFFFF"/>
                  </a:solidFill>
                  <a:prstDash val="solid"/>
                  <a:miter/>
                </a:ln>
              </p:spPr>
              <p:txBody>
                <a:bodyPr rtlCol="0" anchor="ctr"/>
                <a:lstStyle/>
                <a:p>
                  <a:endParaRPr lang="fr-FR" sz="900"/>
                </a:p>
              </p:txBody>
            </p:sp>
          </p:grpSp>
          <p:sp>
            <p:nvSpPr>
              <p:cNvPr id="109" name="Forme libre : forme 108">
                <a:extLst>
                  <a:ext uri="{FF2B5EF4-FFF2-40B4-BE49-F238E27FC236}">
                    <a16:creationId xmlns:a16="http://schemas.microsoft.com/office/drawing/2014/main" id="{66F000B1-AF9C-FF3A-21CF-5B6688DD2A35}"/>
                  </a:ext>
                </a:extLst>
              </p:cNvPr>
              <p:cNvSpPr/>
              <p:nvPr/>
            </p:nvSpPr>
            <p:spPr>
              <a:xfrm>
                <a:off x="9356016" y="10861293"/>
                <a:ext cx="663972" cy="1452771"/>
              </a:xfrm>
              <a:custGeom>
                <a:avLst/>
                <a:gdLst>
                  <a:gd name="connsiteX0" fmla="*/ 560852 w 663972"/>
                  <a:gd name="connsiteY0" fmla="*/ 332103 h 1452771"/>
                  <a:gd name="connsiteX1" fmla="*/ 567711 w 663972"/>
                  <a:gd name="connsiteY1" fmla="*/ 175167 h 1452771"/>
                  <a:gd name="connsiteX2" fmla="*/ 543908 w 663972"/>
                  <a:gd name="connsiteY2" fmla="*/ 45564 h 1452771"/>
                  <a:gd name="connsiteX3" fmla="*/ 475627 w 663972"/>
                  <a:gd name="connsiteY3" fmla="*/ 14903 h 1452771"/>
                  <a:gd name="connsiteX4" fmla="*/ 468869 w 663972"/>
                  <a:gd name="connsiteY4" fmla="*/ 96700 h 1452771"/>
                  <a:gd name="connsiteX5" fmla="*/ 475627 w 663972"/>
                  <a:gd name="connsiteY5" fmla="*/ 277438 h 1452771"/>
                  <a:gd name="connsiteX6" fmla="*/ 424491 w 663972"/>
                  <a:gd name="connsiteY6" fmla="*/ 287726 h 1452771"/>
                  <a:gd name="connsiteX7" fmla="*/ 380113 w 663972"/>
                  <a:gd name="connsiteY7" fmla="*/ 260393 h 1452771"/>
                  <a:gd name="connsiteX8" fmla="*/ 325549 w 663972"/>
                  <a:gd name="connsiteY8" fmla="*/ 256964 h 1452771"/>
                  <a:gd name="connsiteX9" fmla="*/ 294787 w 663972"/>
                  <a:gd name="connsiteY9" fmla="*/ 325245 h 1452771"/>
                  <a:gd name="connsiteX10" fmla="*/ 247081 w 663972"/>
                  <a:gd name="connsiteY10" fmla="*/ 359335 h 1452771"/>
                  <a:gd name="connsiteX11" fmla="*/ 144810 w 663972"/>
                  <a:gd name="connsiteY11" fmla="*/ 386668 h 1452771"/>
                  <a:gd name="connsiteX12" fmla="*/ 107291 w 663972"/>
                  <a:gd name="connsiteY12" fmla="*/ 424187 h 1452771"/>
                  <a:gd name="connsiteX13" fmla="*/ 62913 w 663972"/>
                  <a:gd name="connsiteY13" fmla="*/ 489039 h 1452771"/>
                  <a:gd name="connsiteX14" fmla="*/ 69771 w 663972"/>
                  <a:gd name="connsiteY14" fmla="*/ 550462 h 1452771"/>
                  <a:gd name="connsiteX15" fmla="*/ 11778 w 663972"/>
                  <a:gd name="connsiteY15" fmla="*/ 587982 h 1452771"/>
                  <a:gd name="connsiteX16" fmla="*/ 28722 w 663972"/>
                  <a:gd name="connsiteY16" fmla="*/ 632259 h 1452771"/>
                  <a:gd name="connsiteX17" fmla="*/ 90145 w 663972"/>
                  <a:gd name="connsiteY17" fmla="*/ 663020 h 1452771"/>
                  <a:gd name="connsiteX18" fmla="*/ 62812 w 663972"/>
                  <a:gd name="connsiteY18" fmla="*/ 717585 h 1452771"/>
                  <a:gd name="connsiteX19" fmla="*/ 11677 w 663972"/>
                  <a:gd name="connsiteY19" fmla="*/ 748246 h 1452771"/>
                  <a:gd name="connsiteX20" fmla="*/ 69671 w 663972"/>
                  <a:gd name="connsiteY20" fmla="*/ 826714 h 1452771"/>
                  <a:gd name="connsiteX21" fmla="*/ 127665 w 663972"/>
                  <a:gd name="connsiteY21" fmla="*/ 891465 h 1452771"/>
                  <a:gd name="connsiteX22" fmla="*/ 90145 w 663972"/>
                  <a:gd name="connsiteY22" fmla="*/ 905182 h 1452771"/>
                  <a:gd name="connsiteX23" fmla="*/ 66241 w 663972"/>
                  <a:gd name="connsiteY23" fmla="*/ 949560 h 1452771"/>
                  <a:gd name="connsiteX24" fmla="*/ 66241 w 663972"/>
                  <a:gd name="connsiteY24" fmla="*/ 1004023 h 1452771"/>
                  <a:gd name="connsiteX25" fmla="*/ 161855 w 663972"/>
                  <a:gd name="connsiteY25" fmla="*/ 990407 h 1452771"/>
                  <a:gd name="connsiteX26" fmla="*/ 185658 w 663972"/>
                  <a:gd name="connsiteY26" fmla="*/ 1051831 h 1452771"/>
                  <a:gd name="connsiteX27" fmla="*/ 134523 w 663972"/>
                  <a:gd name="connsiteY27" fmla="*/ 1120010 h 1452771"/>
                  <a:gd name="connsiteX28" fmla="*/ 131194 w 663972"/>
                  <a:gd name="connsiteY28" fmla="*/ 1174575 h 1452771"/>
                  <a:gd name="connsiteX29" fmla="*/ 192517 w 663972"/>
                  <a:gd name="connsiteY29" fmla="*/ 1157530 h 1452771"/>
                  <a:gd name="connsiteX30" fmla="*/ 281272 w 663972"/>
                  <a:gd name="connsiteY30" fmla="*/ 1160959 h 1452771"/>
                  <a:gd name="connsiteX31" fmla="*/ 247081 w 663972"/>
                  <a:gd name="connsiteY31" fmla="*/ 1215423 h 1452771"/>
                  <a:gd name="connsiteX32" fmla="*/ 192517 w 663972"/>
                  <a:gd name="connsiteY32" fmla="*/ 1256472 h 1452771"/>
                  <a:gd name="connsiteX33" fmla="*/ 212991 w 663972"/>
                  <a:gd name="connsiteY33" fmla="*/ 1300850 h 1452771"/>
                  <a:gd name="connsiteX34" fmla="*/ 291459 w 663972"/>
                  <a:gd name="connsiteY34" fmla="*/ 1345127 h 1452771"/>
                  <a:gd name="connsiteX35" fmla="*/ 410875 w 663972"/>
                  <a:gd name="connsiteY35" fmla="*/ 1372460 h 1452771"/>
                  <a:gd name="connsiteX36" fmla="*/ 448395 w 663972"/>
                  <a:gd name="connsiteY36" fmla="*/ 1450927 h 1452771"/>
                  <a:gd name="connsiteX37" fmla="*/ 492672 w 663972"/>
                  <a:gd name="connsiteY37" fmla="*/ 1416737 h 1452771"/>
                  <a:gd name="connsiteX38" fmla="*/ 502858 w 663972"/>
                  <a:gd name="connsiteY38" fmla="*/ 1348556 h 1452771"/>
                  <a:gd name="connsiteX39" fmla="*/ 513045 w 663972"/>
                  <a:gd name="connsiteY39" fmla="*/ 1300850 h 1452771"/>
                  <a:gd name="connsiteX40" fmla="*/ 557322 w 663972"/>
                  <a:gd name="connsiteY40" fmla="*/ 1253144 h 1452771"/>
                  <a:gd name="connsiteX41" fmla="*/ 526661 w 663972"/>
                  <a:gd name="connsiteY41" fmla="*/ 1219054 h 1452771"/>
                  <a:gd name="connsiteX42" fmla="*/ 584655 w 663972"/>
                  <a:gd name="connsiteY42" fmla="*/ 1137056 h 1452771"/>
                  <a:gd name="connsiteX43" fmla="*/ 591412 w 663972"/>
                  <a:gd name="connsiteY43" fmla="*/ 888137 h 1452771"/>
                  <a:gd name="connsiteX44" fmla="*/ 659694 w 663972"/>
                  <a:gd name="connsiteY44" fmla="*/ 741388 h 1452771"/>
                  <a:gd name="connsiteX45" fmla="*/ 646077 w 663972"/>
                  <a:gd name="connsiteY45" fmla="*/ 625400 h 1452771"/>
                  <a:gd name="connsiteX46" fmla="*/ 622174 w 663972"/>
                  <a:gd name="connsiteY46" fmla="*/ 516271 h 1452771"/>
                  <a:gd name="connsiteX47" fmla="*/ 601599 w 663972"/>
                  <a:gd name="connsiteY47" fmla="*/ 369522 h 1452771"/>
                  <a:gd name="connsiteX48" fmla="*/ 560852 w 663972"/>
                  <a:gd name="connsiteY48" fmla="*/ 332103 h 1452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663972" h="1452771">
                    <a:moveTo>
                      <a:pt x="560852" y="332103"/>
                    </a:moveTo>
                    <a:cubicBezTo>
                      <a:pt x="560852" y="332103"/>
                      <a:pt x="567711" y="267352"/>
                      <a:pt x="567711" y="175167"/>
                    </a:cubicBezTo>
                    <a:cubicBezTo>
                      <a:pt x="567711" y="83084"/>
                      <a:pt x="564382" y="93371"/>
                      <a:pt x="543908" y="45564"/>
                    </a:cubicBezTo>
                    <a:cubicBezTo>
                      <a:pt x="523333" y="-2141"/>
                      <a:pt x="485914" y="-12429"/>
                      <a:pt x="475627" y="14903"/>
                    </a:cubicBezTo>
                    <a:cubicBezTo>
                      <a:pt x="465339" y="42236"/>
                      <a:pt x="462010" y="72897"/>
                      <a:pt x="468869" y="96700"/>
                    </a:cubicBezTo>
                    <a:cubicBezTo>
                      <a:pt x="475627" y="120603"/>
                      <a:pt x="489343" y="246777"/>
                      <a:pt x="475627" y="277438"/>
                    </a:cubicBezTo>
                    <a:cubicBezTo>
                      <a:pt x="462010" y="308200"/>
                      <a:pt x="444965" y="315058"/>
                      <a:pt x="424491" y="287726"/>
                    </a:cubicBezTo>
                    <a:cubicBezTo>
                      <a:pt x="404017" y="260393"/>
                      <a:pt x="393730" y="246676"/>
                      <a:pt x="380113" y="260393"/>
                    </a:cubicBezTo>
                    <a:cubicBezTo>
                      <a:pt x="366498" y="274009"/>
                      <a:pt x="346023" y="236490"/>
                      <a:pt x="325549" y="256964"/>
                    </a:cubicBezTo>
                    <a:cubicBezTo>
                      <a:pt x="305075" y="277438"/>
                      <a:pt x="294787" y="304771"/>
                      <a:pt x="294787" y="325245"/>
                    </a:cubicBezTo>
                    <a:cubicBezTo>
                      <a:pt x="294787" y="345720"/>
                      <a:pt x="274313" y="366093"/>
                      <a:pt x="247081" y="359335"/>
                    </a:cubicBezTo>
                    <a:cubicBezTo>
                      <a:pt x="219849" y="352477"/>
                      <a:pt x="151568" y="356007"/>
                      <a:pt x="144810" y="386668"/>
                    </a:cubicBezTo>
                    <a:cubicBezTo>
                      <a:pt x="137952" y="417430"/>
                      <a:pt x="127765" y="407243"/>
                      <a:pt x="107291" y="424187"/>
                    </a:cubicBezTo>
                    <a:cubicBezTo>
                      <a:pt x="86816" y="441232"/>
                      <a:pt x="62913" y="461707"/>
                      <a:pt x="62913" y="489039"/>
                    </a:cubicBezTo>
                    <a:cubicBezTo>
                      <a:pt x="62913" y="516271"/>
                      <a:pt x="83388" y="536746"/>
                      <a:pt x="69771" y="550462"/>
                    </a:cubicBezTo>
                    <a:cubicBezTo>
                      <a:pt x="56156" y="564078"/>
                      <a:pt x="11778" y="564078"/>
                      <a:pt x="11778" y="587982"/>
                    </a:cubicBezTo>
                    <a:cubicBezTo>
                      <a:pt x="11778" y="611885"/>
                      <a:pt x="4919" y="635688"/>
                      <a:pt x="28722" y="632259"/>
                    </a:cubicBezTo>
                    <a:cubicBezTo>
                      <a:pt x="52626" y="628830"/>
                      <a:pt x="83287" y="635688"/>
                      <a:pt x="90145" y="663020"/>
                    </a:cubicBezTo>
                    <a:cubicBezTo>
                      <a:pt x="96902" y="690252"/>
                      <a:pt x="76529" y="724443"/>
                      <a:pt x="62812" y="717585"/>
                    </a:cubicBezTo>
                    <a:cubicBezTo>
                      <a:pt x="49196" y="710727"/>
                      <a:pt x="-29171" y="697111"/>
                      <a:pt x="11677" y="748246"/>
                    </a:cubicBezTo>
                    <a:cubicBezTo>
                      <a:pt x="52525" y="799381"/>
                      <a:pt x="25293" y="816426"/>
                      <a:pt x="69671" y="826714"/>
                    </a:cubicBezTo>
                    <a:cubicBezTo>
                      <a:pt x="113947" y="837001"/>
                      <a:pt x="130993" y="874420"/>
                      <a:pt x="127665" y="891465"/>
                    </a:cubicBezTo>
                    <a:cubicBezTo>
                      <a:pt x="124336" y="908510"/>
                      <a:pt x="90145" y="874521"/>
                      <a:pt x="90145" y="905182"/>
                    </a:cubicBezTo>
                    <a:cubicBezTo>
                      <a:pt x="90145" y="935944"/>
                      <a:pt x="86615" y="952989"/>
                      <a:pt x="66241" y="949560"/>
                    </a:cubicBezTo>
                    <a:cubicBezTo>
                      <a:pt x="45768" y="946029"/>
                      <a:pt x="38909" y="986978"/>
                      <a:pt x="66241" y="1004023"/>
                    </a:cubicBezTo>
                    <a:cubicBezTo>
                      <a:pt x="93574" y="1021068"/>
                      <a:pt x="148240" y="980120"/>
                      <a:pt x="161855" y="990407"/>
                    </a:cubicBezTo>
                    <a:cubicBezTo>
                      <a:pt x="175471" y="1000594"/>
                      <a:pt x="199274" y="1034684"/>
                      <a:pt x="185658" y="1051831"/>
                    </a:cubicBezTo>
                    <a:cubicBezTo>
                      <a:pt x="172042" y="1068875"/>
                      <a:pt x="151568" y="1102965"/>
                      <a:pt x="134523" y="1120010"/>
                    </a:cubicBezTo>
                    <a:cubicBezTo>
                      <a:pt x="117478" y="1137056"/>
                      <a:pt x="117478" y="1167818"/>
                      <a:pt x="131194" y="1174575"/>
                    </a:cubicBezTo>
                    <a:cubicBezTo>
                      <a:pt x="144810" y="1181434"/>
                      <a:pt x="158426" y="1150672"/>
                      <a:pt x="192517" y="1157530"/>
                    </a:cubicBezTo>
                    <a:cubicBezTo>
                      <a:pt x="226707" y="1164388"/>
                      <a:pt x="271085" y="1140586"/>
                      <a:pt x="281272" y="1160959"/>
                    </a:cubicBezTo>
                    <a:cubicBezTo>
                      <a:pt x="291459" y="1181434"/>
                      <a:pt x="270984" y="1211993"/>
                      <a:pt x="247081" y="1215423"/>
                    </a:cubicBezTo>
                    <a:cubicBezTo>
                      <a:pt x="223177" y="1218953"/>
                      <a:pt x="189087" y="1239326"/>
                      <a:pt x="192517" y="1256472"/>
                    </a:cubicBezTo>
                    <a:cubicBezTo>
                      <a:pt x="195945" y="1273518"/>
                      <a:pt x="178900" y="1283805"/>
                      <a:pt x="212991" y="1300850"/>
                    </a:cubicBezTo>
                    <a:cubicBezTo>
                      <a:pt x="247182" y="1317895"/>
                      <a:pt x="270984" y="1341799"/>
                      <a:pt x="291459" y="1345127"/>
                    </a:cubicBezTo>
                    <a:cubicBezTo>
                      <a:pt x="311933" y="1348556"/>
                      <a:pt x="400588" y="1345127"/>
                      <a:pt x="410875" y="1372460"/>
                    </a:cubicBezTo>
                    <a:cubicBezTo>
                      <a:pt x="421062" y="1399692"/>
                      <a:pt x="427920" y="1447599"/>
                      <a:pt x="448395" y="1450927"/>
                    </a:cubicBezTo>
                    <a:cubicBezTo>
                      <a:pt x="468869" y="1454256"/>
                      <a:pt x="489343" y="1457685"/>
                      <a:pt x="492672" y="1416737"/>
                    </a:cubicBezTo>
                    <a:cubicBezTo>
                      <a:pt x="496101" y="1375788"/>
                      <a:pt x="489343" y="1372460"/>
                      <a:pt x="502858" y="1348556"/>
                    </a:cubicBezTo>
                    <a:cubicBezTo>
                      <a:pt x="516474" y="1324653"/>
                      <a:pt x="492571" y="1311037"/>
                      <a:pt x="513045" y="1300850"/>
                    </a:cubicBezTo>
                    <a:cubicBezTo>
                      <a:pt x="533519" y="1290664"/>
                      <a:pt x="571039" y="1273518"/>
                      <a:pt x="557322" y="1253144"/>
                    </a:cubicBezTo>
                    <a:cubicBezTo>
                      <a:pt x="543706" y="1232670"/>
                      <a:pt x="512944" y="1239528"/>
                      <a:pt x="526661" y="1219054"/>
                    </a:cubicBezTo>
                    <a:cubicBezTo>
                      <a:pt x="540277" y="1198580"/>
                      <a:pt x="588084" y="1212195"/>
                      <a:pt x="584655" y="1137056"/>
                    </a:cubicBezTo>
                    <a:cubicBezTo>
                      <a:pt x="581124" y="1062017"/>
                      <a:pt x="560751" y="932515"/>
                      <a:pt x="591412" y="888137"/>
                    </a:cubicBezTo>
                    <a:cubicBezTo>
                      <a:pt x="622174" y="843759"/>
                      <a:pt x="680168" y="792523"/>
                      <a:pt x="659694" y="741388"/>
                    </a:cubicBezTo>
                    <a:cubicBezTo>
                      <a:pt x="639118" y="690252"/>
                      <a:pt x="646077" y="645875"/>
                      <a:pt x="646077" y="625400"/>
                    </a:cubicBezTo>
                    <a:cubicBezTo>
                      <a:pt x="646077" y="604926"/>
                      <a:pt x="622174" y="591310"/>
                      <a:pt x="622174" y="516271"/>
                    </a:cubicBezTo>
                    <a:cubicBezTo>
                      <a:pt x="622174" y="441232"/>
                      <a:pt x="622073" y="386668"/>
                      <a:pt x="601599" y="369522"/>
                    </a:cubicBezTo>
                    <a:cubicBezTo>
                      <a:pt x="581326" y="352477"/>
                      <a:pt x="560852" y="332103"/>
                      <a:pt x="560852" y="332103"/>
                    </a:cubicBezTo>
                    <a:close/>
                  </a:path>
                </a:pathLst>
              </a:custGeom>
              <a:solidFill>
                <a:schemeClr val="bg1">
                  <a:lumMod val="75000"/>
                </a:schemeClr>
              </a:solidFill>
              <a:ln w="10085" cap="flat">
                <a:solidFill>
                  <a:srgbClr val="FFFFFF"/>
                </a:solidFill>
                <a:prstDash val="solid"/>
                <a:miter/>
              </a:ln>
            </p:spPr>
            <p:txBody>
              <a:bodyPr rtlCol="0" anchor="ctr"/>
              <a:lstStyle/>
              <a:p>
                <a:endParaRPr lang="fr-FR" sz="900"/>
              </a:p>
            </p:txBody>
          </p:sp>
        </p:grpSp>
        <p:sp>
          <p:nvSpPr>
            <p:cNvPr id="112" name="object 13">
              <a:extLst>
                <a:ext uri="{FF2B5EF4-FFF2-40B4-BE49-F238E27FC236}">
                  <a16:creationId xmlns:a16="http://schemas.microsoft.com/office/drawing/2014/main" id="{8847FB22-B214-4EA5-B596-DC35C8E8DFC8}"/>
                </a:ext>
              </a:extLst>
            </p:cNvPr>
            <p:cNvSpPr txBox="1"/>
            <p:nvPr/>
          </p:nvSpPr>
          <p:spPr>
            <a:xfrm>
              <a:off x="1439421" y="5463026"/>
              <a:ext cx="2650175" cy="266075"/>
            </a:xfrm>
            <a:prstGeom prst="rect">
              <a:avLst/>
            </a:prstGeom>
          </p:spPr>
          <p:txBody>
            <a:bodyPr vert="horz" wrap="square" lIns="0" tIns="0" rIns="0" bIns="0" rtlCol="0">
              <a:spAutoFit/>
            </a:bodyPr>
            <a:lstStyle/>
            <a:p>
              <a:pPr marL="3851">
                <a:lnSpc>
                  <a:spcPct val="90000"/>
                </a:lnSpc>
              </a:pPr>
              <a:r>
                <a:rPr lang="fr-FR" sz="900" b="1" spc="6" dirty="0">
                  <a:latin typeface="Arial" panose="020B0604020202020204" pitchFamily="34" charset="0"/>
                  <a:cs typeface="Arial" panose="020B0604020202020204" pitchFamily="34" charset="0"/>
                </a:rPr>
                <a:t>Île-de-France</a:t>
              </a:r>
              <a:r>
                <a:rPr lang="fr-FR" sz="900" spc="6" dirty="0">
                  <a:latin typeface="Arial" panose="020B0604020202020204" pitchFamily="34" charset="0"/>
                  <a:cs typeface="Arial" panose="020B0604020202020204" pitchFamily="34" charset="0"/>
                </a:rPr>
                <a:t> (26 %)</a:t>
              </a:r>
              <a:endParaRPr lang="fr-FR" sz="900" b="1" spc="6" dirty="0">
                <a:latin typeface="Arial" panose="020B0604020202020204" pitchFamily="34" charset="0"/>
                <a:cs typeface="Arial" panose="020B0604020202020204" pitchFamily="34" charset="0"/>
              </a:endParaRPr>
            </a:p>
          </p:txBody>
        </p:sp>
        <p:sp>
          <p:nvSpPr>
            <p:cNvPr id="113" name="object 13">
              <a:extLst>
                <a:ext uri="{FF2B5EF4-FFF2-40B4-BE49-F238E27FC236}">
                  <a16:creationId xmlns:a16="http://schemas.microsoft.com/office/drawing/2014/main" id="{F6C45E44-DBA1-BDF8-D202-E6BFF8D666E4}"/>
                </a:ext>
              </a:extLst>
            </p:cNvPr>
            <p:cNvSpPr txBox="1"/>
            <p:nvPr/>
          </p:nvSpPr>
          <p:spPr>
            <a:xfrm>
              <a:off x="6459958" y="5132192"/>
              <a:ext cx="2784120" cy="266075"/>
            </a:xfrm>
            <a:prstGeom prst="rect">
              <a:avLst/>
            </a:prstGeom>
          </p:spPr>
          <p:txBody>
            <a:bodyPr vert="horz" wrap="square" lIns="0" tIns="0" rIns="0" bIns="0" rtlCol="0">
              <a:spAutoFit/>
            </a:bodyPr>
            <a:lstStyle/>
            <a:p>
              <a:pPr marL="3851">
                <a:lnSpc>
                  <a:spcPct val="90000"/>
                </a:lnSpc>
              </a:pPr>
              <a:r>
                <a:rPr lang="fr-FR" sz="900" b="1" spc="6" dirty="0">
                  <a:latin typeface="Arial" panose="020B0604020202020204" pitchFamily="34" charset="0"/>
                  <a:cs typeface="Arial" panose="020B0604020202020204" pitchFamily="34" charset="0"/>
                </a:rPr>
                <a:t>Hauts-de-France</a:t>
              </a:r>
              <a:r>
                <a:rPr lang="fr-FR" sz="900" spc="6" dirty="0">
                  <a:latin typeface="Arial" panose="020B0604020202020204" pitchFamily="34" charset="0"/>
                  <a:cs typeface="Arial" panose="020B0604020202020204" pitchFamily="34" charset="0"/>
                </a:rPr>
                <a:t> (11 %)</a:t>
              </a:r>
              <a:endParaRPr lang="fr-FR" sz="900" b="1" spc="6" dirty="0">
                <a:latin typeface="Arial" panose="020B0604020202020204" pitchFamily="34" charset="0"/>
                <a:cs typeface="Arial" panose="020B0604020202020204" pitchFamily="34" charset="0"/>
              </a:endParaRPr>
            </a:p>
          </p:txBody>
        </p:sp>
        <p:sp>
          <p:nvSpPr>
            <p:cNvPr id="114" name="object 13">
              <a:extLst>
                <a:ext uri="{FF2B5EF4-FFF2-40B4-BE49-F238E27FC236}">
                  <a16:creationId xmlns:a16="http://schemas.microsoft.com/office/drawing/2014/main" id="{19181C8F-3AEA-FAB6-1DB4-1FF9C0BBE201}"/>
                </a:ext>
              </a:extLst>
            </p:cNvPr>
            <p:cNvSpPr txBox="1"/>
            <p:nvPr/>
          </p:nvSpPr>
          <p:spPr>
            <a:xfrm>
              <a:off x="8424606" y="8808016"/>
              <a:ext cx="2401640" cy="532148"/>
            </a:xfrm>
            <a:prstGeom prst="rect">
              <a:avLst/>
            </a:prstGeom>
          </p:spPr>
          <p:txBody>
            <a:bodyPr vert="horz" wrap="square" lIns="0" tIns="0" rIns="0" bIns="0" rtlCol="0">
              <a:spAutoFit/>
            </a:bodyPr>
            <a:lstStyle/>
            <a:p>
              <a:pPr marL="3851">
                <a:lnSpc>
                  <a:spcPct val="90000"/>
                </a:lnSpc>
              </a:pPr>
              <a:r>
                <a:rPr lang="fr-FR" sz="900" b="1" spc="6" dirty="0">
                  <a:latin typeface="Arial" panose="020B0604020202020204" pitchFamily="34" charset="0"/>
                  <a:cs typeface="Arial" panose="020B0604020202020204" pitchFamily="34" charset="0"/>
                </a:rPr>
                <a:t>Auvergne-Rhône-Alpes</a:t>
              </a:r>
              <a:r>
                <a:rPr lang="fr-FR" sz="900" spc="6" dirty="0">
                  <a:latin typeface="Arial" panose="020B0604020202020204" pitchFamily="34" charset="0"/>
                  <a:cs typeface="Arial" panose="020B0604020202020204" pitchFamily="34" charset="0"/>
                </a:rPr>
                <a:t> (12 %)</a:t>
              </a:r>
              <a:endParaRPr lang="fr-FR" sz="900" b="1" spc="6" dirty="0">
                <a:latin typeface="Arial" panose="020B0604020202020204" pitchFamily="34" charset="0"/>
                <a:cs typeface="Arial" panose="020B0604020202020204" pitchFamily="34" charset="0"/>
              </a:endParaRPr>
            </a:p>
          </p:txBody>
        </p:sp>
        <p:cxnSp>
          <p:nvCxnSpPr>
            <p:cNvPr id="116" name="Connecteur droit 115">
              <a:extLst>
                <a:ext uri="{FF2B5EF4-FFF2-40B4-BE49-F238E27FC236}">
                  <a16:creationId xmlns:a16="http://schemas.microsoft.com/office/drawing/2014/main" id="{64F8D1A3-F6A9-F6D3-F6B1-368D375F3197}"/>
                </a:ext>
              </a:extLst>
            </p:cNvPr>
            <p:cNvCxnSpPr/>
            <p:nvPr/>
          </p:nvCxnSpPr>
          <p:spPr>
            <a:xfrm>
              <a:off x="3694113" y="5776378"/>
              <a:ext cx="1555220" cy="1218879"/>
            </a:xfrm>
            <a:prstGeom prst="line">
              <a:avLst/>
            </a:prstGeom>
            <a:ln w="12700"/>
          </p:spPr>
          <p:style>
            <a:lnRef idx="1">
              <a:schemeClr val="dk1"/>
            </a:lnRef>
            <a:fillRef idx="0">
              <a:schemeClr val="dk1"/>
            </a:fillRef>
            <a:effectRef idx="0">
              <a:schemeClr val="dk1"/>
            </a:effectRef>
            <a:fontRef idx="minor">
              <a:schemeClr val="tx1"/>
            </a:fontRef>
          </p:style>
        </p:cxnSp>
        <p:cxnSp>
          <p:nvCxnSpPr>
            <p:cNvPr id="117" name="Connecteur droit 116">
              <a:extLst>
                <a:ext uri="{FF2B5EF4-FFF2-40B4-BE49-F238E27FC236}">
                  <a16:creationId xmlns:a16="http://schemas.microsoft.com/office/drawing/2014/main" id="{AD8CA6AA-FB88-3EB0-0280-29EB1343FFA4}"/>
                </a:ext>
              </a:extLst>
            </p:cNvPr>
            <p:cNvCxnSpPr>
              <a:cxnSpLocks/>
            </p:cNvCxnSpPr>
            <p:nvPr/>
          </p:nvCxnSpPr>
          <p:spPr>
            <a:xfrm>
              <a:off x="1453418" y="5776379"/>
              <a:ext cx="2243844" cy="0"/>
            </a:xfrm>
            <a:prstGeom prst="line">
              <a:avLst/>
            </a:prstGeom>
            <a:ln w="12700"/>
          </p:spPr>
          <p:style>
            <a:lnRef idx="1">
              <a:schemeClr val="dk1"/>
            </a:lnRef>
            <a:fillRef idx="0">
              <a:schemeClr val="dk1"/>
            </a:fillRef>
            <a:effectRef idx="0">
              <a:schemeClr val="dk1"/>
            </a:effectRef>
            <a:fontRef idx="minor">
              <a:schemeClr val="tx1"/>
            </a:fontRef>
          </p:style>
        </p:cxnSp>
        <p:cxnSp>
          <p:nvCxnSpPr>
            <p:cNvPr id="120" name="Connecteur droit 119">
              <a:extLst>
                <a:ext uri="{FF2B5EF4-FFF2-40B4-BE49-F238E27FC236}">
                  <a16:creationId xmlns:a16="http://schemas.microsoft.com/office/drawing/2014/main" id="{34F18928-4760-A3CC-137C-F7168DBF98EC}"/>
                </a:ext>
              </a:extLst>
            </p:cNvPr>
            <p:cNvCxnSpPr>
              <a:cxnSpLocks/>
            </p:cNvCxnSpPr>
            <p:nvPr/>
          </p:nvCxnSpPr>
          <p:spPr>
            <a:xfrm flipV="1">
              <a:off x="5561572" y="5440256"/>
              <a:ext cx="913099" cy="504350"/>
            </a:xfrm>
            <a:prstGeom prst="line">
              <a:avLst/>
            </a:prstGeom>
            <a:ln w="12700"/>
          </p:spPr>
          <p:style>
            <a:lnRef idx="1">
              <a:schemeClr val="dk1"/>
            </a:lnRef>
            <a:fillRef idx="0">
              <a:schemeClr val="dk1"/>
            </a:fillRef>
            <a:effectRef idx="0">
              <a:schemeClr val="dk1"/>
            </a:effectRef>
            <a:fontRef idx="minor">
              <a:schemeClr val="tx1"/>
            </a:fontRef>
          </p:style>
        </p:cxnSp>
        <p:cxnSp>
          <p:nvCxnSpPr>
            <p:cNvPr id="121" name="Connecteur droit 120">
              <a:extLst>
                <a:ext uri="{FF2B5EF4-FFF2-40B4-BE49-F238E27FC236}">
                  <a16:creationId xmlns:a16="http://schemas.microsoft.com/office/drawing/2014/main" id="{F2383AE0-B0FE-44FB-41EC-7A2184D1F021}"/>
                </a:ext>
              </a:extLst>
            </p:cNvPr>
            <p:cNvCxnSpPr>
              <a:cxnSpLocks/>
            </p:cNvCxnSpPr>
            <p:nvPr/>
          </p:nvCxnSpPr>
          <p:spPr>
            <a:xfrm>
              <a:off x="6475729" y="5442346"/>
              <a:ext cx="2692754" cy="0"/>
            </a:xfrm>
            <a:prstGeom prst="line">
              <a:avLst/>
            </a:prstGeom>
            <a:ln w="12700"/>
          </p:spPr>
          <p:style>
            <a:lnRef idx="1">
              <a:schemeClr val="dk1"/>
            </a:lnRef>
            <a:fillRef idx="0">
              <a:schemeClr val="dk1"/>
            </a:fillRef>
            <a:effectRef idx="0">
              <a:schemeClr val="dk1"/>
            </a:effectRef>
            <a:fontRef idx="minor">
              <a:schemeClr val="tx1"/>
            </a:fontRef>
          </p:style>
        </p:cxnSp>
        <p:sp>
          <p:nvSpPr>
            <p:cNvPr id="125" name="Ellipse 124">
              <a:extLst>
                <a:ext uri="{FF2B5EF4-FFF2-40B4-BE49-F238E27FC236}">
                  <a16:creationId xmlns:a16="http://schemas.microsoft.com/office/drawing/2014/main" id="{9F035C4D-FC76-7C5D-74C8-7C8859B17679}"/>
                </a:ext>
              </a:extLst>
            </p:cNvPr>
            <p:cNvSpPr/>
            <p:nvPr/>
          </p:nvSpPr>
          <p:spPr>
            <a:xfrm>
              <a:off x="5355437" y="5723612"/>
              <a:ext cx="369340" cy="36934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sz="900"/>
            </a:p>
          </p:txBody>
        </p:sp>
        <p:sp>
          <p:nvSpPr>
            <p:cNvPr id="126" name="Ellipse 125">
              <a:extLst>
                <a:ext uri="{FF2B5EF4-FFF2-40B4-BE49-F238E27FC236}">
                  <a16:creationId xmlns:a16="http://schemas.microsoft.com/office/drawing/2014/main" id="{5BAE5FDD-F04D-334C-8D80-7FAEF7900073}"/>
                </a:ext>
              </a:extLst>
            </p:cNvPr>
            <p:cNvSpPr/>
            <p:nvPr/>
          </p:nvSpPr>
          <p:spPr>
            <a:xfrm>
              <a:off x="5124975" y="6823568"/>
              <a:ext cx="369340" cy="36934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sz="900"/>
            </a:p>
          </p:txBody>
        </p:sp>
        <p:cxnSp>
          <p:nvCxnSpPr>
            <p:cNvPr id="128" name="Connecteur droit 127">
              <a:extLst>
                <a:ext uri="{FF2B5EF4-FFF2-40B4-BE49-F238E27FC236}">
                  <a16:creationId xmlns:a16="http://schemas.microsoft.com/office/drawing/2014/main" id="{9BCA885D-450C-77B9-1F5C-E8064C4F59D2}"/>
                </a:ext>
              </a:extLst>
            </p:cNvPr>
            <p:cNvCxnSpPr>
              <a:cxnSpLocks/>
            </p:cNvCxnSpPr>
            <p:nvPr/>
          </p:nvCxnSpPr>
          <p:spPr>
            <a:xfrm flipV="1">
              <a:off x="6254559" y="9466617"/>
              <a:ext cx="2142643" cy="415960"/>
            </a:xfrm>
            <a:prstGeom prst="line">
              <a:avLst/>
            </a:prstGeom>
            <a:ln w="12700"/>
          </p:spPr>
          <p:style>
            <a:lnRef idx="1">
              <a:schemeClr val="dk1"/>
            </a:lnRef>
            <a:fillRef idx="0">
              <a:schemeClr val="dk1"/>
            </a:fillRef>
            <a:effectRef idx="0">
              <a:schemeClr val="dk1"/>
            </a:effectRef>
            <a:fontRef idx="minor">
              <a:schemeClr val="tx1"/>
            </a:fontRef>
          </p:style>
        </p:cxnSp>
        <p:cxnSp>
          <p:nvCxnSpPr>
            <p:cNvPr id="129" name="Connecteur droit 128">
              <a:extLst>
                <a:ext uri="{FF2B5EF4-FFF2-40B4-BE49-F238E27FC236}">
                  <a16:creationId xmlns:a16="http://schemas.microsoft.com/office/drawing/2014/main" id="{322D33A3-D504-066A-B7D9-3F533A61DA8F}"/>
                </a:ext>
              </a:extLst>
            </p:cNvPr>
            <p:cNvCxnSpPr>
              <a:cxnSpLocks/>
            </p:cNvCxnSpPr>
            <p:nvPr/>
          </p:nvCxnSpPr>
          <p:spPr>
            <a:xfrm flipV="1">
              <a:off x="8392838" y="9455256"/>
              <a:ext cx="2109414" cy="13450"/>
            </a:xfrm>
            <a:prstGeom prst="line">
              <a:avLst/>
            </a:prstGeom>
            <a:ln w="12700"/>
          </p:spPr>
          <p:style>
            <a:lnRef idx="1">
              <a:schemeClr val="dk1"/>
            </a:lnRef>
            <a:fillRef idx="0">
              <a:schemeClr val="dk1"/>
            </a:fillRef>
            <a:effectRef idx="0">
              <a:schemeClr val="dk1"/>
            </a:effectRef>
            <a:fontRef idx="minor">
              <a:schemeClr val="tx1"/>
            </a:fontRef>
          </p:style>
        </p:cxnSp>
        <p:sp>
          <p:nvSpPr>
            <p:cNvPr id="127" name="Ellipse 126">
              <a:extLst>
                <a:ext uri="{FF2B5EF4-FFF2-40B4-BE49-F238E27FC236}">
                  <a16:creationId xmlns:a16="http://schemas.microsoft.com/office/drawing/2014/main" id="{7A72A410-64DC-2F9A-5BE4-40BC7A0D9A49}"/>
                </a:ext>
              </a:extLst>
            </p:cNvPr>
            <p:cNvSpPr/>
            <p:nvPr/>
          </p:nvSpPr>
          <p:spPr>
            <a:xfrm>
              <a:off x="6046879" y="9696170"/>
              <a:ext cx="369340" cy="36934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sz="900"/>
            </a:p>
          </p:txBody>
        </p:sp>
      </p:grpSp>
      <p:sp>
        <p:nvSpPr>
          <p:cNvPr id="138" name="object 13">
            <a:extLst>
              <a:ext uri="{FF2B5EF4-FFF2-40B4-BE49-F238E27FC236}">
                <a16:creationId xmlns:a16="http://schemas.microsoft.com/office/drawing/2014/main" id="{8C69FFE4-46B1-9E1F-9232-9E08D8281500}"/>
              </a:ext>
            </a:extLst>
          </p:cNvPr>
          <p:cNvSpPr txBox="1"/>
          <p:nvPr/>
        </p:nvSpPr>
        <p:spPr>
          <a:xfrm>
            <a:off x="549082" y="1737635"/>
            <a:ext cx="4668207" cy="680356"/>
          </a:xfrm>
          <a:prstGeom prst="rect">
            <a:avLst/>
          </a:prstGeom>
          <a:noFill/>
          <a:ln>
            <a:solidFill>
              <a:srgbClr val="A4A3A4"/>
            </a:solidFill>
          </a:ln>
        </p:spPr>
        <p:txBody>
          <a:bodyPr vert="horz" wrap="square" lIns="90000" tIns="90000" rIns="90000" bIns="90000" rtlCol="0">
            <a:spAutoFit/>
          </a:bodyPr>
          <a:lstStyle/>
          <a:p>
            <a:pPr marL="3851">
              <a:lnSpc>
                <a:spcPct val="90000"/>
              </a:lnSpc>
            </a:pPr>
            <a:r>
              <a:rPr lang="fr-FR" sz="1200" b="1" spc="6" dirty="0">
                <a:solidFill>
                  <a:srgbClr val="E4002B"/>
                </a:solidFill>
                <a:latin typeface="Arial" panose="020B0604020202020204" pitchFamily="34" charset="0"/>
                <a:cs typeface="Arial" panose="020B0604020202020204" pitchFamily="34" charset="0"/>
              </a:rPr>
              <a:t>La France, </a:t>
            </a:r>
            <a:r>
              <a:rPr lang="fr-FR" sz="1200" b="1" spc="6" dirty="0">
                <a:latin typeface="Arial" panose="020B0604020202020204" pitchFamily="34" charset="0"/>
                <a:cs typeface="Arial" panose="020B0604020202020204" pitchFamily="34" charset="0"/>
              </a:rPr>
              <a:t>1</a:t>
            </a:r>
            <a:r>
              <a:rPr lang="fr-FR" sz="1200" b="1" spc="6" baseline="30000" dirty="0">
                <a:latin typeface="Arial" panose="020B0604020202020204" pitchFamily="34" charset="0"/>
                <a:cs typeface="Arial" panose="020B0604020202020204" pitchFamily="34" charset="0"/>
              </a:rPr>
              <a:t>ère</a:t>
            </a:r>
            <a:r>
              <a:rPr lang="fr-FR" sz="1200" b="1" spc="6" dirty="0">
                <a:latin typeface="Arial" panose="020B0604020202020204" pitchFamily="34" charset="0"/>
                <a:cs typeface="Arial" panose="020B0604020202020204" pitchFamily="34" charset="0"/>
              </a:rPr>
              <a:t> destination européenne de l’industrie</a:t>
            </a:r>
          </a:p>
          <a:p>
            <a:pPr marL="3851">
              <a:lnSpc>
                <a:spcPct val="90000"/>
              </a:lnSpc>
            </a:pPr>
            <a:r>
              <a:rPr lang="fr-FR" sz="1200" b="1" spc="6" dirty="0">
                <a:solidFill>
                  <a:srgbClr val="E4002B"/>
                </a:solidFill>
                <a:latin typeface="Arial" panose="020B0604020202020204" pitchFamily="34" charset="0"/>
                <a:cs typeface="Arial" panose="020B0604020202020204" pitchFamily="34" charset="0"/>
              </a:rPr>
              <a:t>&gt; 1 222 implantations ou extensions industrielles </a:t>
            </a:r>
            <a:r>
              <a:rPr lang="fr-FR" sz="1200" b="1" spc="6" dirty="0">
                <a:latin typeface="Arial" panose="020B0604020202020204" pitchFamily="34" charset="0"/>
                <a:cs typeface="Arial" panose="020B0604020202020204" pitchFamily="34" charset="0"/>
              </a:rPr>
              <a:t>annoncées </a:t>
            </a:r>
            <a:br>
              <a:rPr lang="fr-FR" sz="1200" b="1" spc="6" dirty="0">
                <a:latin typeface="Arial" panose="020B0604020202020204" pitchFamily="34" charset="0"/>
                <a:cs typeface="Arial" panose="020B0604020202020204" pitchFamily="34" charset="0"/>
              </a:rPr>
            </a:br>
            <a:r>
              <a:rPr lang="fr-FR" sz="1200" b="1" spc="6" dirty="0">
                <a:latin typeface="Arial" panose="020B0604020202020204" pitchFamily="34" charset="0"/>
                <a:cs typeface="Arial" panose="020B0604020202020204" pitchFamily="34" charset="0"/>
              </a:rPr>
              <a:t>en 2021</a:t>
            </a:r>
          </a:p>
        </p:txBody>
      </p:sp>
      <p:sp>
        <p:nvSpPr>
          <p:cNvPr id="148" name="object 13">
            <a:extLst>
              <a:ext uri="{FF2B5EF4-FFF2-40B4-BE49-F238E27FC236}">
                <a16:creationId xmlns:a16="http://schemas.microsoft.com/office/drawing/2014/main" id="{858FEC9E-CE92-80A2-9647-4BB7DE0362EC}"/>
              </a:ext>
            </a:extLst>
          </p:cNvPr>
          <p:cNvSpPr txBox="1"/>
          <p:nvPr/>
        </p:nvSpPr>
        <p:spPr>
          <a:xfrm>
            <a:off x="9605729" y="4341754"/>
            <a:ext cx="1420474" cy="166199"/>
          </a:xfrm>
          <a:prstGeom prst="rect">
            <a:avLst/>
          </a:prstGeom>
        </p:spPr>
        <p:txBody>
          <a:bodyPr vert="horz" wrap="square" lIns="0" tIns="0" rIns="0" bIns="0" rtlCol="0">
            <a:spAutoFit/>
          </a:bodyPr>
          <a:lstStyle/>
          <a:p>
            <a:pPr marL="3851">
              <a:lnSpc>
                <a:spcPct val="90000"/>
              </a:lnSpc>
            </a:pPr>
            <a:r>
              <a:rPr lang="fr-FR" sz="1200" b="1" spc="6" dirty="0">
                <a:highlight>
                  <a:srgbClr val="FF00FF"/>
                </a:highlight>
                <a:latin typeface="Arial" panose="020B0604020202020204" pitchFamily="34" charset="0"/>
                <a:cs typeface="Arial" panose="020B0604020202020204" pitchFamily="34" charset="0"/>
              </a:rPr>
              <a:t>Image temporaire</a:t>
            </a:r>
          </a:p>
        </p:txBody>
      </p:sp>
      <p:cxnSp>
        <p:nvCxnSpPr>
          <p:cNvPr id="150" name="Connecteur droit 149">
            <a:extLst>
              <a:ext uri="{FF2B5EF4-FFF2-40B4-BE49-F238E27FC236}">
                <a16:creationId xmlns:a16="http://schemas.microsoft.com/office/drawing/2014/main" id="{51315C8F-6703-2139-6382-8DC4693BDC98}"/>
              </a:ext>
            </a:extLst>
          </p:cNvPr>
          <p:cNvCxnSpPr/>
          <p:nvPr/>
        </p:nvCxnSpPr>
        <p:spPr>
          <a:xfrm>
            <a:off x="5492696" y="5292173"/>
            <a:ext cx="0" cy="648392"/>
          </a:xfrm>
          <a:prstGeom prst="line">
            <a:avLst/>
          </a:prstGeom>
        </p:spPr>
        <p:style>
          <a:lnRef idx="1">
            <a:schemeClr val="dk1"/>
          </a:lnRef>
          <a:fillRef idx="0">
            <a:schemeClr val="dk1"/>
          </a:fillRef>
          <a:effectRef idx="0">
            <a:schemeClr val="dk1"/>
          </a:effectRef>
          <a:fontRef idx="minor">
            <a:schemeClr val="tx1"/>
          </a:fontRef>
        </p:style>
      </p:cxnSp>
      <p:cxnSp>
        <p:nvCxnSpPr>
          <p:cNvPr id="151" name="Connecteur droit 150">
            <a:extLst>
              <a:ext uri="{FF2B5EF4-FFF2-40B4-BE49-F238E27FC236}">
                <a16:creationId xmlns:a16="http://schemas.microsoft.com/office/drawing/2014/main" id="{DDC217E7-B800-2904-0D20-84A90EE68AB1}"/>
              </a:ext>
            </a:extLst>
          </p:cNvPr>
          <p:cNvCxnSpPr/>
          <p:nvPr/>
        </p:nvCxnSpPr>
        <p:spPr>
          <a:xfrm>
            <a:off x="8558927" y="5292173"/>
            <a:ext cx="0" cy="648392"/>
          </a:xfrm>
          <a:prstGeom prst="line">
            <a:avLst/>
          </a:prstGeom>
        </p:spPr>
        <p:style>
          <a:lnRef idx="1">
            <a:schemeClr val="dk1"/>
          </a:lnRef>
          <a:fillRef idx="0">
            <a:schemeClr val="dk1"/>
          </a:fillRef>
          <a:effectRef idx="0">
            <a:schemeClr val="dk1"/>
          </a:effectRef>
          <a:fontRef idx="minor">
            <a:schemeClr val="tx1"/>
          </a:fontRef>
        </p:style>
      </p:cxnSp>
      <p:pic>
        <p:nvPicPr>
          <p:cNvPr id="152" name="Image 151">
            <a:extLst>
              <a:ext uri="{FF2B5EF4-FFF2-40B4-BE49-F238E27FC236}">
                <a16:creationId xmlns:a16="http://schemas.microsoft.com/office/drawing/2014/main" id="{0E615559-6470-DE60-A1EC-55EB29E470A6}"/>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b="-157"/>
          <a:stretch/>
        </p:blipFill>
        <p:spPr>
          <a:xfrm>
            <a:off x="5471256" y="2736447"/>
            <a:ext cx="6731362" cy="1846818"/>
          </a:xfrm>
          <a:prstGeom prst="rect">
            <a:avLst/>
          </a:prstGeom>
        </p:spPr>
      </p:pic>
      <p:sp>
        <p:nvSpPr>
          <p:cNvPr id="12" name="Ellipse 11">
            <a:extLst>
              <a:ext uri="{FF2B5EF4-FFF2-40B4-BE49-F238E27FC236}">
                <a16:creationId xmlns:a16="http://schemas.microsoft.com/office/drawing/2014/main" id="{536D8AFD-2122-6D57-F1BD-231AF5A800BB}"/>
              </a:ext>
            </a:extLst>
          </p:cNvPr>
          <p:cNvSpPr/>
          <p:nvPr/>
        </p:nvSpPr>
        <p:spPr>
          <a:xfrm>
            <a:off x="2626464" y="3122536"/>
            <a:ext cx="79960" cy="79960"/>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sz="900"/>
          </a:p>
        </p:txBody>
      </p:sp>
      <p:sp>
        <p:nvSpPr>
          <p:cNvPr id="13" name="Ellipse 12">
            <a:extLst>
              <a:ext uri="{FF2B5EF4-FFF2-40B4-BE49-F238E27FC236}">
                <a16:creationId xmlns:a16="http://schemas.microsoft.com/office/drawing/2014/main" id="{433BE761-CB88-2613-1D99-65B5D628E29C}"/>
              </a:ext>
            </a:extLst>
          </p:cNvPr>
          <p:cNvSpPr/>
          <p:nvPr/>
        </p:nvSpPr>
        <p:spPr>
          <a:xfrm>
            <a:off x="2517011" y="3635153"/>
            <a:ext cx="79960" cy="79960"/>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sz="900"/>
          </a:p>
        </p:txBody>
      </p:sp>
      <p:sp>
        <p:nvSpPr>
          <p:cNvPr id="14" name="Ellipse 13">
            <a:extLst>
              <a:ext uri="{FF2B5EF4-FFF2-40B4-BE49-F238E27FC236}">
                <a16:creationId xmlns:a16="http://schemas.microsoft.com/office/drawing/2014/main" id="{726F05D3-189C-0058-1E1E-3D042003C4F7}"/>
              </a:ext>
            </a:extLst>
          </p:cNvPr>
          <p:cNvSpPr/>
          <p:nvPr/>
        </p:nvSpPr>
        <p:spPr>
          <a:xfrm>
            <a:off x="2950793" y="4980986"/>
            <a:ext cx="79960" cy="79960"/>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sz="900"/>
          </a:p>
        </p:txBody>
      </p:sp>
      <p:grpSp>
        <p:nvGrpSpPr>
          <p:cNvPr id="15" name="Groupe 14">
            <a:extLst>
              <a:ext uri="{FF2B5EF4-FFF2-40B4-BE49-F238E27FC236}">
                <a16:creationId xmlns:a16="http://schemas.microsoft.com/office/drawing/2014/main" id="{0B0DA3F0-3C5F-0151-675D-57F08D0E2B95}"/>
              </a:ext>
            </a:extLst>
          </p:cNvPr>
          <p:cNvGrpSpPr/>
          <p:nvPr/>
        </p:nvGrpSpPr>
        <p:grpSpPr>
          <a:xfrm rot="16200000">
            <a:off x="11251626" y="5918022"/>
            <a:ext cx="1392174" cy="487782"/>
            <a:chOff x="6189044" y="11173899"/>
            <a:chExt cx="5165853" cy="1809980"/>
          </a:xfrm>
        </p:grpSpPr>
        <p:sp>
          <p:nvSpPr>
            <p:cNvPr id="17" name="Rectangle 16">
              <a:extLst>
                <a:ext uri="{FF2B5EF4-FFF2-40B4-BE49-F238E27FC236}">
                  <a16:creationId xmlns:a16="http://schemas.microsoft.com/office/drawing/2014/main" id="{2E056F09-3D16-C7D7-354D-D8098C7DF122}"/>
                </a:ext>
              </a:extLst>
            </p:cNvPr>
            <p:cNvSpPr/>
            <p:nvPr/>
          </p:nvSpPr>
          <p:spPr>
            <a:xfrm>
              <a:off x="6275672" y="11251933"/>
              <a:ext cx="3291840" cy="66955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00"/>
            </a:p>
          </p:txBody>
        </p:sp>
        <p:sp>
          <p:nvSpPr>
            <p:cNvPr id="18" name="Rectangle 17">
              <a:extLst>
                <a:ext uri="{FF2B5EF4-FFF2-40B4-BE49-F238E27FC236}">
                  <a16:creationId xmlns:a16="http://schemas.microsoft.com/office/drawing/2014/main" id="{3993635C-9925-8622-DF49-E7B3358C983F}"/>
                </a:ext>
              </a:extLst>
            </p:cNvPr>
            <p:cNvSpPr/>
            <p:nvPr/>
          </p:nvSpPr>
          <p:spPr>
            <a:xfrm>
              <a:off x="9805156" y="12159152"/>
              <a:ext cx="1389025" cy="66955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00"/>
            </a:p>
          </p:txBody>
        </p:sp>
        <p:pic>
          <p:nvPicPr>
            <p:cNvPr id="39" name="Graphique 38">
              <a:extLst>
                <a:ext uri="{FF2B5EF4-FFF2-40B4-BE49-F238E27FC236}">
                  <a16:creationId xmlns:a16="http://schemas.microsoft.com/office/drawing/2014/main" id="{CB1DA289-C8E4-4FAD-ECE8-D29227648C2E}"/>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6189044" y="11173899"/>
              <a:ext cx="5165853" cy="1809980"/>
            </a:xfrm>
            <a:prstGeom prst="rect">
              <a:avLst/>
            </a:prstGeom>
          </p:spPr>
        </p:pic>
      </p:grpSp>
      <p:sp>
        <p:nvSpPr>
          <p:cNvPr id="3" name="object 13">
            <a:extLst>
              <a:ext uri="{FF2B5EF4-FFF2-40B4-BE49-F238E27FC236}">
                <a16:creationId xmlns:a16="http://schemas.microsoft.com/office/drawing/2014/main" id="{06D1CB1E-CC29-EB10-0906-F917C10E071C}"/>
              </a:ext>
            </a:extLst>
          </p:cNvPr>
          <p:cNvSpPr txBox="1"/>
          <p:nvPr/>
        </p:nvSpPr>
        <p:spPr>
          <a:xfrm>
            <a:off x="6136502" y="936895"/>
            <a:ext cx="4308002" cy="375657"/>
          </a:xfrm>
          <a:prstGeom prst="rect">
            <a:avLst/>
          </a:prstGeom>
          <a:noFill/>
          <a:ln>
            <a:noFill/>
          </a:ln>
        </p:spPr>
        <p:txBody>
          <a:bodyPr vert="horz" wrap="square" lIns="90000" tIns="90000" rIns="90000" bIns="90000" rtlCol="0">
            <a:spAutoFit/>
          </a:bodyPr>
          <a:lstStyle/>
          <a:p>
            <a:pPr marL="3851">
              <a:lnSpc>
                <a:spcPct val="90000"/>
              </a:lnSpc>
            </a:pPr>
            <a:r>
              <a:rPr lang="fr-FR" sz="1400" b="1" spc="6" dirty="0">
                <a:solidFill>
                  <a:schemeClr val="bg1"/>
                </a:solidFill>
                <a:latin typeface="Arial" panose="020B0604020202020204" pitchFamily="34" charset="0"/>
                <a:cs typeface="Arial" panose="020B0604020202020204" pitchFamily="34" charset="0"/>
              </a:rPr>
              <a:t>UN CONTEXTE NATIONAL</a:t>
            </a:r>
          </a:p>
        </p:txBody>
      </p:sp>
      <p:cxnSp>
        <p:nvCxnSpPr>
          <p:cNvPr id="4" name="Connecteur droit 3">
            <a:extLst>
              <a:ext uri="{FF2B5EF4-FFF2-40B4-BE49-F238E27FC236}">
                <a16:creationId xmlns:a16="http://schemas.microsoft.com/office/drawing/2014/main" id="{101959CB-DFD9-B6F1-6BFE-0F51A6A0819F}"/>
              </a:ext>
            </a:extLst>
          </p:cNvPr>
          <p:cNvCxnSpPr>
            <a:cxnSpLocks/>
          </p:cNvCxnSpPr>
          <p:nvPr/>
        </p:nvCxnSpPr>
        <p:spPr>
          <a:xfrm>
            <a:off x="8964879" y="1554813"/>
            <a:ext cx="0" cy="911518"/>
          </a:xfrm>
          <a:prstGeom prst="line">
            <a:avLst/>
          </a:prstGeom>
          <a:ln>
            <a:solidFill>
              <a:schemeClr val="bg1"/>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74369077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Image 25">
            <a:extLst>
              <a:ext uri="{FF2B5EF4-FFF2-40B4-BE49-F238E27FC236}">
                <a16:creationId xmlns:a16="http://schemas.microsoft.com/office/drawing/2014/main" id="{70A2F29E-E936-8BCE-B6E6-9493455775AC}"/>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779816" y="0"/>
            <a:ext cx="5411788" cy="6858000"/>
          </a:xfrm>
          <a:prstGeom prst="rect">
            <a:avLst/>
          </a:prstGeom>
        </p:spPr>
      </p:pic>
      <p:sp>
        <p:nvSpPr>
          <p:cNvPr id="20" name="Rectangle 19">
            <a:extLst>
              <a:ext uri="{FF2B5EF4-FFF2-40B4-BE49-F238E27FC236}">
                <a16:creationId xmlns:a16="http://schemas.microsoft.com/office/drawing/2014/main" id="{E5683E2C-54A1-EB9F-E2D9-33ADC070E52B}"/>
              </a:ext>
            </a:extLst>
          </p:cNvPr>
          <p:cNvSpPr/>
          <p:nvPr/>
        </p:nvSpPr>
        <p:spPr>
          <a:xfrm>
            <a:off x="5929746" y="0"/>
            <a:ext cx="2770910" cy="2776116"/>
          </a:xfrm>
          <a:prstGeom prst="rect">
            <a:avLst/>
          </a:prstGeom>
          <a:solidFill>
            <a:srgbClr val="E4002B"/>
          </a:solidFill>
          <a:ln>
            <a:noFill/>
          </a:ln>
          <a:effectLst>
            <a:outerShdw blurRad="279400" dist="266700" algn="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sz="900"/>
          </a:p>
        </p:txBody>
      </p:sp>
      <p:sp>
        <p:nvSpPr>
          <p:cNvPr id="3" name="Rectangle 2">
            <a:extLst>
              <a:ext uri="{FF2B5EF4-FFF2-40B4-BE49-F238E27FC236}">
                <a16:creationId xmlns:a16="http://schemas.microsoft.com/office/drawing/2014/main" id="{0DCC4FA8-722A-1DCD-9A90-89E4D63ED8AD}"/>
              </a:ext>
            </a:extLst>
          </p:cNvPr>
          <p:cNvSpPr/>
          <p:nvPr/>
        </p:nvSpPr>
        <p:spPr>
          <a:xfrm>
            <a:off x="397" y="0"/>
            <a:ext cx="105878" cy="6858000"/>
          </a:xfrm>
          <a:prstGeom prst="rect">
            <a:avLst/>
          </a:prstGeom>
          <a:solidFill>
            <a:srgbClr val="E400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00" dirty="0"/>
          </a:p>
        </p:txBody>
      </p:sp>
      <p:sp>
        <p:nvSpPr>
          <p:cNvPr id="4" name="object 13">
            <a:extLst>
              <a:ext uri="{FF2B5EF4-FFF2-40B4-BE49-F238E27FC236}">
                <a16:creationId xmlns:a16="http://schemas.microsoft.com/office/drawing/2014/main" id="{A954B404-0F05-B36E-2AF1-39881146FBF8}"/>
              </a:ext>
            </a:extLst>
          </p:cNvPr>
          <p:cNvSpPr txBox="1"/>
          <p:nvPr/>
        </p:nvSpPr>
        <p:spPr>
          <a:xfrm>
            <a:off x="1091804" y="1862932"/>
            <a:ext cx="1314450" cy="397201"/>
          </a:xfrm>
          <a:prstGeom prst="rect">
            <a:avLst/>
          </a:prstGeom>
          <a:solidFill>
            <a:schemeClr val="tx1"/>
          </a:solidFill>
          <a:ln>
            <a:noFill/>
          </a:ln>
        </p:spPr>
        <p:txBody>
          <a:bodyPr vert="horz" wrap="square" lIns="90000" tIns="90000" rIns="90000" bIns="90000" rtlCol="0">
            <a:spAutoFit/>
          </a:bodyPr>
          <a:lstStyle/>
          <a:p>
            <a:pPr marL="3851"/>
            <a:r>
              <a:rPr lang="fr-FR" sz="1400" b="1" spc="6" dirty="0">
                <a:solidFill>
                  <a:schemeClr val="bg1"/>
                </a:solidFill>
                <a:latin typeface="Arial"/>
                <a:cs typeface="Arial"/>
              </a:rPr>
              <a:t>LE CONSTAT</a:t>
            </a:r>
          </a:p>
        </p:txBody>
      </p:sp>
      <p:sp>
        <p:nvSpPr>
          <p:cNvPr id="7" name="object 13">
            <a:extLst>
              <a:ext uri="{FF2B5EF4-FFF2-40B4-BE49-F238E27FC236}">
                <a16:creationId xmlns:a16="http://schemas.microsoft.com/office/drawing/2014/main" id="{B3C4EE1F-9905-42C1-13B1-3CB9D6514363}"/>
              </a:ext>
            </a:extLst>
          </p:cNvPr>
          <p:cNvSpPr txBox="1"/>
          <p:nvPr/>
        </p:nvSpPr>
        <p:spPr>
          <a:xfrm>
            <a:off x="1167251" y="2260133"/>
            <a:ext cx="4507239" cy="957355"/>
          </a:xfrm>
          <a:prstGeom prst="rect">
            <a:avLst/>
          </a:prstGeom>
          <a:noFill/>
          <a:ln>
            <a:solidFill>
              <a:srgbClr val="A4A3A4"/>
            </a:solidFill>
          </a:ln>
        </p:spPr>
        <p:txBody>
          <a:bodyPr vert="horz" wrap="square" lIns="90000" tIns="90000" rIns="90000" bIns="90000" rtlCol="0">
            <a:spAutoFit/>
          </a:bodyPr>
          <a:lstStyle/>
          <a:p>
            <a:pPr marL="3851">
              <a:lnSpc>
                <a:spcPct val="90000"/>
              </a:lnSpc>
              <a:spcAft>
                <a:spcPts val="364"/>
              </a:spcAft>
            </a:pPr>
            <a:r>
              <a:rPr lang="fr-FR" sz="2000" b="1" spc="6" dirty="0">
                <a:solidFill>
                  <a:srgbClr val="E4002B"/>
                </a:solidFill>
                <a:latin typeface="Arial" panose="020B0604020202020204" pitchFamily="34" charset="0"/>
                <a:cs typeface="Arial" panose="020B0604020202020204" pitchFamily="34" charset="0"/>
              </a:rPr>
              <a:t>140 000 M² </a:t>
            </a:r>
            <a:r>
              <a:rPr lang="fr-FR" sz="2000" b="1" spc="6" dirty="0">
                <a:latin typeface="Arial" panose="020B0604020202020204" pitchFamily="34" charset="0"/>
                <a:cs typeface="Arial" panose="020B0604020202020204" pitchFamily="34" charset="0"/>
              </a:rPr>
              <a:t>DE SDP ANNUELS : </a:t>
            </a:r>
            <a:r>
              <a:rPr lang="fr-FR" dirty="0">
                <a:latin typeface="Arial" panose="020B0604020202020204" pitchFamily="34" charset="0"/>
                <a:cs typeface="Arial" panose="020B0604020202020204" pitchFamily="34" charset="0"/>
              </a:rPr>
              <a:t>historiquement le besoin annuel de nouveaux locaux à vocation d’activité</a:t>
            </a:r>
            <a:endParaRPr lang="fr-FR" sz="2000" dirty="0">
              <a:latin typeface="Arial" panose="020B0604020202020204" pitchFamily="34" charset="0"/>
              <a:cs typeface="Arial" panose="020B0604020202020204" pitchFamily="34" charset="0"/>
            </a:endParaRPr>
          </a:p>
        </p:txBody>
      </p:sp>
      <p:sp>
        <p:nvSpPr>
          <p:cNvPr id="10" name="ZoneTexte 9">
            <a:extLst>
              <a:ext uri="{FF2B5EF4-FFF2-40B4-BE49-F238E27FC236}">
                <a16:creationId xmlns:a16="http://schemas.microsoft.com/office/drawing/2014/main" id="{BB363FE5-F813-7642-6C09-73255748461A}"/>
              </a:ext>
            </a:extLst>
          </p:cNvPr>
          <p:cNvSpPr txBox="1"/>
          <p:nvPr/>
        </p:nvSpPr>
        <p:spPr>
          <a:xfrm>
            <a:off x="1453560" y="3356136"/>
            <a:ext cx="4187241" cy="523220"/>
          </a:xfrm>
          <a:prstGeom prst="rect">
            <a:avLst/>
          </a:prstGeom>
          <a:noFill/>
        </p:spPr>
        <p:txBody>
          <a:bodyPr wrap="square">
            <a:spAutoFit/>
          </a:bodyPr>
          <a:lstStyle/>
          <a:p>
            <a:pPr marL="142875" indent="-142875">
              <a:buFont typeface="Arial" panose="020B0604020202020204" pitchFamily="34" charset="0"/>
              <a:buChar char="•"/>
            </a:pPr>
            <a:r>
              <a:rPr lang="fr-FR" sz="1400" b="1" spc="6" dirty="0">
                <a:solidFill>
                  <a:srgbClr val="E4002B"/>
                </a:solidFill>
                <a:latin typeface="Arial" panose="020B0604020202020204" pitchFamily="34" charset="0"/>
                <a:cs typeface="Arial" panose="020B0604020202020204" pitchFamily="34" charset="0"/>
              </a:rPr>
              <a:t>Dont 70 000 M² </a:t>
            </a:r>
            <a:r>
              <a:rPr lang="fr-FR" sz="1400" b="1" spc="6" dirty="0">
                <a:latin typeface="Arial" panose="020B0604020202020204" pitchFamily="34" charset="0"/>
                <a:cs typeface="Arial" panose="020B0604020202020204" pitchFamily="34" charset="0"/>
              </a:rPr>
              <a:t>de SDP en renouvellement du tissu diffus des sites économiques existants</a:t>
            </a:r>
          </a:p>
        </p:txBody>
      </p:sp>
      <p:sp>
        <p:nvSpPr>
          <p:cNvPr id="12" name="ZoneTexte 11">
            <a:extLst>
              <a:ext uri="{FF2B5EF4-FFF2-40B4-BE49-F238E27FC236}">
                <a16:creationId xmlns:a16="http://schemas.microsoft.com/office/drawing/2014/main" id="{53ED31DA-A05D-37CB-C7BC-733B66BC177E}"/>
              </a:ext>
            </a:extLst>
          </p:cNvPr>
          <p:cNvSpPr txBox="1"/>
          <p:nvPr/>
        </p:nvSpPr>
        <p:spPr>
          <a:xfrm>
            <a:off x="1453560" y="3946509"/>
            <a:ext cx="4187241" cy="523220"/>
          </a:xfrm>
          <a:prstGeom prst="rect">
            <a:avLst/>
          </a:prstGeom>
          <a:noFill/>
        </p:spPr>
        <p:txBody>
          <a:bodyPr wrap="square">
            <a:spAutoFit/>
          </a:bodyPr>
          <a:lstStyle/>
          <a:p>
            <a:pPr marL="142875" indent="-142875">
              <a:buFont typeface="Arial" panose="020B0604020202020204" pitchFamily="34" charset="0"/>
              <a:buChar char="•"/>
            </a:pPr>
            <a:r>
              <a:rPr lang="fr-FR" sz="1400" b="1" spc="6" dirty="0">
                <a:solidFill>
                  <a:srgbClr val="E4002B"/>
                </a:solidFill>
                <a:latin typeface="Arial" panose="020B0604020202020204" pitchFamily="34" charset="0"/>
                <a:cs typeface="Arial" panose="020B0604020202020204" pitchFamily="34" charset="0"/>
              </a:rPr>
              <a:t>Et 70 000 M² </a:t>
            </a:r>
            <a:r>
              <a:rPr lang="fr-FR" sz="1400" b="1" spc="6" dirty="0">
                <a:latin typeface="Arial" panose="020B0604020202020204" pitchFamily="34" charset="0"/>
                <a:cs typeface="Arial" panose="020B0604020202020204" pitchFamily="34" charset="0"/>
              </a:rPr>
              <a:t>de SDP dans des opérations d’aménagement en extension foncière</a:t>
            </a:r>
          </a:p>
        </p:txBody>
      </p:sp>
      <p:sp>
        <p:nvSpPr>
          <p:cNvPr id="36" name="Rectangle 35">
            <a:extLst>
              <a:ext uri="{FF2B5EF4-FFF2-40B4-BE49-F238E27FC236}">
                <a16:creationId xmlns:a16="http://schemas.microsoft.com/office/drawing/2014/main" id="{FE8C14C4-EEE4-1076-6985-FC304381CAFC}"/>
              </a:ext>
            </a:extLst>
          </p:cNvPr>
          <p:cNvSpPr/>
          <p:nvPr/>
        </p:nvSpPr>
        <p:spPr>
          <a:xfrm>
            <a:off x="5929746" y="2675467"/>
            <a:ext cx="2770910" cy="4182534"/>
          </a:xfrm>
          <a:prstGeom prst="rect">
            <a:avLst/>
          </a:prstGeom>
          <a:solidFill>
            <a:schemeClr val="tx1"/>
          </a:solidFill>
          <a:ln>
            <a:noFill/>
          </a:ln>
          <a:effectLst>
            <a:outerShdw blurRad="279400" dist="266700" algn="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sz="900"/>
          </a:p>
        </p:txBody>
      </p:sp>
      <p:sp>
        <p:nvSpPr>
          <p:cNvPr id="17" name="ZoneTexte 16">
            <a:extLst>
              <a:ext uri="{FF2B5EF4-FFF2-40B4-BE49-F238E27FC236}">
                <a16:creationId xmlns:a16="http://schemas.microsoft.com/office/drawing/2014/main" id="{6E3AADB1-65D9-E263-1439-29B328A44657}"/>
              </a:ext>
            </a:extLst>
          </p:cNvPr>
          <p:cNvSpPr txBox="1"/>
          <p:nvPr/>
        </p:nvSpPr>
        <p:spPr>
          <a:xfrm>
            <a:off x="6095797" y="3518257"/>
            <a:ext cx="2452457" cy="1200329"/>
          </a:xfrm>
          <a:prstGeom prst="rect">
            <a:avLst/>
          </a:prstGeom>
          <a:noFill/>
        </p:spPr>
        <p:txBody>
          <a:bodyPr wrap="square">
            <a:spAutoFit/>
          </a:bodyPr>
          <a:lstStyle/>
          <a:p>
            <a:r>
              <a:rPr lang="fr-FR" sz="2400" b="1" dirty="0">
                <a:solidFill>
                  <a:schemeClr val="bg1"/>
                </a:solidFill>
                <a:latin typeface="Arial" panose="020B0604020202020204" pitchFamily="34" charset="0"/>
                <a:cs typeface="Arial" panose="020B0604020202020204" pitchFamily="34" charset="0"/>
              </a:rPr>
              <a:t>Le choix du renouvellement industriel !</a:t>
            </a:r>
          </a:p>
        </p:txBody>
      </p:sp>
      <p:sp>
        <p:nvSpPr>
          <p:cNvPr id="18" name="ZoneTexte 17">
            <a:extLst>
              <a:ext uri="{FF2B5EF4-FFF2-40B4-BE49-F238E27FC236}">
                <a16:creationId xmlns:a16="http://schemas.microsoft.com/office/drawing/2014/main" id="{C1C936BA-AC27-49C3-096D-91D66B3EA64C}"/>
              </a:ext>
            </a:extLst>
          </p:cNvPr>
          <p:cNvSpPr txBox="1"/>
          <p:nvPr/>
        </p:nvSpPr>
        <p:spPr>
          <a:xfrm>
            <a:off x="6095798" y="492716"/>
            <a:ext cx="2199035" cy="1923604"/>
          </a:xfrm>
          <a:prstGeom prst="rect">
            <a:avLst/>
          </a:prstGeom>
          <a:noFill/>
        </p:spPr>
        <p:txBody>
          <a:bodyPr wrap="square">
            <a:spAutoFit/>
          </a:bodyPr>
          <a:lstStyle/>
          <a:p>
            <a:r>
              <a:rPr lang="fr-FR" sz="1700" b="1" dirty="0">
                <a:solidFill>
                  <a:schemeClr val="bg1"/>
                </a:solidFill>
                <a:latin typeface="Arial" panose="020B0604020202020204" pitchFamily="34" charset="0"/>
                <a:cs typeface="Arial" panose="020B0604020202020204" pitchFamily="34" charset="0"/>
                <a:sym typeface="Wingdings" pitchFamily="2" charset="2"/>
              </a:rPr>
              <a:t>Avec moins </a:t>
            </a:r>
            <a:br>
              <a:rPr lang="fr-FR" sz="1700" b="1" dirty="0">
                <a:solidFill>
                  <a:schemeClr val="bg1"/>
                </a:solidFill>
                <a:latin typeface="Arial" panose="020B0604020202020204" pitchFamily="34" charset="0"/>
                <a:cs typeface="Arial" panose="020B0604020202020204" pitchFamily="34" charset="0"/>
                <a:sym typeface="Wingdings" pitchFamily="2" charset="2"/>
              </a:rPr>
            </a:br>
            <a:r>
              <a:rPr lang="fr-FR" sz="1700" b="1" dirty="0">
                <a:solidFill>
                  <a:schemeClr val="bg1"/>
                </a:solidFill>
                <a:latin typeface="Arial" panose="020B0604020202020204" pitchFamily="34" charset="0"/>
                <a:cs typeface="Arial" panose="020B0604020202020204" pitchFamily="34" charset="0"/>
                <a:sym typeface="Wingdings" pitchFamily="2" charset="2"/>
              </a:rPr>
              <a:t>de 50 ha, </a:t>
            </a:r>
            <a:r>
              <a:rPr lang="fr-FR" sz="1700" dirty="0">
                <a:solidFill>
                  <a:schemeClr val="bg1"/>
                </a:solidFill>
                <a:latin typeface="Arial" panose="020B0604020202020204" pitchFamily="34" charset="0"/>
                <a:ea typeface="Times New Roman" panose="02020603050405020304" pitchFamily="18" charset="0"/>
                <a:cs typeface="Arial" panose="020B0604020202020204" pitchFamily="34" charset="0"/>
              </a:rPr>
              <a:t>le stock de projets économiques </a:t>
            </a:r>
            <a:br>
              <a:rPr lang="fr-FR" sz="1700" dirty="0">
                <a:solidFill>
                  <a:schemeClr val="bg1"/>
                </a:solidFill>
                <a:latin typeface="Arial" panose="020B0604020202020204" pitchFamily="34" charset="0"/>
                <a:ea typeface="Times New Roman" panose="02020603050405020304" pitchFamily="18" charset="0"/>
                <a:cs typeface="Arial" panose="020B0604020202020204" pitchFamily="34" charset="0"/>
              </a:rPr>
            </a:br>
            <a:r>
              <a:rPr lang="fr-FR" sz="1700" dirty="0">
                <a:solidFill>
                  <a:schemeClr val="bg1"/>
                </a:solidFill>
                <a:latin typeface="Arial" panose="020B0604020202020204" pitchFamily="34" charset="0"/>
                <a:ea typeface="Times New Roman" panose="02020603050405020304" pitchFamily="18" charset="0"/>
                <a:cs typeface="Arial" panose="020B0604020202020204" pitchFamily="34" charset="0"/>
              </a:rPr>
              <a:t>est </a:t>
            </a:r>
            <a:r>
              <a:rPr lang="fr-FR" sz="1700" b="1" dirty="0">
                <a:solidFill>
                  <a:schemeClr val="bg1"/>
                </a:solidFill>
                <a:latin typeface="Arial" panose="020B0604020202020204" pitchFamily="34" charset="0"/>
                <a:ea typeface="Times New Roman" panose="02020603050405020304" pitchFamily="18" charset="0"/>
                <a:cs typeface="Arial" panose="020B0604020202020204" pitchFamily="34" charset="0"/>
              </a:rPr>
              <a:t>équivalent à 2,5 ans </a:t>
            </a:r>
            <a:r>
              <a:rPr lang="fr-FR" sz="1700" dirty="0">
                <a:solidFill>
                  <a:schemeClr val="bg1"/>
                </a:solidFill>
                <a:latin typeface="Arial" panose="020B0604020202020204" pitchFamily="34" charset="0"/>
                <a:ea typeface="Times New Roman" panose="02020603050405020304" pitchFamily="18" charset="0"/>
                <a:cs typeface="Arial" panose="020B0604020202020204" pitchFamily="34" charset="0"/>
              </a:rPr>
              <a:t>de besoin foncier annuel.</a:t>
            </a:r>
            <a:endParaRPr lang="fr-FR" sz="1700" dirty="0">
              <a:solidFill>
                <a:schemeClr val="bg1"/>
              </a:solidFill>
              <a:latin typeface="Arial" panose="020B0604020202020204" pitchFamily="34" charset="0"/>
              <a:cs typeface="Arial" panose="020B0604020202020204" pitchFamily="34" charset="0"/>
            </a:endParaRPr>
          </a:p>
        </p:txBody>
      </p:sp>
      <p:sp>
        <p:nvSpPr>
          <p:cNvPr id="32" name="Rectangle 31">
            <a:extLst>
              <a:ext uri="{FF2B5EF4-FFF2-40B4-BE49-F238E27FC236}">
                <a16:creationId xmlns:a16="http://schemas.microsoft.com/office/drawing/2014/main" id="{99E1D96A-0B94-FC6A-B575-7D923FF00A71}"/>
              </a:ext>
            </a:extLst>
          </p:cNvPr>
          <p:cNvSpPr/>
          <p:nvPr/>
        </p:nvSpPr>
        <p:spPr>
          <a:xfrm rot="5400000">
            <a:off x="7117859" y="256471"/>
            <a:ext cx="78468" cy="2075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00" dirty="0"/>
          </a:p>
        </p:txBody>
      </p:sp>
      <p:sp>
        <p:nvSpPr>
          <p:cNvPr id="33" name="Rectangle 32">
            <a:extLst>
              <a:ext uri="{FF2B5EF4-FFF2-40B4-BE49-F238E27FC236}">
                <a16:creationId xmlns:a16="http://schemas.microsoft.com/office/drawing/2014/main" id="{8B53D59F-EC45-902B-D21C-A959D6726B83}"/>
              </a:ext>
            </a:extLst>
          </p:cNvPr>
          <p:cNvSpPr/>
          <p:nvPr/>
        </p:nvSpPr>
        <p:spPr>
          <a:xfrm rot="5400000">
            <a:off x="7117859" y="2309863"/>
            <a:ext cx="78468" cy="2075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00" dirty="0"/>
          </a:p>
        </p:txBody>
      </p:sp>
      <p:grpSp>
        <p:nvGrpSpPr>
          <p:cNvPr id="37" name="Groupe 36">
            <a:extLst>
              <a:ext uri="{FF2B5EF4-FFF2-40B4-BE49-F238E27FC236}">
                <a16:creationId xmlns:a16="http://schemas.microsoft.com/office/drawing/2014/main" id="{9E0407CB-0DFB-F04D-09FE-57EE656526D5}"/>
              </a:ext>
            </a:extLst>
          </p:cNvPr>
          <p:cNvGrpSpPr/>
          <p:nvPr/>
        </p:nvGrpSpPr>
        <p:grpSpPr>
          <a:xfrm rot="5400000">
            <a:off x="6919500" y="2612919"/>
            <a:ext cx="816561" cy="548969"/>
            <a:chOff x="10186842" y="4344420"/>
            <a:chExt cx="1497535" cy="553997"/>
          </a:xfrm>
          <a:solidFill>
            <a:srgbClr val="E4002B"/>
          </a:solidFill>
        </p:grpSpPr>
        <p:sp>
          <p:nvSpPr>
            <p:cNvPr id="38" name="Flèche : droite 37">
              <a:extLst>
                <a:ext uri="{FF2B5EF4-FFF2-40B4-BE49-F238E27FC236}">
                  <a16:creationId xmlns:a16="http://schemas.microsoft.com/office/drawing/2014/main" id="{C46AE846-C907-F042-50D0-4873D6FEDDC3}"/>
                </a:ext>
              </a:extLst>
            </p:cNvPr>
            <p:cNvSpPr/>
            <p:nvPr/>
          </p:nvSpPr>
          <p:spPr>
            <a:xfrm>
              <a:off x="10468803" y="4344420"/>
              <a:ext cx="1215574" cy="553997"/>
            </a:xfrm>
            <a:prstGeom prst="rightArrow">
              <a:avLst>
                <a:gd name="adj1" fmla="val 100000"/>
                <a:gd name="adj2"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00" dirty="0"/>
            </a:p>
          </p:txBody>
        </p:sp>
        <p:sp>
          <p:nvSpPr>
            <p:cNvPr id="39" name="Rectangle 38">
              <a:extLst>
                <a:ext uri="{FF2B5EF4-FFF2-40B4-BE49-F238E27FC236}">
                  <a16:creationId xmlns:a16="http://schemas.microsoft.com/office/drawing/2014/main" id="{C94D680C-457D-E8E9-D18A-8FD437371106}"/>
                </a:ext>
              </a:extLst>
            </p:cNvPr>
            <p:cNvSpPr/>
            <p:nvPr/>
          </p:nvSpPr>
          <p:spPr>
            <a:xfrm>
              <a:off x="10186842" y="4344420"/>
              <a:ext cx="217287" cy="55399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00" dirty="0"/>
            </a:p>
          </p:txBody>
        </p:sp>
      </p:grpSp>
      <p:pic>
        <p:nvPicPr>
          <p:cNvPr id="5" name="Graphique 4">
            <a:extLst>
              <a:ext uri="{FF2B5EF4-FFF2-40B4-BE49-F238E27FC236}">
                <a16:creationId xmlns:a16="http://schemas.microsoft.com/office/drawing/2014/main" id="{1E954053-0315-8B32-05DB-909CAA142936}"/>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rot="16200000">
            <a:off x="11252913" y="5918020"/>
            <a:ext cx="1392175" cy="487782"/>
          </a:xfrm>
          <a:prstGeom prst="rect">
            <a:avLst/>
          </a:prstGeom>
        </p:spPr>
      </p:pic>
      <p:sp>
        <p:nvSpPr>
          <p:cNvPr id="21" name="object 8">
            <a:extLst>
              <a:ext uri="{FF2B5EF4-FFF2-40B4-BE49-F238E27FC236}">
                <a16:creationId xmlns:a16="http://schemas.microsoft.com/office/drawing/2014/main" id="{DCEAD53F-3EE8-48AF-A012-362E476CA10A}"/>
              </a:ext>
            </a:extLst>
          </p:cNvPr>
          <p:cNvSpPr txBox="1">
            <a:spLocks/>
          </p:cNvSpPr>
          <p:nvPr/>
        </p:nvSpPr>
        <p:spPr>
          <a:xfrm>
            <a:off x="515074" y="499502"/>
            <a:ext cx="8546426" cy="1019356"/>
          </a:xfrm>
          <a:prstGeom prst="rect">
            <a:avLst/>
          </a:prstGeom>
        </p:spPr>
        <p:txBody>
          <a:bodyPr vert="horz" wrap="square" lIns="0" tIns="3658" rIns="0" bIns="0" rtlCol="0" anchor="ctr">
            <a:spAutoFit/>
          </a:bodyPr>
          <a:lstStyle>
            <a:lvl1pPr algn="l" defTabSz="1828709" rtl="0" eaLnBrk="1" latinLnBrk="0" hangingPunct="1">
              <a:lnSpc>
                <a:spcPct val="90000"/>
              </a:lnSpc>
              <a:spcBef>
                <a:spcPct val="0"/>
              </a:spcBef>
              <a:buNone/>
              <a:defRPr sz="8800" kern="1200">
                <a:solidFill>
                  <a:schemeClr val="tx1"/>
                </a:solidFill>
                <a:latin typeface="+mj-lt"/>
                <a:ea typeface="+mj-ea"/>
                <a:cs typeface="+mj-cs"/>
              </a:defRPr>
            </a:lvl1pPr>
          </a:lstStyle>
          <a:p>
            <a:pPr marL="3851">
              <a:lnSpc>
                <a:spcPct val="100000"/>
              </a:lnSpc>
              <a:spcBef>
                <a:spcPts val="29"/>
              </a:spcBef>
              <a:tabLst>
                <a:tab pos="1528050" algn="l"/>
              </a:tabLst>
            </a:pPr>
            <a:r>
              <a:rPr lang="fr-FR" sz="2200" spc="-2" dirty="0">
                <a:solidFill>
                  <a:srgbClr val="E4002B"/>
                </a:solidFill>
                <a:latin typeface="Arial Black" panose="020B0A04020102020204" pitchFamily="34" charset="0"/>
              </a:rPr>
              <a:t>UNE STRATÉGIE</a:t>
            </a:r>
            <a:br>
              <a:rPr lang="fr-FR" sz="2200" spc="-2" dirty="0">
                <a:solidFill>
                  <a:srgbClr val="E4002B"/>
                </a:solidFill>
                <a:latin typeface="Arial Black" panose="020B0A04020102020204" pitchFamily="34" charset="0"/>
              </a:rPr>
            </a:br>
            <a:r>
              <a:rPr lang="fr-FR" sz="2200" spc="-2" dirty="0">
                <a:latin typeface="Arial Black" panose="020B0A04020102020204" pitchFamily="34" charset="0"/>
              </a:rPr>
              <a:t>      DE RENOUVELLEMENT</a:t>
            </a:r>
          </a:p>
          <a:p>
            <a:pPr marL="3851">
              <a:lnSpc>
                <a:spcPct val="100000"/>
              </a:lnSpc>
              <a:spcBef>
                <a:spcPts val="29"/>
              </a:spcBef>
              <a:tabLst>
                <a:tab pos="1528050" algn="l"/>
              </a:tabLst>
            </a:pPr>
            <a:endParaRPr lang="fr-FR" sz="2200" spc="-2" dirty="0">
              <a:latin typeface="Arial Black" panose="020B0A04020102020204" pitchFamily="34" charset="0"/>
            </a:endParaRPr>
          </a:p>
        </p:txBody>
      </p:sp>
    </p:spTree>
    <p:extLst>
      <p:ext uri="{BB962C8B-B14F-4D97-AF65-F5344CB8AC3E}">
        <p14:creationId xmlns:p14="http://schemas.microsoft.com/office/powerpoint/2010/main" val="409702736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Image 28">
            <a:extLst>
              <a:ext uri="{FF2B5EF4-FFF2-40B4-BE49-F238E27FC236}">
                <a16:creationId xmlns:a16="http://schemas.microsoft.com/office/drawing/2014/main" id="{3231EF53-836D-6F14-4EA8-B31D1293DB59}"/>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06276" y="1844676"/>
            <a:ext cx="12085328" cy="4074862"/>
          </a:xfrm>
          <a:prstGeom prst="rect">
            <a:avLst/>
          </a:prstGeom>
        </p:spPr>
      </p:pic>
      <p:sp>
        <p:nvSpPr>
          <p:cNvPr id="19" name="Rectangle 18">
            <a:extLst>
              <a:ext uri="{FF2B5EF4-FFF2-40B4-BE49-F238E27FC236}">
                <a16:creationId xmlns:a16="http://schemas.microsoft.com/office/drawing/2014/main" id="{EEB646DD-4F81-AD4A-8EC5-3E8A41D5EE13}"/>
              </a:ext>
            </a:extLst>
          </p:cNvPr>
          <p:cNvSpPr/>
          <p:nvPr/>
        </p:nvSpPr>
        <p:spPr>
          <a:xfrm>
            <a:off x="1092607" y="2590484"/>
            <a:ext cx="3148797" cy="1759447"/>
          </a:xfrm>
          <a:prstGeom prst="rect">
            <a:avLst/>
          </a:prstGeom>
          <a:solidFill>
            <a:srgbClr val="E400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546"/>
          </a:p>
        </p:txBody>
      </p:sp>
      <p:sp>
        <p:nvSpPr>
          <p:cNvPr id="21" name="Rectangle 20">
            <a:extLst>
              <a:ext uri="{FF2B5EF4-FFF2-40B4-BE49-F238E27FC236}">
                <a16:creationId xmlns:a16="http://schemas.microsoft.com/office/drawing/2014/main" id="{43AC99FD-C9E0-CDDC-8598-FB27375E3F9C}"/>
              </a:ext>
            </a:extLst>
          </p:cNvPr>
          <p:cNvSpPr/>
          <p:nvPr/>
        </p:nvSpPr>
        <p:spPr>
          <a:xfrm>
            <a:off x="397" y="0"/>
            <a:ext cx="105878" cy="6858000"/>
          </a:xfrm>
          <a:prstGeom prst="rect">
            <a:avLst/>
          </a:prstGeom>
          <a:solidFill>
            <a:srgbClr val="E400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00">
              <a:solidFill>
                <a:srgbClr val="E4002B"/>
              </a:solidFill>
            </a:endParaRPr>
          </a:p>
        </p:txBody>
      </p:sp>
      <p:sp>
        <p:nvSpPr>
          <p:cNvPr id="5" name="object 13">
            <a:extLst>
              <a:ext uri="{FF2B5EF4-FFF2-40B4-BE49-F238E27FC236}">
                <a16:creationId xmlns:a16="http://schemas.microsoft.com/office/drawing/2014/main" id="{20D0896A-CCD5-8A06-5EAD-FD478F6FE046}"/>
              </a:ext>
            </a:extLst>
          </p:cNvPr>
          <p:cNvSpPr txBox="1"/>
          <p:nvPr/>
        </p:nvSpPr>
        <p:spPr>
          <a:xfrm>
            <a:off x="1752262" y="2848771"/>
            <a:ext cx="2599980" cy="969496"/>
          </a:xfrm>
          <a:prstGeom prst="rect">
            <a:avLst/>
          </a:prstGeom>
        </p:spPr>
        <p:txBody>
          <a:bodyPr vert="horz" wrap="square" lIns="0" tIns="0" rIns="0" bIns="0" rtlCol="0">
            <a:spAutoFit/>
          </a:bodyPr>
          <a:lstStyle/>
          <a:p>
            <a:pPr marL="3851">
              <a:lnSpc>
                <a:spcPct val="90000"/>
              </a:lnSpc>
            </a:pPr>
            <a:r>
              <a:rPr lang="fr-FR" sz="1400" b="1" spc="6" dirty="0">
                <a:solidFill>
                  <a:schemeClr val="bg1"/>
                </a:solidFill>
                <a:latin typeface="Arial" panose="020B0604020202020204" pitchFamily="34" charset="0"/>
                <a:cs typeface="Arial" panose="020B0604020202020204" pitchFamily="34" charset="0"/>
              </a:rPr>
              <a:t>Sécuriser le marché, via la sanctuarisation du foncier économique</a:t>
            </a:r>
            <a:r>
              <a:rPr lang="fr-FR" sz="1400" spc="6" dirty="0">
                <a:solidFill>
                  <a:schemeClr val="bg1"/>
                </a:solidFill>
                <a:latin typeface="Arial" panose="020B0604020202020204" pitchFamily="34" charset="0"/>
                <a:cs typeface="Arial" panose="020B0604020202020204" pitchFamily="34" charset="0"/>
              </a:rPr>
              <a:t>, pour répondre aux besoins des acteurs immobiliers et des utilisateurs. </a:t>
            </a:r>
            <a:endParaRPr lang="fr-FR" sz="1400" b="1" spc="6" dirty="0">
              <a:solidFill>
                <a:schemeClr val="bg1"/>
              </a:solidFill>
              <a:latin typeface="Arial" panose="020B0604020202020204" pitchFamily="34" charset="0"/>
              <a:cs typeface="Arial" panose="020B0604020202020204" pitchFamily="34" charset="0"/>
            </a:endParaRPr>
          </a:p>
        </p:txBody>
      </p:sp>
      <p:grpSp>
        <p:nvGrpSpPr>
          <p:cNvPr id="6" name="Groupe 5">
            <a:extLst>
              <a:ext uri="{FF2B5EF4-FFF2-40B4-BE49-F238E27FC236}">
                <a16:creationId xmlns:a16="http://schemas.microsoft.com/office/drawing/2014/main" id="{3A47729D-DCDF-8E49-DC4A-E16B8AD3527F}"/>
              </a:ext>
            </a:extLst>
          </p:cNvPr>
          <p:cNvGrpSpPr/>
          <p:nvPr/>
        </p:nvGrpSpPr>
        <p:grpSpPr>
          <a:xfrm rot="16200000">
            <a:off x="1025139" y="3101513"/>
            <a:ext cx="841351" cy="390363"/>
            <a:chOff x="1391501" y="2691985"/>
            <a:chExt cx="2253629" cy="842508"/>
          </a:xfrm>
          <a:solidFill>
            <a:schemeClr val="bg1"/>
          </a:solidFill>
        </p:grpSpPr>
        <p:sp>
          <p:nvSpPr>
            <p:cNvPr id="7" name="Rectangle 6">
              <a:extLst>
                <a:ext uri="{FF2B5EF4-FFF2-40B4-BE49-F238E27FC236}">
                  <a16:creationId xmlns:a16="http://schemas.microsoft.com/office/drawing/2014/main" id="{C541A125-3C38-0C96-F4C8-C711E3BE2C2C}"/>
                </a:ext>
              </a:extLst>
            </p:cNvPr>
            <p:cNvSpPr/>
            <p:nvPr/>
          </p:nvSpPr>
          <p:spPr>
            <a:xfrm rot="5400000">
              <a:off x="1894188" y="2189298"/>
              <a:ext cx="424738" cy="143011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00"/>
            </a:p>
          </p:txBody>
        </p:sp>
        <p:sp>
          <p:nvSpPr>
            <p:cNvPr id="8" name="Rectangle 7">
              <a:extLst>
                <a:ext uri="{FF2B5EF4-FFF2-40B4-BE49-F238E27FC236}">
                  <a16:creationId xmlns:a16="http://schemas.microsoft.com/office/drawing/2014/main" id="{B8D822BC-37A1-8569-1CB0-7BF4842C6F9F}"/>
                </a:ext>
              </a:extLst>
            </p:cNvPr>
            <p:cNvSpPr/>
            <p:nvPr/>
          </p:nvSpPr>
          <p:spPr>
            <a:xfrm rot="5400000">
              <a:off x="3007413" y="2896775"/>
              <a:ext cx="424738" cy="85069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00" dirty="0"/>
            </a:p>
          </p:txBody>
        </p:sp>
      </p:grpSp>
      <p:sp>
        <p:nvSpPr>
          <p:cNvPr id="16" name="object 13">
            <a:extLst>
              <a:ext uri="{FF2B5EF4-FFF2-40B4-BE49-F238E27FC236}">
                <a16:creationId xmlns:a16="http://schemas.microsoft.com/office/drawing/2014/main" id="{68126086-C802-0E4E-D881-D5E19C6A3E4C}"/>
              </a:ext>
            </a:extLst>
          </p:cNvPr>
          <p:cNvSpPr txBox="1"/>
          <p:nvPr/>
        </p:nvSpPr>
        <p:spPr>
          <a:xfrm>
            <a:off x="1092607" y="2189568"/>
            <a:ext cx="4174555" cy="427979"/>
          </a:xfrm>
          <a:prstGeom prst="rect">
            <a:avLst/>
          </a:prstGeom>
          <a:solidFill>
            <a:schemeClr val="bg1"/>
          </a:solidFill>
          <a:ln>
            <a:noFill/>
          </a:ln>
        </p:spPr>
        <p:txBody>
          <a:bodyPr vert="horz" wrap="square" lIns="90000" tIns="90000" rIns="90000" bIns="90000" rtlCol="0">
            <a:spAutoFit/>
          </a:bodyPr>
          <a:lstStyle/>
          <a:p>
            <a:pPr marL="3851"/>
            <a:r>
              <a:rPr lang="fr-FR" sz="1600" b="1" spc="6" dirty="0">
                <a:latin typeface="Arial"/>
                <a:cs typeface="Arial"/>
              </a:rPr>
              <a:t>TROIS OBJECTIFS </a:t>
            </a:r>
            <a:r>
              <a:rPr lang="fr-FR" sz="1600" b="1" spc="6" dirty="0">
                <a:solidFill>
                  <a:srgbClr val="E4002B"/>
                </a:solidFill>
                <a:latin typeface="Arial"/>
                <a:cs typeface="Arial"/>
              </a:rPr>
              <a:t>COMPLÉMENTAIRES</a:t>
            </a:r>
          </a:p>
        </p:txBody>
      </p:sp>
      <p:sp>
        <p:nvSpPr>
          <p:cNvPr id="2" name="Rectangle 1">
            <a:extLst>
              <a:ext uri="{FF2B5EF4-FFF2-40B4-BE49-F238E27FC236}">
                <a16:creationId xmlns:a16="http://schemas.microsoft.com/office/drawing/2014/main" id="{D8621973-9780-51E4-748F-D7E13993FC57}"/>
              </a:ext>
            </a:extLst>
          </p:cNvPr>
          <p:cNvSpPr/>
          <p:nvPr/>
        </p:nvSpPr>
        <p:spPr>
          <a:xfrm>
            <a:off x="4273993" y="2617548"/>
            <a:ext cx="3250610" cy="1732384"/>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546"/>
          </a:p>
        </p:txBody>
      </p:sp>
      <p:sp>
        <p:nvSpPr>
          <p:cNvPr id="13" name="object 13">
            <a:extLst>
              <a:ext uri="{FF2B5EF4-FFF2-40B4-BE49-F238E27FC236}">
                <a16:creationId xmlns:a16="http://schemas.microsoft.com/office/drawing/2014/main" id="{B0C0C1B7-A705-9E6B-7C10-977BE8DEE280}"/>
              </a:ext>
            </a:extLst>
          </p:cNvPr>
          <p:cNvSpPr txBox="1"/>
          <p:nvPr/>
        </p:nvSpPr>
        <p:spPr>
          <a:xfrm>
            <a:off x="4902941" y="2868718"/>
            <a:ext cx="2641961" cy="1357295"/>
          </a:xfrm>
          <a:prstGeom prst="rect">
            <a:avLst/>
          </a:prstGeom>
        </p:spPr>
        <p:txBody>
          <a:bodyPr vert="horz" wrap="square" lIns="0" tIns="0" rIns="0" bIns="0" rtlCol="0">
            <a:spAutoFit/>
          </a:bodyPr>
          <a:lstStyle/>
          <a:p>
            <a:pPr marL="3851">
              <a:lnSpc>
                <a:spcPct val="90000"/>
              </a:lnSpc>
            </a:pPr>
            <a:r>
              <a:rPr lang="fr-FR" sz="1400" b="1" spc="6" dirty="0">
                <a:solidFill>
                  <a:schemeClr val="bg1"/>
                </a:solidFill>
                <a:latin typeface="Arial" panose="020B0604020202020204" pitchFamily="34" charset="0"/>
                <a:cs typeface="Arial" panose="020B0604020202020204" pitchFamily="34" charset="0"/>
              </a:rPr>
              <a:t>Proposer des solutions </a:t>
            </a:r>
            <a:r>
              <a:rPr lang="fr-FR" sz="1400" spc="6" dirty="0">
                <a:solidFill>
                  <a:schemeClr val="bg1"/>
                </a:solidFill>
                <a:latin typeface="Arial" panose="020B0604020202020204" pitchFamily="34" charset="0"/>
                <a:cs typeface="Arial" panose="020B0604020202020204" pitchFamily="34" charset="0"/>
              </a:rPr>
              <a:t>répondant aux besoins des porteurs de projets dont la Métropole privilégie l’implantation et le développement (mixité fonctionnelle, verticalité,…)</a:t>
            </a:r>
          </a:p>
        </p:txBody>
      </p:sp>
      <p:grpSp>
        <p:nvGrpSpPr>
          <p:cNvPr id="17" name="Groupe 16">
            <a:extLst>
              <a:ext uri="{FF2B5EF4-FFF2-40B4-BE49-F238E27FC236}">
                <a16:creationId xmlns:a16="http://schemas.microsoft.com/office/drawing/2014/main" id="{D26CD60E-B960-F419-2EBD-401A8E8F28BC}"/>
              </a:ext>
            </a:extLst>
          </p:cNvPr>
          <p:cNvGrpSpPr/>
          <p:nvPr/>
        </p:nvGrpSpPr>
        <p:grpSpPr>
          <a:xfrm rot="16200000">
            <a:off x="4206526" y="3101513"/>
            <a:ext cx="841351" cy="390363"/>
            <a:chOff x="1391501" y="2691985"/>
            <a:chExt cx="2253629" cy="842508"/>
          </a:xfrm>
          <a:solidFill>
            <a:schemeClr val="bg1">
              <a:lumMod val="65000"/>
            </a:schemeClr>
          </a:solidFill>
        </p:grpSpPr>
        <p:sp>
          <p:nvSpPr>
            <p:cNvPr id="18" name="Rectangle 17">
              <a:extLst>
                <a:ext uri="{FF2B5EF4-FFF2-40B4-BE49-F238E27FC236}">
                  <a16:creationId xmlns:a16="http://schemas.microsoft.com/office/drawing/2014/main" id="{F4EB14BB-1B08-7293-1FAF-66EFE36931F1}"/>
                </a:ext>
              </a:extLst>
            </p:cNvPr>
            <p:cNvSpPr/>
            <p:nvPr/>
          </p:nvSpPr>
          <p:spPr>
            <a:xfrm rot="5400000">
              <a:off x="1894188" y="2189298"/>
              <a:ext cx="424738" cy="143011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00"/>
            </a:p>
          </p:txBody>
        </p:sp>
        <p:sp>
          <p:nvSpPr>
            <p:cNvPr id="20" name="Rectangle 19">
              <a:extLst>
                <a:ext uri="{FF2B5EF4-FFF2-40B4-BE49-F238E27FC236}">
                  <a16:creationId xmlns:a16="http://schemas.microsoft.com/office/drawing/2014/main" id="{15FF7385-9890-496D-AA72-DD42B3954CE4}"/>
                </a:ext>
              </a:extLst>
            </p:cNvPr>
            <p:cNvSpPr/>
            <p:nvPr/>
          </p:nvSpPr>
          <p:spPr>
            <a:xfrm rot="5400000">
              <a:off x="3007413" y="2896775"/>
              <a:ext cx="424738" cy="85069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00" dirty="0"/>
            </a:p>
          </p:txBody>
        </p:sp>
      </p:grpSp>
      <p:sp>
        <p:nvSpPr>
          <p:cNvPr id="22" name="Rectangle 21">
            <a:extLst>
              <a:ext uri="{FF2B5EF4-FFF2-40B4-BE49-F238E27FC236}">
                <a16:creationId xmlns:a16="http://schemas.microsoft.com/office/drawing/2014/main" id="{821BBBEB-D277-9F48-AC40-F8E434CAEDD5}"/>
              </a:ext>
            </a:extLst>
          </p:cNvPr>
          <p:cNvSpPr/>
          <p:nvPr/>
        </p:nvSpPr>
        <p:spPr>
          <a:xfrm>
            <a:off x="7567291" y="2617547"/>
            <a:ext cx="3460631" cy="17323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546"/>
          </a:p>
        </p:txBody>
      </p:sp>
      <p:sp>
        <p:nvSpPr>
          <p:cNvPr id="23" name="object 13">
            <a:extLst>
              <a:ext uri="{FF2B5EF4-FFF2-40B4-BE49-F238E27FC236}">
                <a16:creationId xmlns:a16="http://schemas.microsoft.com/office/drawing/2014/main" id="{842AF3DD-6787-1D05-CF9D-83A06CEBED71}"/>
              </a:ext>
            </a:extLst>
          </p:cNvPr>
          <p:cNvSpPr txBox="1"/>
          <p:nvPr/>
        </p:nvSpPr>
        <p:spPr>
          <a:xfrm>
            <a:off x="8173849" y="2881992"/>
            <a:ext cx="2599980" cy="969496"/>
          </a:xfrm>
          <a:prstGeom prst="rect">
            <a:avLst/>
          </a:prstGeom>
        </p:spPr>
        <p:txBody>
          <a:bodyPr vert="horz" wrap="square" lIns="0" tIns="0" rIns="0" bIns="0" rtlCol="0">
            <a:spAutoFit/>
          </a:bodyPr>
          <a:lstStyle/>
          <a:p>
            <a:pPr marL="3851">
              <a:lnSpc>
                <a:spcPct val="90000"/>
              </a:lnSpc>
            </a:pPr>
            <a:r>
              <a:rPr lang="fr-FR" sz="1400" b="1" spc="6" dirty="0">
                <a:latin typeface="Arial" panose="020B0604020202020204" pitchFamily="34" charset="0"/>
                <a:cs typeface="Arial" panose="020B0604020202020204" pitchFamily="34" charset="0"/>
              </a:rPr>
              <a:t>Soutenir le marché immobilier </a:t>
            </a:r>
            <a:r>
              <a:rPr lang="fr-FR" sz="1400" spc="6" dirty="0">
                <a:latin typeface="Arial" panose="020B0604020202020204" pitchFamily="34" charset="0"/>
                <a:cs typeface="Arial" panose="020B0604020202020204" pitchFamily="34" charset="0"/>
              </a:rPr>
              <a:t>et accompagner sa mutation en favorisant et portant des opérations immobilières d’envergure.</a:t>
            </a:r>
          </a:p>
        </p:txBody>
      </p:sp>
      <p:grpSp>
        <p:nvGrpSpPr>
          <p:cNvPr id="24" name="Groupe 23">
            <a:extLst>
              <a:ext uri="{FF2B5EF4-FFF2-40B4-BE49-F238E27FC236}">
                <a16:creationId xmlns:a16="http://schemas.microsoft.com/office/drawing/2014/main" id="{E5FA1CA2-FDF5-B901-DC3C-54076F8D9113}"/>
              </a:ext>
            </a:extLst>
          </p:cNvPr>
          <p:cNvGrpSpPr/>
          <p:nvPr/>
        </p:nvGrpSpPr>
        <p:grpSpPr>
          <a:xfrm rot="16200000">
            <a:off x="7479743" y="3094212"/>
            <a:ext cx="841351" cy="390363"/>
            <a:chOff x="1391501" y="2691985"/>
            <a:chExt cx="2253629" cy="842508"/>
          </a:xfrm>
          <a:solidFill>
            <a:schemeClr val="bg1">
              <a:lumMod val="50000"/>
            </a:schemeClr>
          </a:solidFill>
        </p:grpSpPr>
        <p:sp>
          <p:nvSpPr>
            <p:cNvPr id="25" name="Rectangle 24">
              <a:extLst>
                <a:ext uri="{FF2B5EF4-FFF2-40B4-BE49-F238E27FC236}">
                  <a16:creationId xmlns:a16="http://schemas.microsoft.com/office/drawing/2014/main" id="{3B46C7AE-6CC3-D764-DC8B-5BBB5DBB2FF7}"/>
                </a:ext>
              </a:extLst>
            </p:cNvPr>
            <p:cNvSpPr/>
            <p:nvPr/>
          </p:nvSpPr>
          <p:spPr>
            <a:xfrm rot="5400000">
              <a:off x="1894188" y="2189298"/>
              <a:ext cx="424738" cy="143011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00"/>
            </a:p>
          </p:txBody>
        </p:sp>
        <p:sp>
          <p:nvSpPr>
            <p:cNvPr id="26" name="Rectangle 25">
              <a:extLst>
                <a:ext uri="{FF2B5EF4-FFF2-40B4-BE49-F238E27FC236}">
                  <a16:creationId xmlns:a16="http://schemas.microsoft.com/office/drawing/2014/main" id="{CBD4FA84-0811-9E78-EE0E-8B0290B2AFEC}"/>
                </a:ext>
              </a:extLst>
            </p:cNvPr>
            <p:cNvSpPr/>
            <p:nvPr/>
          </p:nvSpPr>
          <p:spPr>
            <a:xfrm rot="5400000">
              <a:off x="3007413" y="2896775"/>
              <a:ext cx="424738" cy="85069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00" dirty="0"/>
            </a:p>
          </p:txBody>
        </p:sp>
      </p:grpSp>
      <p:sp>
        <p:nvSpPr>
          <p:cNvPr id="27" name="object 8">
            <a:extLst>
              <a:ext uri="{FF2B5EF4-FFF2-40B4-BE49-F238E27FC236}">
                <a16:creationId xmlns:a16="http://schemas.microsoft.com/office/drawing/2014/main" id="{7D67DF84-298A-0AEE-C3C9-FBD691D0691D}"/>
              </a:ext>
            </a:extLst>
          </p:cNvPr>
          <p:cNvSpPr txBox="1">
            <a:spLocks/>
          </p:cNvSpPr>
          <p:nvPr/>
        </p:nvSpPr>
        <p:spPr>
          <a:xfrm>
            <a:off x="515074" y="499502"/>
            <a:ext cx="8546426" cy="1019356"/>
          </a:xfrm>
          <a:prstGeom prst="rect">
            <a:avLst/>
          </a:prstGeom>
        </p:spPr>
        <p:txBody>
          <a:bodyPr vert="horz" wrap="square" lIns="0" tIns="3658" rIns="0" bIns="0" rtlCol="0" anchor="ctr">
            <a:spAutoFit/>
          </a:bodyPr>
          <a:lstStyle>
            <a:lvl1pPr algn="l" defTabSz="1828709" rtl="0" eaLnBrk="1" latinLnBrk="0" hangingPunct="1">
              <a:lnSpc>
                <a:spcPct val="90000"/>
              </a:lnSpc>
              <a:spcBef>
                <a:spcPct val="0"/>
              </a:spcBef>
              <a:buNone/>
              <a:defRPr sz="8800" kern="1200">
                <a:solidFill>
                  <a:schemeClr val="tx1"/>
                </a:solidFill>
                <a:latin typeface="+mj-lt"/>
                <a:ea typeface="+mj-ea"/>
                <a:cs typeface="+mj-cs"/>
              </a:defRPr>
            </a:lvl1pPr>
          </a:lstStyle>
          <a:p>
            <a:pPr marL="3851">
              <a:lnSpc>
                <a:spcPct val="100000"/>
              </a:lnSpc>
              <a:spcBef>
                <a:spcPts val="29"/>
              </a:spcBef>
              <a:tabLst>
                <a:tab pos="1528050" algn="l"/>
              </a:tabLst>
            </a:pPr>
            <a:r>
              <a:rPr lang="fr-FR" sz="2200" spc="-2" dirty="0">
                <a:solidFill>
                  <a:srgbClr val="E4002B"/>
                </a:solidFill>
                <a:latin typeface="Arial Black" panose="020B0A04020102020204" pitchFamily="34" charset="0"/>
              </a:rPr>
              <a:t>UNE STRATÉGIE</a:t>
            </a:r>
            <a:br>
              <a:rPr lang="fr-FR" sz="2200" spc="-2" dirty="0">
                <a:solidFill>
                  <a:srgbClr val="E4002B"/>
                </a:solidFill>
                <a:latin typeface="Arial Black" panose="020B0A04020102020204" pitchFamily="34" charset="0"/>
              </a:rPr>
            </a:br>
            <a:r>
              <a:rPr lang="fr-FR" sz="2200" spc="-2" dirty="0">
                <a:latin typeface="Arial Black" panose="020B0A04020102020204" pitchFamily="34" charset="0"/>
              </a:rPr>
              <a:t>      DE RENOUVELLEMENT</a:t>
            </a:r>
          </a:p>
          <a:p>
            <a:pPr marL="3851">
              <a:lnSpc>
                <a:spcPct val="100000"/>
              </a:lnSpc>
              <a:spcBef>
                <a:spcPts val="29"/>
              </a:spcBef>
              <a:tabLst>
                <a:tab pos="1528050" algn="l"/>
              </a:tabLst>
            </a:pPr>
            <a:endParaRPr lang="fr-FR" sz="2200" spc="-2" dirty="0">
              <a:latin typeface="Arial Black" panose="020B0A04020102020204" pitchFamily="34" charset="0"/>
            </a:endParaRPr>
          </a:p>
        </p:txBody>
      </p:sp>
      <p:grpSp>
        <p:nvGrpSpPr>
          <p:cNvPr id="31" name="Groupe 30">
            <a:extLst>
              <a:ext uri="{FF2B5EF4-FFF2-40B4-BE49-F238E27FC236}">
                <a16:creationId xmlns:a16="http://schemas.microsoft.com/office/drawing/2014/main" id="{943E3C21-62EF-F63E-2896-4BE0E680152E}"/>
              </a:ext>
            </a:extLst>
          </p:cNvPr>
          <p:cNvGrpSpPr/>
          <p:nvPr/>
        </p:nvGrpSpPr>
        <p:grpSpPr>
          <a:xfrm rot="16200000">
            <a:off x="11251626" y="5918022"/>
            <a:ext cx="1392174" cy="487782"/>
            <a:chOff x="6189044" y="11173899"/>
            <a:chExt cx="5165853" cy="1809980"/>
          </a:xfrm>
        </p:grpSpPr>
        <p:sp>
          <p:nvSpPr>
            <p:cNvPr id="32" name="Rectangle 31">
              <a:extLst>
                <a:ext uri="{FF2B5EF4-FFF2-40B4-BE49-F238E27FC236}">
                  <a16:creationId xmlns:a16="http://schemas.microsoft.com/office/drawing/2014/main" id="{6432F61A-912E-6A0E-4598-01C45F78557E}"/>
                </a:ext>
              </a:extLst>
            </p:cNvPr>
            <p:cNvSpPr/>
            <p:nvPr/>
          </p:nvSpPr>
          <p:spPr>
            <a:xfrm>
              <a:off x="6275672" y="11251933"/>
              <a:ext cx="3291840" cy="66955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00"/>
            </a:p>
          </p:txBody>
        </p:sp>
        <p:sp>
          <p:nvSpPr>
            <p:cNvPr id="33" name="Rectangle 32">
              <a:extLst>
                <a:ext uri="{FF2B5EF4-FFF2-40B4-BE49-F238E27FC236}">
                  <a16:creationId xmlns:a16="http://schemas.microsoft.com/office/drawing/2014/main" id="{23BA33D8-76E6-9A47-F3E9-B74E58C414B1}"/>
                </a:ext>
              </a:extLst>
            </p:cNvPr>
            <p:cNvSpPr/>
            <p:nvPr/>
          </p:nvSpPr>
          <p:spPr>
            <a:xfrm>
              <a:off x="9805156" y="12159152"/>
              <a:ext cx="1389025" cy="66955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00"/>
            </a:p>
          </p:txBody>
        </p:sp>
        <p:pic>
          <p:nvPicPr>
            <p:cNvPr id="35" name="Graphique 34">
              <a:extLst>
                <a:ext uri="{FF2B5EF4-FFF2-40B4-BE49-F238E27FC236}">
                  <a16:creationId xmlns:a16="http://schemas.microsoft.com/office/drawing/2014/main" id="{301CEA41-8EF3-2795-4408-1AD8CA2ACD54}"/>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6189044" y="11173899"/>
              <a:ext cx="5165853" cy="1809980"/>
            </a:xfrm>
            <a:prstGeom prst="rect">
              <a:avLst/>
            </a:prstGeom>
          </p:spPr>
        </p:pic>
      </p:grpSp>
      <p:sp>
        <p:nvSpPr>
          <p:cNvPr id="28" name="object 13">
            <a:extLst>
              <a:ext uri="{FF2B5EF4-FFF2-40B4-BE49-F238E27FC236}">
                <a16:creationId xmlns:a16="http://schemas.microsoft.com/office/drawing/2014/main" id="{A4D956D2-0147-4808-9374-957ECEC691D1}"/>
              </a:ext>
            </a:extLst>
          </p:cNvPr>
          <p:cNvSpPr txBox="1"/>
          <p:nvPr/>
        </p:nvSpPr>
        <p:spPr>
          <a:xfrm>
            <a:off x="1091804" y="1531795"/>
            <a:ext cx="10126093" cy="552253"/>
          </a:xfrm>
          <a:prstGeom prst="rect">
            <a:avLst/>
          </a:prstGeom>
          <a:solidFill>
            <a:srgbClr val="E4002B"/>
          </a:solidFill>
        </p:spPr>
        <p:txBody>
          <a:bodyPr vert="horz" wrap="square" lIns="54000" tIns="54000" rIns="54000" bIns="54000" rtlCol="0">
            <a:spAutoFit/>
          </a:bodyPr>
          <a:lstStyle/>
          <a:p>
            <a:pPr marL="3851">
              <a:lnSpc>
                <a:spcPct val="90000"/>
              </a:lnSpc>
            </a:pPr>
            <a:r>
              <a:rPr lang="fr-FR" sz="1600" b="1" spc="6" dirty="0">
                <a:solidFill>
                  <a:schemeClr val="bg1"/>
                </a:solidFill>
                <a:latin typeface="Arial"/>
                <a:cs typeface="Arial"/>
              </a:rPr>
              <a:t>Changement de modèle : remplacer une politique d’artificialisation des sols par une politique de renouvellement des sites industriels</a:t>
            </a:r>
          </a:p>
        </p:txBody>
      </p:sp>
    </p:spTree>
    <p:extLst>
      <p:ext uri="{BB962C8B-B14F-4D97-AF65-F5344CB8AC3E}">
        <p14:creationId xmlns:p14="http://schemas.microsoft.com/office/powerpoint/2010/main" val="229066370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981A0330-CF8F-4422-9246-B29233D2654F}"/>
              </a:ext>
            </a:extLst>
          </p:cNvPr>
          <p:cNvPicPr/>
          <p:nvPr/>
        </p:nvPicPr>
        <p:blipFill rotWithShape="1">
          <a:blip r:embed="rId3" cstate="print">
            <a:extLst>
              <a:ext uri="{28A0092B-C50C-407E-A947-70E740481C1C}">
                <a14:useLocalDpi xmlns:a14="http://schemas.microsoft.com/office/drawing/2010/main" val="0"/>
              </a:ext>
            </a:extLst>
          </a:blip>
          <a:srcRect l="5309" t="12950" r="6068" b="4905"/>
          <a:stretch/>
        </p:blipFill>
        <p:spPr bwMode="auto">
          <a:xfrm>
            <a:off x="1718723" y="404664"/>
            <a:ext cx="5976664" cy="6453336"/>
          </a:xfrm>
          <a:prstGeom prst="rect">
            <a:avLst/>
          </a:prstGeom>
          <a:ln>
            <a:noFill/>
          </a:ln>
          <a:extLst>
            <a:ext uri="{53640926-AAD7-44D8-BBD7-CCE9431645EC}">
              <a14:shadowObscured xmlns:a14="http://schemas.microsoft.com/office/drawing/2010/main"/>
            </a:ext>
          </a:extLst>
        </p:spPr>
      </p:pic>
      <p:sp>
        <p:nvSpPr>
          <p:cNvPr id="24" name="Titre 1"/>
          <p:cNvSpPr txBox="1">
            <a:spLocks/>
          </p:cNvSpPr>
          <p:nvPr/>
        </p:nvSpPr>
        <p:spPr bwMode="auto">
          <a:xfrm>
            <a:off x="1703512" y="722"/>
            <a:ext cx="8964488" cy="403942"/>
          </a:xfrm>
          <a:prstGeom prst="rect">
            <a:avLst/>
          </a:prstGeom>
          <a:solidFill>
            <a:srgbClr val="FF0000"/>
          </a:solidFill>
          <a:ln w="9525">
            <a:solidFill>
              <a:srgbClr val="FF0000"/>
            </a:solidFill>
            <a:miter lim="800000"/>
            <a:headEnd/>
            <a:tailEnd/>
          </a:ln>
        </p:spPr>
        <p:txBody>
          <a:bodyPr vert="horz" wrap="square" lIns="91440" tIns="45720" rIns="91440" bIns="45720" numCol="1" anchor="t" anchorCtr="0" compatLnSpc="1">
            <a:prstTxWarp prst="textNoShape">
              <a:avLst/>
            </a:prstTxWarp>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cs typeface="Arial" charset="0"/>
              </a:defRPr>
            </a:lvl2pPr>
            <a:lvl3pPr algn="ctr" rtl="0" eaLnBrk="0" fontAlgn="base" hangingPunct="0">
              <a:spcBef>
                <a:spcPct val="0"/>
              </a:spcBef>
              <a:spcAft>
                <a:spcPct val="0"/>
              </a:spcAft>
              <a:defRPr sz="4400">
                <a:solidFill>
                  <a:schemeClr val="tx2"/>
                </a:solidFill>
                <a:latin typeface="Arial" charset="0"/>
                <a:cs typeface="Arial" charset="0"/>
              </a:defRPr>
            </a:lvl3pPr>
            <a:lvl4pPr algn="ctr" rtl="0" eaLnBrk="0" fontAlgn="base" hangingPunct="0">
              <a:spcBef>
                <a:spcPct val="0"/>
              </a:spcBef>
              <a:spcAft>
                <a:spcPct val="0"/>
              </a:spcAft>
              <a:defRPr sz="4400">
                <a:solidFill>
                  <a:schemeClr val="tx2"/>
                </a:solidFill>
                <a:latin typeface="Arial" charset="0"/>
                <a:cs typeface="Arial" charset="0"/>
              </a:defRPr>
            </a:lvl4pPr>
            <a:lvl5pPr algn="ctr" rtl="0" eaLnBrk="0" fontAlgn="base" hangingPunct="0">
              <a:spcBef>
                <a:spcPct val="0"/>
              </a:spcBef>
              <a:spcAft>
                <a:spcPct val="0"/>
              </a:spcAft>
              <a:defRPr sz="4400">
                <a:solidFill>
                  <a:schemeClr val="tx2"/>
                </a:solidFill>
                <a:latin typeface="Arial" charset="0"/>
                <a:cs typeface="Arial" charset="0"/>
              </a:defRPr>
            </a:lvl5pPr>
            <a:lvl6pPr marL="457200" algn="ctr" rtl="0" fontAlgn="base">
              <a:spcBef>
                <a:spcPct val="0"/>
              </a:spcBef>
              <a:spcAft>
                <a:spcPct val="0"/>
              </a:spcAft>
              <a:defRPr sz="4400">
                <a:solidFill>
                  <a:schemeClr val="tx2"/>
                </a:solidFill>
                <a:latin typeface="Arial" charset="0"/>
                <a:cs typeface="Arial" charset="0"/>
              </a:defRPr>
            </a:lvl6pPr>
            <a:lvl7pPr marL="914400" algn="ctr" rtl="0" fontAlgn="base">
              <a:spcBef>
                <a:spcPct val="0"/>
              </a:spcBef>
              <a:spcAft>
                <a:spcPct val="0"/>
              </a:spcAft>
              <a:defRPr sz="4400">
                <a:solidFill>
                  <a:schemeClr val="tx2"/>
                </a:solidFill>
                <a:latin typeface="Arial" charset="0"/>
                <a:cs typeface="Arial" charset="0"/>
              </a:defRPr>
            </a:lvl7pPr>
            <a:lvl8pPr marL="1371600" algn="ctr" rtl="0" fontAlgn="base">
              <a:spcBef>
                <a:spcPct val="0"/>
              </a:spcBef>
              <a:spcAft>
                <a:spcPct val="0"/>
              </a:spcAft>
              <a:defRPr sz="4400">
                <a:solidFill>
                  <a:schemeClr val="tx2"/>
                </a:solidFill>
                <a:latin typeface="Arial" charset="0"/>
                <a:cs typeface="Arial" charset="0"/>
              </a:defRPr>
            </a:lvl8pPr>
            <a:lvl9pPr marL="1828800" algn="ctr" rtl="0" fontAlgn="base">
              <a:spcBef>
                <a:spcPct val="0"/>
              </a:spcBef>
              <a:spcAft>
                <a:spcPct val="0"/>
              </a:spcAft>
              <a:defRPr sz="4400">
                <a:solidFill>
                  <a:schemeClr val="tx2"/>
                </a:solidFill>
                <a:latin typeface="Arial" charset="0"/>
                <a:cs typeface="Arial" charset="0"/>
              </a:defRPr>
            </a:lvl9pPr>
          </a:lstStyle>
          <a:p>
            <a:pPr algn="l"/>
            <a:r>
              <a:rPr lang="fr-FR" sz="1800" b="1" kern="0" dirty="0">
                <a:solidFill>
                  <a:schemeClr val="bg1"/>
                </a:solidFill>
              </a:rPr>
              <a:t>Stratégie de renouvellement des sites productifs – Quels sites à prioriser ?</a:t>
            </a:r>
            <a:endParaRPr lang="fr-FR" altLang="fr-FR" sz="1800" b="1" kern="0" dirty="0">
              <a:solidFill>
                <a:schemeClr val="bg1"/>
              </a:solidFill>
            </a:endParaRPr>
          </a:p>
        </p:txBody>
      </p:sp>
      <p:sp>
        <p:nvSpPr>
          <p:cNvPr id="32" name="Ellipse 31"/>
          <p:cNvSpPr/>
          <p:nvPr/>
        </p:nvSpPr>
        <p:spPr>
          <a:xfrm>
            <a:off x="5263490" y="4380736"/>
            <a:ext cx="216024" cy="216024"/>
          </a:xfrm>
          <a:prstGeom prst="ellipse">
            <a:avLst/>
          </a:prstGeom>
          <a:solidFill>
            <a:srgbClr val="00DE6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Ellipse 32"/>
          <p:cNvSpPr/>
          <p:nvPr/>
        </p:nvSpPr>
        <p:spPr>
          <a:xfrm>
            <a:off x="4033908" y="4820153"/>
            <a:ext cx="216024" cy="216024"/>
          </a:xfrm>
          <a:prstGeom prst="ellipse">
            <a:avLst/>
          </a:prstGeom>
          <a:solidFill>
            <a:srgbClr val="00DE6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4" name="Ellipse 33"/>
          <p:cNvSpPr/>
          <p:nvPr/>
        </p:nvSpPr>
        <p:spPr>
          <a:xfrm>
            <a:off x="4065082" y="4587917"/>
            <a:ext cx="216024" cy="216024"/>
          </a:xfrm>
          <a:prstGeom prst="ellipse">
            <a:avLst/>
          </a:prstGeom>
          <a:solidFill>
            <a:srgbClr val="00DE6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5" name="Ellipse 34"/>
          <p:cNvSpPr/>
          <p:nvPr/>
        </p:nvSpPr>
        <p:spPr>
          <a:xfrm>
            <a:off x="4609812" y="4295929"/>
            <a:ext cx="216024" cy="216024"/>
          </a:xfrm>
          <a:prstGeom prst="ellipse">
            <a:avLst/>
          </a:prstGeom>
          <a:solidFill>
            <a:srgbClr val="FF99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6" name="Ellipse 35"/>
          <p:cNvSpPr/>
          <p:nvPr/>
        </p:nvSpPr>
        <p:spPr>
          <a:xfrm>
            <a:off x="4341243" y="3959645"/>
            <a:ext cx="216024" cy="216024"/>
          </a:xfrm>
          <a:prstGeom prst="ellipse">
            <a:avLst/>
          </a:prstGeom>
          <a:solidFill>
            <a:srgbClr val="00DE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7" name="Ellipse 36"/>
          <p:cNvSpPr/>
          <p:nvPr/>
        </p:nvSpPr>
        <p:spPr>
          <a:xfrm>
            <a:off x="3783703" y="4635302"/>
            <a:ext cx="216024" cy="216024"/>
          </a:xfrm>
          <a:prstGeom prst="ellipse">
            <a:avLst/>
          </a:pr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1" name="Ellipse 40"/>
          <p:cNvSpPr/>
          <p:nvPr/>
        </p:nvSpPr>
        <p:spPr>
          <a:xfrm>
            <a:off x="3213156" y="4260044"/>
            <a:ext cx="216024" cy="216024"/>
          </a:xfrm>
          <a:prstGeom prst="ellipse">
            <a:avLst/>
          </a:pr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2" name="Ellipse 41"/>
          <p:cNvSpPr/>
          <p:nvPr/>
        </p:nvSpPr>
        <p:spPr>
          <a:xfrm>
            <a:off x="3283675" y="4552029"/>
            <a:ext cx="216024" cy="216024"/>
          </a:xfrm>
          <a:prstGeom prst="ellipse">
            <a:avLst/>
          </a:prstGeom>
          <a:solidFill>
            <a:srgbClr val="FF99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3" name="Ellipse 42"/>
          <p:cNvSpPr/>
          <p:nvPr/>
        </p:nvSpPr>
        <p:spPr>
          <a:xfrm>
            <a:off x="5574308" y="3053352"/>
            <a:ext cx="216024" cy="216024"/>
          </a:xfrm>
          <a:prstGeom prst="ellipse">
            <a:avLst/>
          </a:prstGeom>
          <a:solidFill>
            <a:srgbClr val="FF99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4" name="Ellipse 43"/>
          <p:cNvSpPr/>
          <p:nvPr/>
        </p:nvSpPr>
        <p:spPr>
          <a:xfrm>
            <a:off x="6050780" y="2956692"/>
            <a:ext cx="216024" cy="216024"/>
          </a:xfrm>
          <a:prstGeom prst="ellipse">
            <a:avLst/>
          </a:prstGeom>
          <a:solidFill>
            <a:srgbClr val="00DE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5" name="Ellipse 44"/>
          <p:cNvSpPr/>
          <p:nvPr/>
        </p:nvSpPr>
        <p:spPr>
          <a:xfrm>
            <a:off x="5860900" y="4028351"/>
            <a:ext cx="216024" cy="216024"/>
          </a:xfrm>
          <a:prstGeom prst="ellipse">
            <a:avLst/>
          </a:prstGeom>
          <a:solidFill>
            <a:srgbClr val="00DE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6" name="Ellipse 45"/>
          <p:cNvSpPr/>
          <p:nvPr/>
        </p:nvSpPr>
        <p:spPr>
          <a:xfrm>
            <a:off x="3626007" y="4405587"/>
            <a:ext cx="216024" cy="216024"/>
          </a:xfrm>
          <a:prstGeom prst="ellipse">
            <a:avLst/>
          </a:prstGeom>
          <a:solidFill>
            <a:srgbClr val="00DE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7" name="Ellipse 46"/>
          <p:cNvSpPr/>
          <p:nvPr/>
        </p:nvSpPr>
        <p:spPr>
          <a:xfrm>
            <a:off x="5089779" y="3269376"/>
            <a:ext cx="216024" cy="216024"/>
          </a:xfrm>
          <a:prstGeom prst="ellipse">
            <a:avLst/>
          </a:prstGeom>
          <a:solidFill>
            <a:srgbClr val="00DE6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8" name="Ellipse 47"/>
          <p:cNvSpPr/>
          <p:nvPr/>
        </p:nvSpPr>
        <p:spPr>
          <a:xfrm>
            <a:off x="4728203" y="3024451"/>
            <a:ext cx="216024" cy="216024"/>
          </a:xfrm>
          <a:prstGeom prst="ellipse">
            <a:avLst/>
          </a:prstGeom>
          <a:solidFill>
            <a:srgbClr val="00DE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9" name="Ellipse 48"/>
          <p:cNvSpPr/>
          <p:nvPr/>
        </p:nvSpPr>
        <p:spPr>
          <a:xfrm>
            <a:off x="5180414" y="3056249"/>
            <a:ext cx="216024" cy="216024"/>
          </a:xfrm>
          <a:prstGeom prst="ellipse">
            <a:avLst/>
          </a:prstGeom>
          <a:solidFill>
            <a:srgbClr val="00DE6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1" name="Ellipse 50"/>
          <p:cNvSpPr/>
          <p:nvPr/>
        </p:nvSpPr>
        <p:spPr>
          <a:xfrm>
            <a:off x="3225613" y="6666714"/>
            <a:ext cx="216024" cy="216024"/>
          </a:xfrm>
          <a:prstGeom prst="ellipse">
            <a:avLst/>
          </a:prstGeom>
          <a:solidFill>
            <a:srgbClr val="00DE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2" name="Ellipse 51"/>
          <p:cNvSpPr/>
          <p:nvPr/>
        </p:nvSpPr>
        <p:spPr>
          <a:xfrm>
            <a:off x="2925470" y="6468281"/>
            <a:ext cx="216024" cy="216024"/>
          </a:xfrm>
          <a:prstGeom prst="ellipse">
            <a:avLst/>
          </a:prstGeom>
          <a:solidFill>
            <a:srgbClr val="FF99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3" name="Sous-titre 4"/>
          <p:cNvSpPr txBox="1">
            <a:spLocks/>
          </p:cNvSpPr>
          <p:nvPr/>
        </p:nvSpPr>
        <p:spPr>
          <a:xfrm>
            <a:off x="5432672" y="6597180"/>
            <a:ext cx="2567357" cy="261438"/>
          </a:xfrm>
          <a:prstGeom prst="rect">
            <a:avLst/>
          </a:prstGeom>
          <a:solidFill>
            <a:schemeClr val="bg1"/>
          </a:solidFill>
        </p:spPr>
        <p:txBody>
          <a:bodyPr/>
          <a:lstStyle>
            <a:lvl1pPr marL="0" indent="0" algn="ctr" rtl="0" eaLnBrk="0" fontAlgn="base" hangingPunct="0">
              <a:spcBef>
                <a:spcPct val="20000"/>
              </a:spcBef>
              <a:spcAft>
                <a:spcPct val="0"/>
              </a:spcAft>
              <a:buNone/>
              <a:defRPr sz="3200">
                <a:solidFill>
                  <a:schemeClr val="tx1"/>
                </a:solidFill>
                <a:latin typeface="+mn-lt"/>
                <a:ea typeface="+mn-ea"/>
                <a:cs typeface="+mn-cs"/>
              </a:defRPr>
            </a:lvl1pPr>
            <a:lvl2pPr marL="457200" indent="0" algn="ctr" rtl="0" eaLnBrk="0" fontAlgn="base" hangingPunct="0">
              <a:spcBef>
                <a:spcPct val="20000"/>
              </a:spcBef>
              <a:spcAft>
                <a:spcPct val="0"/>
              </a:spcAft>
              <a:buNone/>
              <a:defRPr sz="2800">
                <a:solidFill>
                  <a:schemeClr val="tx1"/>
                </a:solidFill>
                <a:latin typeface="+mn-lt"/>
                <a:cs typeface="+mn-cs"/>
              </a:defRPr>
            </a:lvl2pPr>
            <a:lvl3pPr marL="914400" indent="0" algn="ctr" rtl="0" eaLnBrk="0" fontAlgn="base" hangingPunct="0">
              <a:spcBef>
                <a:spcPct val="20000"/>
              </a:spcBef>
              <a:spcAft>
                <a:spcPct val="0"/>
              </a:spcAft>
              <a:buNone/>
              <a:defRPr sz="2400">
                <a:solidFill>
                  <a:schemeClr val="tx1"/>
                </a:solidFill>
                <a:latin typeface="+mn-lt"/>
                <a:cs typeface="+mn-cs"/>
              </a:defRPr>
            </a:lvl3pPr>
            <a:lvl4pPr marL="1371600" indent="0" algn="ctr" rtl="0" eaLnBrk="0" fontAlgn="base" hangingPunct="0">
              <a:spcBef>
                <a:spcPct val="20000"/>
              </a:spcBef>
              <a:spcAft>
                <a:spcPct val="0"/>
              </a:spcAft>
              <a:buNone/>
              <a:defRPr sz="2000">
                <a:solidFill>
                  <a:schemeClr val="tx1"/>
                </a:solidFill>
                <a:latin typeface="+mn-lt"/>
                <a:cs typeface="+mn-cs"/>
              </a:defRPr>
            </a:lvl4pPr>
            <a:lvl5pPr marL="1828800" indent="0" algn="ctr" rtl="0" eaLnBrk="0" fontAlgn="base" hangingPunct="0">
              <a:spcBef>
                <a:spcPct val="20000"/>
              </a:spcBef>
              <a:spcAft>
                <a:spcPct val="0"/>
              </a:spcAft>
              <a:buNone/>
              <a:defRPr sz="2000">
                <a:solidFill>
                  <a:schemeClr val="tx1"/>
                </a:solidFill>
                <a:latin typeface="+mn-lt"/>
                <a:cs typeface="+mn-cs"/>
              </a:defRPr>
            </a:lvl5pPr>
            <a:lvl6pPr marL="2286000" indent="0" algn="ctr" rtl="0" fontAlgn="base">
              <a:spcBef>
                <a:spcPct val="20000"/>
              </a:spcBef>
              <a:spcAft>
                <a:spcPct val="0"/>
              </a:spcAft>
              <a:buNone/>
              <a:defRPr sz="2000">
                <a:solidFill>
                  <a:schemeClr val="tx1"/>
                </a:solidFill>
                <a:latin typeface="+mn-lt"/>
                <a:cs typeface="+mn-cs"/>
              </a:defRPr>
            </a:lvl6pPr>
            <a:lvl7pPr marL="2743200" indent="0" algn="ctr" rtl="0" fontAlgn="base">
              <a:spcBef>
                <a:spcPct val="20000"/>
              </a:spcBef>
              <a:spcAft>
                <a:spcPct val="0"/>
              </a:spcAft>
              <a:buNone/>
              <a:defRPr sz="2000">
                <a:solidFill>
                  <a:schemeClr val="tx1"/>
                </a:solidFill>
                <a:latin typeface="+mn-lt"/>
                <a:cs typeface="+mn-cs"/>
              </a:defRPr>
            </a:lvl7pPr>
            <a:lvl8pPr marL="3200400" indent="0" algn="ctr" rtl="0" fontAlgn="base">
              <a:spcBef>
                <a:spcPct val="20000"/>
              </a:spcBef>
              <a:spcAft>
                <a:spcPct val="0"/>
              </a:spcAft>
              <a:buNone/>
              <a:defRPr sz="2000">
                <a:solidFill>
                  <a:schemeClr val="tx1"/>
                </a:solidFill>
                <a:latin typeface="+mn-lt"/>
                <a:cs typeface="+mn-cs"/>
              </a:defRPr>
            </a:lvl8pPr>
            <a:lvl9pPr marL="3657600" indent="0" algn="ctr" rtl="0" fontAlgn="base">
              <a:spcBef>
                <a:spcPct val="20000"/>
              </a:spcBef>
              <a:spcAft>
                <a:spcPct val="0"/>
              </a:spcAft>
              <a:buNone/>
              <a:defRPr sz="2000">
                <a:solidFill>
                  <a:schemeClr val="tx1"/>
                </a:solidFill>
                <a:latin typeface="+mn-lt"/>
                <a:cs typeface="+mn-cs"/>
              </a:defRPr>
            </a:lvl9pPr>
          </a:lstStyle>
          <a:p>
            <a:pPr algn="l"/>
            <a:r>
              <a:rPr lang="fr-FR" sz="1000" b="1" kern="0" dirty="0"/>
              <a:t>Vaulx en V. – Mas du Taureau</a:t>
            </a:r>
            <a:endParaRPr lang="fr-FR" sz="1000" b="1" i="1" kern="0" dirty="0"/>
          </a:p>
        </p:txBody>
      </p:sp>
      <p:sp>
        <p:nvSpPr>
          <p:cNvPr id="54" name="Sous-titre 4"/>
          <p:cNvSpPr txBox="1">
            <a:spLocks/>
          </p:cNvSpPr>
          <p:nvPr/>
        </p:nvSpPr>
        <p:spPr>
          <a:xfrm>
            <a:off x="5425943" y="6366913"/>
            <a:ext cx="2530250" cy="242885"/>
          </a:xfrm>
          <a:prstGeom prst="rect">
            <a:avLst/>
          </a:prstGeom>
          <a:solidFill>
            <a:schemeClr val="bg1"/>
          </a:solidFill>
        </p:spPr>
        <p:txBody>
          <a:bodyPr/>
          <a:lstStyle>
            <a:lvl1pPr marL="0" indent="0" algn="ctr" rtl="0" eaLnBrk="0" fontAlgn="base" hangingPunct="0">
              <a:spcBef>
                <a:spcPct val="20000"/>
              </a:spcBef>
              <a:spcAft>
                <a:spcPct val="0"/>
              </a:spcAft>
              <a:buNone/>
              <a:defRPr sz="3200">
                <a:solidFill>
                  <a:schemeClr val="tx1"/>
                </a:solidFill>
                <a:latin typeface="+mn-lt"/>
                <a:ea typeface="+mn-ea"/>
                <a:cs typeface="+mn-cs"/>
              </a:defRPr>
            </a:lvl1pPr>
            <a:lvl2pPr marL="457200" indent="0" algn="ctr" rtl="0" eaLnBrk="0" fontAlgn="base" hangingPunct="0">
              <a:spcBef>
                <a:spcPct val="20000"/>
              </a:spcBef>
              <a:spcAft>
                <a:spcPct val="0"/>
              </a:spcAft>
              <a:buNone/>
              <a:defRPr sz="2800">
                <a:solidFill>
                  <a:schemeClr val="tx1"/>
                </a:solidFill>
                <a:latin typeface="+mn-lt"/>
                <a:cs typeface="+mn-cs"/>
              </a:defRPr>
            </a:lvl2pPr>
            <a:lvl3pPr marL="914400" indent="0" algn="ctr" rtl="0" eaLnBrk="0" fontAlgn="base" hangingPunct="0">
              <a:spcBef>
                <a:spcPct val="20000"/>
              </a:spcBef>
              <a:spcAft>
                <a:spcPct val="0"/>
              </a:spcAft>
              <a:buNone/>
              <a:defRPr sz="2400">
                <a:solidFill>
                  <a:schemeClr val="tx1"/>
                </a:solidFill>
                <a:latin typeface="+mn-lt"/>
                <a:cs typeface="+mn-cs"/>
              </a:defRPr>
            </a:lvl3pPr>
            <a:lvl4pPr marL="1371600" indent="0" algn="ctr" rtl="0" eaLnBrk="0" fontAlgn="base" hangingPunct="0">
              <a:spcBef>
                <a:spcPct val="20000"/>
              </a:spcBef>
              <a:spcAft>
                <a:spcPct val="0"/>
              </a:spcAft>
              <a:buNone/>
              <a:defRPr sz="2000">
                <a:solidFill>
                  <a:schemeClr val="tx1"/>
                </a:solidFill>
                <a:latin typeface="+mn-lt"/>
                <a:cs typeface="+mn-cs"/>
              </a:defRPr>
            </a:lvl4pPr>
            <a:lvl5pPr marL="1828800" indent="0" algn="ctr" rtl="0" eaLnBrk="0" fontAlgn="base" hangingPunct="0">
              <a:spcBef>
                <a:spcPct val="20000"/>
              </a:spcBef>
              <a:spcAft>
                <a:spcPct val="0"/>
              </a:spcAft>
              <a:buNone/>
              <a:defRPr sz="2000">
                <a:solidFill>
                  <a:schemeClr val="tx1"/>
                </a:solidFill>
                <a:latin typeface="+mn-lt"/>
                <a:cs typeface="+mn-cs"/>
              </a:defRPr>
            </a:lvl5pPr>
            <a:lvl6pPr marL="2286000" indent="0" algn="ctr" rtl="0" fontAlgn="base">
              <a:spcBef>
                <a:spcPct val="20000"/>
              </a:spcBef>
              <a:spcAft>
                <a:spcPct val="0"/>
              </a:spcAft>
              <a:buNone/>
              <a:defRPr sz="2000">
                <a:solidFill>
                  <a:schemeClr val="tx1"/>
                </a:solidFill>
                <a:latin typeface="+mn-lt"/>
                <a:cs typeface="+mn-cs"/>
              </a:defRPr>
            </a:lvl6pPr>
            <a:lvl7pPr marL="2743200" indent="0" algn="ctr" rtl="0" fontAlgn="base">
              <a:spcBef>
                <a:spcPct val="20000"/>
              </a:spcBef>
              <a:spcAft>
                <a:spcPct val="0"/>
              </a:spcAft>
              <a:buNone/>
              <a:defRPr sz="2000">
                <a:solidFill>
                  <a:schemeClr val="tx1"/>
                </a:solidFill>
                <a:latin typeface="+mn-lt"/>
                <a:cs typeface="+mn-cs"/>
              </a:defRPr>
            </a:lvl7pPr>
            <a:lvl8pPr marL="3200400" indent="0" algn="ctr" rtl="0" fontAlgn="base">
              <a:spcBef>
                <a:spcPct val="20000"/>
              </a:spcBef>
              <a:spcAft>
                <a:spcPct val="0"/>
              </a:spcAft>
              <a:buNone/>
              <a:defRPr sz="2000">
                <a:solidFill>
                  <a:schemeClr val="tx1"/>
                </a:solidFill>
                <a:latin typeface="+mn-lt"/>
                <a:cs typeface="+mn-cs"/>
              </a:defRPr>
            </a:lvl8pPr>
            <a:lvl9pPr marL="3657600" indent="0" algn="ctr" rtl="0" fontAlgn="base">
              <a:spcBef>
                <a:spcPct val="20000"/>
              </a:spcBef>
              <a:spcAft>
                <a:spcPct val="0"/>
              </a:spcAft>
              <a:buNone/>
              <a:defRPr sz="2000">
                <a:solidFill>
                  <a:schemeClr val="tx1"/>
                </a:solidFill>
                <a:latin typeface="+mn-lt"/>
                <a:cs typeface="+mn-cs"/>
              </a:defRPr>
            </a:lvl9pPr>
          </a:lstStyle>
          <a:p>
            <a:pPr algn="l"/>
            <a:r>
              <a:rPr lang="fr-FR" sz="1000" b="1" kern="0" dirty="0"/>
              <a:t>Vénissieux – </a:t>
            </a:r>
            <a:r>
              <a:rPr lang="fr-FR" sz="1000" b="1" kern="0" dirty="0" err="1"/>
              <a:t>Deltalys</a:t>
            </a:r>
            <a:r>
              <a:rPr lang="fr-FR" sz="1000" b="1" kern="0" dirty="0"/>
              <a:t> Parc productif</a:t>
            </a:r>
            <a:endParaRPr lang="fr-FR" sz="1000" b="1" i="1" kern="0" dirty="0"/>
          </a:p>
        </p:txBody>
      </p:sp>
      <p:sp>
        <p:nvSpPr>
          <p:cNvPr id="56" name="Ellipse 55"/>
          <p:cNvSpPr/>
          <p:nvPr/>
        </p:nvSpPr>
        <p:spPr>
          <a:xfrm>
            <a:off x="5146426" y="6627406"/>
            <a:ext cx="216024" cy="216024"/>
          </a:xfrm>
          <a:prstGeom prst="ellipse">
            <a:avLst/>
          </a:prstGeom>
          <a:solidFill>
            <a:srgbClr val="00DE6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7" name="Ellipse 56"/>
          <p:cNvSpPr/>
          <p:nvPr/>
        </p:nvSpPr>
        <p:spPr>
          <a:xfrm>
            <a:off x="4970249" y="3094530"/>
            <a:ext cx="216024" cy="216024"/>
          </a:xfrm>
          <a:prstGeom prst="ellipse">
            <a:avLst/>
          </a:prstGeom>
          <a:solidFill>
            <a:srgbClr val="00DE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8" name="Ellipse 57"/>
          <p:cNvSpPr/>
          <p:nvPr/>
        </p:nvSpPr>
        <p:spPr>
          <a:xfrm>
            <a:off x="5379001" y="2996500"/>
            <a:ext cx="216024" cy="216024"/>
          </a:xfrm>
          <a:prstGeom prst="ellipse">
            <a:avLst/>
          </a:prstGeom>
          <a:solidFill>
            <a:srgbClr val="FF99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9" name="Ellipse 58"/>
          <p:cNvSpPr/>
          <p:nvPr/>
        </p:nvSpPr>
        <p:spPr>
          <a:xfrm>
            <a:off x="3957070" y="1920691"/>
            <a:ext cx="216024" cy="216024"/>
          </a:xfrm>
          <a:prstGeom prst="ellipse">
            <a:avLst/>
          </a:prstGeom>
          <a:solidFill>
            <a:srgbClr val="00DE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1" name="Ellipse 60"/>
          <p:cNvSpPr/>
          <p:nvPr/>
        </p:nvSpPr>
        <p:spPr>
          <a:xfrm>
            <a:off x="7762828" y="912842"/>
            <a:ext cx="216024" cy="216024"/>
          </a:xfrm>
          <a:prstGeom prst="ellipse">
            <a:avLst/>
          </a:prstGeom>
          <a:solidFill>
            <a:srgbClr val="FF99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4" name="Ellipse 63"/>
          <p:cNvSpPr/>
          <p:nvPr/>
        </p:nvSpPr>
        <p:spPr>
          <a:xfrm>
            <a:off x="4634695" y="3279499"/>
            <a:ext cx="216024" cy="216024"/>
          </a:xfrm>
          <a:prstGeom prst="ellipse">
            <a:avLst/>
          </a:pr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65" name="Connecteur droit 64"/>
          <p:cNvCxnSpPr/>
          <p:nvPr/>
        </p:nvCxnSpPr>
        <p:spPr>
          <a:xfrm>
            <a:off x="7732669" y="594728"/>
            <a:ext cx="65778" cy="6120680"/>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sp>
        <p:nvSpPr>
          <p:cNvPr id="63" name="Ellipse 62"/>
          <p:cNvSpPr/>
          <p:nvPr/>
        </p:nvSpPr>
        <p:spPr>
          <a:xfrm>
            <a:off x="3783703" y="3532187"/>
            <a:ext cx="216024" cy="216024"/>
          </a:xfrm>
          <a:prstGeom prst="ellipse">
            <a:avLst/>
          </a:prstGeom>
          <a:solidFill>
            <a:srgbClr val="00DE6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6" name="Ellipse 65"/>
          <p:cNvSpPr/>
          <p:nvPr/>
        </p:nvSpPr>
        <p:spPr>
          <a:xfrm>
            <a:off x="7743635" y="425683"/>
            <a:ext cx="216024" cy="216024"/>
          </a:xfrm>
          <a:prstGeom prst="ellipse">
            <a:avLst/>
          </a:prstGeom>
          <a:solidFill>
            <a:srgbClr val="00DE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7" name="Ellipse 66"/>
          <p:cNvSpPr/>
          <p:nvPr/>
        </p:nvSpPr>
        <p:spPr>
          <a:xfrm>
            <a:off x="7762695" y="1160323"/>
            <a:ext cx="216024" cy="216024"/>
          </a:xfrm>
          <a:prstGeom prst="ellipse">
            <a:avLst/>
          </a:prstGeom>
          <a:solidFill>
            <a:srgbClr val="00DE6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8" name="Ellipse 67"/>
          <p:cNvSpPr/>
          <p:nvPr/>
        </p:nvSpPr>
        <p:spPr>
          <a:xfrm>
            <a:off x="2407441" y="3279499"/>
            <a:ext cx="216024" cy="216024"/>
          </a:xfrm>
          <a:prstGeom prst="ellipse">
            <a:avLst/>
          </a:prstGeom>
          <a:solidFill>
            <a:srgbClr val="00DE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9" name="Ellipse 68"/>
          <p:cNvSpPr/>
          <p:nvPr/>
        </p:nvSpPr>
        <p:spPr>
          <a:xfrm>
            <a:off x="7753787" y="671742"/>
            <a:ext cx="216024" cy="216024"/>
          </a:xfrm>
          <a:prstGeom prst="ellipse">
            <a:avLst/>
          </a:prstGeom>
          <a:solidFill>
            <a:srgbClr val="FF99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0" name="Sous-titre 4"/>
          <p:cNvSpPr txBox="1">
            <a:spLocks/>
          </p:cNvSpPr>
          <p:nvPr/>
        </p:nvSpPr>
        <p:spPr>
          <a:xfrm>
            <a:off x="6042220" y="2956692"/>
            <a:ext cx="245192" cy="230268"/>
          </a:xfrm>
          <a:prstGeom prst="rect">
            <a:avLst/>
          </a:prstGeom>
          <a:ln>
            <a:noFill/>
          </a:ln>
        </p:spPr>
        <p:txBody>
          <a:bodyPr/>
          <a:lstStyle>
            <a:lvl1pPr marL="0" indent="0" algn="ctr" rtl="0" eaLnBrk="0" fontAlgn="base" hangingPunct="0">
              <a:spcBef>
                <a:spcPct val="20000"/>
              </a:spcBef>
              <a:spcAft>
                <a:spcPct val="0"/>
              </a:spcAft>
              <a:buNone/>
              <a:defRPr sz="3200">
                <a:solidFill>
                  <a:schemeClr val="tx1"/>
                </a:solidFill>
                <a:latin typeface="+mn-lt"/>
                <a:ea typeface="+mn-ea"/>
                <a:cs typeface="+mn-cs"/>
              </a:defRPr>
            </a:lvl1pPr>
            <a:lvl2pPr marL="457200" indent="0" algn="ctr" rtl="0" eaLnBrk="0" fontAlgn="base" hangingPunct="0">
              <a:spcBef>
                <a:spcPct val="20000"/>
              </a:spcBef>
              <a:spcAft>
                <a:spcPct val="0"/>
              </a:spcAft>
              <a:buNone/>
              <a:defRPr sz="2800">
                <a:solidFill>
                  <a:schemeClr val="tx1"/>
                </a:solidFill>
                <a:latin typeface="+mn-lt"/>
                <a:cs typeface="+mn-cs"/>
              </a:defRPr>
            </a:lvl2pPr>
            <a:lvl3pPr marL="914400" indent="0" algn="ctr" rtl="0" eaLnBrk="0" fontAlgn="base" hangingPunct="0">
              <a:spcBef>
                <a:spcPct val="20000"/>
              </a:spcBef>
              <a:spcAft>
                <a:spcPct val="0"/>
              </a:spcAft>
              <a:buNone/>
              <a:defRPr sz="2400">
                <a:solidFill>
                  <a:schemeClr val="tx1"/>
                </a:solidFill>
                <a:latin typeface="+mn-lt"/>
                <a:cs typeface="+mn-cs"/>
              </a:defRPr>
            </a:lvl3pPr>
            <a:lvl4pPr marL="1371600" indent="0" algn="ctr" rtl="0" eaLnBrk="0" fontAlgn="base" hangingPunct="0">
              <a:spcBef>
                <a:spcPct val="20000"/>
              </a:spcBef>
              <a:spcAft>
                <a:spcPct val="0"/>
              </a:spcAft>
              <a:buNone/>
              <a:defRPr sz="2000">
                <a:solidFill>
                  <a:schemeClr val="tx1"/>
                </a:solidFill>
                <a:latin typeface="+mn-lt"/>
                <a:cs typeface="+mn-cs"/>
              </a:defRPr>
            </a:lvl4pPr>
            <a:lvl5pPr marL="1828800" indent="0" algn="ctr" rtl="0" eaLnBrk="0" fontAlgn="base" hangingPunct="0">
              <a:spcBef>
                <a:spcPct val="20000"/>
              </a:spcBef>
              <a:spcAft>
                <a:spcPct val="0"/>
              </a:spcAft>
              <a:buNone/>
              <a:defRPr sz="2000">
                <a:solidFill>
                  <a:schemeClr val="tx1"/>
                </a:solidFill>
                <a:latin typeface="+mn-lt"/>
                <a:cs typeface="+mn-cs"/>
              </a:defRPr>
            </a:lvl5pPr>
            <a:lvl6pPr marL="2286000" indent="0" algn="ctr" rtl="0" fontAlgn="base">
              <a:spcBef>
                <a:spcPct val="20000"/>
              </a:spcBef>
              <a:spcAft>
                <a:spcPct val="0"/>
              </a:spcAft>
              <a:buNone/>
              <a:defRPr sz="2000">
                <a:solidFill>
                  <a:schemeClr val="tx1"/>
                </a:solidFill>
                <a:latin typeface="+mn-lt"/>
                <a:cs typeface="+mn-cs"/>
              </a:defRPr>
            </a:lvl6pPr>
            <a:lvl7pPr marL="2743200" indent="0" algn="ctr" rtl="0" fontAlgn="base">
              <a:spcBef>
                <a:spcPct val="20000"/>
              </a:spcBef>
              <a:spcAft>
                <a:spcPct val="0"/>
              </a:spcAft>
              <a:buNone/>
              <a:defRPr sz="2000">
                <a:solidFill>
                  <a:schemeClr val="tx1"/>
                </a:solidFill>
                <a:latin typeface="+mn-lt"/>
                <a:cs typeface="+mn-cs"/>
              </a:defRPr>
            </a:lvl7pPr>
            <a:lvl8pPr marL="3200400" indent="0" algn="ctr" rtl="0" fontAlgn="base">
              <a:spcBef>
                <a:spcPct val="20000"/>
              </a:spcBef>
              <a:spcAft>
                <a:spcPct val="0"/>
              </a:spcAft>
              <a:buNone/>
              <a:defRPr sz="2000">
                <a:solidFill>
                  <a:schemeClr val="tx1"/>
                </a:solidFill>
                <a:latin typeface="+mn-lt"/>
                <a:cs typeface="+mn-cs"/>
              </a:defRPr>
            </a:lvl8pPr>
            <a:lvl9pPr marL="3657600" indent="0" algn="ctr" rtl="0" fontAlgn="base">
              <a:spcBef>
                <a:spcPct val="20000"/>
              </a:spcBef>
              <a:spcAft>
                <a:spcPct val="0"/>
              </a:spcAft>
              <a:buNone/>
              <a:defRPr sz="2000">
                <a:solidFill>
                  <a:schemeClr val="tx1"/>
                </a:solidFill>
                <a:latin typeface="+mn-lt"/>
                <a:cs typeface="+mn-cs"/>
              </a:defRPr>
            </a:lvl9pPr>
          </a:lstStyle>
          <a:p>
            <a:pPr algn="l"/>
            <a:r>
              <a:rPr lang="fr-FR" sz="800" b="1" kern="0" dirty="0"/>
              <a:t>1</a:t>
            </a:r>
          </a:p>
        </p:txBody>
      </p:sp>
      <p:sp>
        <p:nvSpPr>
          <p:cNvPr id="72" name="Sous-titre 4"/>
          <p:cNvSpPr txBox="1">
            <a:spLocks/>
          </p:cNvSpPr>
          <p:nvPr/>
        </p:nvSpPr>
        <p:spPr>
          <a:xfrm>
            <a:off x="7736849" y="438559"/>
            <a:ext cx="245192" cy="230268"/>
          </a:xfrm>
          <a:prstGeom prst="rect">
            <a:avLst/>
          </a:prstGeom>
          <a:ln>
            <a:noFill/>
          </a:ln>
        </p:spPr>
        <p:txBody>
          <a:bodyPr/>
          <a:lstStyle>
            <a:lvl1pPr marL="0" indent="0" algn="ctr" rtl="0" eaLnBrk="0" fontAlgn="base" hangingPunct="0">
              <a:spcBef>
                <a:spcPct val="20000"/>
              </a:spcBef>
              <a:spcAft>
                <a:spcPct val="0"/>
              </a:spcAft>
              <a:buNone/>
              <a:defRPr sz="3200">
                <a:solidFill>
                  <a:schemeClr val="tx1"/>
                </a:solidFill>
                <a:latin typeface="+mn-lt"/>
                <a:ea typeface="+mn-ea"/>
                <a:cs typeface="+mn-cs"/>
              </a:defRPr>
            </a:lvl1pPr>
            <a:lvl2pPr marL="457200" indent="0" algn="ctr" rtl="0" eaLnBrk="0" fontAlgn="base" hangingPunct="0">
              <a:spcBef>
                <a:spcPct val="20000"/>
              </a:spcBef>
              <a:spcAft>
                <a:spcPct val="0"/>
              </a:spcAft>
              <a:buNone/>
              <a:defRPr sz="2800">
                <a:solidFill>
                  <a:schemeClr val="tx1"/>
                </a:solidFill>
                <a:latin typeface="+mn-lt"/>
                <a:cs typeface="+mn-cs"/>
              </a:defRPr>
            </a:lvl2pPr>
            <a:lvl3pPr marL="914400" indent="0" algn="ctr" rtl="0" eaLnBrk="0" fontAlgn="base" hangingPunct="0">
              <a:spcBef>
                <a:spcPct val="20000"/>
              </a:spcBef>
              <a:spcAft>
                <a:spcPct val="0"/>
              </a:spcAft>
              <a:buNone/>
              <a:defRPr sz="2400">
                <a:solidFill>
                  <a:schemeClr val="tx1"/>
                </a:solidFill>
                <a:latin typeface="+mn-lt"/>
                <a:cs typeface="+mn-cs"/>
              </a:defRPr>
            </a:lvl3pPr>
            <a:lvl4pPr marL="1371600" indent="0" algn="ctr" rtl="0" eaLnBrk="0" fontAlgn="base" hangingPunct="0">
              <a:spcBef>
                <a:spcPct val="20000"/>
              </a:spcBef>
              <a:spcAft>
                <a:spcPct val="0"/>
              </a:spcAft>
              <a:buNone/>
              <a:defRPr sz="2000">
                <a:solidFill>
                  <a:schemeClr val="tx1"/>
                </a:solidFill>
                <a:latin typeface="+mn-lt"/>
                <a:cs typeface="+mn-cs"/>
              </a:defRPr>
            </a:lvl4pPr>
            <a:lvl5pPr marL="1828800" indent="0" algn="ctr" rtl="0" eaLnBrk="0" fontAlgn="base" hangingPunct="0">
              <a:spcBef>
                <a:spcPct val="20000"/>
              </a:spcBef>
              <a:spcAft>
                <a:spcPct val="0"/>
              </a:spcAft>
              <a:buNone/>
              <a:defRPr sz="2000">
                <a:solidFill>
                  <a:schemeClr val="tx1"/>
                </a:solidFill>
                <a:latin typeface="+mn-lt"/>
                <a:cs typeface="+mn-cs"/>
              </a:defRPr>
            </a:lvl5pPr>
            <a:lvl6pPr marL="2286000" indent="0" algn="ctr" rtl="0" fontAlgn="base">
              <a:spcBef>
                <a:spcPct val="20000"/>
              </a:spcBef>
              <a:spcAft>
                <a:spcPct val="0"/>
              </a:spcAft>
              <a:buNone/>
              <a:defRPr sz="2000">
                <a:solidFill>
                  <a:schemeClr val="tx1"/>
                </a:solidFill>
                <a:latin typeface="+mn-lt"/>
                <a:cs typeface="+mn-cs"/>
              </a:defRPr>
            </a:lvl6pPr>
            <a:lvl7pPr marL="2743200" indent="0" algn="ctr" rtl="0" fontAlgn="base">
              <a:spcBef>
                <a:spcPct val="20000"/>
              </a:spcBef>
              <a:spcAft>
                <a:spcPct val="0"/>
              </a:spcAft>
              <a:buNone/>
              <a:defRPr sz="2000">
                <a:solidFill>
                  <a:schemeClr val="tx1"/>
                </a:solidFill>
                <a:latin typeface="+mn-lt"/>
                <a:cs typeface="+mn-cs"/>
              </a:defRPr>
            </a:lvl7pPr>
            <a:lvl8pPr marL="3200400" indent="0" algn="ctr" rtl="0" fontAlgn="base">
              <a:spcBef>
                <a:spcPct val="20000"/>
              </a:spcBef>
              <a:spcAft>
                <a:spcPct val="0"/>
              </a:spcAft>
              <a:buNone/>
              <a:defRPr sz="2000">
                <a:solidFill>
                  <a:schemeClr val="tx1"/>
                </a:solidFill>
                <a:latin typeface="+mn-lt"/>
                <a:cs typeface="+mn-cs"/>
              </a:defRPr>
            </a:lvl8pPr>
            <a:lvl9pPr marL="3657600" indent="0" algn="ctr" rtl="0" fontAlgn="base">
              <a:spcBef>
                <a:spcPct val="20000"/>
              </a:spcBef>
              <a:spcAft>
                <a:spcPct val="0"/>
              </a:spcAft>
              <a:buNone/>
              <a:defRPr sz="2000">
                <a:solidFill>
                  <a:schemeClr val="tx1"/>
                </a:solidFill>
                <a:latin typeface="+mn-lt"/>
                <a:cs typeface="+mn-cs"/>
              </a:defRPr>
            </a:lvl9pPr>
          </a:lstStyle>
          <a:p>
            <a:pPr algn="l"/>
            <a:r>
              <a:rPr lang="fr-FR" sz="800" b="1" kern="0" dirty="0"/>
              <a:t>1</a:t>
            </a:r>
          </a:p>
        </p:txBody>
      </p:sp>
      <p:sp>
        <p:nvSpPr>
          <p:cNvPr id="73" name="Sous-titre 4"/>
          <p:cNvSpPr txBox="1">
            <a:spLocks/>
          </p:cNvSpPr>
          <p:nvPr/>
        </p:nvSpPr>
        <p:spPr>
          <a:xfrm>
            <a:off x="5565806" y="3055177"/>
            <a:ext cx="245192" cy="230268"/>
          </a:xfrm>
          <a:prstGeom prst="rect">
            <a:avLst/>
          </a:prstGeom>
          <a:ln>
            <a:noFill/>
          </a:ln>
        </p:spPr>
        <p:txBody>
          <a:bodyPr/>
          <a:lstStyle>
            <a:lvl1pPr marL="0" indent="0" algn="ctr" rtl="0" eaLnBrk="0" fontAlgn="base" hangingPunct="0">
              <a:spcBef>
                <a:spcPct val="20000"/>
              </a:spcBef>
              <a:spcAft>
                <a:spcPct val="0"/>
              </a:spcAft>
              <a:buNone/>
              <a:defRPr sz="3200">
                <a:solidFill>
                  <a:schemeClr val="tx1"/>
                </a:solidFill>
                <a:latin typeface="+mn-lt"/>
                <a:ea typeface="+mn-ea"/>
                <a:cs typeface="+mn-cs"/>
              </a:defRPr>
            </a:lvl1pPr>
            <a:lvl2pPr marL="457200" indent="0" algn="ctr" rtl="0" eaLnBrk="0" fontAlgn="base" hangingPunct="0">
              <a:spcBef>
                <a:spcPct val="20000"/>
              </a:spcBef>
              <a:spcAft>
                <a:spcPct val="0"/>
              </a:spcAft>
              <a:buNone/>
              <a:defRPr sz="2800">
                <a:solidFill>
                  <a:schemeClr val="tx1"/>
                </a:solidFill>
                <a:latin typeface="+mn-lt"/>
                <a:cs typeface="+mn-cs"/>
              </a:defRPr>
            </a:lvl2pPr>
            <a:lvl3pPr marL="914400" indent="0" algn="ctr" rtl="0" eaLnBrk="0" fontAlgn="base" hangingPunct="0">
              <a:spcBef>
                <a:spcPct val="20000"/>
              </a:spcBef>
              <a:spcAft>
                <a:spcPct val="0"/>
              </a:spcAft>
              <a:buNone/>
              <a:defRPr sz="2400">
                <a:solidFill>
                  <a:schemeClr val="tx1"/>
                </a:solidFill>
                <a:latin typeface="+mn-lt"/>
                <a:cs typeface="+mn-cs"/>
              </a:defRPr>
            </a:lvl3pPr>
            <a:lvl4pPr marL="1371600" indent="0" algn="ctr" rtl="0" eaLnBrk="0" fontAlgn="base" hangingPunct="0">
              <a:spcBef>
                <a:spcPct val="20000"/>
              </a:spcBef>
              <a:spcAft>
                <a:spcPct val="0"/>
              </a:spcAft>
              <a:buNone/>
              <a:defRPr sz="2000">
                <a:solidFill>
                  <a:schemeClr val="tx1"/>
                </a:solidFill>
                <a:latin typeface="+mn-lt"/>
                <a:cs typeface="+mn-cs"/>
              </a:defRPr>
            </a:lvl4pPr>
            <a:lvl5pPr marL="1828800" indent="0" algn="ctr" rtl="0" eaLnBrk="0" fontAlgn="base" hangingPunct="0">
              <a:spcBef>
                <a:spcPct val="20000"/>
              </a:spcBef>
              <a:spcAft>
                <a:spcPct val="0"/>
              </a:spcAft>
              <a:buNone/>
              <a:defRPr sz="2000">
                <a:solidFill>
                  <a:schemeClr val="tx1"/>
                </a:solidFill>
                <a:latin typeface="+mn-lt"/>
                <a:cs typeface="+mn-cs"/>
              </a:defRPr>
            </a:lvl5pPr>
            <a:lvl6pPr marL="2286000" indent="0" algn="ctr" rtl="0" fontAlgn="base">
              <a:spcBef>
                <a:spcPct val="20000"/>
              </a:spcBef>
              <a:spcAft>
                <a:spcPct val="0"/>
              </a:spcAft>
              <a:buNone/>
              <a:defRPr sz="2000">
                <a:solidFill>
                  <a:schemeClr val="tx1"/>
                </a:solidFill>
                <a:latin typeface="+mn-lt"/>
                <a:cs typeface="+mn-cs"/>
              </a:defRPr>
            </a:lvl6pPr>
            <a:lvl7pPr marL="2743200" indent="0" algn="ctr" rtl="0" fontAlgn="base">
              <a:spcBef>
                <a:spcPct val="20000"/>
              </a:spcBef>
              <a:spcAft>
                <a:spcPct val="0"/>
              </a:spcAft>
              <a:buNone/>
              <a:defRPr sz="2000">
                <a:solidFill>
                  <a:schemeClr val="tx1"/>
                </a:solidFill>
                <a:latin typeface="+mn-lt"/>
                <a:cs typeface="+mn-cs"/>
              </a:defRPr>
            </a:lvl7pPr>
            <a:lvl8pPr marL="3200400" indent="0" algn="ctr" rtl="0" fontAlgn="base">
              <a:spcBef>
                <a:spcPct val="20000"/>
              </a:spcBef>
              <a:spcAft>
                <a:spcPct val="0"/>
              </a:spcAft>
              <a:buNone/>
              <a:defRPr sz="2000">
                <a:solidFill>
                  <a:schemeClr val="tx1"/>
                </a:solidFill>
                <a:latin typeface="+mn-lt"/>
                <a:cs typeface="+mn-cs"/>
              </a:defRPr>
            </a:lvl8pPr>
            <a:lvl9pPr marL="3657600" indent="0" algn="ctr" rtl="0" fontAlgn="base">
              <a:spcBef>
                <a:spcPct val="20000"/>
              </a:spcBef>
              <a:spcAft>
                <a:spcPct val="0"/>
              </a:spcAft>
              <a:buNone/>
              <a:defRPr sz="2000">
                <a:solidFill>
                  <a:schemeClr val="tx1"/>
                </a:solidFill>
                <a:latin typeface="+mn-lt"/>
                <a:cs typeface="+mn-cs"/>
              </a:defRPr>
            </a:lvl9pPr>
          </a:lstStyle>
          <a:p>
            <a:pPr algn="l"/>
            <a:r>
              <a:rPr lang="fr-FR" sz="800" b="1" kern="0" dirty="0"/>
              <a:t>2</a:t>
            </a:r>
          </a:p>
        </p:txBody>
      </p:sp>
      <p:sp>
        <p:nvSpPr>
          <p:cNvPr id="74" name="Sous-titre 4"/>
          <p:cNvSpPr txBox="1">
            <a:spLocks/>
          </p:cNvSpPr>
          <p:nvPr/>
        </p:nvSpPr>
        <p:spPr>
          <a:xfrm>
            <a:off x="5368920" y="3014649"/>
            <a:ext cx="245192" cy="230268"/>
          </a:xfrm>
          <a:prstGeom prst="rect">
            <a:avLst/>
          </a:prstGeom>
          <a:ln>
            <a:noFill/>
          </a:ln>
        </p:spPr>
        <p:txBody>
          <a:bodyPr/>
          <a:lstStyle>
            <a:lvl1pPr marL="0" indent="0" algn="ctr" rtl="0" eaLnBrk="0" fontAlgn="base" hangingPunct="0">
              <a:spcBef>
                <a:spcPct val="20000"/>
              </a:spcBef>
              <a:spcAft>
                <a:spcPct val="0"/>
              </a:spcAft>
              <a:buNone/>
              <a:defRPr sz="3200">
                <a:solidFill>
                  <a:schemeClr val="tx1"/>
                </a:solidFill>
                <a:latin typeface="+mn-lt"/>
                <a:ea typeface="+mn-ea"/>
                <a:cs typeface="+mn-cs"/>
              </a:defRPr>
            </a:lvl1pPr>
            <a:lvl2pPr marL="457200" indent="0" algn="ctr" rtl="0" eaLnBrk="0" fontAlgn="base" hangingPunct="0">
              <a:spcBef>
                <a:spcPct val="20000"/>
              </a:spcBef>
              <a:spcAft>
                <a:spcPct val="0"/>
              </a:spcAft>
              <a:buNone/>
              <a:defRPr sz="2800">
                <a:solidFill>
                  <a:schemeClr val="tx1"/>
                </a:solidFill>
                <a:latin typeface="+mn-lt"/>
                <a:cs typeface="+mn-cs"/>
              </a:defRPr>
            </a:lvl2pPr>
            <a:lvl3pPr marL="914400" indent="0" algn="ctr" rtl="0" eaLnBrk="0" fontAlgn="base" hangingPunct="0">
              <a:spcBef>
                <a:spcPct val="20000"/>
              </a:spcBef>
              <a:spcAft>
                <a:spcPct val="0"/>
              </a:spcAft>
              <a:buNone/>
              <a:defRPr sz="2400">
                <a:solidFill>
                  <a:schemeClr val="tx1"/>
                </a:solidFill>
                <a:latin typeface="+mn-lt"/>
                <a:cs typeface="+mn-cs"/>
              </a:defRPr>
            </a:lvl3pPr>
            <a:lvl4pPr marL="1371600" indent="0" algn="ctr" rtl="0" eaLnBrk="0" fontAlgn="base" hangingPunct="0">
              <a:spcBef>
                <a:spcPct val="20000"/>
              </a:spcBef>
              <a:spcAft>
                <a:spcPct val="0"/>
              </a:spcAft>
              <a:buNone/>
              <a:defRPr sz="2000">
                <a:solidFill>
                  <a:schemeClr val="tx1"/>
                </a:solidFill>
                <a:latin typeface="+mn-lt"/>
                <a:cs typeface="+mn-cs"/>
              </a:defRPr>
            </a:lvl4pPr>
            <a:lvl5pPr marL="1828800" indent="0" algn="ctr" rtl="0" eaLnBrk="0" fontAlgn="base" hangingPunct="0">
              <a:spcBef>
                <a:spcPct val="20000"/>
              </a:spcBef>
              <a:spcAft>
                <a:spcPct val="0"/>
              </a:spcAft>
              <a:buNone/>
              <a:defRPr sz="2000">
                <a:solidFill>
                  <a:schemeClr val="tx1"/>
                </a:solidFill>
                <a:latin typeface="+mn-lt"/>
                <a:cs typeface="+mn-cs"/>
              </a:defRPr>
            </a:lvl5pPr>
            <a:lvl6pPr marL="2286000" indent="0" algn="ctr" rtl="0" fontAlgn="base">
              <a:spcBef>
                <a:spcPct val="20000"/>
              </a:spcBef>
              <a:spcAft>
                <a:spcPct val="0"/>
              </a:spcAft>
              <a:buNone/>
              <a:defRPr sz="2000">
                <a:solidFill>
                  <a:schemeClr val="tx1"/>
                </a:solidFill>
                <a:latin typeface="+mn-lt"/>
                <a:cs typeface="+mn-cs"/>
              </a:defRPr>
            </a:lvl6pPr>
            <a:lvl7pPr marL="2743200" indent="0" algn="ctr" rtl="0" fontAlgn="base">
              <a:spcBef>
                <a:spcPct val="20000"/>
              </a:spcBef>
              <a:spcAft>
                <a:spcPct val="0"/>
              </a:spcAft>
              <a:buNone/>
              <a:defRPr sz="2000">
                <a:solidFill>
                  <a:schemeClr val="tx1"/>
                </a:solidFill>
                <a:latin typeface="+mn-lt"/>
                <a:cs typeface="+mn-cs"/>
              </a:defRPr>
            </a:lvl7pPr>
            <a:lvl8pPr marL="3200400" indent="0" algn="ctr" rtl="0" fontAlgn="base">
              <a:spcBef>
                <a:spcPct val="20000"/>
              </a:spcBef>
              <a:spcAft>
                <a:spcPct val="0"/>
              </a:spcAft>
              <a:buNone/>
              <a:defRPr sz="2000">
                <a:solidFill>
                  <a:schemeClr val="tx1"/>
                </a:solidFill>
                <a:latin typeface="+mn-lt"/>
                <a:cs typeface="+mn-cs"/>
              </a:defRPr>
            </a:lvl8pPr>
            <a:lvl9pPr marL="3657600" indent="0" algn="ctr" rtl="0" fontAlgn="base">
              <a:spcBef>
                <a:spcPct val="20000"/>
              </a:spcBef>
              <a:spcAft>
                <a:spcPct val="0"/>
              </a:spcAft>
              <a:buNone/>
              <a:defRPr sz="2000">
                <a:solidFill>
                  <a:schemeClr val="tx1"/>
                </a:solidFill>
                <a:latin typeface="+mn-lt"/>
                <a:cs typeface="+mn-cs"/>
              </a:defRPr>
            </a:lvl9pPr>
          </a:lstStyle>
          <a:p>
            <a:pPr algn="l"/>
            <a:r>
              <a:rPr lang="fr-FR" sz="800" b="1" kern="0" dirty="0"/>
              <a:t>3</a:t>
            </a:r>
          </a:p>
        </p:txBody>
      </p:sp>
      <p:sp>
        <p:nvSpPr>
          <p:cNvPr id="75" name="Sous-titre 4"/>
          <p:cNvSpPr txBox="1">
            <a:spLocks/>
          </p:cNvSpPr>
          <p:nvPr/>
        </p:nvSpPr>
        <p:spPr>
          <a:xfrm>
            <a:off x="5173613" y="3061830"/>
            <a:ext cx="245192" cy="230268"/>
          </a:xfrm>
          <a:prstGeom prst="rect">
            <a:avLst/>
          </a:prstGeom>
          <a:ln>
            <a:noFill/>
          </a:ln>
        </p:spPr>
        <p:txBody>
          <a:bodyPr/>
          <a:lstStyle>
            <a:lvl1pPr marL="0" indent="0" algn="ctr" rtl="0" eaLnBrk="0" fontAlgn="base" hangingPunct="0">
              <a:spcBef>
                <a:spcPct val="20000"/>
              </a:spcBef>
              <a:spcAft>
                <a:spcPct val="0"/>
              </a:spcAft>
              <a:buNone/>
              <a:defRPr sz="3200">
                <a:solidFill>
                  <a:schemeClr val="tx1"/>
                </a:solidFill>
                <a:latin typeface="+mn-lt"/>
                <a:ea typeface="+mn-ea"/>
                <a:cs typeface="+mn-cs"/>
              </a:defRPr>
            </a:lvl1pPr>
            <a:lvl2pPr marL="457200" indent="0" algn="ctr" rtl="0" eaLnBrk="0" fontAlgn="base" hangingPunct="0">
              <a:spcBef>
                <a:spcPct val="20000"/>
              </a:spcBef>
              <a:spcAft>
                <a:spcPct val="0"/>
              </a:spcAft>
              <a:buNone/>
              <a:defRPr sz="2800">
                <a:solidFill>
                  <a:schemeClr val="tx1"/>
                </a:solidFill>
                <a:latin typeface="+mn-lt"/>
                <a:cs typeface="+mn-cs"/>
              </a:defRPr>
            </a:lvl2pPr>
            <a:lvl3pPr marL="914400" indent="0" algn="ctr" rtl="0" eaLnBrk="0" fontAlgn="base" hangingPunct="0">
              <a:spcBef>
                <a:spcPct val="20000"/>
              </a:spcBef>
              <a:spcAft>
                <a:spcPct val="0"/>
              </a:spcAft>
              <a:buNone/>
              <a:defRPr sz="2400">
                <a:solidFill>
                  <a:schemeClr val="tx1"/>
                </a:solidFill>
                <a:latin typeface="+mn-lt"/>
                <a:cs typeface="+mn-cs"/>
              </a:defRPr>
            </a:lvl3pPr>
            <a:lvl4pPr marL="1371600" indent="0" algn="ctr" rtl="0" eaLnBrk="0" fontAlgn="base" hangingPunct="0">
              <a:spcBef>
                <a:spcPct val="20000"/>
              </a:spcBef>
              <a:spcAft>
                <a:spcPct val="0"/>
              </a:spcAft>
              <a:buNone/>
              <a:defRPr sz="2000">
                <a:solidFill>
                  <a:schemeClr val="tx1"/>
                </a:solidFill>
                <a:latin typeface="+mn-lt"/>
                <a:cs typeface="+mn-cs"/>
              </a:defRPr>
            </a:lvl4pPr>
            <a:lvl5pPr marL="1828800" indent="0" algn="ctr" rtl="0" eaLnBrk="0" fontAlgn="base" hangingPunct="0">
              <a:spcBef>
                <a:spcPct val="20000"/>
              </a:spcBef>
              <a:spcAft>
                <a:spcPct val="0"/>
              </a:spcAft>
              <a:buNone/>
              <a:defRPr sz="2000">
                <a:solidFill>
                  <a:schemeClr val="tx1"/>
                </a:solidFill>
                <a:latin typeface="+mn-lt"/>
                <a:cs typeface="+mn-cs"/>
              </a:defRPr>
            </a:lvl5pPr>
            <a:lvl6pPr marL="2286000" indent="0" algn="ctr" rtl="0" fontAlgn="base">
              <a:spcBef>
                <a:spcPct val="20000"/>
              </a:spcBef>
              <a:spcAft>
                <a:spcPct val="0"/>
              </a:spcAft>
              <a:buNone/>
              <a:defRPr sz="2000">
                <a:solidFill>
                  <a:schemeClr val="tx1"/>
                </a:solidFill>
                <a:latin typeface="+mn-lt"/>
                <a:cs typeface="+mn-cs"/>
              </a:defRPr>
            </a:lvl6pPr>
            <a:lvl7pPr marL="2743200" indent="0" algn="ctr" rtl="0" fontAlgn="base">
              <a:spcBef>
                <a:spcPct val="20000"/>
              </a:spcBef>
              <a:spcAft>
                <a:spcPct val="0"/>
              </a:spcAft>
              <a:buNone/>
              <a:defRPr sz="2000">
                <a:solidFill>
                  <a:schemeClr val="tx1"/>
                </a:solidFill>
                <a:latin typeface="+mn-lt"/>
                <a:cs typeface="+mn-cs"/>
              </a:defRPr>
            </a:lvl7pPr>
            <a:lvl8pPr marL="3200400" indent="0" algn="ctr" rtl="0" fontAlgn="base">
              <a:spcBef>
                <a:spcPct val="20000"/>
              </a:spcBef>
              <a:spcAft>
                <a:spcPct val="0"/>
              </a:spcAft>
              <a:buNone/>
              <a:defRPr sz="2000">
                <a:solidFill>
                  <a:schemeClr val="tx1"/>
                </a:solidFill>
                <a:latin typeface="+mn-lt"/>
                <a:cs typeface="+mn-cs"/>
              </a:defRPr>
            </a:lvl8pPr>
            <a:lvl9pPr marL="3657600" indent="0" algn="ctr" rtl="0" fontAlgn="base">
              <a:spcBef>
                <a:spcPct val="20000"/>
              </a:spcBef>
              <a:spcAft>
                <a:spcPct val="0"/>
              </a:spcAft>
              <a:buNone/>
              <a:defRPr sz="2000">
                <a:solidFill>
                  <a:schemeClr val="tx1"/>
                </a:solidFill>
                <a:latin typeface="+mn-lt"/>
                <a:cs typeface="+mn-cs"/>
              </a:defRPr>
            </a:lvl9pPr>
          </a:lstStyle>
          <a:p>
            <a:pPr algn="l"/>
            <a:r>
              <a:rPr lang="fr-FR" sz="800" b="1" kern="0" dirty="0"/>
              <a:t>4</a:t>
            </a:r>
          </a:p>
        </p:txBody>
      </p:sp>
      <p:sp>
        <p:nvSpPr>
          <p:cNvPr id="76" name="Sous-titre 4"/>
          <p:cNvSpPr txBox="1">
            <a:spLocks/>
          </p:cNvSpPr>
          <p:nvPr/>
        </p:nvSpPr>
        <p:spPr>
          <a:xfrm>
            <a:off x="5081545" y="3277854"/>
            <a:ext cx="245192" cy="230268"/>
          </a:xfrm>
          <a:prstGeom prst="rect">
            <a:avLst/>
          </a:prstGeom>
          <a:ln>
            <a:noFill/>
          </a:ln>
        </p:spPr>
        <p:txBody>
          <a:bodyPr/>
          <a:lstStyle>
            <a:lvl1pPr marL="0" indent="0" algn="ctr" rtl="0" eaLnBrk="0" fontAlgn="base" hangingPunct="0">
              <a:spcBef>
                <a:spcPct val="20000"/>
              </a:spcBef>
              <a:spcAft>
                <a:spcPct val="0"/>
              </a:spcAft>
              <a:buNone/>
              <a:defRPr sz="3200">
                <a:solidFill>
                  <a:schemeClr val="tx1"/>
                </a:solidFill>
                <a:latin typeface="+mn-lt"/>
                <a:ea typeface="+mn-ea"/>
                <a:cs typeface="+mn-cs"/>
              </a:defRPr>
            </a:lvl1pPr>
            <a:lvl2pPr marL="457200" indent="0" algn="ctr" rtl="0" eaLnBrk="0" fontAlgn="base" hangingPunct="0">
              <a:spcBef>
                <a:spcPct val="20000"/>
              </a:spcBef>
              <a:spcAft>
                <a:spcPct val="0"/>
              </a:spcAft>
              <a:buNone/>
              <a:defRPr sz="2800">
                <a:solidFill>
                  <a:schemeClr val="tx1"/>
                </a:solidFill>
                <a:latin typeface="+mn-lt"/>
                <a:cs typeface="+mn-cs"/>
              </a:defRPr>
            </a:lvl2pPr>
            <a:lvl3pPr marL="914400" indent="0" algn="ctr" rtl="0" eaLnBrk="0" fontAlgn="base" hangingPunct="0">
              <a:spcBef>
                <a:spcPct val="20000"/>
              </a:spcBef>
              <a:spcAft>
                <a:spcPct val="0"/>
              </a:spcAft>
              <a:buNone/>
              <a:defRPr sz="2400">
                <a:solidFill>
                  <a:schemeClr val="tx1"/>
                </a:solidFill>
                <a:latin typeface="+mn-lt"/>
                <a:cs typeface="+mn-cs"/>
              </a:defRPr>
            </a:lvl3pPr>
            <a:lvl4pPr marL="1371600" indent="0" algn="ctr" rtl="0" eaLnBrk="0" fontAlgn="base" hangingPunct="0">
              <a:spcBef>
                <a:spcPct val="20000"/>
              </a:spcBef>
              <a:spcAft>
                <a:spcPct val="0"/>
              </a:spcAft>
              <a:buNone/>
              <a:defRPr sz="2000">
                <a:solidFill>
                  <a:schemeClr val="tx1"/>
                </a:solidFill>
                <a:latin typeface="+mn-lt"/>
                <a:cs typeface="+mn-cs"/>
              </a:defRPr>
            </a:lvl4pPr>
            <a:lvl5pPr marL="1828800" indent="0" algn="ctr" rtl="0" eaLnBrk="0" fontAlgn="base" hangingPunct="0">
              <a:spcBef>
                <a:spcPct val="20000"/>
              </a:spcBef>
              <a:spcAft>
                <a:spcPct val="0"/>
              </a:spcAft>
              <a:buNone/>
              <a:defRPr sz="2000">
                <a:solidFill>
                  <a:schemeClr val="tx1"/>
                </a:solidFill>
                <a:latin typeface="+mn-lt"/>
                <a:cs typeface="+mn-cs"/>
              </a:defRPr>
            </a:lvl5pPr>
            <a:lvl6pPr marL="2286000" indent="0" algn="ctr" rtl="0" fontAlgn="base">
              <a:spcBef>
                <a:spcPct val="20000"/>
              </a:spcBef>
              <a:spcAft>
                <a:spcPct val="0"/>
              </a:spcAft>
              <a:buNone/>
              <a:defRPr sz="2000">
                <a:solidFill>
                  <a:schemeClr val="tx1"/>
                </a:solidFill>
                <a:latin typeface="+mn-lt"/>
                <a:cs typeface="+mn-cs"/>
              </a:defRPr>
            </a:lvl6pPr>
            <a:lvl7pPr marL="2743200" indent="0" algn="ctr" rtl="0" fontAlgn="base">
              <a:spcBef>
                <a:spcPct val="20000"/>
              </a:spcBef>
              <a:spcAft>
                <a:spcPct val="0"/>
              </a:spcAft>
              <a:buNone/>
              <a:defRPr sz="2000">
                <a:solidFill>
                  <a:schemeClr val="tx1"/>
                </a:solidFill>
                <a:latin typeface="+mn-lt"/>
                <a:cs typeface="+mn-cs"/>
              </a:defRPr>
            </a:lvl7pPr>
            <a:lvl8pPr marL="3200400" indent="0" algn="ctr" rtl="0" fontAlgn="base">
              <a:spcBef>
                <a:spcPct val="20000"/>
              </a:spcBef>
              <a:spcAft>
                <a:spcPct val="0"/>
              </a:spcAft>
              <a:buNone/>
              <a:defRPr sz="2000">
                <a:solidFill>
                  <a:schemeClr val="tx1"/>
                </a:solidFill>
                <a:latin typeface="+mn-lt"/>
                <a:cs typeface="+mn-cs"/>
              </a:defRPr>
            </a:lvl8pPr>
            <a:lvl9pPr marL="3657600" indent="0" algn="ctr" rtl="0" fontAlgn="base">
              <a:spcBef>
                <a:spcPct val="20000"/>
              </a:spcBef>
              <a:spcAft>
                <a:spcPct val="0"/>
              </a:spcAft>
              <a:buNone/>
              <a:defRPr sz="2000">
                <a:solidFill>
                  <a:schemeClr val="tx1"/>
                </a:solidFill>
                <a:latin typeface="+mn-lt"/>
                <a:cs typeface="+mn-cs"/>
              </a:defRPr>
            </a:lvl9pPr>
          </a:lstStyle>
          <a:p>
            <a:pPr algn="l"/>
            <a:r>
              <a:rPr lang="fr-FR" sz="800" b="1" kern="0" dirty="0"/>
              <a:t>5</a:t>
            </a:r>
          </a:p>
        </p:txBody>
      </p:sp>
      <p:sp>
        <p:nvSpPr>
          <p:cNvPr id="78" name="Sous-titre 4"/>
          <p:cNvSpPr txBox="1">
            <a:spLocks/>
          </p:cNvSpPr>
          <p:nvPr/>
        </p:nvSpPr>
        <p:spPr>
          <a:xfrm>
            <a:off x="4721749" y="3035534"/>
            <a:ext cx="245192" cy="230268"/>
          </a:xfrm>
          <a:prstGeom prst="rect">
            <a:avLst/>
          </a:prstGeom>
          <a:ln>
            <a:noFill/>
          </a:ln>
        </p:spPr>
        <p:txBody>
          <a:bodyPr/>
          <a:lstStyle>
            <a:lvl1pPr marL="0" indent="0" algn="ctr" rtl="0" eaLnBrk="0" fontAlgn="base" hangingPunct="0">
              <a:spcBef>
                <a:spcPct val="20000"/>
              </a:spcBef>
              <a:spcAft>
                <a:spcPct val="0"/>
              </a:spcAft>
              <a:buNone/>
              <a:defRPr sz="3200">
                <a:solidFill>
                  <a:schemeClr val="tx1"/>
                </a:solidFill>
                <a:latin typeface="+mn-lt"/>
                <a:ea typeface="+mn-ea"/>
                <a:cs typeface="+mn-cs"/>
              </a:defRPr>
            </a:lvl1pPr>
            <a:lvl2pPr marL="457200" indent="0" algn="ctr" rtl="0" eaLnBrk="0" fontAlgn="base" hangingPunct="0">
              <a:spcBef>
                <a:spcPct val="20000"/>
              </a:spcBef>
              <a:spcAft>
                <a:spcPct val="0"/>
              </a:spcAft>
              <a:buNone/>
              <a:defRPr sz="2800">
                <a:solidFill>
                  <a:schemeClr val="tx1"/>
                </a:solidFill>
                <a:latin typeface="+mn-lt"/>
                <a:cs typeface="+mn-cs"/>
              </a:defRPr>
            </a:lvl2pPr>
            <a:lvl3pPr marL="914400" indent="0" algn="ctr" rtl="0" eaLnBrk="0" fontAlgn="base" hangingPunct="0">
              <a:spcBef>
                <a:spcPct val="20000"/>
              </a:spcBef>
              <a:spcAft>
                <a:spcPct val="0"/>
              </a:spcAft>
              <a:buNone/>
              <a:defRPr sz="2400">
                <a:solidFill>
                  <a:schemeClr val="tx1"/>
                </a:solidFill>
                <a:latin typeface="+mn-lt"/>
                <a:cs typeface="+mn-cs"/>
              </a:defRPr>
            </a:lvl3pPr>
            <a:lvl4pPr marL="1371600" indent="0" algn="ctr" rtl="0" eaLnBrk="0" fontAlgn="base" hangingPunct="0">
              <a:spcBef>
                <a:spcPct val="20000"/>
              </a:spcBef>
              <a:spcAft>
                <a:spcPct val="0"/>
              </a:spcAft>
              <a:buNone/>
              <a:defRPr sz="2000">
                <a:solidFill>
                  <a:schemeClr val="tx1"/>
                </a:solidFill>
                <a:latin typeface="+mn-lt"/>
                <a:cs typeface="+mn-cs"/>
              </a:defRPr>
            </a:lvl4pPr>
            <a:lvl5pPr marL="1828800" indent="0" algn="ctr" rtl="0" eaLnBrk="0" fontAlgn="base" hangingPunct="0">
              <a:spcBef>
                <a:spcPct val="20000"/>
              </a:spcBef>
              <a:spcAft>
                <a:spcPct val="0"/>
              </a:spcAft>
              <a:buNone/>
              <a:defRPr sz="2000">
                <a:solidFill>
                  <a:schemeClr val="tx1"/>
                </a:solidFill>
                <a:latin typeface="+mn-lt"/>
                <a:cs typeface="+mn-cs"/>
              </a:defRPr>
            </a:lvl5pPr>
            <a:lvl6pPr marL="2286000" indent="0" algn="ctr" rtl="0" fontAlgn="base">
              <a:spcBef>
                <a:spcPct val="20000"/>
              </a:spcBef>
              <a:spcAft>
                <a:spcPct val="0"/>
              </a:spcAft>
              <a:buNone/>
              <a:defRPr sz="2000">
                <a:solidFill>
                  <a:schemeClr val="tx1"/>
                </a:solidFill>
                <a:latin typeface="+mn-lt"/>
                <a:cs typeface="+mn-cs"/>
              </a:defRPr>
            </a:lvl6pPr>
            <a:lvl7pPr marL="2743200" indent="0" algn="ctr" rtl="0" fontAlgn="base">
              <a:spcBef>
                <a:spcPct val="20000"/>
              </a:spcBef>
              <a:spcAft>
                <a:spcPct val="0"/>
              </a:spcAft>
              <a:buNone/>
              <a:defRPr sz="2000">
                <a:solidFill>
                  <a:schemeClr val="tx1"/>
                </a:solidFill>
                <a:latin typeface="+mn-lt"/>
                <a:cs typeface="+mn-cs"/>
              </a:defRPr>
            </a:lvl7pPr>
            <a:lvl8pPr marL="3200400" indent="0" algn="ctr" rtl="0" fontAlgn="base">
              <a:spcBef>
                <a:spcPct val="20000"/>
              </a:spcBef>
              <a:spcAft>
                <a:spcPct val="0"/>
              </a:spcAft>
              <a:buNone/>
              <a:defRPr sz="2000">
                <a:solidFill>
                  <a:schemeClr val="tx1"/>
                </a:solidFill>
                <a:latin typeface="+mn-lt"/>
                <a:cs typeface="+mn-cs"/>
              </a:defRPr>
            </a:lvl8pPr>
            <a:lvl9pPr marL="3657600" indent="0" algn="ctr" rtl="0" fontAlgn="base">
              <a:spcBef>
                <a:spcPct val="20000"/>
              </a:spcBef>
              <a:spcAft>
                <a:spcPct val="0"/>
              </a:spcAft>
              <a:buNone/>
              <a:defRPr sz="2000">
                <a:solidFill>
                  <a:schemeClr val="tx1"/>
                </a:solidFill>
                <a:latin typeface="+mn-lt"/>
                <a:cs typeface="+mn-cs"/>
              </a:defRPr>
            </a:lvl9pPr>
          </a:lstStyle>
          <a:p>
            <a:pPr algn="l"/>
            <a:r>
              <a:rPr lang="fr-FR" sz="800" b="1" kern="0" dirty="0"/>
              <a:t>7</a:t>
            </a:r>
          </a:p>
        </p:txBody>
      </p:sp>
      <p:sp>
        <p:nvSpPr>
          <p:cNvPr id="79" name="Sous-titre 4"/>
          <p:cNvSpPr txBox="1">
            <a:spLocks/>
          </p:cNvSpPr>
          <p:nvPr/>
        </p:nvSpPr>
        <p:spPr>
          <a:xfrm>
            <a:off x="2355275" y="3285930"/>
            <a:ext cx="326238" cy="230268"/>
          </a:xfrm>
          <a:prstGeom prst="rect">
            <a:avLst/>
          </a:prstGeom>
          <a:ln>
            <a:noFill/>
          </a:ln>
        </p:spPr>
        <p:txBody>
          <a:bodyPr/>
          <a:lstStyle>
            <a:lvl1pPr marL="0" indent="0" algn="ctr" rtl="0" eaLnBrk="0" fontAlgn="base" hangingPunct="0">
              <a:spcBef>
                <a:spcPct val="20000"/>
              </a:spcBef>
              <a:spcAft>
                <a:spcPct val="0"/>
              </a:spcAft>
              <a:buNone/>
              <a:defRPr sz="3200">
                <a:solidFill>
                  <a:schemeClr val="tx1"/>
                </a:solidFill>
                <a:latin typeface="+mn-lt"/>
                <a:ea typeface="+mn-ea"/>
                <a:cs typeface="+mn-cs"/>
              </a:defRPr>
            </a:lvl1pPr>
            <a:lvl2pPr marL="457200" indent="0" algn="ctr" rtl="0" eaLnBrk="0" fontAlgn="base" hangingPunct="0">
              <a:spcBef>
                <a:spcPct val="20000"/>
              </a:spcBef>
              <a:spcAft>
                <a:spcPct val="0"/>
              </a:spcAft>
              <a:buNone/>
              <a:defRPr sz="2800">
                <a:solidFill>
                  <a:schemeClr val="tx1"/>
                </a:solidFill>
                <a:latin typeface="+mn-lt"/>
                <a:cs typeface="+mn-cs"/>
              </a:defRPr>
            </a:lvl2pPr>
            <a:lvl3pPr marL="914400" indent="0" algn="ctr" rtl="0" eaLnBrk="0" fontAlgn="base" hangingPunct="0">
              <a:spcBef>
                <a:spcPct val="20000"/>
              </a:spcBef>
              <a:spcAft>
                <a:spcPct val="0"/>
              </a:spcAft>
              <a:buNone/>
              <a:defRPr sz="2400">
                <a:solidFill>
                  <a:schemeClr val="tx1"/>
                </a:solidFill>
                <a:latin typeface="+mn-lt"/>
                <a:cs typeface="+mn-cs"/>
              </a:defRPr>
            </a:lvl3pPr>
            <a:lvl4pPr marL="1371600" indent="0" algn="ctr" rtl="0" eaLnBrk="0" fontAlgn="base" hangingPunct="0">
              <a:spcBef>
                <a:spcPct val="20000"/>
              </a:spcBef>
              <a:spcAft>
                <a:spcPct val="0"/>
              </a:spcAft>
              <a:buNone/>
              <a:defRPr sz="2000">
                <a:solidFill>
                  <a:schemeClr val="tx1"/>
                </a:solidFill>
                <a:latin typeface="+mn-lt"/>
                <a:cs typeface="+mn-cs"/>
              </a:defRPr>
            </a:lvl4pPr>
            <a:lvl5pPr marL="1828800" indent="0" algn="ctr" rtl="0" eaLnBrk="0" fontAlgn="base" hangingPunct="0">
              <a:spcBef>
                <a:spcPct val="20000"/>
              </a:spcBef>
              <a:spcAft>
                <a:spcPct val="0"/>
              </a:spcAft>
              <a:buNone/>
              <a:defRPr sz="2000">
                <a:solidFill>
                  <a:schemeClr val="tx1"/>
                </a:solidFill>
                <a:latin typeface="+mn-lt"/>
                <a:cs typeface="+mn-cs"/>
              </a:defRPr>
            </a:lvl5pPr>
            <a:lvl6pPr marL="2286000" indent="0" algn="ctr" rtl="0" fontAlgn="base">
              <a:spcBef>
                <a:spcPct val="20000"/>
              </a:spcBef>
              <a:spcAft>
                <a:spcPct val="0"/>
              </a:spcAft>
              <a:buNone/>
              <a:defRPr sz="2000">
                <a:solidFill>
                  <a:schemeClr val="tx1"/>
                </a:solidFill>
                <a:latin typeface="+mn-lt"/>
                <a:cs typeface="+mn-cs"/>
              </a:defRPr>
            </a:lvl6pPr>
            <a:lvl7pPr marL="2743200" indent="0" algn="ctr" rtl="0" fontAlgn="base">
              <a:spcBef>
                <a:spcPct val="20000"/>
              </a:spcBef>
              <a:spcAft>
                <a:spcPct val="0"/>
              </a:spcAft>
              <a:buNone/>
              <a:defRPr sz="2000">
                <a:solidFill>
                  <a:schemeClr val="tx1"/>
                </a:solidFill>
                <a:latin typeface="+mn-lt"/>
                <a:cs typeface="+mn-cs"/>
              </a:defRPr>
            </a:lvl7pPr>
            <a:lvl8pPr marL="3200400" indent="0" algn="ctr" rtl="0" fontAlgn="base">
              <a:spcBef>
                <a:spcPct val="20000"/>
              </a:spcBef>
              <a:spcAft>
                <a:spcPct val="0"/>
              </a:spcAft>
              <a:buNone/>
              <a:defRPr sz="2000">
                <a:solidFill>
                  <a:schemeClr val="tx1"/>
                </a:solidFill>
                <a:latin typeface="+mn-lt"/>
                <a:cs typeface="+mn-cs"/>
              </a:defRPr>
            </a:lvl8pPr>
            <a:lvl9pPr marL="3657600" indent="0" algn="ctr" rtl="0" fontAlgn="base">
              <a:spcBef>
                <a:spcPct val="20000"/>
              </a:spcBef>
              <a:spcAft>
                <a:spcPct val="0"/>
              </a:spcAft>
              <a:buNone/>
              <a:defRPr sz="2000">
                <a:solidFill>
                  <a:schemeClr val="tx1"/>
                </a:solidFill>
                <a:latin typeface="+mn-lt"/>
                <a:cs typeface="+mn-cs"/>
              </a:defRPr>
            </a:lvl9pPr>
          </a:lstStyle>
          <a:p>
            <a:pPr algn="l"/>
            <a:r>
              <a:rPr lang="fr-FR" sz="800" b="1" kern="0" dirty="0"/>
              <a:t>12</a:t>
            </a:r>
          </a:p>
        </p:txBody>
      </p:sp>
      <p:sp>
        <p:nvSpPr>
          <p:cNvPr id="81" name="Sous-titre 4"/>
          <p:cNvSpPr txBox="1">
            <a:spLocks/>
          </p:cNvSpPr>
          <p:nvPr/>
        </p:nvSpPr>
        <p:spPr>
          <a:xfrm>
            <a:off x="4621428" y="3292098"/>
            <a:ext cx="245192" cy="230268"/>
          </a:xfrm>
          <a:prstGeom prst="rect">
            <a:avLst/>
          </a:prstGeom>
          <a:ln>
            <a:noFill/>
          </a:ln>
        </p:spPr>
        <p:txBody>
          <a:bodyPr/>
          <a:lstStyle>
            <a:lvl1pPr marL="0" indent="0" algn="ctr" rtl="0" eaLnBrk="0" fontAlgn="base" hangingPunct="0">
              <a:spcBef>
                <a:spcPct val="20000"/>
              </a:spcBef>
              <a:spcAft>
                <a:spcPct val="0"/>
              </a:spcAft>
              <a:buNone/>
              <a:defRPr sz="3200">
                <a:solidFill>
                  <a:schemeClr val="tx1"/>
                </a:solidFill>
                <a:latin typeface="+mn-lt"/>
                <a:ea typeface="+mn-ea"/>
                <a:cs typeface="+mn-cs"/>
              </a:defRPr>
            </a:lvl1pPr>
            <a:lvl2pPr marL="457200" indent="0" algn="ctr" rtl="0" eaLnBrk="0" fontAlgn="base" hangingPunct="0">
              <a:spcBef>
                <a:spcPct val="20000"/>
              </a:spcBef>
              <a:spcAft>
                <a:spcPct val="0"/>
              </a:spcAft>
              <a:buNone/>
              <a:defRPr sz="2800">
                <a:solidFill>
                  <a:schemeClr val="tx1"/>
                </a:solidFill>
                <a:latin typeface="+mn-lt"/>
                <a:cs typeface="+mn-cs"/>
              </a:defRPr>
            </a:lvl2pPr>
            <a:lvl3pPr marL="914400" indent="0" algn="ctr" rtl="0" eaLnBrk="0" fontAlgn="base" hangingPunct="0">
              <a:spcBef>
                <a:spcPct val="20000"/>
              </a:spcBef>
              <a:spcAft>
                <a:spcPct val="0"/>
              </a:spcAft>
              <a:buNone/>
              <a:defRPr sz="2400">
                <a:solidFill>
                  <a:schemeClr val="tx1"/>
                </a:solidFill>
                <a:latin typeface="+mn-lt"/>
                <a:cs typeface="+mn-cs"/>
              </a:defRPr>
            </a:lvl3pPr>
            <a:lvl4pPr marL="1371600" indent="0" algn="ctr" rtl="0" eaLnBrk="0" fontAlgn="base" hangingPunct="0">
              <a:spcBef>
                <a:spcPct val="20000"/>
              </a:spcBef>
              <a:spcAft>
                <a:spcPct val="0"/>
              </a:spcAft>
              <a:buNone/>
              <a:defRPr sz="2000">
                <a:solidFill>
                  <a:schemeClr val="tx1"/>
                </a:solidFill>
                <a:latin typeface="+mn-lt"/>
                <a:cs typeface="+mn-cs"/>
              </a:defRPr>
            </a:lvl4pPr>
            <a:lvl5pPr marL="1828800" indent="0" algn="ctr" rtl="0" eaLnBrk="0" fontAlgn="base" hangingPunct="0">
              <a:spcBef>
                <a:spcPct val="20000"/>
              </a:spcBef>
              <a:spcAft>
                <a:spcPct val="0"/>
              </a:spcAft>
              <a:buNone/>
              <a:defRPr sz="2000">
                <a:solidFill>
                  <a:schemeClr val="tx1"/>
                </a:solidFill>
                <a:latin typeface="+mn-lt"/>
                <a:cs typeface="+mn-cs"/>
              </a:defRPr>
            </a:lvl5pPr>
            <a:lvl6pPr marL="2286000" indent="0" algn="ctr" rtl="0" fontAlgn="base">
              <a:spcBef>
                <a:spcPct val="20000"/>
              </a:spcBef>
              <a:spcAft>
                <a:spcPct val="0"/>
              </a:spcAft>
              <a:buNone/>
              <a:defRPr sz="2000">
                <a:solidFill>
                  <a:schemeClr val="tx1"/>
                </a:solidFill>
                <a:latin typeface="+mn-lt"/>
                <a:cs typeface="+mn-cs"/>
              </a:defRPr>
            </a:lvl6pPr>
            <a:lvl7pPr marL="2743200" indent="0" algn="ctr" rtl="0" fontAlgn="base">
              <a:spcBef>
                <a:spcPct val="20000"/>
              </a:spcBef>
              <a:spcAft>
                <a:spcPct val="0"/>
              </a:spcAft>
              <a:buNone/>
              <a:defRPr sz="2000">
                <a:solidFill>
                  <a:schemeClr val="tx1"/>
                </a:solidFill>
                <a:latin typeface="+mn-lt"/>
                <a:cs typeface="+mn-cs"/>
              </a:defRPr>
            </a:lvl7pPr>
            <a:lvl8pPr marL="3200400" indent="0" algn="ctr" rtl="0" fontAlgn="base">
              <a:spcBef>
                <a:spcPct val="20000"/>
              </a:spcBef>
              <a:spcAft>
                <a:spcPct val="0"/>
              </a:spcAft>
              <a:buNone/>
              <a:defRPr sz="2000">
                <a:solidFill>
                  <a:schemeClr val="tx1"/>
                </a:solidFill>
                <a:latin typeface="+mn-lt"/>
                <a:cs typeface="+mn-cs"/>
              </a:defRPr>
            </a:lvl8pPr>
            <a:lvl9pPr marL="3657600" indent="0" algn="ctr" rtl="0" fontAlgn="base">
              <a:spcBef>
                <a:spcPct val="20000"/>
              </a:spcBef>
              <a:spcAft>
                <a:spcPct val="0"/>
              </a:spcAft>
              <a:buNone/>
              <a:defRPr sz="2000">
                <a:solidFill>
                  <a:schemeClr val="tx1"/>
                </a:solidFill>
                <a:latin typeface="+mn-lt"/>
                <a:cs typeface="+mn-cs"/>
              </a:defRPr>
            </a:lvl9pPr>
          </a:lstStyle>
          <a:p>
            <a:pPr algn="l"/>
            <a:r>
              <a:rPr lang="fr-FR" sz="800" b="1" kern="0" dirty="0"/>
              <a:t>8</a:t>
            </a:r>
          </a:p>
        </p:txBody>
      </p:sp>
      <p:sp>
        <p:nvSpPr>
          <p:cNvPr id="83" name="Sous-titre 4"/>
          <p:cNvSpPr txBox="1">
            <a:spLocks/>
          </p:cNvSpPr>
          <p:nvPr/>
        </p:nvSpPr>
        <p:spPr>
          <a:xfrm>
            <a:off x="3912682" y="1935109"/>
            <a:ext cx="304800" cy="230268"/>
          </a:xfrm>
          <a:prstGeom prst="rect">
            <a:avLst/>
          </a:prstGeom>
          <a:ln>
            <a:noFill/>
          </a:ln>
        </p:spPr>
        <p:txBody>
          <a:bodyPr/>
          <a:lstStyle>
            <a:lvl1pPr marL="0" indent="0" algn="ctr" rtl="0" eaLnBrk="0" fontAlgn="base" hangingPunct="0">
              <a:spcBef>
                <a:spcPct val="20000"/>
              </a:spcBef>
              <a:spcAft>
                <a:spcPct val="0"/>
              </a:spcAft>
              <a:buNone/>
              <a:defRPr sz="3200">
                <a:solidFill>
                  <a:schemeClr val="tx1"/>
                </a:solidFill>
                <a:latin typeface="+mn-lt"/>
                <a:ea typeface="+mn-ea"/>
                <a:cs typeface="+mn-cs"/>
              </a:defRPr>
            </a:lvl1pPr>
            <a:lvl2pPr marL="457200" indent="0" algn="ctr" rtl="0" eaLnBrk="0" fontAlgn="base" hangingPunct="0">
              <a:spcBef>
                <a:spcPct val="20000"/>
              </a:spcBef>
              <a:spcAft>
                <a:spcPct val="0"/>
              </a:spcAft>
              <a:buNone/>
              <a:defRPr sz="2800">
                <a:solidFill>
                  <a:schemeClr val="tx1"/>
                </a:solidFill>
                <a:latin typeface="+mn-lt"/>
                <a:cs typeface="+mn-cs"/>
              </a:defRPr>
            </a:lvl2pPr>
            <a:lvl3pPr marL="914400" indent="0" algn="ctr" rtl="0" eaLnBrk="0" fontAlgn="base" hangingPunct="0">
              <a:spcBef>
                <a:spcPct val="20000"/>
              </a:spcBef>
              <a:spcAft>
                <a:spcPct val="0"/>
              </a:spcAft>
              <a:buNone/>
              <a:defRPr sz="2400">
                <a:solidFill>
                  <a:schemeClr val="tx1"/>
                </a:solidFill>
                <a:latin typeface="+mn-lt"/>
                <a:cs typeface="+mn-cs"/>
              </a:defRPr>
            </a:lvl3pPr>
            <a:lvl4pPr marL="1371600" indent="0" algn="ctr" rtl="0" eaLnBrk="0" fontAlgn="base" hangingPunct="0">
              <a:spcBef>
                <a:spcPct val="20000"/>
              </a:spcBef>
              <a:spcAft>
                <a:spcPct val="0"/>
              </a:spcAft>
              <a:buNone/>
              <a:defRPr sz="2000">
                <a:solidFill>
                  <a:schemeClr val="tx1"/>
                </a:solidFill>
                <a:latin typeface="+mn-lt"/>
                <a:cs typeface="+mn-cs"/>
              </a:defRPr>
            </a:lvl4pPr>
            <a:lvl5pPr marL="1828800" indent="0" algn="ctr" rtl="0" eaLnBrk="0" fontAlgn="base" hangingPunct="0">
              <a:spcBef>
                <a:spcPct val="20000"/>
              </a:spcBef>
              <a:spcAft>
                <a:spcPct val="0"/>
              </a:spcAft>
              <a:buNone/>
              <a:defRPr sz="2000">
                <a:solidFill>
                  <a:schemeClr val="tx1"/>
                </a:solidFill>
                <a:latin typeface="+mn-lt"/>
                <a:cs typeface="+mn-cs"/>
              </a:defRPr>
            </a:lvl5pPr>
            <a:lvl6pPr marL="2286000" indent="0" algn="ctr" rtl="0" fontAlgn="base">
              <a:spcBef>
                <a:spcPct val="20000"/>
              </a:spcBef>
              <a:spcAft>
                <a:spcPct val="0"/>
              </a:spcAft>
              <a:buNone/>
              <a:defRPr sz="2000">
                <a:solidFill>
                  <a:schemeClr val="tx1"/>
                </a:solidFill>
                <a:latin typeface="+mn-lt"/>
                <a:cs typeface="+mn-cs"/>
              </a:defRPr>
            </a:lvl6pPr>
            <a:lvl7pPr marL="2743200" indent="0" algn="ctr" rtl="0" fontAlgn="base">
              <a:spcBef>
                <a:spcPct val="20000"/>
              </a:spcBef>
              <a:spcAft>
                <a:spcPct val="0"/>
              </a:spcAft>
              <a:buNone/>
              <a:defRPr sz="2000">
                <a:solidFill>
                  <a:schemeClr val="tx1"/>
                </a:solidFill>
                <a:latin typeface="+mn-lt"/>
                <a:cs typeface="+mn-cs"/>
              </a:defRPr>
            </a:lvl7pPr>
            <a:lvl8pPr marL="3200400" indent="0" algn="ctr" rtl="0" fontAlgn="base">
              <a:spcBef>
                <a:spcPct val="20000"/>
              </a:spcBef>
              <a:spcAft>
                <a:spcPct val="0"/>
              </a:spcAft>
              <a:buNone/>
              <a:defRPr sz="2000">
                <a:solidFill>
                  <a:schemeClr val="tx1"/>
                </a:solidFill>
                <a:latin typeface="+mn-lt"/>
                <a:cs typeface="+mn-cs"/>
              </a:defRPr>
            </a:lvl8pPr>
            <a:lvl9pPr marL="3657600" indent="0" algn="ctr" rtl="0" fontAlgn="base">
              <a:spcBef>
                <a:spcPct val="20000"/>
              </a:spcBef>
              <a:spcAft>
                <a:spcPct val="0"/>
              </a:spcAft>
              <a:buNone/>
              <a:defRPr sz="2000">
                <a:solidFill>
                  <a:schemeClr val="tx1"/>
                </a:solidFill>
                <a:latin typeface="+mn-lt"/>
                <a:cs typeface="+mn-cs"/>
              </a:defRPr>
            </a:lvl9pPr>
          </a:lstStyle>
          <a:p>
            <a:pPr algn="l"/>
            <a:r>
              <a:rPr lang="fr-FR" sz="800" b="1" kern="0" dirty="0"/>
              <a:t>11</a:t>
            </a:r>
          </a:p>
        </p:txBody>
      </p:sp>
      <p:sp>
        <p:nvSpPr>
          <p:cNvPr id="85" name="Sous-titre 4"/>
          <p:cNvSpPr txBox="1">
            <a:spLocks/>
          </p:cNvSpPr>
          <p:nvPr/>
        </p:nvSpPr>
        <p:spPr>
          <a:xfrm>
            <a:off x="7752971" y="1163197"/>
            <a:ext cx="245192" cy="230268"/>
          </a:xfrm>
          <a:prstGeom prst="rect">
            <a:avLst/>
          </a:prstGeom>
          <a:ln>
            <a:noFill/>
          </a:ln>
        </p:spPr>
        <p:txBody>
          <a:bodyPr/>
          <a:lstStyle>
            <a:lvl1pPr marL="0" indent="0" algn="ctr" rtl="0" eaLnBrk="0" fontAlgn="base" hangingPunct="0">
              <a:spcBef>
                <a:spcPct val="20000"/>
              </a:spcBef>
              <a:spcAft>
                <a:spcPct val="0"/>
              </a:spcAft>
              <a:buNone/>
              <a:defRPr sz="3200">
                <a:solidFill>
                  <a:schemeClr val="tx1"/>
                </a:solidFill>
                <a:latin typeface="+mn-lt"/>
                <a:ea typeface="+mn-ea"/>
                <a:cs typeface="+mn-cs"/>
              </a:defRPr>
            </a:lvl1pPr>
            <a:lvl2pPr marL="457200" indent="0" algn="ctr" rtl="0" eaLnBrk="0" fontAlgn="base" hangingPunct="0">
              <a:spcBef>
                <a:spcPct val="20000"/>
              </a:spcBef>
              <a:spcAft>
                <a:spcPct val="0"/>
              </a:spcAft>
              <a:buNone/>
              <a:defRPr sz="2800">
                <a:solidFill>
                  <a:schemeClr val="tx1"/>
                </a:solidFill>
                <a:latin typeface="+mn-lt"/>
                <a:cs typeface="+mn-cs"/>
              </a:defRPr>
            </a:lvl2pPr>
            <a:lvl3pPr marL="914400" indent="0" algn="ctr" rtl="0" eaLnBrk="0" fontAlgn="base" hangingPunct="0">
              <a:spcBef>
                <a:spcPct val="20000"/>
              </a:spcBef>
              <a:spcAft>
                <a:spcPct val="0"/>
              </a:spcAft>
              <a:buNone/>
              <a:defRPr sz="2400">
                <a:solidFill>
                  <a:schemeClr val="tx1"/>
                </a:solidFill>
                <a:latin typeface="+mn-lt"/>
                <a:cs typeface="+mn-cs"/>
              </a:defRPr>
            </a:lvl3pPr>
            <a:lvl4pPr marL="1371600" indent="0" algn="ctr" rtl="0" eaLnBrk="0" fontAlgn="base" hangingPunct="0">
              <a:spcBef>
                <a:spcPct val="20000"/>
              </a:spcBef>
              <a:spcAft>
                <a:spcPct val="0"/>
              </a:spcAft>
              <a:buNone/>
              <a:defRPr sz="2000">
                <a:solidFill>
                  <a:schemeClr val="tx1"/>
                </a:solidFill>
                <a:latin typeface="+mn-lt"/>
                <a:cs typeface="+mn-cs"/>
              </a:defRPr>
            </a:lvl4pPr>
            <a:lvl5pPr marL="1828800" indent="0" algn="ctr" rtl="0" eaLnBrk="0" fontAlgn="base" hangingPunct="0">
              <a:spcBef>
                <a:spcPct val="20000"/>
              </a:spcBef>
              <a:spcAft>
                <a:spcPct val="0"/>
              </a:spcAft>
              <a:buNone/>
              <a:defRPr sz="2000">
                <a:solidFill>
                  <a:schemeClr val="tx1"/>
                </a:solidFill>
                <a:latin typeface="+mn-lt"/>
                <a:cs typeface="+mn-cs"/>
              </a:defRPr>
            </a:lvl5pPr>
            <a:lvl6pPr marL="2286000" indent="0" algn="ctr" rtl="0" fontAlgn="base">
              <a:spcBef>
                <a:spcPct val="20000"/>
              </a:spcBef>
              <a:spcAft>
                <a:spcPct val="0"/>
              </a:spcAft>
              <a:buNone/>
              <a:defRPr sz="2000">
                <a:solidFill>
                  <a:schemeClr val="tx1"/>
                </a:solidFill>
                <a:latin typeface="+mn-lt"/>
                <a:cs typeface="+mn-cs"/>
              </a:defRPr>
            </a:lvl6pPr>
            <a:lvl7pPr marL="2743200" indent="0" algn="ctr" rtl="0" fontAlgn="base">
              <a:spcBef>
                <a:spcPct val="20000"/>
              </a:spcBef>
              <a:spcAft>
                <a:spcPct val="0"/>
              </a:spcAft>
              <a:buNone/>
              <a:defRPr sz="2000">
                <a:solidFill>
                  <a:schemeClr val="tx1"/>
                </a:solidFill>
                <a:latin typeface="+mn-lt"/>
                <a:cs typeface="+mn-cs"/>
              </a:defRPr>
            </a:lvl7pPr>
            <a:lvl8pPr marL="3200400" indent="0" algn="ctr" rtl="0" fontAlgn="base">
              <a:spcBef>
                <a:spcPct val="20000"/>
              </a:spcBef>
              <a:spcAft>
                <a:spcPct val="0"/>
              </a:spcAft>
              <a:buNone/>
              <a:defRPr sz="2000">
                <a:solidFill>
                  <a:schemeClr val="tx1"/>
                </a:solidFill>
                <a:latin typeface="+mn-lt"/>
                <a:cs typeface="+mn-cs"/>
              </a:defRPr>
            </a:lvl8pPr>
            <a:lvl9pPr marL="3657600" indent="0" algn="ctr" rtl="0" fontAlgn="base">
              <a:spcBef>
                <a:spcPct val="20000"/>
              </a:spcBef>
              <a:spcAft>
                <a:spcPct val="0"/>
              </a:spcAft>
              <a:buNone/>
              <a:defRPr sz="2000">
                <a:solidFill>
                  <a:schemeClr val="tx1"/>
                </a:solidFill>
                <a:latin typeface="+mn-lt"/>
                <a:cs typeface="+mn-cs"/>
              </a:defRPr>
            </a:lvl9pPr>
          </a:lstStyle>
          <a:p>
            <a:pPr algn="l"/>
            <a:r>
              <a:rPr lang="fr-FR" sz="800" b="1" kern="0" dirty="0"/>
              <a:t>4</a:t>
            </a:r>
          </a:p>
        </p:txBody>
      </p:sp>
      <p:sp>
        <p:nvSpPr>
          <p:cNvPr id="87" name="Sous-titre 4"/>
          <p:cNvSpPr txBox="1">
            <a:spLocks/>
          </p:cNvSpPr>
          <p:nvPr/>
        </p:nvSpPr>
        <p:spPr>
          <a:xfrm>
            <a:off x="7743635" y="684016"/>
            <a:ext cx="245192" cy="230268"/>
          </a:xfrm>
          <a:prstGeom prst="rect">
            <a:avLst/>
          </a:prstGeom>
          <a:ln>
            <a:noFill/>
          </a:ln>
        </p:spPr>
        <p:txBody>
          <a:bodyPr/>
          <a:lstStyle>
            <a:lvl1pPr marL="0" indent="0" algn="ctr" rtl="0" eaLnBrk="0" fontAlgn="base" hangingPunct="0">
              <a:spcBef>
                <a:spcPct val="20000"/>
              </a:spcBef>
              <a:spcAft>
                <a:spcPct val="0"/>
              </a:spcAft>
              <a:buNone/>
              <a:defRPr sz="3200">
                <a:solidFill>
                  <a:schemeClr val="tx1"/>
                </a:solidFill>
                <a:latin typeface="+mn-lt"/>
                <a:ea typeface="+mn-ea"/>
                <a:cs typeface="+mn-cs"/>
              </a:defRPr>
            </a:lvl1pPr>
            <a:lvl2pPr marL="457200" indent="0" algn="ctr" rtl="0" eaLnBrk="0" fontAlgn="base" hangingPunct="0">
              <a:spcBef>
                <a:spcPct val="20000"/>
              </a:spcBef>
              <a:spcAft>
                <a:spcPct val="0"/>
              </a:spcAft>
              <a:buNone/>
              <a:defRPr sz="2800">
                <a:solidFill>
                  <a:schemeClr val="tx1"/>
                </a:solidFill>
                <a:latin typeface="+mn-lt"/>
                <a:cs typeface="+mn-cs"/>
              </a:defRPr>
            </a:lvl2pPr>
            <a:lvl3pPr marL="914400" indent="0" algn="ctr" rtl="0" eaLnBrk="0" fontAlgn="base" hangingPunct="0">
              <a:spcBef>
                <a:spcPct val="20000"/>
              </a:spcBef>
              <a:spcAft>
                <a:spcPct val="0"/>
              </a:spcAft>
              <a:buNone/>
              <a:defRPr sz="2400">
                <a:solidFill>
                  <a:schemeClr val="tx1"/>
                </a:solidFill>
                <a:latin typeface="+mn-lt"/>
                <a:cs typeface="+mn-cs"/>
              </a:defRPr>
            </a:lvl3pPr>
            <a:lvl4pPr marL="1371600" indent="0" algn="ctr" rtl="0" eaLnBrk="0" fontAlgn="base" hangingPunct="0">
              <a:spcBef>
                <a:spcPct val="20000"/>
              </a:spcBef>
              <a:spcAft>
                <a:spcPct val="0"/>
              </a:spcAft>
              <a:buNone/>
              <a:defRPr sz="2000">
                <a:solidFill>
                  <a:schemeClr val="tx1"/>
                </a:solidFill>
                <a:latin typeface="+mn-lt"/>
                <a:cs typeface="+mn-cs"/>
              </a:defRPr>
            </a:lvl4pPr>
            <a:lvl5pPr marL="1828800" indent="0" algn="ctr" rtl="0" eaLnBrk="0" fontAlgn="base" hangingPunct="0">
              <a:spcBef>
                <a:spcPct val="20000"/>
              </a:spcBef>
              <a:spcAft>
                <a:spcPct val="0"/>
              </a:spcAft>
              <a:buNone/>
              <a:defRPr sz="2000">
                <a:solidFill>
                  <a:schemeClr val="tx1"/>
                </a:solidFill>
                <a:latin typeface="+mn-lt"/>
                <a:cs typeface="+mn-cs"/>
              </a:defRPr>
            </a:lvl5pPr>
            <a:lvl6pPr marL="2286000" indent="0" algn="ctr" rtl="0" fontAlgn="base">
              <a:spcBef>
                <a:spcPct val="20000"/>
              </a:spcBef>
              <a:spcAft>
                <a:spcPct val="0"/>
              </a:spcAft>
              <a:buNone/>
              <a:defRPr sz="2000">
                <a:solidFill>
                  <a:schemeClr val="tx1"/>
                </a:solidFill>
                <a:latin typeface="+mn-lt"/>
                <a:cs typeface="+mn-cs"/>
              </a:defRPr>
            </a:lvl6pPr>
            <a:lvl7pPr marL="2743200" indent="0" algn="ctr" rtl="0" fontAlgn="base">
              <a:spcBef>
                <a:spcPct val="20000"/>
              </a:spcBef>
              <a:spcAft>
                <a:spcPct val="0"/>
              </a:spcAft>
              <a:buNone/>
              <a:defRPr sz="2000">
                <a:solidFill>
                  <a:schemeClr val="tx1"/>
                </a:solidFill>
                <a:latin typeface="+mn-lt"/>
                <a:cs typeface="+mn-cs"/>
              </a:defRPr>
            </a:lvl7pPr>
            <a:lvl8pPr marL="3200400" indent="0" algn="ctr" rtl="0" fontAlgn="base">
              <a:spcBef>
                <a:spcPct val="20000"/>
              </a:spcBef>
              <a:spcAft>
                <a:spcPct val="0"/>
              </a:spcAft>
              <a:buNone/>
              <a:defRPr sz="2000">
                <a:solidFill>
                  <a:schemeClr val="tx1"/>
                </a:solidFill>
                <a:latin typeface="+mn-lt"/>
                <a:cs typeface="+mn-cs"/>
              </a:defRPr>
            </a:lvl8pPr>
            <a:lvl9pPr marL="3657600" indent="0" algn="ctr" rtl="0" fontAlgn="base">
              <a:spcBef>
                <a:spcPct val="20000"/>
              </a:spcBef>
              <a:spcAft>
                <a:spcPct val="0"/>
              </a:spcAft>
              <a:buNone/>
              <a:defRPr sz="2000">
                <a:solidFill>
                  <a:schemeClr val="tx1"/>
                </a:solidFill>
                <a:latin typeface="+mn-lt"/>
                <a:cs typeface="+mn-cs"/>
              </a:defRPr>
            </a:lvl9pPr>
          </a:lstStyle>
          <a:p>
            <a:pPr algn="l"/>
            <a:r>
              <a:rPr lang="fr-FR" sz="800" b="1" kern="0" dirty="0"/>
              <a:t>2</a:t>
            </a:r>
          </a:p>
        </p:txBody>
      </p:sp>
      <p:sp>
        <p:nvSpPr>
          <p:cNvPr id="88" name="Sous-titre 4"/>
          <p:cNvSpPr txBox="1">
            <a:spLocks/>
          </p:cNvSpPr>
          <p:nvPr/>
        </p:nvSpPr>
        <p:spPr>
          <a:xfrm>
            <a:off x="7749046" y="926558"/>
            <a:ext cx="245192" cy="230268"/>
          </a:xfrm>
          <a:prstGeom prst="rect">
            <a:avLst/>
          </a:prstGeom>
          <a:ln>
            <a:noFill/>
          </a:ln>
        </p:spPr>
        <p:txBody>
          <a:bodyPr/>
          <a:lstStyle>
            <a:lvl1pPr marL="0" indent="0" algn="ctr" rtl="0" eaLnBrk="0" fontAlgn="base" hangingPunct="0">
              <a:spcBef>
                <a:spcPct val="20000"/>
              </a:spcBef>
              <a:spcAft>
                <a:spcPct val="0"/>
              </a:spcAft>
              <a:buNone/>
              <a:defRPr sz="3200">
                <a:solidFill>
                  <a:schemeClr val="tx1"/>
                </a:solidFill>
                <a:latin typeface="+mn-lt"/>
                <a:ea typeface="+mn-ea"/>
                <a:cs typeface="+mn-cs"/>
              </a:defRPr>
            </a:lvl1pPr>
            <a:lvl2pPr marL="457200" indent="0" algn="ctr" rtl="0" eaLnBrk="0" fontAlgn="base" hangingPunct="0">
              <a:spcBef>
                <a:spcPct val="20000"/>
              </a:spcBef>
              <a:spcAft>
                <a:spcPct val="0"/>
              </a:spcAft>
              <a:buNone/>
              <a:defRPr sz="2800">
                <a:solidFill>
                  <a:schemeClr val="tx1"/>
                </a:solidFill>
                <a:latin typeface="+mn-lt"/>
                <a:cs typeface="+mn-cs"/>
              </a:defRPr>
            </a:lvl2pPr>
            <a:lvl3pPr marL="914400" indent="0" algn="ctr" rtl="0" eaLnBrk="0" fontAlgn="base" hangingPunct="0">
              <a:spcBef>
                <a:spcPct val="20000"/>
              </a:spcBef>
              <a:spcAft>
                <a:spcPct val="0"/>
              </a:spcAft>
              <a:buNone/>
              <a:defRPr sz="2400">
                <a:solidFill>
                  <a:schemeClr val="tx1"/>
                </a:solidFill>
                <a:latin typeface="+mn-lt"/>
                <a:cs typeface="+mn-cs"/>
              </a:defRPr>
            </a:lvl3pPr>
            <a:lvl4pPr marL="1371600" indent="0" algn="ctr" rtl="0" eaLnBrk="0" fontAlgn="base" hangingPunct="0">
              <a:spcBef>
                <a:spcPct val="20000"/>
              </a:spcBef>
              <a:spcAft>
                <a:spcPct val="0"/>
              </a:spcAft>
              <a:buNone/>
              <a:defRPr sz="2000">
                <a:solidFill>
                  <a:schemeClr val="tx1"/>
                </a:solidFill>
                <a:latin typeface="+mn-lt"/>
                <a:cs typeface="+mn-cs"/>
              </a:defRPr>
            </a:lvl4pPr>
            <a:lvl5pPr marL="1828800" indent="0" algn="ctr" rtl="0" eaLnBrk="0" fontAlgn="base" hangingPunct="0">
              <a:spcBef>
                <a:spcPct val="20000"/>
              </a:spcBef>
              <a:spcAft>
                <a:spcPct val="0"/>
              </a:spcAft>
              <a:buNone/>
              <a:defRPr sz="2000">
                <a:solidFill>
                  <a:schemeClr val="tx1"/>
                </a:solidFill>
                <a:latin typeface="+mn-lt"/>
                <a:cs typeface="+mn-cs"/>
              </a:defRPr>
            </a:lvl5pPr>
            <a:lvl6pPr marL="2286000" indent="0" algn="ctr" rtl="0" fontAlgn="base">
              <a:spcBef>
                <a:spcPct val="20000"/>
              </a:spcBef>
              <a:spcAft>
                <a:spcPct val="0"/>
              </a:spcAft>
              <a:buNone/>
              <a:defRPr sz="2000">
                <a:solidFill>
                  <a:schemeClr val="tx1"/>
                </a:solidFill>
                <a:latin typeface="+mn-lt"/>
                <a:cs typeface="+mn-cs"/>
              </a:defRPr>
            </a:lvl6pPr>
            <a:lvl7pPr marL="2743200" indent="0" algn="ctr" rtl="0" fontAlgn="base">
              <a:spcBef>
                <a:spcPct val="20000"/>
              </a:spcBef>
              <a:spcAft>
                <a:spcPct val="0"/>
              </a:spcAft>
              <a:buNone/>
              <a:defRPr sz="2000">
                <a:solidFill>
                  <a:schemeClr val="tx1"/>
                </a:solidFill>
                <a:latin typeface="+mn-lt"/>
                <a:cs typeface="+mn-cs"/>
              </a:defRPr>
            </a:lvl7pPr>
            <a:lvl8pPr marL="3200400" indent="0" algn="ctr" rtl="0" fontAlgn="base">
              <a:spcBef>
                <a:spcPct val="20000"/>
              </a:spcBef>
              <a:spcAft>
                <a:spcPct val="0"/>
              </a:spcAft>
              <a:buNone/>
              <a:defRPr sz="2000">
                <a:solidFill>
                  <a:schemeClr val="tx1"/>
                </a:solidFill>
                <a:latin typeface="+mn-lt"/>
                <a:cs typeface="+mn-cs"/>
              </a:defRPr>
            </a:lvl8pPr>
            <a:lvl9pPr marL="3657600" indent="0" algn="ctr" rtl="0" fontAlgn="base">
              <a:spcBef>
                <a:spcPct val="20000"/>
              </a:spcBef>
              <a:spcAft>
                <a:spcPct val="0"/>
              </a:spcAft>
              <a:buNone/>
              <a:defRPr sz="2000">
                <a:solidFill>
                  <a:schemeClr val="tx1"/>
                </a:solidFill>
                <a:latin typeface="+mn-lt"/>
                <a:cs typeface="+mn-cs"/>
              </a:defRPr>
            </a:lvl9pPr>
          </a:lstStyle>
          <a:p>
            <a:pPr algn="l"/>
            <a:r>
              <a:rPr lang="fr-FR" sz="800" b="1" kern="0" dirty="0"/>
              <a:t>3</a:t>
            </a:r>
          </a:p>
        </p:txBody>
      </p:sp>
      <p:sp>
        <p:nvSpPr>
          <p:cNvPr id="89" name="Ellipse 88"/>
          <p:cNvSpPr/>
          <p:nvPr/>
        </p:nvSpPr>
        <p:spPr>
          <a:xfrm>
            <a:off x="7767555" y="2119411"/>
            <a:ext cx="216024" cy="216024"/>
          </a:xfrm>
          <a:prstGeom prst="ellipse">
            <a:avLst/>
          </a:pr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0" name="Ellipse 89"/>
          <p:cNvSpPr/>
          <p:nvPr/>
        </p:nvSpPr>
        <p:spPr>
          <a:xfrm>
            <a:off x="7786785" y="3543194"/>
            <a:ext cx="216024" cy="216024"/>
          </a:xfrm>
          <a:prstGeom prst="ellipse">
            <a:avLst/>
          </a:pr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1" name="Ellipse 90"/>
          <p:cNvSpPr/>
          <p:nvPr/>
        </p:nvSpPr>
        <p:spPr>
          <a:xfrm>
            <a:off x="7781754" y="3790737"/>
            <a:ext cx="216024" cy="216024"/>
          </a:xfrm>
          <a:prstGeom prst="ellipse">
            <a:avLst/>
          </a:prstGeom>
          <a:solidFill>
            <a:srgbClr val="FF99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2" name="Ellipse 91"/>
          <p:cNvSpPr/>
          <p:nvPr/>
        </p:nvSpPr>
        <p:spPr>
          <a:xfrm>
            <a:off x="7794306" y="4268441"/>
            <a:ext cx="216024" cy="216024"/>
          </a:xfrm>
          <a:prstGeom prst="ellipse">
            <a:avLst/>
          </a:pr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3" name="Ellipse 92"/>
          <p:cNvSpPr/>
          <p:nvPr/>
        </p:nvSpPr>
        <p:spPr>
          <a:xfrm>
            <a:off x="7761856" y="1391559"/>
            <a:ext cx="216024" cy="216024"/>
          </a:xfrm>
          <a:prstGeom prst="ellipse">
            <a:avLst/>
          </a:prstGeom>
          <a:solidFill>
            <a:srgbClr val="00DE6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4" name="Ellipse 93"/>
          <p:cNvSpPr/>
          <p:nvPr/>
        </p:nvSpPr>
        <p:spPr>
          <a:xfrm>
            <a:off x="7771041" y="1639040"/>
            <a:ext cx="216024" cy="216024"/>
          </a:xfrm>
          <a:prstGeom prst="ellipse">
            <a:avLst/>
          </a:prstGeom>
          <a:solidFill>
            <a:srgbClr val="00DE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5" name="Ellipse 94"/>
          <p:cNvSpPr/>
          <p:nvPr/>
        </p:nvSpPr>
        <p:spPr>
          <a:xfrm>
            <a:off x="7767557" y="1880140"/>
            <a:ext cx="216024" cy="216024"/>
          </a:xfrm>
          <a:prstGeom prst="ellipse">
            <a:avLst/>
          </a:prstGeom>
          <a:solidFill>
            <a:srgbClr val="00DE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6" name="Ellipse 95"/>
          <p:cNvSpPr/>
          <p:nvPr/>
        </p:nvSpPr>
        <p:spPr>
          <a:xfrm>
            <a:off x="7813433" y="6394840"/>
            <a:ext cx="216024" cy="206470"/>
          </a:xfrm>
          <a:prstGeom prst="ellipse">
            <a:avLst/>
          </a:prstGeom>
          <a:solidFill>
            <a:srgbClr val="00DE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7" name="Ellipse 96"/>
          <p:cNvSpPr/>
          <p:nvPr/>
        </p:nvSpPr>
        <p:spPr>
          <a:xfrm>
            <a:off x="7808939" y="6153527"/>
            <a:ext cx="216024" cy="216024"/>
          </a:xfrm>
          <a:prstGeom prst="ellipse">
            <a:avLst/>
          </a:prstGeom>
          <a:solidFill>
            <a:srgbClr val="00DE6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8" name="Ellipse 97"/>
          <p:cNvSpPr/>
          <p:nvPr/>
        </p:nvSpPr>
        <p:spPr>
          <a:xfrm>
            <a:off x="4548489" y="4070638"/>
            <a:ext cx="216024" cy="216024"/>
          </a:xfrm>
          <a:prstGeom prst="ellipse">
            <a:avLst/>
          </a:prstGeom>
          <a:solidFill>
            <a:srgbClr val="00DE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9" name="Ellipse 98"/>
          <p:cNvSpPr/>
          <p:nvPr/>
        </p:nvSpPr>
        <p:spPr>
          <a:xfrm>
            <a:off x="7798742" y="4976181"/>
            <a:ext cx="216024" cy="216024"/>
          </a:xfrm>
          <a:prstGeom prst="ellipse">
            <a:avLst/>
          </a:prstGeom>
          <a:solidFill>
            <a:srgbClr val="FF99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00" name="Ellipse 99"/>
          <p:cNvSpPr/>
          <p:nvPr/>
        </p:nvSpPr>
        <p:spPr>
          <a:xfrm>
            <a:off x="7813147" y="5922291"/>
            <a:ext cx="216024" cy="216024"/>
          </a:xfrm>
          <a:prstGeom prst="ellipse">
            <a:avLst/>
          </a:prstGeom>
          <a:solidFill>
            <a:srgbClr val="FF99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01" name="Ellipse 100"/>
          <p:cNvSpPr/>
          <p:nvPr/>
        </p:nvSpPr>
        <p:spPr>
          <a:xfrm>
            <a:off x="7765574" y="2597953"/>
            <a:ext cx="216024" cy="216024"/>
          </a:xfrm>
          <a:prstGeom prst="ellipse">
            <a:avLst/>
          </a:prstGeom>
          <a:solidFill>
            <a:srgbClr val="00DE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02" name="Ellipse 101"/>
          <p:cNvSpPr/>
          <p:nvPr/>
        </p:nvSpPr>
        <p:spPr>
          <a:xfrm>
            <a:off x="7770022" y="2834924"/>
            <a:ext cx="216024" cy="216024"/>
          </a:xfrm>
          <a:prstGeom prst="ellipse">
            <a:avLst/>
          </a:prstGeom>
          <a:solidFill>
            <a:srgbClr val="00DE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03" name="Ellipse 102"/>
          <p:cNvSpPr/>
          <p:nvPr/>
        </p:nvSpPr>
        <p:spPr>
          <a:xfrm>
            <a:off x="7776077" y="3062299"/>
            <a:ext cx="216024" cy="216024"/>
          </a:xfrm>
          <a:prstGeom prst="ellipse">
            <a:avLst/>
          </a:prstGeom>
          <a:solidFill>
            <a:srgbClr val="00DE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04" name="Ellipse 103"/>
          <p:cNvSpPr/>
          <p:nvPr/>
        </p:nvSpPr>
        <p:spPr>
          <a:xfrm>
            <a:off x="7786785" y="3302094"/>
            <a:ext cx="216024" cy="216024"/>
          </a:xfrm>
          <a:prstGeom prst="ellipse">
            <a:avLst/>
          </a:prstGeom>
          <a:solidFill>
            <a:srgbClr val="00DE6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05" name="Ellipse 104"/>
          <p:cNvSpPr/>
          <p:nvPr/>
        </p:nvSpPr>
        <p:spPr>
          <a:xfrm>
            <a:off x="7786785" y="4021988"/>
            <a:ext cx="216024" cy="216024"/>
          </a:xfrm>
          <a:prstGeom prst="ellipse">
            <a:avLst/>
          </a:prstGeom>
          <a:solidFill>
            <a:srgbClr val="00DE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06" name="Ellipse 105"/>
          <p:cNvSpPr/>
          <p:nvPr/>
        </p:nvSpPr>
        <p:spPr>
          <a:xfrm>
            <a:off x="7794306" y="4506768"/>
            <a:ext cx="216024" cy="216024"/>
          </a:xfrm>
          <a:prstGeom prst="ellipse">
            <a:avLst/>
          </a:prstGeom>
          <a:solidFill>
            <a:srgbClr val="00DE6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07" name="Ellipse 106"/>
          <p:cNvSpPr/>
          <p:nvPr/>
        </p:nvSpPr>
        <p:spPr>
          <a:xfrm>
            <a:off x="7790101" y="4733862"/>
            <a:ext cx="216024" cy="216024"/>
          </a:xfrm>
          <a:prstGeom prst="ellipse">
            <a:avLst/>
          </a:prstGeom>
          <a:solidFill>
            <a:srgbClr val="00DE6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08" name="Ellipse 107"/>
          <p:cNvSpPr/>
          <p:nvPr/>
        </p:nvSpPr>
        <p:spPr>
          <a:xfrm>
            <a:off x="7805571" y="5210549"/>
            <a:ext cx="216024" cy="216024"/>
          </a:xfrm>
          <a:prstGeom prst="ellipse">
            <a:avLst/>
          </a:prstGeom>
          <a:solidFill>
            <a:srgbClr val="00DE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09" name="Ellipse 108"/>
          <p:cNvSpPr/>
          <p:nvPr/>
        </p:nvSpPr>
        <p:spPr>
          <a:xfrm>
            <a:off x="7798742" y="5449955"/>
            <a:ext cx="216024" cy="216024"/>
          </a:xfrm>
          <a:prstGeom prst="ellipse">
            <a:avLst/>
          </a:prstGeom>
          <a:solidFill>
            <a:srgbClr val="00DE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10" name="Ellipse 109"/>
          <p:cNvSpPr/>
          <p:nvPr/>
        </p:nvSpPr>
        <p:spPr>
          <a:xfrm>
            <a:off x="7802969" y="5691055"/>
            <a:ext cx="216024" cy="216024"/>
          </a:xfrm>
          <a:prstGeom prst="ellipse">
            <a:avLst/>
          </a:prstGeom>
          <a:solidFill>
            <a:srgbClr val="00DE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11" name="Sous-titre 4"/>
          <p:cNvSpPr txBox="1">
            <a:spLocks/>
          </p:cNvSpPr>
          <p:nvPr/>
        </p:nvSpPr>
        <p:spPr>
          <a:xfrm>
            <a:off x="4962015" y="3106287"/>
            <a:ext cx="245192" cy="230268"/>
          </a:xfrm>
          <a:prstGeom prst="rect">
            <a:avLst/>
          </a:prstGeom>
          <a:ln>
            <a:noFill/>
          </a:ln>
        </p:spPr>
        <p:txBody>
          <a:bodyPr/>
          <a:lstStyle>
            <a:lvl1pPr marL="0" indent="0" algn="ctr" rtl="0" eaLnBrk="0" fontAlgn="base" hangingPunct="0">
              <a:spcBef>
                <a:spcPct val="20000"/>
              </a:spcBef>
              <a:spcAft>
                <a:spcPct val="0"/>
              </a:spcAft>
              <a:buNone/>
              <a:defRPr sz="3200">
                <a:solidFill>
                  <a:schemeClr val="tx1"/>
                </a:solidFill>
                <a:latin typeface="+mn-lt"/>
                <a:ea typeface="+mn-ea"/>
                <a:cs typeface="+mn-cs"/>
              </a:defRPr>
            </a:lvl1pPr>
            <a:lvl2pPr marL="457200" indent="0" algn="ctr" rtl="0" eaLnBrk="0" fontAlgn="base" hangingPunct="0">
              <a:spcBef>
                <a:spcPct val="20000"/>
              </a:spcBef>
              <a:spcAft>
                <a:spcPct val="0"/>
              </a:spcAft>
              <a:buNone/>
              <a:defRPr sz="2800">
                <a:solidFill>
                  <a:schemeClr val="tx1"/>
                </a:solidFill>
                <a:latin typeface="+mn-lt"/>
                <a:cs typeface="+mn-cs"/>
              </a:defRPr>
            </a:lvl2pPr>
            <a:lvl3pPr marL="914400" indent="0" algn="ctr" rtl="0" eaLnBrk="0" fontAlgn="base" hangingPunct="0">
              <a:spcBef>
                <a:spcPct val="20000"/>
              </a:spcBef>
              <a:spcAft>
                <a:spcPct val="0"/>
              </a:spcAft>
              <a:buNone/>
              <a:defRPr sz="2400">
                <a:solidFill>
                  <a:schemeClr val="tx1"/>
                </a:solidFill>
                <a:latin typeface="+mn-lt"/>
                <a:cs typeface="+mn-cs"/>
              </a:defRPr>
            </a:lvl3pPr>
            <a:lvl4pPr marL="1371600" indent="0" algn="ctr" rtl="0" eaLnBrk="0" fontAlgn="base" hangingPunct="0">
              <a:spcBef>
                <a:spcPct val="20000"/>
              </a:spcBef>
              <a:spcAft>
                <a:spcPct val="0"/>
              </a:spcAft>
              <a:buNone/>
              <a:defRPr sz="2000">
                <a:solidFill>
                  <a:schemeClr val="tx1"/>
                </a:solidFill>
                <a:latin typeface="+mn-lt"/>
                <a:cs typeface="+mn-cs"/>
              </a:defRPr>
            </a:lvl4pPr>
            <a:lvl5pPr marL="1828800" indent="0" algn="ctr" rtl="0" eaLnBrk="0" fontAlgn="base" hangingPunct="0">
              <a:spcBef>
                <a:spcPct val="20000"/>
              </a:spcBef>
              <a:spcAft>
                <a:spcPct val="0"/>
              </a:spcAft>
              <a:buNone/>
              <a:defRPr sz="2000">
                <a:solidFill>
                  <a:schemeClr val="tx1"/>
                </a:solidFill>
                <a:latin typeface="+mn-lt"/>
                <a:cs typeface="+mn-cs"/>
              </a:defRPr>
            </a:lvl5pPr>
            <a:lvl6pPr marL="2286000" indent="0" algn="ctr" rtl="0" fontAlgn="base">
              <a:spcBef>
                <a:spcPct val="20000"/>
              </a:spcBef>
              <a:spcAft>
                <a:spcPct val="0"/>
              </a:spcAft>
              <a:buNone/>
              <a:defRPr sz="2000">
                <a:solidFill>
                  <a:schemeClr val="tx1"/>
                </a:solidFill>
                <a:latin typeface="+mn-lt"/>
                <a:cs typeface="+mn-cs"/>
              </a:defRPr>
            </a:lvl6pPr>
            <a:lvl7pPr marL="2743200" indent="0" algn="ctr" rtl="0" fontAlgn="base">
              <a:spcBef>
                <a:spcPct val="20000"/>
              </a:spcBef>
              <a:spcAft>
                <a:spcPct val="0"/>
              </a:spcAft>
              <a:buNone/>
              <a:defRPr sz="2000">
                <a:solidFill>
                  <a:schemeClr val="tx1"/>
                </a:solidFill>
                <a:latin typeface="+mn-lt"/>
                <a:cs typeface="+mn-cs"/>
              </a:defRPr>
            </a:lvl7pPr>
            <a:lvl8pPr marL="3200400" indent="0" algn="ctr" rtl="0" fontAlgn="base">
              <a:spcBef>
                <a:spcPct val="20000"/>
              </a:spcBef>
              <a:spcAft>
                <a:spcPct val="0"/>
              </a:spcAft>
              <a:buNone/>
              <a:defRPr sz="2000">
                <a:solidFill>
                  <a:schemeClr val="tx1"/>
                </a:solidFill>
                <a:latin typeface="+mn-lt"/>
                <a:cs typeface="+mn-cs"/>
              </a:defRPr>
            </a:lvl8pPr>
            <a:lvl9pPr marL="3657600" indent="0" algn="ctr" rtl="0" fontAlgn="base">
              <a:spcBef>
                <a:spcPct val="20000"/>
              </a:spcBef>
              <a:spcAft>
                <a:spcPct val="0"/>
              </a:spcAft>
              <a:buNone/>
              <a:defRPr sz="2000">
                <a:solidFill>
                  <a:schemeClr val="tx1"/>
                </a:solidFill>
                <a:latin typeface="+mn-lt"/>
                <a:cs typeface="+mn-cs"/>
              </a:defRPr>
            </a:lvl9pPr>
          </a:lstStyle>
          <a:p>
            <a:pPr algn="l"/>
            <a:r>
              <a:rPr lang="fr-FR" sz="800" b="1" kern="0" dirty="0"/>
              <a:t>6</a:t>
            </a:r>
          </a:p>
        </p:txBody>
      </p:sp>
      <p:sp>
        <p:nvSpPr>
          <p:cNvPr id="112" name="Sous-titre 4"/>
          <p:cNvSpPr txBox="1">
            <a:spLocks/>
          </p:cNvSpPr>
          <p:nvPr/>
        </p:nvSpPr>
        <p:spPr>
          <a:xfrm>
            <a:off x="7752971" y="1647133"/>
            <a:ext cx="245192" cy="230268"/>
          </a:xfrm>
          <a:prstGeom prst="rect">
            <a:avLst/>
          </a:prstGeom>
          <a:noFill/>
          <a:ln>
            <a:noFill/>
          </a:ln>
        </p:spPr>
        <p:txBody>
          <a:bodyPr/>
          <a:lstStyle>
            <a:lvl1pPr marL="0" indent="0" algn="ctr" rtl="0" eaLnBrk="0" fontAlgn="base" hangingPunct="0">
              <a:spcBef>
                <a:spcPct val="20000"/>
              </a:spcBef>
              <a:spcAft>
                <a:spcPct val="0"/>
              </a:spcAft>
              <a:buNone/>
              <a:defRPr sz="3200">
                <a:solidFill>
                  <a:schemeClr val="tx1"/>
                </a:solidFill>
                <a:latin typeface="+mn-lt"/>
                <a:ea typeface="+mn-ea"/>
                <a:cs typeface="+mn-cs"/>
              </a:defRPr>
            </a:lvl1pPr>
            <a:lvl2pPr marL="457200" indent="0" algn="ctr" rtl="0" eaLnBrk="0" fontAlgn="base" hangingPunct="0">
              <a:spcBef>
                <a:spcPct val="20000"/>
              </a:spcBef>
              <a:spcAft>
                <a:spcPct val="0"/>
              </a:spcAft>
              <a:buNone/>
              <a:defRPr sz="2800">
                <a:solidFill>
                  <a:schemeClr val="tx1"/>
                </a:solidFill>
                <a:latin typeface="+mn-lt"/>
                <a:cs typeface="+mn-cs"/>
              </a:defRPr>
            </a:lvl2pPr>
            <a:lvl3pPr marL="914400" indent="0" algn="ctr" rtl="0" eaLnBrk="0" fontAlgn="base" hangingPunct="0">
              <a:spcBef>
                <a:spcPct val="20000"/>
              </a:spcBef>
              <a:spcAft>
                <a:spcPct val="0"/>
              </a:spcAft>
              <a:buNone/>
              <a:defRPr sz="2400">
                <a:solidFill>
                  <a:schemeClr val="tx1"/>
                </a:solidFill>
                <a:latin typeface="+mn-lt"/>
                <a:cs typeface="+mn-cs"/>
              </a:defRPr>
            </a:lvl3pPr>
            <a:lvl4pPr marL="1371600" indent="0" algn="ctr" rtl="0" eaLnBrk="0" fontAlgn="base" hangingPunct="0">
              <a:spcBef>
                <a:spcPct val="20000"/>
              </a:spcBef>
              <a:spcAft>
                <a:spcPct val="0"/>
              </a:spcAft>
              <a:buNone/>
              <a:defRPr sz="2000">
                <a:solidFill>
                  <a:schemeClr val="tx1"/>
                </a:solidFill>
                <a:latin typeface="+mn-lt"/>
                <a:cs typeface="+mn-cs"/>
              </a:defRPr>
            </a:lvl4pPr>
            <a:lvl5pPr marL="1828800" indent="0" algn="ctr" rtl="0" eaLnBrk="0" fontAlgn="base" hangingPunct="0">
              <a:spcBef>
                <a:spcPct val="20000"/>
              </a:spcBef>
              <a:spcAft>
                <a:spcPct val="0"/>
              </a:spcAft>
              <a:buNone/>
              <a:defRPr sz="2000">
                <a:solidFill>
                  <a:schemeClr val="tx1"/>
                </a:solidFill>
                <a:latin typeface="+mn-lt"/>
                <a:cs typeface="+mn-cs"/>
              </a:defRPr>
            </a:lvl5pPr>
            <a:lvl6pPr marL="2286000" indent="0" algn="ctr" rtl="0" fontAlgn="base">
              <a:spcBef>
                <a:spcPct val="20000"/>
              </a:spcBef>
              <a:spcAft>
                <a:spcPct val="0"/>
              </a:spcAft>
              <a:buNone/>
              <a:defRPr sz="2000">
                <a:solidFill>
                  <a:schemeClr val="tx1"/>
                </a:solidFill>
                <a:latin typeface="+mn-lt"/>
                <a:cs typeface="+mn-cs"/>
              </a:defRPr>
            </a:lvl6pPr>
            <a:lvl7pPr marL="2743200" indent="0" algn="ctr" rtl="0" fontAlgn="base">
              <a:spcBef>
                <a:spcPct val="20000"/>
              </a:spcBef>
              <a:spcAft>
                <a:spcPct val="0"/>
              </a:spcAft>
              <a:buNone/>
              <a:defRPr sz="2000">
                <a:solidFill>
                  <a:schemeClr val="tx1"/>
                </a:solidFill>
                <a:latin typeface="+mn-lt"/>
                <a:cs typeface="+mn-cs"/>
              </a:defRPr>
            </a:lvl7pPr>
            <a:lvl8pPr marL="3200400" indent="0" algn="ctr" rtl="0" fontAlgn="base">
              <a:spcBef>
                <a:spcPct val="20000"/>
              </a:spcBef>
              <a:spcAft>
                <a:spcPct val="0"/>
              </a:spcAft>
              <a:buNone/>
              <a:defRPr sz="2000">
                <a:solidFill>
                  <a:schemeClr val="tx1"/>
                </a:solidFill>
                <a:latin typeface="+mn-lt"/>
                <a:cs typeface="+mn-cs"/>
              </a:defRPr>
            </a:lvl8pPr>
            <a:lvl9pPr marL="3657600" indent="0" algn="ctr" rtl="0" fontAlgn="base">
              <a:spcBef>
                <a:spcPct val="20000"/>
              </a:spcBef>
              <a:spcAft>
                <a:spcPct val="0"/>
              </a:spcAft>
              <a:buNone/>
              <a:defRPr sz="2000">
                <a:solidFill>
                  <a:schemeClr val="tx1"/>
                </a:solidFill>
                <a:latin typeface="+mn-lt"/>
                <a:cs typeface="+mn-cs"/>
              </a:defRPr>
            </a:lvl9pPr>
          </a:lstStyle>
          <a:p>
            <a:pPr algn="l"/>
            <a:r>
              <a:rPr lang="fr-FR" sz="800" b="1" kern="0" dirty="0"/>
              <a:t>6</a:t>
            </a:r>
          </a:p>
        </p:txBody>
      </p:sp>
      <p:sp>
        <p:nvSpPr>
          <p:cNvPr id="113" name="Sous-titre 4"/>
          <p:cNvSpPr txBox="1">
            <a:spLocks/>
          </p:cNvSpPr>
          <p:nvPr/>
        </p:nvSpPr>
        <p:spPr>
          <a:xfrm>
            <a:off x="7757617" y="1899737"/>
            <a:ext cx="245192" cy="230268"/>
          </a:xfrm>
          <a:prstGeom prst="rect">
            <a:avLst/>
          </a:prstGeom>
          <a:ln>
            <a:noFill/>
          </a:ln>
        </p:spPr>
        <p:txBody>
          <a:bodyPr/>
          <a:lstStyle>
            <a:lvl1pPr marL="0" indent="0" algn="ctr" rtl="0" eaLnBrk="0" fontAlgn="base" hangingPunct="0">
              <a:spcBef>
                <a:spcPct val="20000"/>
              </a:spcBef>
              <a:spcAft>
                <a:spcPct val="0"/>
              </a:spcAft>
              <a:buNone/>
              <a:defRPr sz="3200">
                <a:solidFill>
                  <a:schemeClr val="tx1"/>
                </a:solidFill>
                <a:latin typeface="+mn-lt"/>
                <a:ea typeface="+mn-ea"/>
                <a:cs typeface="+mn-cs"/>
              </a:defRPr>
            </a:lvl1pPr>
            <a:lvl2pPr marL="457200" indent="0" algn="ctr" rtl="0" eaLnBrk="0" fontAlgn="base" hangingPunct="0">
              <a:spcBef>
                <a:spcPct val="20000"/>
              </a:spcBef>
              <a:spcAft>
                <a:spcPct val="0"/>
              </a:spcAft>
              <a:buNone/>
              <a:defRPr sz="2800">
                <a:solidFill>
                  <a:schemeClr val="tx1"/>
                </a:solidFill>
                <a:latin typeface="+mn-lt"/>
                <a:cs typeface="+mn-cs"/>
              </a:defRPr>
            </a:lvl2pPr>
            <a:lvl3pPr marL="914400" indent="0" algn="ctr" rtl="0" eaLnBrk="0" fontAlgn="base" hangingPunct="0">
              <a:spcBef>
                <a:spcPct val="20000"/>
              </a:spcBef>
              <a:spcAft>
                <a:spcPct val="0"/>
              </a:spcAft>
              <a:buNone/>
              <a:defRPr sz="2400">
                <a:solidFill>
                  <a:schemeClr val="tx1"/>
                </a:solidFill>
                <a:latin typeface="+mn-lt"/>
                <a:cs typeface="+mn-cs"/>
              </a:defRPr>
            </a:lvl3pPr>
            <a:lvl4pPr marL="1371600" indent="0" algn="ctr" rtl="0" eaLnBrk="0" fontAlgn="base" hangingPunct="0">
              <a:spcBef>
                <a:spcPct val="20000"/>
              </a:spcBef>
              <a:spcAft>
                <a:spcPct val="0"/>
              </a:spcAft>
              <a:buNone/>
              <a:defRPr sz="2000">
                <a:solidFill>
                  <a:schemeClr val="tx1"/>
                </a:solidFill>
                <a:latin typeface="+mn-lt"/>
                <a:cs typeface="+mn-cs"/>
              </a:defRPr>
            </a:lvl4pPr>
            <a:lvl5pPr marL="1828800" indent="0" algn="ctr" rtl="0" eaLnBrk="0" fontAlgn="base" hangingPunct="0">
              <a:spcBef>
                <a:spcPct val="20000"/>
              </a:spcBef>
              <a:spcAft>
                <a:spcPct val="0"/>
              </a:spcAft>
              <a:buNone/>
              <a:defRPr sz="2000">
                <a:solidFill>
                  <a:schemeClr val="tx1"/>
                </a:solidFill>
                <a:latin typeface="+mn-lt"/>
                <a:cs typeface="+mn-cs"/>
              </a:defRPr>
            </a:lvl5pPr>
            <a:lvl6pPr marL="2286000" indent="0" algn="ctr" rtl="0" fontAlgn="base">
              <a:spcBef>
                <a:spcPct val="20000"/>
              </a:spcBef>
              <a:spcAft>
                <a:spcPct val="0"/>
              </a:spcAft>
              <a:buNone/>
              <a:defRPr sz="2000">
                <a:solidFill>
                  <a:schemeClr val="tx1"/>
                </a:solidFill>
                <a:latin typeface="+mn-lt"/>
                <a:cs typeface="+mn-cs"/>
              </a:defRPr>
            </a:lvl6pPr>
            <a:lvl7pPr marL="2743200" indent="0" algn="ctr" rtl="0" fontAlgn="base">
              <a:spcBef>
                <a:spcPct val="20000"/>
              </a:spcBef>
              <a:spcAft>
                <a:spcPct val="0"/>
              </a:spcAft>
              <a:buNone/>
              <a:defRPr sz="2000">
                <a:solidFill>
                  <a:schemeClr val="tx1"/>
                </a:solidFill>
                <a:latin typeface="+mn-lt"/>
                <a:cs typeface="+mn-cs"/>
              </a:defRPr>
            </a:lvl7pPr>
            <a:lvl8pPr marL="3200400" indent="0" algn="ctr" rtl="0" fontAlgn="base">
              <a:spcBef>
                <a:spcPct val="20000"/>
              </a:spcBef>
              <a:spcAft>
                <a:spcPct val="0"/>
              </a:spcAft>
              <a:buNone/>
              <a:defRPr sz="2000">
                <a:solidFill>
                  <a:schemeClr val="tx1"/>
                </a:solidFill>
                <a:latin typeface="+mn-lt"/>
                <a:cs typeface="+mn-cs"/>
              </a:defRPr>
            </a:lvl8pPr>
            <a:lvl9pPr marL="3657600" indent="0" algn="ctr" rtl="0" fontAlgn="base">
              <a:spcBef>
                <a:spcPct val="20000"/>
              </a:spcBef>
              <a:spcAft>
                <a:spcPct val="0"/>
              </a:spcAft>
              <a:buNone/>
              <a:defRPr sz="2000">
                <a:solidFill>
                  <a:schemeClr val="tx1"/>
                </a:solidFill>
                <a:latin typeface="+mn-lt"/>
                <a:cs typeface="+mn-cs"/>
              </a:defRPr>
            </a:lvl9pPr>
          </a:lstStyle>
          <a:p>
            <a:pPr algn="l"/>
            <a:r>
              <a:rPr lang="fr-FR" sz="800" b="1" kern="0" dirty="0"/>
              <a:t>7</a:t>
            </a:r>
          </a:p>
        </p:txBody>
      </p:sp>
      <p:sp>
        <p:nvSpPr>
          <p:cNvPr id="114" name="Sous-titre 4"/>
          <p:cNvSpPr txBox="1">
            <a:spLocks/>
          </p:cNvSpPr>
          <p:nvPr/>
        </p:nvSpPr>
        <p:spPr>
          <a:xfrm>
            <a:off x="7749046" y="1403466"/>
            <a:ext cx="245192" cy="230268"/>
          </a:xfrm>
          <a:prstGeom prst="rect">
            <a:avLst/>
          </a:prstGeom>
          <a:ln>
            <a:noFill/>
          </a:ln>
        </p:spPr>
        <p:txBody>
          <a:bodyPr/>
          <a:lstStyle>
            <a:lvl1pPr marL="0" indent="0" algn="ctr" rtl="0" eaLnBrk="0" fontAlgn="base" hangingPunct="0">
              <a:spcBef>
                <a:spcPct val="20000"/>
              </a:spcBef>
              <a:spcAft>
                <a:spcPct val="0"/>
              </a:spcAft>
              <a:buNone/>
              <a:defRPr sz="3200">
                <a:solidFill>
                  <a:schemeClr val="tx1"/>
                </a:solidFill>
                <a:latin typeface="+mn-lt"/>
                <a:ea typeface="+mn-ea"/>
                <a:cs typeface="+mn-cs"/>
              </a:defRPr>
            </a:lvl1pPr>
            <a:lvl2pPr marL="457200" indent="0" algn="ctr" rtl="0" eaLnBrk="0" fontAlgn="base" hangingPunct="0">
              <a:spcBef>
                <a:spcPct val="20000"/>
              </a:spcBef>
              <a:spcAft>
                <a:spcPct val="0"/>
              </a:spcAft>
              <a:buNone/>
              <a:defRPr sz="2800">
                <a:solidFill>
                  <a:schemeClr val="tx1"/>
                </a:solidFill>
                <a:latin typeface="+mn-lt"/>
                <a:cs typeface="+mn-cs"/>
              </a:defRPr>
            </a:lvl2pPr>
            <a:lvl3pPr marL="914400" indent="0" algn="ctr" rtl="0" eaLnBrk="0" fontAlgn="base" hangingPunct="0">
              <a:spcBef>
                <a:spcPct val="20000"/>
              </a:spcBef>
              <a:spcAft>
                <a:spcPct val="0"/>
              </a:spcAft>
              <a:buNone/>
              <a:defRPr sz="2400">
                <a:solidFill>
                  <a:schemeClr val="tx1"/>
                </a:solidFill>
                <a:latin typeface="+mn-lt"/>
                <a:cs typeface="+mn-cs"/>
              </a:defRPr>
            </a:lvl3pPr>
            <a:lvl4pPr marL="1371600" indent="0" algn="ctr" rtl="0" eaLnBrk="0" fontAlgn="base" hangingPunct="0">
              <a:spcBef>
                <a:spcPct val="20000"/>
              </a:spcBef>
              <a:spcAft>
                <a:spcPct val="0"/>
              </a:spcAft>
              <a:buNone/>
              <a:defRPr sz="2000">
                <a:solidFill>
                  <a:schemeClr val="tx1"/>
                </a:solidFill>
                <a:latin typeface="+mn-lt"/>
                <a:cs typeface="+mn-cs"/>
              </a:defRPr>
            </a:lvl4pPr>
            <a:lvl5pPr marL="1828800" indent="0" algn="ctr" rtl="0" eaLnBrk="0" fontAlgn="base" hangingPunct="0">
              <a:spcBef>
                <a:spcPct val="20000"/>
              </a:spcBef>
              <a:spcAft>
                <a:spcPct val="0"/>
              </a:spcAft>
              <a:buNone/>
              <a:defRPr sz="2000">
                <a:solidFill>
                  <a:schemeClr val="tx1"/>
                </a:solidFill>
                <a:latin typeface="+mn-lt"/>
                <a:cs typeface="+mn-cs"/>
              </a:defRPr>
            </a:lvl5pPr>
            <a:lvl6pPr marL="2286000" indent="0" algn="ctr" rtl="0" fontAlgn="base">
              <a:spcBef>
                <a:spcPct val="20000"/>
              </a:spcBef>
              <a:spcAft>
                <a:spcPct val="0"/>
              </a:spcAft>
              <a:buNone/>
              <a:defRPr sz="2000">
                <a:solidFill>
                  <a:schemeClr val="tx1"/>
                </a:solidFill>
                <a:latin typeface="+mn-lt"/>
                <a:cs typeface="+mn-cs"/>
              </a:defRPr>
            </a:lvl6pPr>
            <a:lvl7pPr marL="2743200" indent="0" algn="ctr" rtl="0" fontAlgn="base">
              <a:spcBef>
                <a:spcPct val="20000"/>
              </a:spcBef>
              <a:spcAft>
                <a:spcPct val="0"/>
              </a:spcAft>
              <a:buNone/>
              <a:defRPr sz="2000">
                <a:solidFill>
                  <a:schemeClr val="tx1"/>
                </a:solidFill>
                <a:latin typeface="+mn-lt"/>
                <a:cs typeface="+mn-cs"/>
              </a:defRPr>
            </a:lvl7pPr>
            <a:lvl8pPr marL="3200400" indent="0" algn="ctr" rtl="0" fontAlgn="base">
              <a:spcBef>
                <a:spcPct val="20000"/>
              </a:spcBef>
              <a:spcAft>
                <a:spcPct val="0"/>
              </a:spcAft>
              <a:buNone/>
              <a:defRPr sz="2000">
                <a:solidFill>
                  <a:schemeClr val="tx1"/>
                </a:solidFill>
                <a:latin typeface="+mn-lt"/>
                <a:cs typeface="+mn-cs"/>
              </a:defRPr>
            </a:lvl8pPr>
            <a:lvl9pPr marL="3657600" indent="0" algn="ctr" rtl="0" fontAlgn="base">
              <a:spcBef>
                <a:spcPct val="20000"/>
              </a:spcBef>
              <a:spcAft>
                <a:spcPct val="0"/>
              </a:spcAft>
              <a:buNone/>
              <a:defRPr sz="2000">
                <a:solidFill>
                  <a:schemeClr val="tx1"/>
                </a:solidFill>
                <a:latin typeface="+mn-lt"/>
                <a:cs typeface="+mn-cs"/>
              </a:defRPr>
            </a:lvl9pPr>
          </a:lstStyle>
          <a:p>
            <a:pPr algn="l"/>
            <a:r>
              <a:rPr lang="fr-FR" sz="800" b="1" kern="0" dirty="0"/>
              <a:t>5</a:t>
            </a:r>
          </a:p>
        </p:txBody>
      </p:sp>
      <p:sp>
        <p:nvSpPr>
          <p:cNvPr id="115" name="Ellipse 114"/>
          <p:cNvSpPr/>
          <p:nvPr/>
        </p:nvSpPr>
        <p:spPr>
          <a:xfrm>
            <a:off x="7761856" y="2357886"/>
            <a:ext cx="216024" cy="216024"/>
          </a:xfrm>
          <a:prstGeom prst="ellipse">
            <a:avLst/>
          </a:prstGeom>
          <a:solidFill>
            <a:srgbClr val="00DE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16" name="Sous-titre 4"/>
          <p:cNvSpPr txBox="1">
            <a:spLocks/>
          </p:cNvSpPr>
          <p:nvPr/>
        </p:nvSpPr>
        <p:spPr>
          <a:xfrm>
            <a:off x="7757617" y="2134382"/>
            <a:ext cx="245192" cy="230268"/>
          </a:xfrm>
          <a:prstGeom prst="rect">
            <a:avLst/>
          </a:prstGeom>
          <a:ln>
            <a:noFill/>
          </a:ln>
        </p:spPr>
        <p:txBody>
          <a:bodyPr/>
          <a:lstStyle>
            <a:lvl1pPr marL="0" indent="0" algn="ctr" rtl="0" eaLnBrk="0" fontAlgn="base" hangingPunct="0">
              <a:spcBef>
                <a:spcPct val="20000"/>
              </a:spcBef>
              <a:spcAft>
                <a:spcPct val="0"/>
              </a:spcAft>
              <a:buNone/>
              <a:defRPr sz="3200">
                <a:solidFill>
                  <a:schemeClr val="tx1"/>
                </a:solidFill>
                <a:latin typeface="+mn-lt"/>
                <a:ea typeface="+mn-ea"/>
                <a:cs typeface="+mn-cs"/>
              </a:defRPr>
            </a:lvl1pPr>
            <a:lvl2pPr marL="457200" indent="0" algn="ctr" rtl="0" eaLnBrk="0" fontAlgn="base" hangingPunct="0">
              <a:spcBef>
                <a:spcPct val="20000"/>
              </a:spcBef>
              <a:spcAft>
                <a:spcPct val="0"/>
              </a:spcAft>
              <a:buNone/>
              <a:defRPr sz="2800">
                <a:solidFill>
                  <a:schemeClr val="tx1"/>
                </a:solidFill>
                <a:latin typeface="+mn-lt"/>
                <a:cs typeface="+mn-cs"/>
              </a:defRPr>
            </a:lvl2pPr>
            <a:lvl3pPr marL="914400" indent="0" algn="ctr" rtl="0" eaLnBrk="0" fontAlgn="base" hangingPunct="0">
              <a:spcBef>
                <a:spcPct val="20000"/>
              </a:spcBef>
              <a:spcAft>
                <a:spcPct val="0"/>
              </a:spcAft>
              <a:buNone/>
              <a:defRPr sz="2400">
                <a:solidFill>
                  <a:schemeClr val="tx1"/>
                </a:solidFill>
                <a:latin typeface="+mn-lt"/>
                <a:cs typeface="+mn-cs"/>
              </a:defRPr>
            </a:lvl3pPr>
            <a:lvl4pPr marL="1371600" indent="0" algn="ctr" rtl="0" eaLnBrk="0" fontAlgn="base" hangingPunct="0">
              <a:spcBef>
                <a:spcPct val="20000"/>
              </a:spcBef>
              <a:spcAft>
                <a:spcPct val="0"/>
              </a:spcAft>
              <a:buNone/>
              <a:defRPr sz="2000">
                <a:solidFill>
                  <a:schemeClr val="tx1"/>
                </a:solidFill>
                <a:latin typeface="+mn-lt"/>
                <a:cs typeface="+mn-cs"/>
              </a:defRPr>
            </a:lvl4pPr>
            <a:lvl5pPr marL="1828800" indent="0" algn="ctr" rtl="0" eaLnBrk="0" fontAlgn="base" hangingPunct="0">
              <a:spcBef>
                <a:spcPct val="20000"/>
              </a:spcBef>
              <a:spcAft>
                <a:spcPct val="0"/>
              </a:spcAft>
              <a:buNone/>
              <a:defRPr sz="2000">
                <a:solidFill>
                  <a:schemeClr val="tx1"/>
                </a:solidFill>
                <a:latin typeface="+mn-lt"/>
                <a:cs typeface="+mn-cs"/>
              </a:defRPr>
            </a:lvl5pPr>
            <a:lvl6pPr marL="2286000" indent="0" algn="ctr" rtl="0" fontAlgn="base">
              <a:spcBef>
                <a:spcPct val="20000"/>
              </a:spcBef>
              <a:spcAft>
                <a:spcPct val="0"/>
              </a:spcAft>
              <a:buNone/>
              <a:defRPr sz="2000">
                <a:solidFill>
                  <a:schemeClr val="tx1"/>
                </a:solidFill>
                <a:latin typeface="+mn-lt"/>
                <a:cs typeface="+mn-cs"/>
              </a:defRPr>
            </a:lvl6pPr>
            <a:lvl7pPr marL="2743200" indent="0" algn="ctr" rtl="0" fontAlgn="base">
              <a:spcBef>
                <a:spcPct val="20000"/>
              </a:spcBef>
              <a:spcAft>
                <a:spcPct val="0"/>
              </a:spcAft>
              <a:buNone/>
              <a:defRPr sz="2000">
                <a:solidFill>
                  <a:schemeClr val="tx1"/>
                </a:solidFill>
                <a:latin typeface="+mn-lt"/>
                <a:cs typeface="+mn-cs"/>
              </a:defRPr>
            </a:lvl7pPr>
            <a:lvl8pPr marL="3200400" indent="0" algn="ctr" rtl="0" fontAlgn="base">
              <a:spcBef>
                <a:spcPct val="20000"/>
              </a:spcBef>
              <a:spcAft>
                <a:spcPct val="0"/>
              </a:spcAft>
              <a:buNone/>
              <a:defRPr sz="2000">
                <a:solidFill>
                  <a:schemeClr val="tx1"/>
                </a:solidFill>
                <a:latin typeface="+mn-lt"/>
                <a:cs typeface="+mn-cs"/>
              </a:defRPr>
            </a:lvl8pPr>
            <a:lvl9pPr marL="3657600" indent="0" algn="ctr" rtl="0" fontAlgn="base">
              <a:spcBef>
                <a:spcPct val="20000"/>
              </a:spcBef>
              <a:spcAft>
                <a:spcPct val="0"/>
              </a:spcAft>
              <a:buNone/>
              <a:defRPr sz="2000">
                <a:solidFill>
                  <a:schemeClr val="tx1"/>
                </a:solidFill>
                <a:latin typeface="+mn-lt"/>
                <a:cs typeface="+mn-cs"/>
              </a:defRPr>
            </a:lvl9pPr>
          </a:lstStyle>
          <a:p>
            <a:pPr algn="l"/>
            <a:r>
              <a:rPr lang="fr-FR" sz="800" b="1" kern="0" dirty="0"/>
              <a:t>8</a:t>
            </a:r>
          </a:p>
        </p:txBody>
      </p:sp>
      <p:sp>
        <p:nvSpPr>
          <p:cNvPr id="117" name="Sous-titre 4"/>
          <p:cNvSpPr txBox="1">
            <a:spLocks/>
          </p:cNvSpPr>
          <p:nvPr/>
        </p:nvSpPr>
        <p:spPr>
          <a:xfrm>
            <a:off x="7761533" y="2373653"/>
            <a:ext cx="245192" cy="230268"/>
          </a:xfrm>
          <a:prstGeom prst="rect">
            <a:avLst/>
          </a:prstGeom>
          <a:ln>
            <a:noFill/>
          </a:ln>
        </p:spPr>
        <p:txBody>
          <a:bodyPr/>
          <a:lstStyle>
            <a:lvl1pPr marL="0" indent="0" algn="ctr" rtl="0" eaLnBrk="0" fontAlgn="base" hangingPunct="0">
              <a:spcBef>
                <a:spcPct val="20000"/>
              </a:spcBef>
              <a:spcAft>
                <a:spcPct val="0"/>
              </a:spcAft>
              <a:buNone/>
              <a:defRPr sz="3200">
                <a:solidFill>
                  <a:schemeClr val="tx1"/>
                </a:solidFill>
                <a:latin typeface="+mn-lt"/>
                <a:ea typeface="+mn-ea"/>
                <a:cs typeface="+mn-cs"/>
              </a:defRPr>
            </a:lvl1pPr>
            <a:lvl2pPr marL="457200" indent="0" algn="ctr" rtl="0" eaLnBrk="0" fontAlgn="base" hangingPunct="0">
              <a:spcBef>
                <a:spcPct val="20000"/>
              </a:spcBef>
              <a:spcAft>
                <a:spcPct val="0"/>
              </a:spcAft>
              <a:buNone/>
              <a:defRPr sz="2800">
                <a:solidFill>
                  <a:schemeClr val="tx1"/>
                </a:solidFill>
                <a:latin typeface="+mn-lt"/>
                <a:cs typeface="+mn-cs"/>
              </a:defRPr>
            </a:lvl2pPr>
            <a:lvl3pPr marL="914400" indent="0" algn="ctr" rtl="0" eaLnBrk="0" fontAlgn="base" hangingPunct="0">
              <a:spcBef>
                <a:spcPct val="20000"/>
              </a:spcBef>
              <a:spcAft>
                <a:spcPct val="0"/>
              </a:spcAft>
              <a:buNone/>
              <a:defRPr sz="2400">
                <a:solidFill>
                  <a:schemeClr val="tx1"/>
                </a:solidFill>
                <a:latin typeface="+mn-lt"/>
                <a:cs typeface="+mn-cs"/>
              </a:defRPr>
            </a:lvl3pPr>
            <a:lvl4pPr marL="1371600" indent="0" algn="ctr" rtl="0" eaLnBrk="0" fontAlgn="base" hangingPunct="0">
              <a:spcBef>
                <a:spcPct val="20000"/>
              </a:spcBef>
              <a:spcAft>
                <a:spcPct val="0"/>
              </a:spcAft>
              <a:buNone/>
              <a:defRPr sz="2000">
                <a:solidFill>
                  <a:schemeClr val="tx1"/>
                </a:solidFill>
                <a:latin typeface="+mn-lt"/>
                <a:cs typeface="+mn-cs"/>
              </a:defRPr>
            </a:lvl4pPr>
            <a:lvl5pPr marL="1828800" indent="0" algn="ctr" rtl="0" eaLnBrk="0" fontAlgn="base" hangingPunct="0">
              <a:spcBef>
                <a:spcPct val="20000"/>
              </a:spcBef>
              <a:spcAft>
                <a:spcPct val="0"/>
              </a:spcAft>
              <a:buNone/>
              <a:defRPr sz="2000">
                <a:solidFill>
                  <a:schemeClr val="tx1"/>
                </a:solidFill>
                <a:latin typeface="+mn-lt"/>
                <a:cs typeface="+mn-cs"/>
              </a:defRPr>
            </a:lvl5pPr>
            <a:lvl6pPr marL="2286000" indent="0" algn="ctr" rtl="0" fontAlgn="base">
              <a:spcBef>
                <a:spcPct val="20000"/>
              </a:spcBef>
              <a:spcAft>
                <a:spcPct val="0"/>
              </a:spcAft>
              <a:buNone/>
              <a:defRPr sz="2000">
                <a:solidFill>
                  <a:schemeClr val="tx1"/>
                </a:solidFill>
                <a:latin typeface="+mn-lt"/>
                <a:cs typeface="+mn-cs"/>
              </a:defRPr>
            </a:lvl6pPr>
            <a:lvl7pPr marL="2743200" indent="0" algn="ctr" rtl="0" fontAlgn="base">
              <a:spcBef>
                <a:spcPct val="20000"/>
              </a:spcBef>
              <a:spcAft>
                <a:spcPct val="0"/>
              </a:spcAft>
              <a:buNone/>
              <a:defRPr sz="2000">
                <a:solidFill>
                  <a:schemeClr val="tx1"/>
                </a:solidFill>
                <a:latin typeface="+mn-lt"/>
                <a:cs typeface="+mn-cs"/>
              </a:defRPr>
            </a:lvl7pPr>
            <a:lvl8pPr marL="3200400" indent="0" algn="ctr" rtl="0" fontAlgn="base">
              <a:spcBef>
                <a:spcPct val="20000"/>
              </a:spcBef>
              <a:spcAft>
                <a:spcPct val="0"/>
              </a:spcAft>
              <a:buNone/>
              <a:defRPr sz="2000">
                <a:solidFill>
                  <a:schemeClr val="tx1"/>
                </a:solidFill>
                <a:latin typeface="+mn-lt"/>
                <a:cs typeface="+mn-cs"/>
              </a:defRPr>
            </a:lvl8pPr>
            <a:lvl9pPr marL="3657600" indent="0" algn="ctr" rtl="0" fontAlgn="base">
              <a:spcBef>
                <a:spcPct val="20000"/>
              </a:spcBef>
              <a:spcAft>
                <a:spcPct val="0"/>
              </a:spcAft>
              <a:buNone/>
              <a:defRPr sz="2000">
                <a:solidFill>
                  <a:schemeClr val="tx1"/>
                </a:solidFill>
                <a:latin typeface="+mn-lt"/>
                <a:cs typeface="+mn-cs"/>
              </a:defRPr>
            </a:lvl9pPr>
          </a:lstStyle>
          <a:p>
            <a:pPr algn="l"/>
            <a:r>
              <a:rPr lang="fr-FR" sz="800" b="1" kern="0" dirty="0"/>
              <a:t>9</a:t>
            </a:r>
          </a:p>
        </p:txBody>
      </p:sp>
      <p:sp>
        <p:nvSpPr>
          <p:cNvPr id="118" name="Sous-titre 4"/>
          <p:cNvSpPr txBox="1">
            <a:spLocks/>
          </p:cNvSpPr>
          <p:nvPr/>
        </p:nvSpPr>
        <p:spPr>
          <a:xfrm>
            <a:off x="7726647" y="2611290"/>
            <a:ext cx="326238" cy="230268"/>
          </a:xfrm>
          <a:prstGeom prst="rect">
            <a:avLst/>
          </a:prstGeom>
          <a:ln>
            <a:noFill/>
          </a:ln>
        </p:spPr>
        <p:txBody>
          <a:bodyPr/>
          <a:lstStyle>
            <a:lvl1pPr marL="0" indent="0" algn="ctr" rtl="0" eaLnBrk="0" fontAlgn="base" hangingPunct="0">
              <a:spcBef>
                <a:spcPct val="20000"/>
              </a:spcBef>
              <a:spcAft>
                <a:spcPct val="0"/>
              </a:spcAft>
              <a:buNone/>
              <a:defRPr sz="3200">
                <a:solidFill>
                  <a:schemeClr val="tx1"/>
                </a:solidFill>
                <a:latin typeface="+mn-lt"/>
                <a:ea typeface="+mn-ea"/>
                <a:cs typeface="+mn-cs"/>
              </a:defRPr>
            </a:lvl1pPr>
            <a:lvl2pPr marL="457200" indent="0" algn="ctr" rtl="0" eaLnBrk="0" fontAlgn="base" hangingPunct="0">
              <a:spcBef>
                <a:spcPct val="20000"/>
              </a:spcBef>
              <a:spcAft>
                <a:spcPct val="0"/>
              </a:spcAft>
              <a:buNone/>
              <a:defRPr sz="2800">
                <a:solidFill>
                  <a:schemeClr val="tx1"/>
                </a:solidFill>
                <a:latin typeface="+mn-lt"/>
                <a:cs typeface="+mn-cs"/>
              </a:defRPr>
            </a:lvl2pPr>
            <a:lvl3pPr marL="914400" indent="0" algn="ctr" rtl="0" eaLnBrk="0" fontAlgn="base" hangingPunct="0">
              <a:spcBef>
                <a:spcPct val="20000"/>
              </a:spcBef>
              <a:spcAft>
                <a:spcPct val="0"/>
              </a:spcAft>
              <a:buNone/>
              <a:defRPr sz="2400">
                <a:solidFill>
                  <a:schemeClr val="tx1"/>
                </a:solidFill>
                <a:latin typeface="+mn-lt"/>
                <a:cs typeface="+mn-cs"/>
              </a:defRPr>
            </a:lvl3pPr>
            <a:lvl4pPr marL="1371600" indent="0" algn="ctr" rtl="0" eaLnBrk="0" fontAlgn="base" hangingPunct="0">
              <a:spcBef>
                <a:spcPct val="20000"/>
              </a:spcBef>
              <a:spcAft>
                <a:spcPct val="0"/>
              </a:spcAft>
              <a:buNone/>
              <a:defRPr sz="2000">
                <a:solidFill>
                  <a:schemeClr val="tx1"/>
                </a:solidFill>
                <a:latin typeface="+mn-lt"/>
                <a:cs typeface="+mn-cs"/>
              </a:defRPr>
            </a:lvl4pPr>
            <a:lvl5pPr marL="1828800" indent="0" algn="ctr" rtl="0" eaLnBrk="0" fontAlgn="base" hangingPunct="0">
              <a:spcBef>
                <a:spcPct val="20000"/>
              </a:spcBef>
              <a:spcAft>
                <a:spcPct val="0"/>
              </a:spcAft>
              <a:buNone/>
              <a:defRPr sz="2000">
                <a:solidFill>
                  <a:schemeClr val="tx1"/>
                </a:solidFill>
                <a:latin typeface="+mn-lt"/>
                <a:cs typeface="+mn-cs"/>
              </a:defRPr>
            </a:lvl5pPr>
            <a:lvl6pPr marL="2286000" indent="0" algn="ctr" rtl="0" fontAlgn="base">
              <a:spcBef>
                <a:spcPct val="20000"/>
              </a:spcBef>
              <a:spcAft>
                <a:spcPct val="0"/>
              </a:spcAft>
              <a:buNone/>
              <a:defRPr sz="2000">
                <a:solidFill>
                  <a:schemeClr val="tx1"/>
                </a:solidFill>
                <a:latin typeface="+mn-lt"/>
                <a:cs typeface="+mn-cs"/>
              </a:defRPr>
            </a:lvl6pPr>
            <a:lvl7pPr marL="2743200" indent="0" algn="ctr" rtl="0" fontAlgn="base">
              <a:spcBef>
                <a:spcPct val="20000"/>
              </a:spcBef>
              <a:spcAft>
                <a:spcPct val="0"/>
              </a:spcAft>
              <a:buNone/>
              <a:defRPr sz="2000">
                <a:solidFill>
                  <a:schemeClr val="tx1"/>
                </a:solidFill>
                <a:latin typeface="+mn-lt"/>
                <a:cs typeface="+mn-cs"/>
              </a:defRPr>
            </a:lvl7pPr>
            <a:lvl8pPr marL="3200400" indent="0" algn="ctr" rtl="0" fontAlgn="base">
              <a:spcBef>
                <a:spcPct val="20000"/>
              </a:spcBef>
              <a:spcAft>
                <a:spcPct val="0"/>
              </a:spcAft>
              <a:buNone/>
              <a:defRPr sz="2000">
                <a:solidFill>
                  <a:schemeClr val="tx1"/>
                </a:solidFill>
                <a:latin typeface="+mn-lt"/>
                <a:cs typeface="+mn-cs"/>
              </a:defRPr>
            </a:lvl8pPr>
            <a:lvl9pPr marL="3657600" indent="0" algn="ctr" rtl="0" fontAlgn="base">
              <a:spcBef>
                <a:spcPct val="20000"/>
              </a:spcBef>
              <a:spcAft>
                <a:spcPct val="0"/>
              </a:spcAft>
              <a:buNone/>
              <a:defRPr sz="2000">
                <a:solidFill>
                  <a:schemeClr val="tx1"/>
                </a:solidFill>
                <a:latin typeface="+mn-lt"/>
                <a:cs typeface="+mn-cs"/>
              </a:defRPr>
            </a:lvl9pPr>
          </a:lstStyle>
          <a:p>
            <a:pPr algn="l"/>
            <a:r>
              <a:rPr lang="fr-FR" sz="800" b="1" kern="0" dirty="0"/>
              <a:t>10</a:t>
            </a:r>
          </a:p>
        </p:txBody>
      </p:sp>
      <p:sp>
        <p:nvSpPr>
          <p:cNvPr id="119" name="Sous-titre 4"/>
          <p:cNvSpPr txBox="1">
            <a:spLocks/>
          </p:cNvSpPr>
          <p:nvPr/>
        </p:nvSpPr>
        <p:spPr>
          <a:xfrm>
            <a:off x="7726647" y="2841558"/>
            <a:ext cx="326238" cy="230268"/>
          </a:xfrm>
          <a:prstGeom prst="rect">
            <a:avLst/>
          </a:prstGeom>
          <a:ln>
            <a:noFill/>
          </a:ln>
        </p:spPr>
        <p:txBody>
          <a:bodyPr/>
          <a:lstStyle>
            <a:lvl1pPr marL="0" indent="0" algn="ctr" rtl="0" eaLnBrk="0" fontAlgn="base" hangingPunct="0">
              <a:spcBef>
                <a:spcPct val="20000"/>
              </a:spcBef>
              <a:spcAft>
                <a:spcPct val="0"/>
              </a:spcAft>
              <a:buNone/>
              <a:defRPr sz="3200">
                <a:solidFill>
                  <a:schemeClr val="tx1"/>
                </a:solidFill>
                <a:latin typeface="+mn-lt"/>
                <a:ea typeface="+mn-ea"/>
                <a:cs typeface="+mn-cs"/>
              </a:defRPr>
            </a:lvl1pPr>
            <a:lvl2pPr marL="457200" indent="0" algn="ctr" rtl="0" eaLnBrk="0" fontAlgn="base" hangingPunct="0">
              <a:spcBef>
                <a:spcPct val="20000"/>
              </a:spcBef>
              <a:spcAft>
                <a:spcPct val="0"/>
              </a:spcAft>
              <a:buNone/>
              <a:defRPr sz="2800">
                <a:solidFill>
                  <a:schemeClr val="tx1"/>
                </a:solidFill>
                <a:latin typeface="+mn-lt"/>
                <a:cs typeface="+mn-cs"/>
              </a:defRPr>
            </a:lvl2pPr>
            <a:lvl3pPr marL="914400" indent="0" algn="ctr" rtl="0" eaLnBrk="0" fontAlgn="base" hangingPunct="0">
              <a:spcBef>
                <a:spcPct val="20000"/>
              </a:spcBef>
              <a:spcAft>
                <a:spcPct val="0"/>
              </a:spcAft>
              <a:buNone/>
              <a:defRPr sz="2400">
                <a:solidFill>
                  <a:schemeClr val="tx1"/>
                </a:solidFill>
                <a:latin typeface="+mn-lt"/>
                <a:cs typeface="+mn-cs"/>
              </a:defRPr>
            </a:lvl3pPr>
            <a:lvl4pPr marL="1371600" indent="0" algn="ctr" rtl="0" eaLnBrk="0" fontAlgn="base" hangingPunct="0">
              <a:spcBef>
                <a:spcPct val="20000"/>
              </a:spcBef>
              <a:spcAft>
                <a:spcPct val="0"/>
              </a:spcAft>
              <a:buNone/>
              <a:defRPr sz="2000">
                <a:solidFill>
                  <a:schemeClr val="tx1"/>
                </a:solidFill>
                <a:latin typeface="+mn-lt"/>
                <a:cs typeface="+mn-cs"/>
              </a:defRPr>
            </a:lvl4pPr>
            <a:lvl5pPr marL="1828800" indent="0" algn="ctr" rtl="0" eaLnBrk="0" fontAlgn="base" hangingPunct="0">
              <a:spcBef>
                <a:spcPct val="20000"/>
              </a:spcBef>
              <a:spcAft>
                <a:spcPct val="0"/>
              </a:spcAft>
              <a:buNone/>
              <a:defRPr sz="2000">
                <a:solidFill>
                  <a:schemeClr val="tx1"/>
                </a:solidFill>
                <a:latin typeface="+mn-lt"/>
                <a:cs typeface="+mn-cs"/>
              </a:defRPr>
            </a:lvl5pPr>
            <a:lvl6pPr marL="2286000" indent="0" algn="ctr" rtl="0" fontAlgn="base">
              <a:spcBef>
                <a:spcPct val="20000"/>
              </a:spcBef>
              <a:spcAft>
                <a:spcPct val="0"/>
              </a:spcAft>
              <a:buNone/>
              <a:defRPr sz="2000">
                <a:solidFill>
                  <a:schemeClr val="tx1"/>
                </a:solidFill>
                <a:latin typeface="+mn-lt"/>
                <a:cs typeface="+mn-cs"/>
              </a:defRPr>
            </a:lvl6pPr>
            <a:lvl7pPr marL="2743200" indent="0" algn="ctr" rtl="0" fontAlgn="base">
              <a:spcBef>
                <a:spcPct val="20000"/>
              </a:spcBef>
              <a:spcAft>
                <a:spcPct val="0"/>
              </a:spcAft>
              <a:buNone/>
              <a:defRPr sz="2000">
                <a:solidFill>
                  <a:schemeClr val="tx1"/>
                </a:solidFill>
                <a:latin typeface="+mn-lt"/>
                <a:cs typeface="+mn-cs"/>
              </a:defRPr>
            </a:lvl7pPr>
            <a:lvl8pPr marL="3200400" indent="0" algn="ctr" rtl="0" fontAlgn="base">
              <a:spcBef>
                <a:spcPct val="20000"/>
              </a:spcBef>
              <a:spcAft>
                <a:spcPct val="0"/>
              </a:spcAft>
              <a:buNone/>
              <a:defRPr sz="2000">
                <a:solidFill>
                  <a:schemeClr val="tx1"/>
                </a:solidFill>
                <a:latin typeface="+mn-lt"/>
                <a:cs typeface="+mn-cs"/>
              </a:defRPr>
            </a:lvl8pPr>
            <a:lvl9pPr marL="3657600" indent="0" algn="ctr" rtl="0" fontAlgn="base">
              <a:spcBef>
                <a:spcPct val="20000"/>
              </a:spcBef>
              <a:spcAft>
                <a:spcPct val="0"/>
              </a:spcAft>
              <a:buNone/>
              <a:defRPr sz="2000">
                <a:solidFill>
                  <a:schemeClr val="tx1"/>
                </a:solidFill>
                <a:latin typeface="+mn-lt"/>
                <a:cs typeface="+mn-cs"/>
              </a:defRPr>
            </a:lvl9pPr>
          </a:lstStyle>
          <a:p>
            <a:pPr algn="l"/>
            <a:r>
              <a:rPr lang="fr-FR" sz="800" b="1" kern="0" dirty="0"/>
              <a:t>11</a:t>
            </a:r>
          </a:p>
        </p:txBody>
      </p:sp>
      <p:sp>
        <p:nvSpPr>
          <p:cNvPr id="120" name="Sous-titre 4"/>
          <p:cNvSpPr txBox="1">
            <a:spLocks/>
          </p:cNvSpPr>
          <p:nvPr/>
        </p:nvSpPr>
        <p:spPr>
          <a:xfrm>
            <a:off x="7740151" y="3319392"/>
            <a:ext cx="326238" cy="230268"/>
          </a:xfrm>
          <a:prstGeom prst="rect">
            <a:avLst/>
          </a:prstGeom>
          <a:ln>
            <a:noFill/>
          </a:ln>
        </p:spPr>
        <p:txBody>
          <a:bodyPr/>
          <a:lstStyle>
            <a:lvl1pPr marL="0" indent="0" algn="ctr" rtl="0" eaLnBrk="0" fontAlgn="base" hangingPunct="0">
              <a:spcBef>
                <a:spcPct val="20000"/>
              </a:spcBef>
              <a:spcAft>
                <a:spcPct val="0"/>
              </a:spcAft>
              <a:buNone/>
              <a:defRPr sz="3200">
                <a:solidFill>
                  <a:schemeClr val="tx1"/>
                </a:solidFill>
                <a:latin typeface="+mn-lt"/>
                <a:ea typeface="+mn-ea"/>
                <a:cs typeface="+mn-cs"/>
              </a:defRPr>
            </a:lvl1pPr>
            <a:lvl2pPr marL="457200" indent="0" algn="ctr" rtl="0" eaLnBrk="0" fontAlgn="base" hangingPunct="0">
              <a:spcBef>
                <a:spcPct val="20000"/>
              </a:spcBef>
              <a:spcAft>
                <a:spcPct val="0"/>
              </a:spcAft>
              <a:buNone/>
              <a:defRPr sz="2800">
                <a:solidFill>
                  <a:schemeClr val="tx1"/>
                </a:solidFill>
                <a:latin typeface="+mn-lt"/>
                <a:cs typeface="+mn-cs"/>
              </a:defRPr>
            </a:lvl2pPr>
            <a:lvl3pPr marL="914400" indent="0" algn="ctr" rtl="0" eaLnBrk="0" fontAlgn="base" hangingPunct="0">
              <a:spcBef>
                <a:spcPct val="20000"/>
              </a:spcBef>
              <a:spcAft>
                <a:spcPct val="0"/>
              </a:spcAft>
              <a:buNone/>
              <a:defRPr sz="2400">
                <a:solidFill>
                  <a:schemeClr val="tx1"/>
                </a:solidFill>
                <a:latin typeface="+mn-lt"/>
                <a:cs typeface="+mn-cs"/>
              </a:defRPr>
            </a:lvl3pPr>
            <a:lvl4pPr marL="1371600" indent="0" algn="ctr" rtl="0" eaLnBrk="0" fontAlgn="base" hangingPunct="0">
              <a:spcBef>
                <a:spcPct val="20000"/>
              </a:spcBef>
              <a:spcAft>
                <a:spcPct val="0"/>
              </a:spcAft>
              <a:buNone/>
              <a:defRPr sz="2000">
                <a:solidFill>
                  <a:schemeClr val="tx1"/>
                </a:solidFill>
                <a:latin typeface="+mn-lt"/>
                <a:cs typeface="+mn-cs"/>
              </a:defRPr>
            </a:lvl4pPr>
            <a:lvl5pPr marL="1828800" indent="0" algn="ctr" rtl="0" eaLnBrk="0" fontAlgn="base" hangingPunct="0">
              <a:spcBef>
                <a:spcPct val="20000"/>
              </a:spcBef>
              <a:spcAft>
                <a:spcPct val="0"/>
              </a:spcAft>
              <a:buNone/>
              <a:defRPr sz="2000">
                <a:solidFill>
                  <a:schemeClr val="tx1"/>
                </a:solidFill>
                <a:latin typeface="+mn-lt"/>
                <a:cs typeface="+mn-cs"/>
              </a:defRPr>
            </a:lvl5pPr>
            <a:lvl6pPr marL="2286000" indent="0" algn="ctr" rtl="0" fontAlgn="base">
              <a:spcBef>
                <a:spcPct val="20000"/>
              </a:spcBef>
              <a:spcAft>
                <a:spcPct val="0"/>
              </a:spcAft>
              <a:buNone/>
              <a:defRPr sz="2000">
                <a:solidFill>
                  <a:schemeClr val="tx1"/>
                </a:solidFill>
                <a:latin typeface="+mn-lt"/>
                <a:cs typeface="+mn-cs"/>
              </a:defRPr>
            </a:lvl6pPr>
            <a:lvl7pPr marL="2743200" indent="0" algn="ctr" rtl="0" fontAlgn="base">
              <a:spcBef>
                <a:spcPct val="20000"/>
              </a:spcBef>
              <a:spcAft>
                <a:spcPct val="0"/>
              </a:spcAft>
              <a:buNone/>
              <a:defRPr sz="2000">
                <a:solidFill>
                  <a:schemeClr val="tx1"/>
                </a:solidFill>
                <a:latin typeface="+mn-lt"/>
                <a:cs typeface="+mn-cs"/>
              </a:defRPr>
            </a:lvl7pPr>
            <a:lvl8pPr marL="3200400" indent="0" algn="ctr" rtl="0" fontAlgn="base">
              <a:spcBef>
                <a:spcPct val="20000"/>
              </a:spcBef>
              <a:spcAft>
                <a:spcPct val="0"/>
              </a:spcAft>
              <a:buNone/>
              <a:defRPr sz="2000">
                <a:solidFill>
                  <a:schemeClr val="tx1"/>
                </a:solidFill>
                <a:latin typeface="+mn-lt"/>
                <a:cs typeface="+mn-cs"/>
              </a:defRPr>
            </a:lvl8pPr>
            <a:lvl9pPr marL="3657600" indent="0" algn="ctr" rtl="0" fontAlgn="base">
              <a:spcBef>
                <a:spcPct val="20000"/>
              </a:spcBef>
              <a:spcAft>
                <a:spcPct val="0"/>
              </a:spcAft>
              <a:buNone/>
              <a:defRPr sz="2000">
                <a:solidFill>
                  <a:schemeClr val="tx1"/>
                </a:solidFill>
                <a:latin typeface="+mn-lt"/>
                <a:cs typeface="+mn-cs"/>
              </a:defRPr>
            </a:lvl9pPr>
          </a:lstStyle>
          <a:p>
            <a:pPr algn="l"/>
            <a:r>
              <a:rPr lang="fr-FR" sz="800" b="1" kern="0" dirty="0"/>
              <a:t>13</a:t>
            </a:r>
          </a:p>
        </p:txBody>
      </p:sp>
      <p:sp>
        <p:nvSpPr>
          <p:cNvPr id="121" name="Sous-titre 4"/>
          <p:cNvSpPr txBox="1">
            <a:spLocks/>
          </p:cNvSpPr>
          <p:nvPr/>
        </p:nvSpPr>
        <p:spPr>
          <a:xfrm>
            <a:off x="3749563" y="3538217"/>
            <a:ext cx="326238" cy="230268"/>
          </a:xfrm>
          <a:prstGeom prst="rect">
            <a:avLst/>
          </a:prstGeom>
          <a:ln>
            <a:noFill/>
          </a:ln>
        </p:spPr>
        <p:txBody>
          <a:bodyPr/>
          <a:lstStyle>
            <a:lvl1pPr marL="0" indent="0" algn="ctr" rtl="0" eaLnBrk="0" fontAlgn="base" hangingPunct="0">
              <a:spcBef>
                <a:spcPct val="20000"/>
              </a:spcBef>
              <a:spcAft>
                <a:spcPct val="0"/>
              </a:spcAft>
              <a:buNone/>
              <a:defRPr sz="3200">
                <a:solidFill>
                  <a:schemeClr val="tx1"/>
                </a:solidFill>
                <a:latin typeface="+mn-lt"/>
                <a:ea typeface="+mn-ea"/>
                <a:cs typeface="+mn-cs"/>
              </a:defRPr>
            </a:lvl1pPr>
            <a:lvl2pPr marL="457200" indent="0" algn="ctr" rtl="0" eaLnBrk="0" fontAlgn="base" hangingPunct="0">
              <a:spcBef>
                <a:spcPct val="20000"/>
              </a:spcBef>
              <a:spcAft>
                <a:spcPct val="0"/>
              </a:spcAft>
              <a:buNone/>
              <a:defRPr sz="2800">
                <a:solidFill>
                  <a:schemeClr val="tx1"/>
                </a:solidFill>
                <a:latin typeface="+mn-lt"/>
                <a:cs typeface="+mn-cs"/>
              </a:defRPr>
            </a:lvl2pPr>
            <a:lvl3pPr marL="914400" indent="0" algn="ctr" rtl="0" eaLnBrk="0" fontAlgn="base" hangingPunct="0">
              <a:spcBef>
                <a:spcPct val="20000"/>
              </a:spcBef>
              <a:spcAft>
                <a:spcPct val="0"/>
              </a:spcAft>
              <a:buNone/>
              <a:defRPr sz="2400">
                <a:solidFill>
                  <a:schemeClr val="tx1"/>
                </a:solidFill>
                <a:latin typeface="+mn-lt"/>
                <a:cs typeface="+mn-cs"/>
              </a:defRPr>
            </a:lvl3pPr>
            <a:lvl4pPr marL="1371600" indent="0" algn="ctr" rtl="0" eaLnBrk="0" fontAlgn="base" hangingPunct="0">
              <a:spcBef>
                <a:spcPct val="20000"/>
              </a:spcBef>
              <a:spcAft>
                <a:spcPct val="0"/>
              </a:spcAft>
              <a:buNone/>
              <a:defRPr sz="2000">
                <a:solidFill>
                  <a:schemeClr val="tx1"/>
                </a:solidFill>
                <a:latin typeface="+mn-lt"/>
                <a:cs typeface="+mn-cs"/>
              </a:defRPr>
            </a:lvl4pPr>
            <a:lvl5pPr marL="1828800" indent="0" algn="ctr" rtl="0" eaLnBrk="0" fontAlgn="base" hangingPunct="0">
              <a:spcBef>
                <a:spcPct val="20000"/>
              </a:spcBef>
              <a:spcAft>
                <a:spcPct val="0"/>
              </a:spcAft>
              <a:buNone/>
              <a:defRPr sz="2000">
                <a:solidFill>
                  <a:schemeClr val="tx1"/>
                </a:solidFill>
                <a:latin typeface="+mn-lt"/>
                <a:cs typeface="+mn-cs"/>
              </a:defRPr>
            </a:lvl5pPr>
            <a:lvl6pPr marL="2286000" indent="0" algn="ctr" rtl="0" fontAlgn="base">
              <a:spcBef>
                <a:spcPct val="20000"/>
              </a:spcBef>
              <a:spcAft>
                <a:spcPct val="0"/>
              </a:spcAft>
              <a:buNone/>
              <a:defRPr sz="2000">
                <a:solidFill>
                  <a:schemeClr val="tx1"/>
                </a:solidFill>
                <a:latin typeface="+mn-lt"/>
                <a:cs typeface="+mn-cs"/>
              </a:defRPr>
            </a:lvl6pPr>
            <a:lvl7pPr marL="2743200" indent="0" algn="ctr" rtl="0" fontAlgn="base">
              <a:spcBef>
                <a:spcPct val="20000"/>
              </a:spcBef>
              <a:spcAft>
                <a:spcPct val="0"/>
              </a:spcAft>
              <a:buNone/>
              <a:defRPr sz="2000">
                <a:solidFill>
                  <a:schemeClr val="tx1"/>
                </a:solidFill>
                <a:latin typeface="+mn-lt"/>
                <a:cs typeface="+mn-cs"/>
              </a:defRPr>
            </a:lvl7pPr>
            <a:lvl8pPr marL="3200400" indent="0" algn="ctr" rtl="0" fontAlgn="base">
              <a:spcBef>
                <a:spcPct val="20000"/>
              </a:spcBef>
              <a:spcAft>
                <a:spcPct val="0"/>
              </a:spcAft>
              <a:buNone/>
              <a:defRPr sz="2000">
                <a:solidFill>
                  <a:schemeClr val="tx1"/>
                </a:solidFill>
                <a:latin typeface="+mn-lt"/>
                <a:cs typeface="+mn-cs"/>
              </a:defRPr>
            </a:lvl8pPr>
            <a:lvl9pPr marL="3657600" indent="0" algn="ctr" rtl="0" fontAlgn="base">
              <a:spcBef>
                <a:spcPct val="20000"/>
              </a:spcBef>
              <a:spcAft>
                <a:spcPct val="0"/>
              </a:spcAft>
              <a:buNone/>
              <a:defRPr sz="2000">
                <a:solidFill>
                  <a:schemeClr val="tx1"/>
                </a:solidFill>
                <a:latin typeface="+mn-lt"/>
                <a:cs typeface="+mn-cs"/>
              </a:defRPr>
            </a:lvl9pPr>
          </a:lstStyle>
          <a:p>
            <a:pPr algn="l"/>
            <a:r>
              <a:rPr lang="fr-FR" sz="800" b="1" kern="0" dirty="0"/>
              <a:t>13</a:t>
            </a:r>
          </a:p>
        </p:txBody>
      </p:sp>
      <p:sp>
        <p:nvSpPr>
          <p:cNvPr id="122" name="Sous-titre 4"/>
          <p:cNvSpPr txBox="1">
            <a:spLocks/>
          </p:cNvSpPr>
          <p:nvPr/>
        </p:nvSpPr>
        <p:spPr>
          <a:xfrm>
            <a:off x="3174984" y="4265602"/>
            <a:ext cx="326238" cy="230268"/>
          </a:xfrm>
          <a:prstGeom prst="rect">
            <a:avLst/>
          </a:prstGeom>
          <a:ln>
            <a:noFill/>
          </a:ln>
        </p:spPr>
        <p:txBody>
          <a:bodyPr/>
          <a:lstStyle>
            <a:lvl1pPr marL="0" indent="0" algn="ctr" rtl="0" eaLnBrk="0" fontAlgn="base" hangingPunct="0">
              <a:spcBef>
                <a:spcPct val="20000"/>
              </a:spcBef>
              <a:spcAft>
                <a:spcPct val="0"/>
              </a:spcAft>
              <a:buNone/>
              <a:defRPr sz="3200">
                <a:solidFill>
                  <a:schemeClr val="tx1"/>
                </a:solidFill>
                <a:latin typeface="+mn-lt"/>
                <a:ea typeface="+mn-ea"/>
                <a:cs typeface="+mn-cs"/>
              </a:defRPr>
            </a:lvl1pPr>
            <a:lvl2pPr marL="457200" indent="0" algn="ctr" rtl="0" eaLnBrk="0" fontAlgn="base" hangingPunct="0">
              <a:spcBef>
                <a:spcPct val="20000"/>
              </a:spcBef>
              <a:spcAft>
                <a:spcPct val="0"/>
              </a:spcAft>
              <a:buNone/>
              <a:defRPr sz="2800">
                <a:solidFill>
                  <a:schemeClr val="tx1"/>
                </a:solidFill>
                <a:latin typeface="+mn-lt"/>
                <a:cs typeface="+mn-cs"/>
              </a:defRPr>
            </a:lvl2pPr>
            <a:lvl3pPr marL="914400" indent="0" algn="ctr" rtl="0" eaLnBrk="0" fontAlgn="base" hangingPunct="0">
              <a:spcBef>
                <a:spcPct val="20000"/>
              </a:spcBef>
              <a:spcAft>
                <a:spcPct val="0"/>
              </a:spcAft>
              <a:buNone/>
              <a:defRPr sz="2400">
                <a:solidFill>
                  <a:schemeClr val="tx1"/>
                </a:solidFill>
                <a:latin typeface="+mn-lt"/>
                <a:cs typeface="+mn-cs"/>
              </a:defRPr>
            </a:lvl3pPr>
            <a:lvl4pPr marL="1371600" indent="0" algn="ctr" rtl="0" eaLnBrk="0" fontAlgn="base" hangingPunct="0">
              <a:spcBef>
                <a:spcPct val="20000"/>
              </a:spcBef>
              <a:spcAft>
                <a:spcPct val="0"/>
              </a:spcAft>
              <a:buNone/>
              <a:defRPr sz="2000">
                <a:solidFill>
                  <a:schemeClr val="tx1"/>
                </a:solidFill>
                <a:latin typeface="+mn-lt"/>
                <a:cs typeface="+mn-cs"/>
              </a:defRPr>
            </a:lvl4pPr>
            <a:lvl5pPr marL="1828800" indent="0" algn="ctr" rtl="0" eaLnBrk="0" fontAlgn="base" hangingPunct="0">
              <a:spcBef>
                <a:spcPct val="20000"/>
              </a:spcBef>
              <a:spcAft>
                <a:spcPct val="0"/>
              </a:spcAft>
              <a:buNone/>
              <a:defRPr sz="2000">
                <a:solidFill>
                  <a:schemeClr val="tx1"/>
                </a:solidFill>
                <a:latin typeface="+mn-lt"/>
                <a:cs typeface="+mn-cs"/>
              </a:defRPr>
            </a:lvl5pPr>
            <a:lvl6pPr marL="2286000" indent="0" algn="ctr" rtl="0" fontAlgn="base">
              <a:spcBef>
                <a:spcPct val="20000"/>
              </a:spcBef>
              <a:spcAft>
                <a:spcPct val="0"/>
              </a:spcAft>
              <a:buNone/>
              <a:defRPr sz="2000">
                <a:solidFill>
                  <a:schemeClr val="tx1"/>
                </a:solidFill>
                <a:latin typeface="+mn-lt"/>
                <a:cs typeface="+mn-cs"/>
              </a:defRPr>
            </a:lvl6pPr>
            <a:lvl7pPr marL="2743200" indent="0" algn="ctr" rtl="0" fontAlgn="base">
              <a:spcBef>
                <a:spcPct val="20000"/>
              </a:spcBef>
              <a:spcAft>
                <a:spcPct val="0"/>
              </a:spcAft>
              <a:buNone/>
              <a:defRPr sz="2000">
                <a:solidFill>
                  <a:schemeClr val="tx1"/>
                </a:solidFill>
                <a:latin typeface="+mn-lt"/>
                <a:cs typeface="+mn-cs"/>
              </a:defRPr>
            </a:lvl7pPr>
            <a:lvl8pPr marL="3200400" indent="0" algn="ctr" rtl="0" fontAlgn="base">
              <a:spcBef>
                <a:spcPct val="20000"/>
              </a:spcBef>
              <a:spcAft>
                <a:spcPct val="0"/>
              </a:spcAft>
              <a:buNone/>
              <a:defRPr sz="2000">
                <a:solidFill>
                  <a:schemeClr val="tx1"/>
                </a:solidFill>
                <a:latin typeface="+mn-lt"/>
                <a:cs typeface="+mn-cs"/>
              </a:defRPr>
            </a:lvl8pPr>
            <a:lvl9pPr marL="3657600" indent="0" algn="ctr" rtl="0" fontAlgn="base">
              <a:spcBef>
                <a:spcPct val="20000"/>
              </a:spcBef>
              <a:spcAft>
                <a:spcPct val="0"/>
              </a:spcAft>
              <a:buNone/>
              <a:defRPr sz="2000">
                <a:solidFill>
                  <a:schemeClr val="tx1"/>
                </a:solidFill>
                <a:latin typeface="+mn-lt"/>
                <a:cs typeface="+mn-cs"/>
              </a:defRPr>
            </a:lvl9pPr>
          </a:lstStyle>
          <a:p>
            <a:pPr algn="l"/>
            <a:r>
              <a:rPr lang="fr-FR" sz="800" b="1" kern="0" dirty="0"/>
              <a:t>14</a:t>
            </a:r>
          </a:p>
        </p:txBody>
      </p:sp>
      <p:sp>
        <p:nvSpPr>
          <p:cNvPr id="123" name="Sous-titre 4"/>
          <p:cNvSpPr txBox="1">
            <a:spLocks/>
          </p:cNvSpPr>
          <p:nvPr/>
        </p:nvSpPr>
        <p:spPr>
          <a:xfrm>
            <a:off x="7743635" y="3546904"/>
            <a:ext cx="326238" cy="230268"/>
          </a:xfrm>
          <a:prstGeom prst="rect">
            <a:avLst/>
          </a:prstGeom>
          <a:ln>
            <a:noFill/>
          </a:ln>
        </p:spPr>
        <p:txBody>
          <a:bodyPr/>
          <a:lstStyle>
            <a:lvl1pPr marL="0" indent="0" algn="ctr" rtl="0" eaLnBrk="0" fontAlgn="base" hangingPunct="0">
              <a:spcBef>
                <a:spcPct val="20000"/>
              </a:spcBef>
              <a:spcAft>
                <a:spcPct val="0"/>
              </a:spcAft>
              <a:buNone/>
              <a:defRPr sz="3200">
                <a:solidFill>
                  <a:schemeClr val="tx1"/>
                </a:solidFill>
                <a:latin typeface="+mn-lt"/>
                <a:ea typeface="+mn-ea"/>
                <a:cs typeface="+mn-cs"/>
              </a:defRPr>
            </a:lvl1pPr>
            <a:lvl2pPr marL="457200" indent="0" algn="ctr" rtl="0" eaLnBrk="0" fontAlgn="base" hangingPunct="0">
              <a:spcBef>
                <a:spcPct val="20000"/>
              </a:spcBef>
              <a:spcAft>
                <a:spcPct val="0"/>
              </a:spcAft>
              <a:buNone/>
              <a:defRPr sz="2800">
                <a:solidFill>
                  <a:schemeClr val="tx1"/>
                </a:solidFill>
                <a:latin typeface="+mn-lt"/>
                <a:cs typeface="+mn-cs"/>
              </a:defRPr>
            </a:lvl2pPr>
            <a:lvl3pPr marL="914400" indent="0" algn="ctr" rtl="0" eaLnBrk="0" fontAlgn="base" hangingPunct="0">
              <a:spcBef>
                <a:spcPct val="20000"/>
              </a:spcBef>
              <a:spcAft>
                <a:spcPct val="0"/>
              </a:spcAft>
              <a:buNone/>
              <a:defRPr sz="2400">
                <a:solidFill>
                  <a:schemeClr val="tx1"/>
                </a:solidFill>
                <a:latin typeface="+mn-lt"/>
                <a:cs typeface="+mn-cs"/>
              </a:defRPr>
            </a:lvl3pPr>
            <a:lvl4pPr marL="1371600" indent="0" algn="ctr" rtl="0" eaLnBrk="0" fontAlgn="base" hangingPunct="0">
              <a:spcBef>
                <a:spcPct val="20000"/>
              </a:spcBef>
              <a:spcAft>
                <a:spcPct val="0"/>
              </a:spcAft>
              <a:buNone/>
              <a:defRPr sz="2000">
                <a:solidFill>
                  <a:schemeClr val="tx1"/>
                </a:solidFill>
                <a:latin typeface="+mn-lt"/>
                <a:cs typeface="+mn-cs"/>
              </a:defRPr>
            </a:lvl4pPr>
            <a:lvl5pPr marL="1828800" indent="0" algn="ctr" rtl="0" eaLnBrk="0" fontAlgn="base" hangingPunct="0">
              <a:spcBef>
                <a:spcPct val="20000"/>
              </a:spcBef>
              <a:spcAft>
                <a:spcPct val="0"/>
              </a:spcAft>
              <a:buNone/>
              <a:defRPr sz="2000">
                <a:solidFill>
                  <a:schemeClr val="tx1"/>
                </a:solidFill>
                <a:latin typeface="+mn-lt"/>
                <a:cs typeface="+mn-cs"/>
              </a:defRPr>
            </a:lvl5pPr>
            <a:lvl6pPr marL="2286000" indent="0" algn="ctr" rtl="0" fontAlgn="base">
              <a:spcBef>
                <a:spcPct val="20000"/>
              </a:spcBef>
              <a:spcAft>
                <a:spcPct val="0"/>
              </a:spcAft>
              <a:buNone/>
              <a:defRPr sz="2000">
                <a:solidFill>
                  <a:schemeClr val="tx1"/>
                </a:solidFill>
                <a:latin typeface="+mn-lt"/>
                <a:cs typeface="+mn-cs"/>
              </a:defRPr>
            </a:lvl6pPr>
            <a:lvl7pPr marL="2743200" indent="0" algn="ctr" rtl="0" fontAlgn="base">
              <a:spcBef>
                <a:spcPct val="20000"/>
              </a:spcBef>
              <a:spcAft>
                <a:spcPct val="0"/>
              </a:spcAft>
              <a:buNone/>
              <a:defRPr sz="2000">
                <a:solidFill>
                  <a:schemeClr val="tx1"/>
                </a:solidFill>
                <a:latin typeface="+mn-lt"/>
                <a:cs typeface="+mn-cs"/>
              </a:defRPr>
            </a:lvl7pPr>
            <a:lvl8pPr marL="3200400" indent="0" algn="ctr" rtl="0" fontAlgn="base">
              <a:spcBef>
                <a:spcPct val="20000"/>
              </a:spcBef>
              <a:spcAft>
                <a:spcPct val="0"/>
              </a:spcAft>
              <a:buNone/>
              <a:defRPr sz="2000">
                <a:solidFill>
                  <a:schemeClr val="tx1"/>
                </a:solidFill>
                <a:latin typeface="+mn-lt"/>
                <a:cs typeface="+mn-cs"/>
              </a:defRPr>
            </a:lvl8pPr>
            <a:lvl9pPr marL="3657600" indent="0" algn="ctr" rtl="0" fontAlgn="base">
              <a:spcBef>
                <a:spcPct val="20000"/>
              </a:spcBef>
              <a:spcAft>
                <a:spcPct val="0"/>
              </a:spcAft>
              <a:buNone/>
              <a:defRPr sz="2000">
                <a:solidFill>
                  <a:schemeClr val="tx1"/>
                </a:solidFill>
                <a:latin typeface="+mn-lt"/>
                <a:cs typeface="+mn-cs"/>
              </a:defRPr>
            </a:lvl9pPr>
          </a:lstStyle>
          <a:p>
            <a:pPr algn="l"/>
            <a:r>
              <a:rPr lang="fr-FR" sz="800" b="1" kern="0" dirty="0"/>
              <a:t>14</a:t>
            </a:r>
          </a:p>
        </p:txBody>
      </p:sp>
      <p:sp>
        <p:nvSpPr>
          <p:cNvPr id="124" name="Sous-titre 4"/>
          <p:cNvSpPr txBox="1">
            <a:spLocks/>
          </p:cNvSpPr>
          <p:nvPr/>
        </p:nvSpPr>
        <p:spPr>
          <a:xfrm>
            <a:off x="7737366" y="3069897"/>
            <a:ext cx="304800" cy="230268"/>
          </a:xfrm>
          <a:prstGeom prst="rect">
            <a:avLst/>
          </a:prstGeom>
          <a:ln>
            <a:noFill/>
          </a:ln>
        </p:spPr>
        <p:txBody>
          <a:bodyPr/>
          <a:lstStyle>
            <a:lvl1pPr marL="0" indent="0" algn="ctr" rtl="0" eaLnBrk="0" fontAlgn="base" hangingPunct="0">
              <a:spcBef>
                <a:spcPct val="20000"/>
              </a:spcBef>
              <a:spcAft>
                <a:spcPct val="0"/>
              </a:spcAft>
              <a:buNone/>
              <a:defRPr sz="3200">
                <a:solidFill>
                  <a:schemeClr val="tx1"/>
                </a:solidFill>
                <a:latin typeface="+mn-lt"/>
                <a:ea typeface="+mn-ea"/>
                <a:cs typeface="+mn-cs"/>
              </a:defRPr>
            </a:lvl1pPr>
            <a:lvl2pPr marL="457200" indent="0" algn="ctr" rtl="0" eaLnBrk="0" fontAlgn="base" hangingPunct="0">
              <a:spcBef>
                <a:spcPct val="20000"/>
              </a:spcBef>
              <a:spcAft>
                <a:spcPct val="0"/>
              </a:spcAft>
              <a:buNone/>
              <a:defRPr sz="2800">
                <a:solidFill>
                  <a:schemeClr val="tx1"/>
                </a:solidFill>
                <a:latin typeface="+mn-lt"/>
                <a:cs typeface="+mn-cs"/>
              </a:defRPr>
            </a:lvl2pPr>
            <a:lvl3pPr marL="914400" indent="0" algn="ctr" rtl="0" eaLnBrk="0" fontAlgn="base" hangingPunct="0">
              <a:spcBef>
                <a:spcPct val="20000"/>
              </a:spcBef>
              <a:spcAft>
                <a:spcPct val="0"/>
              </a:spcAft>
              <a:buNone/>
              <a:defRPr sz="2400">
                <a:solidFill>
                  <a:schemeClr val="tx1"/>
                </a:solidFill>
                <a:latin typeface="+mn-lt"/>
                <a:cs typeface="+mn-cs"/>
              </a:defRPr>
            </a:lvl3pPr>
            <a:lvl4pPr marL="1371600" indent="0" algn="ctr" rtl="0" eaLnBrk="0" fontAlgn="base" hangingPunct="0">
              <a:spcBef>
                <a:spcPct val="20000"/>
              </a:spcBef>
              <a:spcAft>
                <a:spcPct val="0"/>
              </a:spcAft>
              <a:buNone/>
              <a:defRPr sz="2000">
                <a:solidFill>
                  <a:schemeClr val="tx1"/>
                </a:solidFill>
                <a:latin typeface="+mn-lt"/>
                <a:cs typeface="+mn-cs"/>
              </a:defRPr>
            </a:lvl4pPr>
            <a:lvl5pPr marL="1828800" indent="0" algn="ctr" rtl="0" eaLnBrk="0" fontAlgn="base" hangingPunct="0">
              <a:spcBef>
                <a:spcPct val="20000"/>
              </a:spcBef>
              <a:spcAft>
                <a:spcPct val="0"/>
              </a:spcAft>
              <a:buNone/>
              <a:defRPr sz="2000">
                <a:solidFill>
                  <a:schemeClr val="tx1"/>
                </a:solidFill>
                <a:latin typeface="+mn-lt"/>
                <a:cs typeface="+mn-cs"/>
              </a:defRPr>
            </a:lvl5pPr>
            <a:lvl6pPr marL="2286000" indent="0" algn="ctr" rtl="0" fontAlgn="base">
              <a:spcBef>
                <a:spcPct val="20000"/>
              </a:spcBef>
              <a:spcAft>
                <a:spcPct val="0"/>
              </a:spcAft>
              <a:buNone/>
              <a:defRPr sz="2000">
                <a:solidFill>
                  <a:schemeClr val="tx1"/>
                </a:solidFill>
                <a:latin typeface="+mn-lt"/>
                <a:cs typeface="+mn-cs"/>
              </a:defRPr>
            </a:lvl6pPr>
            <a:lvl7pPr marL="2743200" indent="0" algn="ctr" rtl="0" fontAlgn="base">
              <a:spcBef>
                <a:spcPct val="20000"/>
              </a:spcBef>
              <a:spcAft>
                <a:spcPct val="0"/>
              </a:spcAft>
              <a:buNone/>
              <a:defRPr sz="2000">
                <a:solidFill>
                  <a:schemeClr val="tx1"/>
                </a:solidFill>
                <a:latin typeface="+mn-lt"/>
                <a:cs typeface="+mn-cs"/>
              </a:defRPr>
            </a:lvl7pPr>
            <a:lvl8pPr marL="3200400" indent="0" algn="ctr" rtl="0" fontAlgn="base">
              <a:spcBef>
                <a:spcPct val="20000"/>
              </a:spcBef>
              <a:spcAft>
                <a:spcPct val="0"/>
              </a:spcAft>
              <a:buNone/>
              <a:defRPr sz="2000">
                <a:solidFill>
                  <a:schemeClr val="tx1"/>
                </a:solidFill>
                <a:latin typeface="+mn-lt"/>
                <a:cs typeface="+mn-cs"/>
              </a:defRPr>
            </a:lvl8pPr>
            <a:lvl9pPr marL="3657600" indent="0" algn="ctr" rtl="0" fontAlgn="base">
              <a:spcBef>
                <a:spcPct val="20000"/>
              </a:spcBef>
              <a:spcAft>
                <a:spcPct val="0"/>
              </a:spcAft>
              <a:buNone/>
              <a:defRPr sz="2000">
                <a:solidFill>
                  <a:schemeClr val="tx1"/>
                </a:solidFill>
                <a:latin typeface="+mn-lt"/>
                <a:cs typeface="+mn-cs"/>
              </a:defRPr>
            </a:lvl9pPr>
          </a:lstStyle>
          <a:p>
            <a:pPr algn="l"/>
            <a:r>
              <a:rPr lang="fr-FR" sz="800" b="1" kern="0" dirty="0"/>
              <a:t>12</a:t>
            </a:r>
          </a:p>
        </p:txBody>
      </p:sp>
      <p:sp>
        <p:nvSpPr>
          <p:cNvPr id="125" name="Sous-titre 4"/>
          <p:cNvSpPr txBox="1">
            <a:spLocks/>
          </p:cNvSpPr>
          <p:nvPr/>
        </p:nvSpPr>
        <p:spPr>
          <a:xfrm>
            <a:off x="7750464" y="3804860"/>
            <a:ext cx="326238" cy="230268"/>
          </a:xfrm>
          <a:prstGeom prst="rect">
            <a:avLst/>
          </a:prstGeom>
          <a:ln>
            <a:noFill/>
          </a:ln>
        </p:spPr>
        <p:txBody>
          <a:bodyPr/>
          <a:lstStyle>
            <a:lvl1pPr marL="0" indent="0" algn="ctr" rtl="0" eaLnBrk="0" fontAlgn="base" hangingPunct="0">
              <a:spcBef>
                <a:spcPct val="20000"/>
              </a:spcBef>
              <a:spcAft>
                <a:spcPct val="0"/>
              </a:spcAft>
              <a:buNone/>
              <a:defRPr sz="3200">
                <a:solidFill>
                  <a:schemeClr val="tx1"/>
                </a:solidFill>
                <a:latin typeface="+mn-lt"/>
                <a:ea typeface="+mn-ea"/>
                <a:cs typeface="+mn-cs"/>
              </a:defRPr>
            </a:lvl1pPr>
            <a:lvl2pPr marL="457200" indent="0" algn="ctr" rtl="0" eaLnBrk="0" fontAlgn="base" hangingPunct="0">
              <a:spcBef>
                <a:spcPct val="20000"/>
              </a:spcBef>
              <a:spcAft>
                <a:spcPct val="0"/>
              </a:spcAft>
              <a:buNone/>
              <a:defRPr sz="2800">
                <a:solidFill>
                  <a:schemeClr val="tx1"/>
                </a:solidFill>
                <a:latin typeface="+mn-lt"/>
                <a:cs typeface="+mn-cs"/>
              </a:defRPr>
            </a:lvl2pPr>
            <a:lvl3pPr marL="914400" indent="0" algn="ctr" rtl="0" eaLnBrk="0" fontAlgn="base" hangingPunct="0">
              <a:spcBef>
                <a:spcPct val="20000"/>
              </a:spcBef>
              <a:spcAft>
                <a:spcPct val="0"/>
              </a:spcAft>
              <a:buNone/>
              <a:defRPr sz="2400">
                <a:solidFill>
                  <a:schemeClr val="tx1"/>
                </a:solidFill>
                <a:latin typeface="+mn-lt"/>
                <a:cs typeface="+mn-cs"/>
              </a:defRPr>
            </a:lvl3pPr>
            <a:lvl4pPr marL="1371600" indent="0" algn="ctr" rtl="0" eaLnBrk="0" fontAlgn="base" hangingPunct="0">
              <a:spcBef>
                <a:spcPct val="20000"/>
              </a:spcBef>
              <a:spcAft>
                <a:spcPct val="0"/>
              </a:spcAft>
              <a:buNone/>
              <a:defRPr sz="2000">
                <a:solidFill>
                  <a:schemeClr val="tx1"/>
                </a:solidFill>
                <a:latin typeface="+mn-lt"/>
                <a:cs typeface="+mn-cs"/>
              </a:defRPr>
            </a:lvl4pPr>
            <a:lvl5pPr marL="1828800" indent="0" algn="ctr" rtl="0" eaLnBrk="0" fontAlgn="base" hangingPunct="0">
              <a:spcBef>
                <a:spcPct val="20000"/>
              </a:spcBef>
              <a:spcAft>
                <a:spcPct val="0"/>
              </a:spcAft>
              <a:buNone/>
              <a:defRPr sz="2000">
                <a:solidFill>
                  <a:schemeClr val="tx1"/>
                </a:solidFill>
                <a:latin typeface="+mn-lt"/>
                <a:cs typeface="+mn-cs"/>
              </a:defRPr>
            </a:lvl5pPr>
            <a:lvl6pPr marL="2286000" indent="0" algn="ctr" rtl="0" fontAlgn="base">
              <a:spcBef>
                <a:spcPct val="20000"/>
              </a:spcBef>
              <a:spcAft>
                <a:spcPct val="0"/>
              </a:spcAft>
              <a:buNone/>
              <a:defRPr sz="2000">
                <a:solidFill>
                  <a:schemeClr val="tx1"/>
                </a:solidFill>
                <a:latin typeface="+mn-lt"/>
                <a:cs typeface="+mn-cs"/>
              </a:defRPr>
            </a:lvl6pPr>
            <a:lvl7pPr marL="2743200" indent="0" algn="ctr" rtl="0" fontAlgn="base">
              <a:spcBef>
                <a:spcPct val="20000"/>
              </a:spcBef>
              <a:spcAft>
                <a:spcPct val="0"/>
              </a:spcAft>
              <a:buNone/>
              <a:defRPr sz="2000">
                <a:solidFill>
                  <a:schemeClr val="tx1"/>
                </a:solidFill>
                <a:latin typeface="+mn-lt"/>
                <a:cs typeface="+mn-cs"/>
              </a:defRPr>
            </a:lvl7pPr>
            <a:lvl8pPr marL="3200400" indent="0" algn="ctr" rtl="0" fontAlgn="base">
              <a:spcBef>
                <a:spcPct val="20000"/>
              </a:spcBef>
              <a:spcAft>
                <a:spcPct val="0"/>
              </a:spcAft>
              <a:buNone/>
              <a:defRPr sz="2000">
                <a:solidFill>
                  <a:schemeClr val="tx1"/>
                </a:solidFill>
                <a:latin typeface="+mn-lt"/>
                <a:cs typeface="+mn-cs"/>
              </a:defRPr>
            </a:lvl8pPr>
            <a:lvl9pPr marL="3657600" indent="0" algn="ctr" rtl="0" fontAlgn="base">
              <a:spcBef>
                <a:spcPct val="20000"/>
              </a:spcBef>
              <a:spcAft>
                <a:spcPct val="0"/>
              </a:spcAft>
              <a:buNone/>
              <a:defRPr sz="2000">
                <a:solidFill>
                  <a:schemeClr val="tx1"/>
                </a:solidFill>
                <a:latin typeface="+mn-lt"/>
                <a:cs typeface="+mn-cs"/>
              </a:defRPr>
            </a:lvl9pPr>
          </a:lstStyle>
          <a:p>
            <a:pPr algn="l"/>
            <a:r>
              <a:rPr lang="fr-FR" sz="800" b="1" kern="0" dirty="0"/>
              <a:t>15</a:t>
            </a:r>
          </a:p>
        </p:txBody>
      </p:sp>
      <p:sp>
        <p:nvSpPr>
          <p:cNvPr id="126" name="Sous-titre 4"/>
          <p:cNvSpPr txBox="1">
            <a:spLocks/>
          </p:cNvSpPr>
          <p:nvPr/>
        </p:nvSpPr>
        <p:spPr>
          <a:xfrm>
            <a:off x="3244061" y="4574306"/>
            <a:ext cx="326238" cy="230268"/>
          </a:xfrm>
          <a:prstGeom prst="rect">
            <a:avLst/>
          </a:prstGeom>
          <a:ln>
            <a:noFill/>
          </a:ln>
        </p:spPr>
        <p:txBody>
          <a:bodyPr/>
          <a:lstStyle>
            <a:lvl1pPr marL="0" indent="0" algn="ctr" rtl="0" eaLnBrk="0" fontAlgn="base" hangingPunct="0">
              <a:spcBef>
                <a:spcPct val="20000"/>
              </a:spcBef>
              <a:spcAft>
                <a:spcPct val="0"/>
              </a:spcAft>
              <a:buNone/>
              <a:defRPr sz="3200">
                <a:solidFill>
                  <a:schemeClr val="tx1"/>
                </a:solidFill>
                <a:latin typeface="+mn-lt"/>
                <a:ea typeface="+mn-ea"/>
                <a:cs typeface="+mn-cs"/>
              </a:defRPr>
            </a:lvl1pPr>
            <a:lvl2pPr marL="457200" indent="0" algn="ctr" rtl="0" eaLnBrk="0" fontAlgn="base" hangingPunct="0">
              <a:spcBef>
                <a:spcPct val="20000"/>
              </a:spcBef>
              <a:spcAft>
                <a:spcPct val="0"/>
              </a:spcAft>
              <a:buNone/>
              <a:defRPr sz="2800">
                <a:solidFill>
                  <a:schemeClr val="tx1"/>
                </a:solidFill>
                <a:latin typeface="+mn-lt"/>
                <a:cs typeface="+mn-cs"/>
              </a:defRPr>
            </a:lvl2pPr>
            <a:lvl3pPr marL="914400" indent="0" algn="ctr" rtl="0" eaLnBrk="0" fontAlgn="base" hangingPunct="0">
              <a:spcBef>
                <a:spcPct val="20000"/>
              </a:spcBef>
              <a:spcAft>
                <a:spcPct val="0"/>
              </a:spcAft>
              <a:buNone/>
              <a:defRPr sz="2400">
                <a:solidFill>
                  <a:schemeClr val="tx1"/>
                </a:solidFill>
                <a:latin typeface="+mn-lt"/>
                <a:cs typeface="+mn-cs"/>
              </a:defRPr>
            </a:lvl3pPr>
            <a:lvl4pPr marL="1371600" indent="0" algn="ctr" rtl="0" eaLnBrk="0" fontAlgn="base" hangingPunct="0">
              <a:spcBef>
                <a:spcPct val="20000"/>
              </a:spcBef>
              <a:spcAft>
                <a:spcPct val="0"/>
              </a:spcAft>
              <a:buNone/>
              <a:defRPr sz="2000">
                <a:solidFill>
                  <a:schemeClr val="tx1"/>
                </a:solidFill>
                <a:latin typeface="+mn-lt"/>
                <a:cs typeface="+mn-cs"/>
              </a:defRPr>
            </a:lvl4pPr>
            <a:lvl5pPr marL="1828800" indent="0" algn="ctr" rtl="0" eaLnBrk="0" fontAlgn="base" hangingPunct="0">
              <a:spcBef>
                <a:spcPct val="20000"/>
              </a:spcBef>
              <a:spcAft>
                <a:spcPct val="0"/>
              </a:spcAft>
              <a:buNone/>
              <a:defRPr sz="2000">
                <a:solidFill>
                  <a:schemeClr val="tx1"/>
                </a:solidFill>
                <a:latin typeface="+mn-lt"/>
                <a:cs typeface="+mn-cs"/>
              </a:defRPr>
            </a:lvl5pPr>
            <a:lvl6pPr marL="2286000" indent="0" algn="ctr" rtl="0" fontAlgn="base">
              <a:spcBef>
                <a:spcPct val="20000"/>
              </a:spcBef>
              <a:spcAft>
                <a:spcPct val="0"/>
              </a:spcAft>
              <a:buNone/>
              <a:defRPr sz="2000">
                <a:solidFill>
                  <a:schemeClr val="tx1"/>
                </a:solidFill>
                <a:latin typeface="+mn-lt"/>
                <a:cs typeface="+mn-cs"/>
              </a:defRPr>
            </a:lvl6pPr>
            <a:lvl7pPr marL="2743200" indent="0" algn="ctr" rtl="0" fontAlgn="base">
              <a:spcBef>
                <a:spcPct val="20000"/>
              </a:spcBef>
              <a:spcAft>
                <a:spcPct val="0"/>
              </a:spcAft>
              <a:buNone/>
              <a:defRPr sz="2000">
                <a:solidFill>
                  <a:schemeClr val="tx1"/>
                </a:solidFill>
                <a:latin typeface="+mn-lt"/>
                <a:cs typeface="+mn-cs"/>
              </a:defRPr>
            </a:lvl7pPr>
            <a:lvl8pPr marL="3200400" indent="0" algn="ctr" rtl="0" fontAlgn="base">
              <a:spcBef>
                <a:spcPct val="20000"/>
              </a:spcBef>
              <a:spcAft>
                <a:spcPct val="0"/>
              </a:spcAft>
              <a:buNone/>
              <a:defRPr sz="2000">
                <a:solidFill>
                  <a:schemeClr val="tx1"/>
                </a:solidFill>
                <a:latin typeface="+mn-lt"/>
                <a:cs typeface="+mn-cs"/>
              </a:defRPr>
            </a:lvl8pPr>
            <a:lvl9pPr marL="3657600" indent="0" algn="ctr" rtl="0" fontAlgn="base">
              <a:spcBef>
                <a:spcPct val="20000"/>
              </a:spcBef>
              <a:spcAft>
                <a:spcPct val="0"/>
              </a:spcAft>
              <a:buNone/>
              <a:defRPr sz="2000">
                <a:solidFill>
                  <a:schemeClr val="tx1"/>
                </a:solidFill>
                <a:latin typeface="+mn-lt"/>
                <a:cs typeface="+mn-cs"/>
              </a:defRPr>
            </a:lvl9pPr>
          </a:lstStyle>
          <a:p>
            <a:pPr algn="l"/>
            <a:r>
              <a:rPr lang="fr-FR" sz="800" b="1" kern="0" dirty="0"/>
              <a:t>15</a:t>
            </a:r>
          </a:p>
        </p:txBody>
      </p:sp>
      <p:sp>
        <p:nvSpPr>
          <p:cNvPr id="127" name="Sous-titre 4"/>
          <p:cNvSpPr txBox="1">
            <a:spLocks/>
          </p:cNvSpPr>
          <p:nvPr/>
        </p:nvSpPr>
        <p:spPr>
          <a:xfrm>
            <a:off x="3585852" y="4416081"/>
            <a:ext cx="326238" cy="230268"/>
          </a:xfrm>
          <a:prstGeom prst="rect">
            <a:avLst/>
          </a:prstGeom>
          <a:ln>
            <a:noFill/>
          </a:ln>
        </p:spPr>
        <p:txBody>
          <a:bodyPr/>
          <a:lstStyle>
            <a:lvl1pPr marL="0" indent="0" algn="ctr" rtl="0" eaLnBrk="0" fontAlgn="base" hangingPunct="0">
              <a:spcBef>
                <a:spcPct val="20000"/>
              </a:spcBef>
              <a:spcAft>
                <a:spcPct val="0"/>
              </a:spcAft>
              <a:buNone/>
              <a:defRPr sz="3200">
                <a:solidFill>
                  <a:schemeClr val="tx1"/>
                </a:solidFill>
                <a:latin typeface="+mn-lt"/>
                <a:ea typeface="+mn-ea"/>
                <a:cs typeface="+mn-cs"/>
              </a:defRPr>
            </a:lvl1pPr>
            <a:lvl2pPr marL="457200" indent="0" algn="ctr" rtl="0" eaLnBrk="0" fontAlgn="base" hangingPunct="0">
              <a:spcBef>
                <a:spcPct val="20000"/>
              </a:spcBef>
              <a:spcAft>
                <a:spcPct val="0"/>
              </a:spcAft>
              <a:buNone/>
              <a:defRPr sz="2800">
                <a:solidFill>
                  <a:schemeClr val="tx1"/>
                </a:solidFill>
                <a:latin typeface="+mn-lt"/>
                <a:cs typeface="+mn-cs"/>
              </a:defRPr>
            </a:lvl2pPr>
            <a:lvl3pPr marL="914400" indent="0" algn="ctr" rtl="0" eaLnBrk="0" fontAlgn="base" hangingPunct="0">
              <a:spcBef>
                <a:spcPct val="20000"/>
              </a:spcBef>
              <a:spcAft>
                <a:spcPct val="0"/>
              </a:spcAft>
              <a:buNone/>
              <a:defRPr sz="2400">
                <a:solidFill>
                  <a:schemeClr val="tx1"/>
                </a:solidFill>
                <a:latin typeface="+mn-lt"/>
                <a:cs typeface="+mn-cs"/>
              </a:defRPr>
            </a:lvl3pPr>
            <a:lvl4pPr marL="1371600" indent="0" algn="ctr" rtl="0" eaLnBrk="0" fontAlgn="base" hangingPunct="0">
              <a:spcBef>
                <a:spcPct val="20000"/>
              </a:spcBef>
              <a:spcAft>
                <a:spcPct val="0"/>
              </a:spcAft>
              <a:buNone/>
              <a:defRPr sz="2000">
                <a:solidFill>
                  <a:schemeClr val="tx1"/>
                </a:solidFill>
                <a:latin typeface="+mn-lt"/>
                <a:cs typeface="+mn-cs"/>
              </a:defRPr>
            </a:lvl4pPr>
            <a:lvl5pPr marL="1828800" indent="0" algn="ctr" rtl="0" eaLnBrk="0" fontAlgn="base" hangingPunct="0">
              <a:spcBef>
                <a:spcPct val="20000"/>
              </a:spcBef>
              <a:spcAft>
                <a:spcPct val="0"/>
              </a:spcAft>
              <a:buNone/>
              <a:defRPr sz="2000">
                <a:solidFill>
                  <a:schemeClr val="tx1"/>
                </a:solidFill>
                <a:latin typeface="+mn-lt"/>
                <a:cs typeface="+mn-cs"/>
              </a:defRPr>
            </a:lvl5pPr>
            <a:lvl6pPr marL="2286000" indent="0" algn="ctr" rtl="0" fontAlgn="base">
              <a:spcBef>
                <a:spcPct val="20000"/>
              </a:spcBef>
              <a:spcAft>
                <a:spcPct val="0"/>
              </a:spcAft>
              <a:buNone/>
              <a:defRPr sz="2000">
                <a:solidFill>
                  <a:schemeClr val="tx1"/>
                </a:solidFill>
                <a:latin typeface="+mn-lt"/>
                <a:cs typeface="+mn-cs"/>
              </a:defRPr>
            </a:lvl6pPr>
            <a:lvl7pPr marL="2743200" indent="0" algn="ctr" rtl="0" fontAlgn="base">
              <a:spcBef>
                <a:spcPct val="20000"/>
              </a:spcBef>
              <a:spcAft>
                <a:spcPct val="0"/>
              </a:spcAft>
              <a:buNone/>
              <a:defRPr sz="2000">
                <a:solidFill>
                  <a:schemeClr val="tx1"/>
                </a:solidFill>
                <a:latin typeface="+mn-lt"/>
                <a:cs typeface="+mn-cs"/>
              </a:defRPr>
            </a:lvl7pPr>
            <a:lvl8pPr marL="3200400" indent="0" algn="ctr" rtl="0" fontAlgn="base">
              <a:spcBef>
                <a:spcPct val="20000"/>
              </a:spcBef>
              <a:spcAft>
                <a:spcPct val="0"/>
              </a:spcAft>
              <a:buNone/>
              <a:defRPr sz="2000">
                <a:solidFill>
                  <a:schemeClr val="tx1"/>
                </a:solidFill>
                <a:latin typeface="+mn-lt"/>
                <a:cs typeface="+mn-cs"/>
              </a:defRPr>
            </a:lvl8pPr>
            <a:lvl9pPr marL="3657600" indent="0" algn="ctr" rtl="0" fontAlgn="base">
              <a:spcBef>
                <a:spcPct val="20000"/>
              </a:spcBef>
              <a:spcAft>
                <a:spcPct val="0"/>
              </a:spcAft>
              <a:buNone/>
              <a:defRPr sz="2000">
                <a:solidFill>
                  <a:schemeClr val="tx1"/>
                </a:solidFill>
                <a:latin typeface="+mn-lt"/>
                <a:cs typeface="+mn-cs"/>
              </a:defRPr>
            </a:lvl9pPr>
          </a:lstStyle>
          <a:p>
            <a:pPr algn="l"/>
            <a:r>
              <a:rPr lang="fr-FR" sz="800" b="1" kern="0" dirty="0"/>
              <a:t>16</a:t>
            </a:r>
          </a:p>
        </p:txBody>
      </p:sp>
      <p:sp>
        <p:nvSpPr>
          <p:cNvPr id="128" name="Sous-titre 4"/>
          <p:cNvSpPr txBox="1">
            <a:spLocks/>
          </p:cNvSpPr>
          <p:nvPr/>
        </p:nvSpPr>
        <p:spPr>
          <a:xfrm>
            <a:off x="7743635" y="4037048"/>
            <a:ext cx="326238" cy="230268"/>
          </a:xfrm>
          <a:prstGeom prst="rect">
            <a:avLst/>
          </a:prstGeom>
          <a:ln>
            <a:noFill/>
          </a:ln>
        </p:spPr>
        <p:txBody>
          <a:bodyPr/>
          <a:lstStyle>
            <a:lvl1pPr marL="0" indent="0" algn="ctr" rtl="0" eaLnBrk="0" fontAlgn="base" hangingPunct="0">
              <a:spcBef>
                <a:spcPct val="20000"/>
              </a:spcBef>
              <a:spcAft>
                <a:spcPct val="0"/>
              </a:spcAft>
              <a:buNone/>
              <a:defRPr sz="3200">
                <a:solidFill>
                  <a:schemeClr val="tx1"/>
                </a:solidFill>
                <a:latin typeface="+mn-lt"/>
                <a:ea typeface="+mn-ea"/>
                <a:cs typeface="+mn-cs"/>
              </a:defRPr>
            </a:lvl1pPr>
            <a:lvl2pPr marL="457200" indent="0" algn="ctr" rtl="0" eaLnBrk="0" fontAlgn="base" hangingPunct="0">
              <a:spcBef>
                <a:spcPct val="20000"/>
              </a:spcBef>
              <a:spcAft>
                <a:spcPct val="0"/>
              </a:spcAft>
              <a:buNone/>
              <a:defRPr sz="2800">
                <a:solidFill>
                  <a:schemeClr val="tx1"/>
                </a:solidFill>
                <a:latin typeface="+mn-lt"/>
                <a:cs typeface="+mn-cs"/>
              </a:defRPr>
            </a:lvl2pPr>
            <a:lvl3pPr marL="914400" indent="0" algn="ctr" rtl="0" eaLnBrk="0" fontAlgn="base" hangingPunct="0">
              <a:spcBef>
                <a:spcPct val="20000"/>
              </a:spcBef>
              <a:spcAft>
                <a:spcPct val="0"/>
              </a:spcAft>
              <a:buNone/>
              <a:defRPr sz="2400">
                <a:solidFill>
                  <a:schemeClr val="tx1"/>
                </a:solidFill>
                <a:latin typeface="+mn-lt"/>
                <a:cs typeface="+mn-cs"/>
              </a:defRPr>
            </a:lvl3pPr>
            <a:lvl4pPr marL="1371600" indent="0" algn="ctr" rtl="0" eaLnBrk="0" fontAlgn="base" hangingPunct="0">
              <a:spcBef>
                <a:spcPct val="20000"/>
              </a:spcBef>
              <a:spcAft>
                <a:spcPct val="0"/>
              </a:spcAft>
              <a:buNone/>
              <a:defRPr sz="2000">
                <a:solidFill>
                  <a:schemeClr val="tx1"/>
                </a:solidFill>
                <a:latin typeface="+mn-lt"/>
                <a:cs typeface="+mn-cs"/>
              </a:defRPr>
            </a:lvl4pPr>
            <a:lvl5pPr marL="1828800" indent="0" algn="ctr" rtl="0" eaLnBrk="0" fontAlgn="base" hangingPunct="0">
              <a:spcBef>
                <a:spcPct val="20000"/>
              </a:spcBef>
              <a:spcAft>
                <a:spcPct val="0"/>
              </a:spcAft>
              <a:buNone/>
              <a:defRPr sz="2000">
                <a:solidFill>
                  <a:schemeClr val="tx1"/>
                </a:solidFill>
                <a:latin typeface="+mn-lt"/>
                <a:cs typeface="+mn-cs"/>
              </a:defRPr>
            </a:lvl5pPr>
            <a:lvl6pPr marL="2286000" indent="0" algn="ctr" rtl="0" fontAlgn="base">
              <a:spcBef>
                <a:spcPct val="20000"/>
              </a:spcBef>
              <a:spcAft>
                <a:spcPct val="0"/>
              </a:spcAft>
              <a:buNone/>
              <a:defRPr sz="2000">
                <a:solidFill>
                  <a:schemeClr val="tx1"/>
                </a:solidFill>
                <a:latin typeface="+mn-lt"/>
                <a:cs typeface="+mn-cs"/>
              </a:defRPr>
            </a:lvl6pPr>
            <a:lvl7pPr marL="2743200" indent="0" algn="ctr" rtl="0" fontAlgn="base">
              <a:spcBef>
                <a:spcPct val="20000"/>
              </a:spcBef>
              <a:spcAft>
                <a:spcPct val="0"/>
              </a:spcAft>
              <a:buNone/>
              <a:defRPr sz="2000">
                <a:solidFill>
                  <a:schemeClr val="tx1"/>
                </a:solidFill>
                <a:latin typeface="+mn-lt"/>
                <a:cs typeface="+mn-cs"/>
              </a:defRPr>
            </a:lvl7pPr>
            <a:lvl8pPr marL="3200400" indent="0" algn="ctr" rtl="0" fontAlgn="base">
              <a:spcBef>
                <a:spcPct val="20000"/>
              </a:spcBef>
              <a:spcAft>
                <a:spcPct val="0"/>
              </a:spcAft>
              <a:buNone/>
              <a:defRPr sz="2000">
                <a:solidFill>
                  <a:schemeClr val="tx1"/>
                </a:solidFill>
                <a:latin typeface="+mn-lt"/>
                <a:cs typeface="+mn-cs"/>
              </a:defRPr>
            </a:lvl8pPr>
            <a:lvl9pPr marL="3657600" indent="0" algn="ctr" rtl="0" fontAlgn="base">
              <a:spcBef>
                <a:spcPct val="20000"/>
              </a:spcBef>
              <a:spcAft>
                <a:spcPct val="0"/>
              </a:spcAft>
              <a:buNone/>
              <a:defRPr sz="2000">
                <a:solidFill>
                  <a:schemeClr val="tx1"/>
                </a:solidFill>
                <a:latin typeface="+mn-lt"/>
                <a:cs typeface="+mn-cs"/>
              </a:defRPr>
            </a:lvl9pPr>
          </a:lstStyle>
          <a:p>
            <a:pPr algn="l"/>
            <a:r>
              <a:rPr lang="fr-FR" sz="800" b="1" kern="0" dirty="0"/>
              <a:t>16</a:t>
            </a:r>
          </a:p>
        </p:txBody>
      </p:sp>
      <p:sp>
        <p:nvSpPr>
          <p:cNvPr id="129" name="Sous-titre 4"/>
          <p:cNvSpPr txBox="1">
            <a:spLocks/>
          </p:cNvSpPr>
          <p:nvPr/>
        </p:nvSpPr>
        <p:spPr>
          <a:xfrm>
            <a:off x="3742204" y="4649475"/>
            <a:ext cx="326238" cy="230268"/>
          </a:xfrm>
          <a:prstGeom prst="rect">
            <a:avLst/>
          </a:prstGeom>
          <a:ln>
            <a:noFill/>
          </a:ln>
        </p:spPr>
        <p:txBody>
          <a:bodyPr/>
          <a:lstStyle>
            <a:lvl1pPr marL="0" indent="0" algn="ctr" rtl="0" eaLnBrk="0" fontAlgn="base" hangingPunct="0">
              <a:spcBef>
                <a:spcPct val="20000"/>
              </a:spcBef>
              <a:spcAft>
                <a:spcPct val="0"/>
              </a:spcAft>
              <a:buNone/>
              <a:defRPr sz="3200">
                <a:solidFill>
                  <a:schemeClr val="tx1"/>
                </a:solidFill>
                <a:latin typeface="+mn-lt"/>
                <a:ea typeface="+mn-ea"/>
                <a:cs typeface="+mn-cs"/>
              </a:defRPr>
            </a:lvl1pPr>
            <a:lvl2pPr marL="457200" indent="0" algn="ctr" rtl="0" eaLnBrk="0" fontAlgn="base" hangingPunct="0">
              <a:spcBef>
                <a:spcPct val="20000"/>
              </a:spcBef>
              <a:spcAft>
                <a:spcPct val="0"/>
              </a:spcAft>
              <a:buNone/>
              <a:defRPr sz="2800">
                <a:solidFill>
                  <a:schemeClr val="tx1"/>
                </a:solidFill>
                <a:latin typeface="+mn-lt"/>
                <a:cs typeface="+mn-cs"/>
              </a:defRPr>
            </a:lvl2pPr>
            <a:lvl3pPr marL="914400" indent="0" algn="ctr" rtl="0" eaLnBrk="0" fontAlgn="base" hangingPunct="0">
              <a:spcBef>
                <a:spcPct val="20000"/>
              </a:spcBef>
              <a:spcAft>
                <a:spcPct val="0"/>
              </a:spcAft>
              <a:buNone/>
              <a:defRPr sz="2400">
                <a:solidFill>
                  <a:schemeClr val="tx1"/>
                </a:solidFill>
                <a:latin typeface="+mn-lt"/>
                <a:cs typeface="+mn-cs"/>
              </a:defRPr>
            </a:lvl3pPr>
            <a:lvl4pPr marL="1371600" indent="0" algn="ctr" rtl="0" eaLnBrk="0" fontAlgn="base" hangingPunct="0">
              <a:spcBef>
                <a:spcPct val="20000"/>
              </a:spcBef>
              <a:spcAft>
                <a:spcPct val="0"/>
              </a:spcAft>
              <a:buNone/>
              <a:defRPr sz="2000">
                <a:solidFill>
                  <a:schemeClr val="tx1"/>
                </a:solidFill>
                <a:latin typeface="+mn-lt"/>
                <a:cs typeface="+mn-cs"/>
              </a:defRPr>
            </a:lvl4pPr>
            <a:lvl5pPr marL="1828800" indent="0" algn="ctr" rtl="0" eaLnBrk="0" fontAlgn="base" hangingPunct="0">
              <a:spcBef>
                <a:spcPct val="20000"/>
              </a:spcBef>
              <a:spcAft>
                <a:spcPct val="0"/>
              </a:spcAft>
              <a:buNone/>
              <a:defRPr sz="2000">
                <a:solidFill>
                  <a:schemeClr val="tx1"/>
                </a:solidFill>
                <a:latin typeface="+mn-lt"/>
                <a:cs typeface="+mn-cs"/>
              </a:defRPr>
            </a:lvl5pPr>
            <a:lvl6pPr marL="2286000" indent="0" algn="ctr" rtl="0" fontAlgn="base">
              <a:spcBef>
                <a:spcPct val="20000"/>
              </a:spcBef>
              <a:spcAft>
                <a:spcPct val="0"/>
              </a:spcAft>
              <a:buNone/>
              <a:defRPr sz="2000">
                <a:solidFill>
                  <a:schemeClr val="tx1"/>
                </a:solidFill>
                <a:latin typeface="+mn-lt"/>
                <a:cs typeface="+mn-cs"/>
              </a:defRPr>
            </a:lvl6pPr>
            <a:lvl7pPr marL="2743200" indent="0" algn="ctr" rtl="0" fontAlgn="base">
              <a:spcBef>
                <a:spcPct val="20000"/>
              </a:spcBef>
              <a:spcAft>
                <a:spcPct val="0"/>
              </a:spcAft>
              <a:buNone/>
              <a:defRPr sz="2000">
                <a:solidFill>
                  <a:schemeClr val="tx1"/>
                </a:solidFill>
                <a:latin typeface="+mn-lt"/>
                <a:cs typeface="+mn-cs"/>
              </a:defRPr>
            </a:lvl7pPr>
            <a:lvl8pPr marL="3200400" indent="0" algn="ctr" rtl="0" fontAlgn="base">
              <a:spcBef>
                <a:spcPct val="20000"/>
              </a:spcBef>
              <a:spcAft>
                <a:spcPct val="0"/>
              </a:spcAft>
              <a:buNone/>
              <a:defRPr sz="2000">
                <a:solidFill>
                  <a:schemeClr val="tx1"/>
                </a:solidFill>
                <a:latin typeface="+mn-lt"/>
                <a:cs typeface="+mn-cs"/>
              </a:defRPr>
            </a:lvl8pPr>
            <a:lvl9pPr marL="3657600" indent="0" algn="ctr" rtl="0" fontAlgn="base">
              <a:spcBef>
                <a:spcPct val="20000"/>
              </a:spcBef>
              <a:spcAft>
                <a:spcPct val="0"/>
              </a:spcAft>
              <a:buNone/>
              <a:defRPr sz="2000">
                <a:solidFill>
                  <a:schemeClr val="tx1"/>
                </a:solidFill>
                <a:latin typeface="+mn-lt"/>
                <a:cs typeface="+mn-cs"/>
              </a:defRPr>
            </a:lvl9pPr>
          </a:lstStyle>
          <a:p>
            <a:pPr algn="l"/>
            <a:r>
              <a:rPr lang="fr-FR" sz="800" b="1" kern="0" dirty="0"/>
              <a:t>17</a:t>
            </a:r>
          </a:p>
        </p:txBody>
      </p:sp>
      <p:sp>
        <p:nvSpPr>
          <p:cNvPr id="130" name="Sous-titre 4"/>
          <p:cNvSpPr txBox="1">
            <a:spLocks/>
          </p:cNvSpPr>
          <p:nvPr/>
        </p:nvSpPr>
        <p:spPr>
          <a:xfrm>
            <a:off x="4026286" y="4593435"/>
            <a:ext cx="326238" cy="230268"/>
          </a:xfrm>
          <a:prstGeom prst="rect">
            <a:avLst/>
          </a:prstGeom>
          <a:ln>
            <a:noFill/>
          </a:ln>
        </p:spPr>
        <p:txBody>
          <a:bodyPr/>
          <a:lstStyle>
            <a:lvl1pPr marL="0" indent="0" algn="ctr" rtl="0" eaLnBrk="0" fontAlgn="base" hangingPunct="0">
              <a:spcBef>
                <a:spcPct val="20000"/>
              </a:spcBef>
              <a:spcAft>
                <a:spcPct val="0"/>
              </a:spcAft>
              <a:buNone/>
              <a:defRPr sz="3200">
                <a:solidFill>
                  <a:schemeClr val="tx1"/>
                </a:solidFill>
                <a:latin typeface="+mn-lt"/>
                <a:ea typeface="+mn-ea"/>
                <a:cs typeface="+mn-cs"/>
              </a:defRPr>
            </a:lvl1pPr>
            <a:lvl2pPr marL="457200" indent="0" algn="ctr" rtl="0" eaLnBrk="0" fontAlgn="base" hangingPunct="0">
              <a:spcBef>
                <a:spcPct val="20000"/>
              </a:spcBef>
              <a:spcAft>
                <a:spcPct val="0"/>
              </a:spcAft>
              <a:buNone/>
              <a:defRPr sz="2800">
                <a:solidFill>
                  <a:schemeClr val="tx1"/>
                </a:solidFill>
                <a:latin typeface="+mn-lt"/>
                <a:cs typeface="+mn-cs"/>
              </a:defRPr>
            </a:lvl2pPr>
            <a:lvl3pPr marL="914400" indent="0" algn="ctr" rtl="0" eaLnBrk="0" fontAlgn="base" hangingPunct="0">
              <a:spcBef>
                <a:spcPct val="20000"/>
              </a:spcBef>
              <a:spcAft>
                <a:spcPct val="0"/>
              </a:spcAft>
              <a:buNone/>
              <a:defRPr sz="2400">
                <a:solidFill>
                  <a:schemeClr val="tx1"/>
                </a:solidFill>
                <a:latin typeface="+mn-lt"/>
                <a:cs typeface="+mn-cs"/>
              </a:defRPr>
            </a:lvl3pPr>
            <a:lvl4pPr marL="1371600" indent="0" algn="ctr" rtl="0" eaLnBrk="0" fontAlgn="base" hangingPunct="0">
              <a:spcBef>
                <a:spcPct val="20000"/>
              </a:spcBef>
              <a:spcAft>
                <a:spcPct val="0"/>
              </a:spcAft>
              <a:buNone/>
              <a:defRPr sz="2000">
                <a:solidFill>
                  <a:schemeClr val="tx1"/>
                </a:solidFill>
                <a:latin typeface="+mn-lt"/>
                <a:cs typeface="+mn-cs"/>
              </a:defRPr>
            </a:lvl4pPr>
            <a:lvl5pPr marL="1828800" indent="0" algn="ctr" rtl="0" eaLnBrk="0" fontAlgn="base" hangingPunct="0">
              <a:spcBef>
                <a:spcPct val="20000"/>
              </a:spcBef>
              <a:spcAft>
                <a:spcPct val="0"/>
              </a:spcAft>
              <a:buNone/>
              <a:defRPr sz="2000">
                <a:solidFill>
                  <a:schemeClr val="tx1"/>
                </a:solidFill>
                <a:latin typeface="+mn-lt"/>
                <a:cs typeface="+mn-cs"/>
              </a:defRPr>
            </a:lvl5pPr>
            <a:lvl6pPr marL="2286000" indent="0" algn="ctr" rtl="0" fontAlgn="base">
              <a:spcBef>
                <a:spcPct val="20000"/>
              </a:spcBef>
              <a:spcAft>
                <a:spcPct val="0"/>
              </a:spcAft>
              <a:buNone/>
              <a:defRPr sz="2000">
                <a:solidFill>
                  <a:schemeClr val="tx1"/>
                </a:solidFill>
                <a:latin typeface="+mn-lt"/>
                <a:cs typeface="+mn-cs"/>
              </a:defRPr>
            </a:lvl6pPr>
            <a:lvl7pPr marL="2743200" indent="0" algn="ctr" rtl="0" fontAlgn="base">
              <a:spcBef>
                <a:spcPct val="20000"/>
              </a:spcBef>
              <a:spcAft>
                <a:spcPct val="0"/>
              </a:spcAft>
              <a:buNone/>
              <a:defRPr sz="2000">
                <a:solidFill>
                  <a:schemeClr val="tx1"/>
                </a:solidFill>
                <a:latin typeface="+mn-lt"/>
                <a:cs typeface="+mn-cs"/>
              </a:defRPr>
            </a:lvl7pPr>
            <a:lvl8pPr marL="3200400" indent="0" algn="ctr" rtl="0" fontAlgn="base">
              <a:spcBef>
                <a:spcPct val="20000"/>
              </a:spcBef>
              <a:spcAft>
                <a:spcPct val="0"/>
              </a:spcAft>
              <a:buNone/>
              <a:defRPr sz="2000">
                <a:solidFill>
                  <a:schemeClr val="tx1"/>
                </a:solidFill>
                <a:latin typeface="+mn-lt"/>
                <a:cs typeface="+mn-cs"/>
              </a:defRPr>
            </a:lvl8pPr>
            <a:lvl9pPr marL="3657600" indent="0" algn="ctr" rtl="0" fontAlgn="base">
              <a:spcBef>
                <a:spcPct val="20000"/>
              </a:spcBef>
              <a:spcAft>
                <a:spcPct val="0"/>
              </a:spcAft>
              <a:buNone/>
              <a:defRPr sz="2000">
                <a:solidFill>
                  <a:schemeClr val="tx1"/>
                </a:solidFill>
                <a:latin typeface="+mn-lt"/>
                <a:cs typeface="+mn-cs"/>
              </a:defRPr>
            </a:lvl9pPr>
          </a:lstStyle>
          <a:p>
            <a:pPr algn="l"/>
            <a:r>
              <a:rPr lang="fr-FR" sz="800" b="1" kern="0" dirty="0"/>
              <a:t>18</a:t>
            </a:r>
          </a:p>
        </p:txBody>
      </p:sp>
      <p:sp>
        <p:nvSpPr>
          <p:cNvPr id="131" name="Sous-titre 4"/>
          <p:cNvSpPr txBox="1">
            <a:spLocks/>
          </p:cNvSpPr>
          <p:nvPr/>
        </p:nvSpPr>
        <p:spPr>
          <a:xfrm>
            <a:off x="7757188" y="4519555"/>
            <a:ext cx="326238" cy="230268"/>
          </a:xfrm>
          <a:prstGeom prst="rect">
            <a:avLst/>
          </a:prstGeom>
          <a:ln>
            <a:noFill/>
          </a:ln>
        </p:spPr>
        <p:txBody>
          <a:bodyPr/>
          <a:lstStyle>
            <a:lvl1pPr marL="0" indent="0" algn="ctr" rtl="0" eaLnBrk="0" fontAlgn="base" hangingPunct="0">
              <a:spcBef>
                <a:spcPct val="20000"/>
              </a:spcBef>
              <a:spcAft>
                <a:spcPct val="0"/>
              </a:spcAft>
              <a:buNone/>
              <a:defRPr sz="3200">
                <a:solidFill>
                  <a:schemeClr val="tx1"/>
                </a:solidFill>
                <a:latin typeface="+mn-lt"/>
                <a:ea typeface="+mn-ea"/>
                <a:cs typeface="+mn-cs"/>
              </a:defRPr>
            </a:lvl1pPr>
            <a:lvl2pPr marL="457200" indent="0" algn="ctr" rtl="0" eaLnBrk="0" fontAlgn="base" hangingPunct="0">
              <a:spcBef>
                <a:spcPct val="20000"/>
              </a:spcBef>
              <a:spcAft>
                <a:spcPct val="0"/>
              </a:spcAft>
              <a:buNone/>
              <a:defRPr sz="2800">
                <a:solidFill>
                  <a:schemeClr val="tx1"/>
                </a:solidFill>
                <a:latin typeface="+mn-lt"/>
                <a:cs typeface="+mn-cs"/>
              </a:defRPr>
            </a:lvl2pPr>
            <a:lvl3pPr marL="914400" indent="0" algn="ctr" rtl="0" eaLnBrk="0" fontAlgn="base" hangingPunct="0">
              <a:spcBef>
                <a:spcPct val="20000"/>
              </a:spcBef>
              <a:spcAft>
                <a:spcPct val="0"/>
              </a:spcAft>
              <a:buNone/>
              <a:defRPr sz="2400">
                <a:solidFill>
                  <a:schemeClr val="tx1"/>
                </a:solidFill>
                <a:latin typeface="+mn-lt"/>
                <a:cs typeface="+mn-cs"/>
              </a:defRPr>
            </a:lvl3pPr>
            <a:lvl4pPr marL="1371600" indent="0" algn="ctr" rtl="0" eaLnBrk="0" fontAlgn="base" hangingPunct="0">
              <a:spcBef>
                <a:spcPct val="20000"/>
              </a:spcBef>
              <a:spcAft>
                <a:spcPct val="0"/>
              </a:spcAft>
              <a:buNone/>
              <a:defRPr sz="2000">
                <a:solidFill>
                  <a:schemeClr val="tx1"/>
                </a:solidFill>
                <a:latin typeface="+mn-lt"/>
                <a:cs typeface="+mn-cs"/>
              </a:defRPr>
            </a:lvl4pPr>
            <a:lvl5pPr marL="1828800" indent="0" algn="ctr" rtl="0" eaLnBrk="0" fontAlgn="base" hangingPunct="0">
              <a:spcBef>
                <a:spcPct val="20000"/>
              </a:spcBef>
              <a:spcAft>
                <a:spcPct val="0"/>
              </a:spcAft>
              <a:buNone/>
              <a:defRPr sz="2000">
                <a:solidFill>
                  <a:schemeClr val="tx1"/>
                </a:solidFill>
                <a:latin typeface="+mn-lt"/>
                <a:cs typeface="+mn-cs"/>
              </a:defRPr>
            </a:lvl5pPr>
            <a:lvl6pPr marL="2286000" indent="0" algn="ctr" rtl="0" fontAlgn="base">
              <a:spcBef>
                <a:spcPct val="20000"/>
              </a:spcBef>
              <a:spcAft>
                <a:spcPct val="0"/>
              </a:spcAft>
              <a:buNone/>
              <a:defRPr sz="2000">
                <a:solidFill>
                  <a:schemeClr val="tx1"/>
                </a:solidFill>
                <a:latin typeface="+mn-lt"/>
                <a:cs typeface="+mn-cs"/>
              </a:defRPr>
            </a:lvl6pPr>
            <a:lvl7pPr marL="2743200" indent="0" algn="ctr" rtl="0" fontAlgn="base">
              <a:spcBef>
                <a:spcPct val="20000"/>
              </a:spcBef>
              <a:spcAft>
                <a:spcPct val="0"/>
              </a:spcAft>
              <a:buNone/>
              <a:defRPr sz="2000">
                <a:solidFill>
                  <a:schemeClr val="tx1"/>
                </a:solidFill>
                <a:latin typeface="+mn-lt"/>
                <a:cs typeface="+mn-cs"/>
              </a:defRPr>
            </a:lvl7pPr>
            <a:lvl8pPr marL="3200400" indent="0" algn="ctr" rtl="0" fontAlgn="base">
              <a:spcBef>
                <a:spcPct val="20000"/>
              </a:spcBef>
              <a:spcAft>
                <a:spcPct val="0"/>
              </a:spcAft>
              <a:buNone/>
              <a:defRPr sz="2000">
                <a:solidFill>
                  <a:schemeClr val="tx1"/>
                </a:solidFill>
                <a:latin typeface="+mn-lt"/>
                <a:cs typeface="+mn-cs"/>
              </a:defRPr>
            </a:lvl8pPr>
            <a:lvl9pPr marL="3657600" indent="0" algn="ctr" rtl="0" fontAlgn="base">
              <a:spcBef>
                <a:spcPct val="20000"/>
              </a:spcBef>
              <a:spcAft>
                <a:spcPct val="0"/>
              </a:spcAft>
              <a:buNone/>
              <a:defRPr sz="2000">
                <a:solidFill>
                  <a:schemeClr val="tx1"/>
                </a:solidFill>
                <a:latin typeface="+mn-lt"/>
                <a:cs typeface="+mn-cs"/>
              </a:defRPr>
            </a:lvl9pPr>
          </a:lstStyle>
          <a:p>
            <a:pPr algn="l"/>
            <a:r>
              <a:rPr lang="fr-FR" sz="800" b="1" kern="0" dirty="0"/>
              <a:t>18</a:t>
            </a:r>
          </a:p>
        </p:txBody>
      </p:sp>
      <p:sp>
        <p:nvSpPr>
          <p:cNvPr id="132" name="Sous-titre 4"/>
          <p:cNvSpPr txBox="1">
            <a:spLocks/>
          </p:cNvSpPr>
          <p:nvPr/>
        </p:nvSpPr>
        <p:spPr>
          <a:xfrm>
            <a:off x="7751584" y="4740746"/>
            <a:ext cx="326238" cy="230268"/>
          </a:xfrm>
          <a:prstGeom prst="rect">
            <a:avLst/>
          </a:prstGeom>
          <a:ln>
            <a:noFill/>
          </a:ln>
        </p:spPr>
        <p:txBody>
          <a:bodyPr/>
          <a:lstStyle>
            <a:lvl1pPr marL="0" indent="0" algn="ctr" rtl="0" eaLnBrk="0" fontAlgn="base" hangingPunct="0">
              <a:spcBef>
                <a:spcPct val="20000"/>
              </a:spcBef>
              <a:spcAft>
                <a:spcPct val="0"/>
              </a:spcAft>
              <a:buNone/>
              <a:defRPr sz="3200">
                <a:solidFill>
                  <a:schemeClr val="tx1"/>
                </a:solidFill>
                <a:latin typeface="+mn-lt"/>
                <a:ea typeface="+mn-ea"/>
                <a:cs typeface="+mn-cs"/>
              </a:defRPr>
            </a:lvl1pPr>
            <a:lvl2pPr marL="457200" indent="0" algn="ctr" rtl="0" eaLnBrk="0" fontAlgn="base" hangingPunct="0">
              <a:spcBef>
                <a:spcPct val="20000"/>
              </a:spcBef>
              <a:spcAft>
                <a:spcPct val="0"/>
              </a:spcAft>
              <a:buNone/>
              <a:defRPr sz="2800">
                <a:solidFill>
                  <a:schemeClr val="tx1"/>
                </a:solidFill>
                <a:latin typeface="+mn-lt"/>
                <a:cs typeface="+mn-cs"/>
              </a:defRPr>
            </a:lvl2pPr>
            <a:lvl3pPr marL="914400" indent="0" algn="ctr" rtl="0" eaLnBrk="0" fontAlgn="base" hangingPunct="0">
              <a:spcBef>
                <a:spcPct val="20000"/>
              </a:spcBef>
              <a:spcAft>
                <a:spcPct val="0"/>
              </a:spcAft>
              <a:buNone/>
              <a:defRPr sz="2400">
                <a:solidFill>
                  <a:schemeClr val="tx1"/>
                </a:solidFill>
                <a:latin typeface="+mn-lt"/>
                <a:cs typeface="+mn-cs"/>
              </a:defRPr>
            </a:lvl3pPr>
            <a:lvl4pPr marL="1371600" indent="0" algn="ctr" rtl="0" eaLnBrk="0" fontAlgn="base" hangingPunct="0">
              <a:spcBef>
                <a:spcPct val="20000"/>
              </a:spcBef>
              <a:spcAft>
                <a:spcPct val="0"/>
              </a:spcAft>
              <a:buNone/>
              <a:defRPr sz="2000">
                <a:solidFill>
                  <a:schemeClr val="tx1"/>
                </a:solidFill>
                <a:latin typeface="+mn-lt"/>
                <a:cs typeface="+mn-cs"/>
              </a:defRPr>
            </a:lvl4pPr>
            <a:lvl5pPr marL="1828800" indent="0" algn="ctr" rtl="0" eaLnBrk="0" fontAlgn="base" hangingPunct="0">
              <a:spcBef>
                <a:spcPct val="20000"/>
              </a:spcBef>
              <a:spcAft>
                <a:spcPct val="0"/>
              </a:spcAft>
              <a:buNone/>
              <a:defRPr sz="2000">
                <a:solidFill>
                  <a:schemeClr val="tx1"/>
                </a:solidFill>
                <a:latin typeface="+mn-lt"/>
                <a:cs typeface="+mn-cs"/>
              </a:defRPr>
            </a:lvl5pPr>
            <a:lvl6pPr marL="2286000" indent="0" algn="ctr" rtl="0" fontAlgn="base">
              <a:spcBef>
                <a:spcPct val="20000"/>
              </a:spcBef>
              <a:spcAft>
                <a:spcPct val="0"/>
              </a:spcAft>
              <a:buNone/>
              <a:defRPr sz="2000">
                <a:solidFill>
                  <a:schemeClr val="tx1"/>
                </a:solidFill>
                <a:latin typeface="+mn-lt"/>
                <a:cs typeface="+mn-cs"/>
              </a:defRPr>
            </a:lvl6pPr>
            <a:lvl7pPr marL="2743200" indent="0" algn="ctr" rtl="0" fontAlgn="base">
              <a:spcBef>
                <a:spcPct val="20000"/>
              </a:spcBef>
              <a:spcAft>
                <a:spcPct val="0"/>
              </a:spcAft>
              <a:buNone/>
              <a:defRPr sz="2000">
                <a:solidFill>
                  <a:schemeClr val="tx1"/>
                </a:solidFill>
                <a:latin typeface="+mn-lt"/>
                <a:cs typeface="+mn-cs"/>
              </a:defRPr>
            </a:lvl7pPr>
            <a:lvl8pPr marL="3200400" indent="0" algn="ctr" rtl="0" fontAlgn="base">
              <a:spcBef>
                <a:spcPct val="20000"/>
              </a:spcBef>
              <a:spcAft>
                <a:spcPct val="0"/>
              </a:spcAft>
              <a:buNone/>
              <a:defRPr sz="2000">
                <a:solidFill>
                  <a:schemeClr val="tx1"/>
                </a:solidFill>
                <a:latin typeface="+mn-lt"/>
                <a:cs typeface="+mn-cs"/>
              </a:defRPr>
            </a:lvl8pPr>
            <a:lvl9pPr marL="3657600" indent="0" algn="ctr" rtl="0" fontAlgn="base">
              <a:spcBef>
                <a:spcPct val="20000"/>
              </a:spcBef>
              <a:spcAft>
                <a:spcPct val="0"/>
              </a:spcAft>
              <a:buNone/>
              <a:defRPr sz="2000">
                <a:solidFill>
                  <a:schemeClr val="tx1"/>
                </a:solidFill>
                <a:latin typeface="+mn-lt"/>
                <a:cs typeface="+mn-cs"/>
              </a:defRPr>
            </a:lvl9pPr>
          </a:lstStyle>
          <a:p>
            <a:pPr algn="l"/>
            <a:r>
              <a:rPr lang="fr-FR" sz="800" b="1" kern="0" dirty="0"/>
              <a:t>19</a:t>
            </a:r>
          </a:p>
        </p:txBody>
      </p:sp>
      <p:sp>
        <p:nvSpPr>
          <p:cNvPr id="133" name="Sous-titre 4"/>
          <p:cNvSpPr txBox="1">
            <a:spLocks/>
          </p:cNvSpPr>
          <p:nvPr/>
        </p:nvSpPr>
        <p:spPr>
          <a:xfrm>
            <a:off x="7757188" y="4284525"/>
            <a:ext cx="326238" cy="230268"/>
          </a:xfrm>
          <a:prstGeom prst="rect">
            <a:avLst/>
          </a:prstGeom>
          <a:ln>
            <a:noFill/>
          </a:ln>
        </p:spPr>
        <p:txBody>
          <a:bodyPr/>
          <a:lstStyle>
            <a:lvl1pPr marL="0" indent="0" algn="ctr" rtl="0" eaLnBrk="0" fontAlgn="base" hangingPunct="0">
              <a:spcBef>
                <a:spcPct val="20000"/>
              </a:spcBef>
              <a:spcAft>
                <a:spcPct val="0"/>
              </a:spcAft>
              <a:buNone/>
              <a:defRPr sz="3200">
                <a:solidFill>
                  <a:schemeClr val="tx1"/>
                </a:solidFill>
                <a:latin typeface="+mn-lt"/>
                <a:ea typeface="+mn-ea"/>
                <a:cs typeface="+mn-cs"/>
              </a:defRPr>
            </a:lvl1pPr>
            <a:lvl2pPr marL="457200" indent="0" algn="ctr" rtl="0" eaLnBrk="0" fontAlgn="base" hangingPunct="0">
              <a:spcBef>
                <a:spcPct val="20000"/>
              </a:spcBef>
              <a:spcAft>
                <a:spcPct val="0"/>
              </a:spcAft>
              <a:buNone/>
              <a:defRPr sz="2800">
                <a:solidFill>
                  <a:schemeClr val="tx1"/>
                </a:solidFill>
                <a:latin typeface="+mn-lt"/>
                <a:cs typeface="+mn-cs"/>
              </a:defRPr>
            </a:lvl2pPr>
            <a:lvl3pPr marL="914400" indent="0" algn="ctr" rtl="0" eaLnBrk="0" fontAlgn="base" hangingPunct="0">
              <a:spcBef>
                <a:spcPct val="20000"/>
              </a:spcBef>
              <a:spcAft>
                <a:spcPct val="0"/>
              </a:spcAft>
              <a:buNone/>
              <a:defRPr sz="2400">
                <a:solidFill>
                  <a:schemeClr val="tx1"/>
                </a:solidFill>
                <a:latin typeface="+mn-lt"/>
                <a:cs typeface="+mn-cs"/>
              </a:defRPr>
            </a:lvl3pPr>
            <a:lvl4pPr marL="1371600" indent="0" algn="ctr" rtl="0" eaLnBrk="0" fontAlgn="base" hangingPunct="0">
              <a:spcBef>
                <a:spcPct val="20000"/>
              </a:spcBef>
              <a:spcAft>
                <a:spcPct val="0"/>
              </a:spcAft>
              <a:buNone/>
              <a:defRPr sz="2000">
                <a:solidFill>
                  <a:schemeClr val="tx1"/>
                </a:solidFill>
                <a:latin typeface="+mn-lt"/>
                <a:cs typeface="+mn-cs"/>
              </a:defRPr>
            </a:lvl4pPr>
            <a:lvl5pPr marL="1828800" indent="0" algn="ctr" rtl="0" eaLnBrk="0" fontAlgn="base" hangingPunct="0">
              <a:spcBef>
                <a:spcPct val="20000"/>
              </a:spcBef>
              <a:spcAft>
                <a:spcPct val="0"/>
              </a:spcAft>
              <a:buNone/>
              <a:defRPr sz="2000">
                <a:solidFill>
                  <a:schemeClr val="tx1"/>
                </a:solidFill>
                <a:latin typeface="+mn-lt"/>
                <a:cs typeface="+mn-cs"/>
              </a:defRPr>
            </a:lvl5pPr>
            <a:lvl6pPr marL="2286000" indent="0" algn="ctr" rtl="0" fontAlgn="base">
              <a:spcBef>
                <a:spcPct val="20000"/>
              </a:spcBef>
              <a:spcAft>
                <a:spcPct val="0"/>
              </a:spcAft>
              <a:buNone/>
              <a:defRPr sz="2000">
                <a:solidFill>
                  <a:schemeClr val="tx1"/>
                </a:solidFill>
                <a:latin typeface="+mn-lt"/>
                <a:cs typeface="+mn-cs"/>
              </a:defRPr>
            </a:lvl6pPr>
            <a:lvl7pPr marL="2743200" indent="0" algn="ctr" rtl="0" fontAlgn="base">
              <a:spcBef>
                <a:spcPct val="20000"/>
              </a:spcBef>
              <a:spcAft>
                <a:spcPct val="0"/>
              </a:spcAft>
              <a:buNone/>
              <a:defRPr sz="2000">
                <a:solidFill>
                  <a:schemeClr val="tx1"/>
                </a:solidFill>
                <a:latin typeface="+mn-lt"/>
                <a:cs typeface="+mn-cs"/>
              </a:defRPr>
            </a:lvl7pPr>
            <a:lvl8pPr marL="3200400" indent="0" algn="ctr" rtl="0" fontAlgn="base">
              <a:spcBef>
                <a:spcPct val="20000"/>
              </a:spcBef>
              <a:spcAft>
                <a:spcPct val="0"/>
              </a:spcAft>
              <a:buNone/>
              <a:defRPr sz="2000">
                <a:solidFill>
                  <a:schemeClr val="tx1"/>
                </a:solidFill>
                <a:latin typeface="+mn-lt"/>
                <a:cs typeface="+mn-cs"/>
              </a:defRPr>
            </a:lvl8pPr>
            <a:lvl9pPr marL="3657600" indent="0" algn="ctr" rtl="0" fontAlgn="base">
              <a:spcBef>
                <a:spcPct val="20000"/>
              </a:spcBef>
              <a:spcAft>
                <a:spcPct val="0"/>
              </a:spcAft>
              <a:buNone/>
              <a:defRPr sz="2000">
                <a:solidFill>
                  <a:schemeClr val="tx1"/>
                </a:solidFill>
                <a:latin typeface="+mn-lt"/>
                <a:cs typeface="+mn-cs"/>
              </a:defRPr>
            </a:lvl9pPr>
          </a:lstStyle>
          <a:p>
            <a:pPr algn="l"/>
            <a:r>
              <a:rPr lang="fr-FR" sz="800" b="1" kern="0" dirty="0"/>
              <a:t>17</a:t>
            </a:r>
          </a:p>
        </p:txBody>
      </p:sp>
      <p:sp>
        <p:nvSpPr>
          <p:cNvPr id="134" name="Sous-titre 4"/>
          <p:cNvSpPr txBox="1">
            <a:spLocks/>
          </p:cNvSpPr>
          <p:nvPr/>
        </p:nvSpPr>
        <p:spPr>
          <a:xfrm>
            <a:off x="3998880" y="4828852"/>
            <a:ext cx="326238" cy="230268"/>
          </a:xfrm>
          <a:prstGeom prst="rect">
            <a:avLst/>
          </a:prstGeom>
          <a:ln>
            <a:noFill/>
          </a:ln>
        </p:spPr>
        <p:txBody>
          <a:bodyPr/>
          <a:lstStyle>
            <a:lvl1pPr marL="0" indent="0" algn="ctr" rtl="0" eaLnBrk="0" fontAlgn="base" hangingPunct="0">
              <a:spcBef>
                <a:spcPct val="20000"/>
              </a:spcBef>
              <a:spcAft>
                <a:spcPct val="0"/>
              </a:spcAft>
              <a:buNone/>
              <a:defRPr sz="3200">
                <a:solidFill>
                  <a:schemeClr val="tx1"/>
                </a:solidFill>
                <a:latin typeface="+mn-lt"/>
                <a:ea typeface="+mn-ea"/>
                <a:cs typeface="+mn-cs"/>
              </a:defRPr>
            </a:lvl1pPr>
            <a:lvl2pPr marL="457200" indent="0" algn="ctr" rtl="0" eaLnBrk="0" fontAlgn="base" hangingPunct="0">
              <a:spcBef>
                <a:spcPct val="20000"/>
              </a:spcBef>
              <a:spcAft>
                <a:spcPct val="0"/>
              </a:spcAft>
              <a:buNone/>
              <a:defRPr sz="2800">
                <a:solidFill>
                  <a:schemeClr val="tx1"/>
                </a:solidFill>
                <a:latin typeface="+mn-lt"/>
                <a:cs typeface="+mn-cs"/>
              </a:defRPr>
            </a:lvl2pPr>
            <a:lvl3pPr marL="914400" indent="0" algn="ctr" rtl="0" eaLnBrk="0" fontAlgn="base" hangingPunct="0">
              <a:spcBef>
                <a:spcPct val="20000"/>
              </a:spcBef>
              <a:spcAft>
                <a:spcPct val="0"/>
              </a:spcAft>
              <a:buNone/>
              <a:defRPr sz="2400">
                <a:solidFill>
                  <a:schemeClr val="tx1"/>
                </a:solidFill>
                <a:latin typeface="+mn-lt"/>
                <a:cs typeface="+mn-cs"/>
              </a:defRPr>
            </a:lvl3pPr>
            <a:lvl4pPr marL="1371600" indent="0" algn="ctr" rtl="0" eaLnBrk="0" fontAlgn="base" hangingPunct="0">
              <a:spcBef>
                <a:spcPct val="20000"/>
              </a:spcBef>
              <a:spcAft>
                <a:spcPct val="0"/>
              </a:spcAft>
              <a:buNone/>
              <a:defRPr sz="2000">
                <a:solidFill>
                  <a:schemeClr val="tx1"/>
                </a:solidFill>
                <a:latin typeface="+mn-lt"/>
                <a:cs typeface="+mn-cs"/>
              </a:defRPr>
            </a:lvl4pPr>
            <a:lvl5pPr marL="1828800" indent="0" algn="ctr" rtl="0" eaLnBrk="0" fontAlgn="base" hangingPunct="0">
              <a:spcBef>
                <a:spcPct val="20000"/>
              </a:spcBef>
              <a:spcAft>
                <a:spcPct val="0"/>
              </a:spcAft>
              <a:buNone/>
              <a:defRPr sz="2000">
                <a:solidFill>
                  <a:schemeClr val="tx1"/>
                </a:solidFill>
                <a:latin typeface="+mn-lt"/>
                <a:cs typeface="+mn-cs"/>
              </a:defRPr>
            </a:lvl5pPr>
            <a:lvl6pPr marL="2286000" indent="0" algn="ctr" rtl="0" fontAlgn="base">
              <a:spcBef>
                <a:spcPct val="20000"/>
              </a:spcBef>
              <a:spcAft>
                <a:spcPct val="0"/>
              </a:spcAft>
              <a:buNone/>
              <a:defRPr sz="2000">
                <a:solidFill>
                  <a:schemeClr val="tx1"/>
                </a:solidFill>
                <a:latin typeface="+mn-lt"/>
                <a:cs typeface="+mn-cs"/>
              </a:defRPr>
            </a:lvl6pPr>
            <a:lvl7pPr marL="2743200" indent="0" algn="ctr" rtl="0" fontAlgn="base">
              <a:spcBef>
                <a:spcPct val="20000"/>
              </a:spcBef>
              <a:spcAft>
                <a:spcPct val="0"/>
              </a:spcAft>
              <a:buNone/>
              <a:defRPr sz="2000">
                <a:solidFill>
                  <a:schemeClr val="tx1"/>
                </a:solidFill>
                <a:latin typeface="+mn-lt"/>
                <a:cs typeface="+mn-cs"/>
              </a:defRPr>
            </a:lvl7pPr>
            <a:lvl8pPr marL="3200400" indent="0" algn="ctr" rtl="0" fontAlgn="base">
              <a:spcBef>
                <a:spcPct val="20000"/>
              </a:spcBef>
              <a:spcAft>
                <a:spcPct val="0"/>
              </a:spcAft>
              <a:buNone/>
              <a:defRPr sz="2000">
                <a:solidFill>
                  <a:schemeClr val="tx1"/>
                </a:solidFill>
                <a:latin typeface="+mn-lt"/>
                <a:cs typeface="+mn-cs"/>
              </a:defRPr>
            </a:lvl8pPr>
            <a:lvl9pPr marL="3657600" indent="0" algn="ctr" rtl="0" fontAlgn="base">
              <a:spcBef>
                <a:spcPct val="20000"/>
              </a:spcBef>
              <a:spcAft>
                <a:spcPct val="0"/>
              </a:spcAft>
              <a:buNone/>
              <a:defRPr sz="2000">
                <a:solidFill>
                  <a:schemeClr val="tx1"/>
                </a:solidFill>
                <a:latin typeface="+mn-lt"/>
                <a:cs typeface="+mn-cs"/>
              </a:defRPr>
            </a:lvl9pPr>
          </a:lstStyle>
          <a:p>
            <a:pPr algn="l"/>
            <a:r>
              <a:rPr lang="fr-FR" sz="800" b="1" kern="0" dirty="0"/>
              <a:t>19</a:t>
            </a:r>
          </a:p>
        </p:txBody>
      </p:sp>
      <p:sp>
        <p:nvSpPr>
          <p:cNvPr id="135" name="Sous-titre 4"/>
          <p:cNvSpPr txBox="1">
            <a:spLocks/>
          </p:cNvSpPr>
          <p:nvPr/>
        </p:nvSpPr>
        <p:spPr>
          <a:xfrm>
            <a:off x="7766148" y="4990921"/>
            <a:ext cx="326238" cy="230268"/>
          </a:xfrm>
          <a:prstGeom prst="rect">
            <a:avLst/>
          </a:prstGeom>
          <a:ln>
            <a:noFill/>
          </a:ln>
        </p:spPr>
        <p:txBody>
          <a:bodyPr/>
          <a:lstStyle>
            <a:lvl1pPr marL="0" indent="0" algn="ctr" rtl="0" eaLnBrk="0" fontAlgn="base" hangingPunct="0">
              <a:spcBef>
                <a:spcPct val="20000"/>
              </a:spcBef>
              <a:spcAft>
                <a:spcPct val="0"/>
              </a:spcAft>
              <a:buNone/>
              <a:defRPr sz="3200">
                <a:solidFill>
                  <a:schemeClr val="tx1"/>
                </a:solidFill>
                <a:latin typeface="+mn-lt"/>
                <a:ea typeface="+mn-ea"/>
                <a:cs typeface="+mn-cs"/>
              </a:defRPr>
            </a:lvl1pPr>
            <a:lvl2pPr marL="457200" indent="0" algn="ctr" rtl="0" eaLnBrk="0" fontAlgn="base" hangingPunct="0">
              <a:spcBef>
                <a:spcPct val="20000"/>
              </a:spcBef>
              <a:spcAft>
                <a:spcPct val="0"/>
              </a:spcAft>
              <a:buNone/>
              <a:defRPr sz="2800">
                <a:solidFill>
                  <a:schemeClr val="tx1"/>
                </a:solidFill>
                <a:latin typeface="+mn-lt"/>
                <a:cs typeface="+mn-cs"/>
              </a:defRPr>
            </a:lvl2pPr>
            <a:lvl3pPr marL="914400" indent="0" algn="ctr" rtl="0" eaLnBrk="0" fontAlgn="base" hangingPunct="0">
              <a:spcBef>
                <a:spcPct val="20000"/>
              </a:spcBef>
              <a:spcAft>
                <a:spcPct val="0"/>
              </a:spcAft>
              <a:buNone/>
              <a:defRPr sz="2400">
                <a:solidFill>
                  <a:schemeClr val="tx1"/>
                </a:solidFill>
                <a:latin typeface="+mn-lt"/>
                <a:cs typeface="+mn-cs"/>
              </a:defRPr>
            </a:lvl3pPr>
            <a:lvl4pPr marL="1371600" indent="0" algn="ctr" rtl="0" eaLnBrk="0" fontAlgn="base" hangingPunct="0">
              <a:spcBef>
                <a:spcPct val="20000"/>
              </a:spcBef>
              <a:spcAft>
                <a:spcPct val="0"/>
              </a:spcAft>
              <a:buNone/>
              <a:defRPr sz="2000">
                <a:solidFill>
                  <a:schemeClr val="tx1"/>
                </a:solidFill>
                <a:latin typeface="+mn-lt"/>
                <a:cs typeface="+mn-cs"/>
              </a:defRPr>
            </a:lvl4pPr>
            <a:lvl5pPr marL="1828800" indent="0" algn="ctr" rtl="0" eaLnBrk="0" fontAlgn="base" hangingPunct="0">
              <a:spcBef>
                <a:spcPct val="20000"/>
              </a:spcBef>
              <a:spcAft>
                <a:spcPct val="0"/>
              </a:spcAft>
              <a:buNone/>
              <a:defRPr sz="2000">
                <a:solidFill>
                  <a:schemeClr val="tx1"/>
                </a:solidFill>
                <a:latin typeface="+mn-lt"/>
                <a:cs typeface="+mn-cs"/>
              </a:defRPr>
            </a:lvl5pPr>
            <a:lvl6pPr marL="2286000" indent="0" algn="ctr" rtl="0" fontAlgn="base">
              <a:spcBef>
                <a:spcPct val="20000"/>
              </a:spcBef>
              <a:spcAft>
                <a:spcPct val="0"/>
              </a:spcAft>
              <a:buNone/>
              <a:defRPr sz="2000">
                <a:solidFill>
                  <a:schemeClr val="tx1"/>
                </a:solidFill>
                <a:latin typeface="+mn-lt"/>
                <a:cs typeface="+mn-cs"/>
              </a:defRPr>
            </a:lvl6pPr>
            <a:lvl7pPr marL="2743200" indent="0" algn="ctr" rtl="0" fontAlgn="base">
              <a:spcBef>
                <a:spcPct val="20000"/>
              </a:spcBef>
              <a:spcAft>
                <a:spcPct val="0"/>
              </a:spcAft>
              <a:buNone/>
              <a:defRPr sz="2000">
                <a:solidFill>
                  <a:schemeClr val="tx1"/>
                </a:solidFill>
                <a:latin typeface="+mn-lt"/>
                <a:cs typeface="+mn-cs"/>
              </a:defRPr>
            </a:lvl7pPr>
            <a:lvl8pPr marL="3200400" indent="0" algn="ctr" rtl="0" fontAlgn="base">
              <a:spcBef>
                <a:spcPct val="20000"/>
              </a:spcBef>
              <a:spcAft>
                <a:spcPct val="0"/>
              </a:spcAft>
              <a:buNone/>
              <a:defRPr sz="2000">
                <a:solidFill>
                  <a:schemeClr val="tx1"/>
                </a:solidFill>
                <a:latin typeface="+mn-lt"/>
                <a:cs typeface="+mn-cs"/>
              </a:defRPr>
            </a:lvl8pPr>
            <a:lvl9pPr marL="3657600" indent="0" algn="ctr" rtl="0" fontAlgn="base">
              <a:spcBef>
                <a:spcPct val="20000"/>
              </a:spcBef>
              <a:spcAft>
                <a:spcPct val="0"/>
              </a:spcAft>
              <a:buNone/>
              <a:defRPr sz="2000">
                <a:solidFill>
                  <a:schemeClr val="tx1"/>
                </a:solidFill>
                <a:latin typeface="+mn-lt"/>
                <a:cs typeface="+mn-cs"/>
              </a:defRPr>
            </a:lvl9pPr>
          </a:lstStyle>
          <a:p>
            <a:pPr algn="l"/>
            <a:r>
              <a:rPr lang="fr-FR" sz="800" b="1" kern="0" dirty="0"/>
              <a:t>20</a:t>
            </a:r>
          </a:p>
        </p:txBody>
      </p:sp>
      <p:sp>
        <p:nvSpPr>
          <p:cNvPr id="136" name="Sous-titre 4"/>
          <p:cNvSpPr txBox="1">
            <a:spLocks/>
          </p:cNvSpPr>
          <p:nvPr/>
        </p:nvSpPr>
        <p:spPr>
          <a:xfrm>
            <a:off x="2891130" y="6480832"/>
            <a:ext cx="326238" cy="230268"/>
          </a:xfrm>
          <a:prstGeom prst="rect">
            <a:avLst/>
          </a:prstGeom>
        </p:spPr>
        <p:txBody>
          <a:bodyPr/>
          <a:lstStyle>
            <a:lvl1pPr marL="0" indent="0" algn="ctr" rtl="0" eaLnBrk="0" fontAlgn="base" hangingPunct="0">
              <a:spcBef>
                <a:spcPct val="20000"/>
              </a:spcBef>
              <a:spcAft>
                <a:spcPct val="0"/>
              </a:spcAft>
              <a:buNone/>
              <a:defRPr sz="3200">
                <a:solidFill>
                  <a:schemeClr val="tx1"/>
                </a:solidFill>
                <a:latin typeface="+mn-lt"/>
                <a:ea typeface="+mn-ea"/>
                <a:cs typeface="+mn-cs"/>
              </a:defRPr>
            </a:lvl1pPr>
            <a:lvl2pPr marL="457200" indent="0" algn="ctr" rtl="0" eaLnBrk="0" fontAlgn="base" hangingPunct="0">
              <a:spcBef>
                <a:spcPct val="20000"/>
              </a:spcBef>
              <a:spcAft>
                <a:spcPct val="0"/>
              </a:spcAft>
              <a:buNone/>
              <a:defRPr sz="2800">
                <a:solidFill>
                  <a:schemeClr val="tx1"/>
                </a:solidFill>
                <a:latin typeface="+mn-lt"/>
                <a:cs typeface="+mn-cs"/>
              </a:defRPr>
            </a:lvl2pPr>
            <a:lvl3pPr marL="914400" indent="0" algn="ctr" rtl="0" eaLnBrk="0" fontAlgn="base" hangingPunct="0">
              <a:spcBef>
                <a:spcPct val="20000"/>
              </a:spcBef>
              <a:spcAft>
                <a:spcPct val="0"/>
              </a:spcAft>
              <a:buNone/>
              <a:defRPr sz="2400">
                <a:solidFill>
                  <a:schemeClr val="tx1"/>
                </a:solidFill>
                <a:latin typeface="+mn-lt"/>
                <a:cs typeface="+mn-cs"/>
              </a:defRPr>
            </a:lvl3pPr>
            <a:lvl4pPr marL="1371600" indent="0" algn="ctr" rtl="0" eaLnBrk="0" fontAlgn="base" hangingPunct="0">
              <a:spcBef>
                <a:spcPct val="20000"/>
              </a:spcBef>
              <a:spcAft>
                <a:spcPct val="0"/>
              </a:spcAft>
              <a:buNone/>
              <a:defRPr sz="2000">
                <a:solidFill>
                  <a:schemeClr val="tx1"/>
                </a:solidFill>
                <a:latin typeface="+mn-lt"/>
                <a:cs typeface="+mn-cs"/>
              </a:defRPr>
            </a:lvl4pPr>
            <a:lvl5pPr marL="1828800" indent="0" algn="ctr" rtl="0" eaLnBrk="0" fontAlgn="base" hangingPunct="0">
              <a:spcBef>
                <a:spcPct val="20000"/>
              </a:spcBef>
              <a:spcAft>
                <a:spcPct val="0"/>
              </a:spcAft>
              <a:buNone/>
              <a:defRPr sz="2000">
                <a:solidFill>
                  <a:schemeClr val="tx1"/>
                </a:solidFill>
                <a:latin typeface="+mn-lt"/>
                <a:cs typeface="+mn-cs"/>
              </a:defRPr>
            </a:lvl5pPr>
            <a:lvl6pPr marL="2286000" indent="0" algn="ctr" rtl="0" fontAlgn="base">
              <a:spcBef>
                <a:spcPct val="20000"/>
              </a:spcBef>
              <a:spcAft>
                <a:spcPct val="0"/>
              </a:spcAft>
              <a:buNone/>
              <a:defRPr sz="2000">
                <a:solidFill>
                  <a:schemeClr val="tx1"/>
                </a:solidFill>
                <a:latin typeface="+mn-lt"/>
                <a:cs typeface="+mn-cs"/>
              </a:defRPr>
            </a:lvl6pPr>
            <a:lvl7pPr marL="2743200" indent="0" algn="ctr" rtl="0" fontAlgn="base">
              <a:spcBef>
                <a:spcPct val="20000"/>
              </a:spcBef>
              <a:spcAft>
                <a:spcPct val="0"/>
              </a:spcAft>
              <a:buNone/>
              <a:defRPr sz="2000">
                <a:solidFill>
                  <a:schemeClr val="tx1"/>
                </a:solidFill>
                <a:latin typeface="+mn-lt"/>
                <a:cs typeface="+mn-cs"/>
              </a:defRPr>
            </a:lvl7pPr>
            <a:lvl8pPr marL="3200400" indent="0" algn="ctr" rtl="0" fontAlgn="base">
              <a:spcBef>
                <a:spcPct val="20000"/>
              </a:spcBef>
              <a:spcAft>
                <a:spcPct val="0"/>
              </a:spcAft>
              <a:buNone/>
              <a:defRPr sz="2000">
                <a:solidFill>
                  <a:schemeClr val="tx1"/>
                </a:solidFill>
                <a:latin typeface="+mn-lt"/>
                <a:cs typeface="+mn-cs"/>
              </a:defRPr>
            </a:lvl8pPr>
            <a:lvl9pPr marL="3657600" indent="0" algn="ctr" rtl="0" fontAlgn="base">
              <a:spcBef>
                <a:spcPct val="20000"/>
              </a:spcBef>
              <a:spcAft>
                <a:spcPct val="0"/>
              </a:spcAft>
              <a:buNone/>
              <a:defRPr sz="2000">
                <a:solidFill>
                  <a:schemeClr val="tx1"/>
                </a:solidFill>
                <a:latin typeface="+mn-lt"/>
                <a:cs typeface="+mn-cs"/>
              </a:defRPr>
            </a:lvl9pPr>
          </a:lstStyle>
          <a:p>
            <a:pPr algn="l"/>
            <a:r>
              <a:rPr lang="fr-FR" sz="800" b="1" kern="0" dirty="0"/>
              <a:t>20</a:t>
            </a:r>
          </a:p>
        </p:txBody>
      </p:sp>
      <p:sp>
        <p:nvSpPr>
          <p:cNvPr id="137" name="Sous-titre 4"/>
          <p:cNvSpPr txBox="1">
            <a:spLocks/>
          </p:cNvSpPr>
          <p:nvPr/>
        </p:nvSpPr>
        <p:spPr>
          <a:xfrm>
            <a:off x="7763960" y="5458086"/>
            <a:ext cx="326238" cy="230268"/>
          </a:xfrm>
          <a:prstGeom prst="rect">
            <a:avLst/>
          </a:prstGeom>
          <a:ln>
            <a:noFill/>
          </a:ln>
        </p:spPr>
        <p:txBody>
          <a:bodyPr/>
          <a:lstStyle>
            <a:lvl1pPr marL="0" indent="0" algn="ctr" rtl="0" eaLnBrk="0" fontAlgn="base" hangingPunct="0">
              <a:spcBef>
                <a:spcPct val="20000"/>
              </a:spcBef>
              <a:spcAft>
                <a:spcPct val="0"/>
              </a:spcAft>
              <a:buNone/>
              <a:defRPr sz="3200">
                <a:solidFill>
                  <a:schemeClr val="tx1"/>
                </a:solidFill>
                <a:latin typeface="+mn-lt"/>
                <a:ea typeface="+mn-ea"/>
                <a:cs typeface="+mn-cs"/>
              </a:defRPr>
            </a:lvl1pPr>
            <a:lvl2pPr marL="457200" indent="0" algn="ctr" rtl="0" eaLnBrk="0" fontAlgn="base" hangingPunct="0">
              <a:spcBef>
                <a:spcPct val="20000"/>
              </a:spcBef>
              <a:spcAft>
                <a:spcPct val="0"/>
              </a:spcAft>
              <a:buNone/>
              <a:defRPr sz="2800">
                <a:solidFill>
                  <a:schemeClr val="tx1"/>
                </a:solidFill>
                <a:latin typeface="+mn-lt"/>
                <a:cs typeface="+mn-cs"/>
              </a:defRPr>
            </a:lvl2pPr>
            <a:lvl3pPr marL="914400" indent="0" algn="ctr" rtl="0" eaLnBrk="0" fontAlgn="base" hangingPunct="0">
              <a:spcBef>
                <a:spcPct val="20000"/>
              </a:spcBef>
              <a:spcAft>
                <a:spcPct val="0"/>
              </a:spcAft>
              <a:buNone/>
              <a:defRPr sz="2400">
                <a:solidFill>
                  <a:schemeClr val="tx1"/>
                </a:solidFill>
                <a:latin typeface="+mn-lt"/>
                <a:cs typeface="+mn-cs"/>
              </a:defRPr>
            </a:lvl3pPr>
            <a:lvl4pPr marL="1371600" indent="0" algn="ctr" rtl="0" eaLnBrk="0" fontAlgn="base" hangingPunct="0">
              <a:spcBef>
                <a:spcPct val="20000"/>
              </a:spcBef>
              <a:spcAft>
                <a:spcPct val="0"/>
              </a:spcAft>
              <a:buNone/>
              <a:defRPr sz="2000">
                <a:solidFill>
                  <a:schemeClr val="tx1"/>
                </a:solidFill>
                <a:latin typeface="+mn-lt"/>
                <a:cs typeface="+mn-cs"/>
              </a:defRPr>
            </a:lvl4pPr>
            <a:lvl5pPr marL="1828800" indent="0" algn="ctr" rtl="0" eaLnBrk="0" fontAlgn="base" hangingPunct="0">
              <a:spcBef>
                <a:spcPct val="20000"/>
              </a:spcBef>
              <a:spcAft>
                <a:spcPct val="0"/>
              </a:spcAft>
              <a:buNone/>
              <a:defRPr sz="2000">
                <a:solidFill>
                  <a:schemeClr val="tx1"/>
                </a:solidFill>
                <a:latin typeface="+mn-lt"/>
                <a:cs typeface="+mn-cs"/>
              </a:defRPr>
            </a:lvl5pPr>
            <a:lvl6pPr marL="2286000" indent="0" algn="ctr" rtl="0" fontAlgn="base">
              <a:spcBef>
                <a:spcPct val="20000"/>
              </a:spcBef>
              <a:spcAft>
                <a:spcPct val="0"/>
              </a:spcAft>
              <a:buNone/>
              <a:defRPr sz="2000">
                <a:solidFill>
                  <a:schemeClr val="tx1"/>
                </a:solidFill>
                <a:latin typeface="+mn-lt"/>
                <a:cs typeface="+mn-cs"/>
              </a:defRPr>
            </a:lvl6pPr>
            <a:lvl7pPr marL="2743200" indent="0" algn="ctr" rtl="0" fontAlgn="base">
              <a:spcBef>
                <a:spcPct val="20000"/>
              </a:spcBef>
              <a:spcAft>
                <a:spcPct val="0"/>
              </a:spcAft>
              <a:buNone/>
              <a:defRPr sz="2000">
                <a:solidFill>
                  <a:schemeClr val="tx1"/>
                </a:solidFill>
                <a:latin typeface="+mn-lt"/>
                <a:cs typeface="+mn-cs"/>
              </a:defRPr>
            </a:lvl7pPr>
            <a:lvl8pPr marL="3200400" indent="0" algn="ctr" rtl="0" fontAlgn="base">
              <a:spcBef>
                <a:spcPct val="20000"/>
              </a:spcBef>
              <a:spcAft>
                <a:spcPct val="0"/>
              </a:spcAft>
              <a:buNone/>
              <a:defRPr sz="2000">
                <a:solidFill>
                  <a:schemeClr val="tx1"/>
                </a:solidFill>
                <a:latin typeface="+mn-lt"/>
                <a:cs typeface="+mn-cs"/>
              </a:defRPr>
            </a:lvl8pPr>
            <a:lvl9pPr marL="3657600" indent="0" algn="ctr" rtl="0" fontAlgn="base">
              <a:spcBef>
                <a:spcPct val="20000"/>
              </a:spcBef>
              <a:spcAft>
                <a:spcPct val="0"/>
              </a:spcAft>
              <a:buNone/>
              <a:defRPr sz="2000">
                <a:solidFill>
                  <a:schemeClr val="tx1"/>
                </a:solidFill>
                <a:latin typeface="+mn-lt"/>
                <a:cs typeface="+mn-cs"/>
              </a:defRPr>
            </a:lvl9pPr>
          </a:lstStyle>
          <a:p>
            <a:pPr algn="l"/>
            <a:r>
              <a:rPr lang="fr-FR" sz="800" b="1" kern="0" dirty="0"/>
              <a:t>22</a:t>
            </a:r>
          </a:p>
        </p:txBody>
      </p:sp>
      <p:sp>
        <p:nvSpPr>
          <p:cNvPr id="138" name="Sous-titre 4"/>
          <p:cNvSpPr txBox="1">
            <a:spLocks/>
          </p:cNvSpPr>
          <p:nvPr/>
        </p:nvSpPr>
        <p:spPr>
          <a:xfrm>
            <a:off x="7764049" y="5213612"/>
            <a:ext cx="326238" cy="230268"/>
          </a:xfrm>
          <a:prstGeom prst="rect">
            <a:avLst/>
          </a:prstGeom>
          <a:ln>
            <a:noFill/>
          </a:ln>
        </p:spPr>
        <p:txBody>
          <a:bodyPr/>
          <a:lstStyle>
            <a:lvl1pPr marL="0" indent="0" algn="ctr" rtl="0" eaLnBrk="0" fontAlgn="base" hangingPunct="0">
              <a:spcBef>
                <a:spcPct val="20000"/>
              </a:spcBef>
              <a:spcAft>
                <a:spcPct val="0"/>
              </a:spcAft>
              <a:buNone/>
              <a:defRPr sz="3200">
                <a:solidFill>
                  <a:schemeClr val="tx1"/>
                </a:solidFill>
                <a:latin typeface="+mn-lt"/>
                <a:ea typeface="+mn-ea"/>
                <a:cs typeface="+mn-cs"/>
              </a:defRPr>
            </a:lvl1pPr>
            <a:lvl2pPr marL="457200" indent="0" algn="ctr" rtl="0" eaLnBrk="0" fontAlgn="base" hangingPunct="0">
              <a:spcBef>
                <a:spcPct val="20000"/>
              </a:spcBef>
              <a:spcAft>
                <a:spcPct val="0"/>
              </a:spcAft>
              <a:buNone/>
              <a:defRPr sz="2800">
                <a:solidFill>
                  <a:schemeClr val="tx1"/>
                </a:solidFill>
                <a:latin typeface="+mn-lt"/>
                <a:cs typeface="+mn-cs"/>
              </a:defRPr>
            </a:lvl2pPr>
            <a:lvl3pPr marL="914400" indent="0" algn="ctr" rtl="0" eaLnBrk="0" fontAlgn="base" hangingPunct="0">
              <a:spcBef>
                <a:spcPct val="20000"/>
              </a:spcBef>
              <a:spcAft>
                <a:spcPct val="0"/>
              </a:spcAft>
              <a:buNone/>
              <a:defRPr sz="2400">
                <a:solidFill>
                  <a:schemeClr val="tx1"/>
                </a:solidFill>
                <a:latin typeface="+mn-lt"/>
                <a:cs typeface="+mn-cs"/>
              </a:defRPr>
            </a:lvl3pPr>
            <a:lvl4pPr marL="1371600" indent="0" algn="ctr" rtl="0" eaLnBrk="0" fontAlgn="base" hangingPunct="0">
              <a:spcBef>
                <a:spcPct val="20000"/>
              </a:spcBef>
              <a:spcAft>
                <a:spcPct val="0"/>
              </a:spcAft>
              <a:buNone/>
              <a:defRPr sz="2000">
                <a:solidFill>
                  <a:schemeClr val="tx1"/>
                </a:solidFill>
                <a:latin typeface="+mn-lt"/>
                <a:cs typeface="+mn-cs"/>
              </a:defRPr>
            </a:lvl4pPr>
            <a:lvl5pPr marL="1828800" indent="0" algn="ctr" rtl="0" eaLnBrk="0" fontAlgn="base" hangingPunct="0">
              <a:spcBef>
                <a:spcPct val="20000"/>
              </a:spcBef>
              <a:spcAft>
                <a:spcPct val="0"/>
              </a:spcAft>
              <a:buNone/>
              <a:defRPr sz="2000">
                <a:solidFill>
                  <a:schemeClr val="tx1"/>
                </a:solidFill>
                <a:latin typeface="+mn-lt"/>
                <a:cs typeface="+mn-cs"/>
              </a:defRPr>
            </a:lvl5pPr>
            <a:lvl6pPr marL="2286000" indent="0" algn="ctr" rtl="0" fontAlgn="base">
              <a:spcBef>
                <a:spcPct val="20000"/>
              </a:spcBef>
              <a:spcAft>
                <a:spcPct val="0"/>
              </a:spcAft>
              <a:buNone/>
              <a:defRPr sz="2000">
                <a:solidFill>
                  <a:schemeClr val="tx1"/>
                </a:solidFill>
                <a:latin typeface="+mn-lt"/>
                <a:cs typeface="+mn-cs"/>
              </a:defRPr>
            </a:lvl6pPr>
            <a:lvl7pPr marL="2743200" indent="0" algn="ctr" rtl="0" fontAlgn="base">
              <a:spcBef>
                <a:spcPct val="20000"/>
              </a:spcBef>
              <a:spcAft>
                <a:spcPct val="0"/>
              </a:spcAft>
              <a:buNone/>
              <a:defRPr sz="2000">
                <a:solidFill>
                  <a:schemeClr val="tx1"/>
                </a:solidFill>
                <a:latin typeface="+mn-lt"/>
                <a:cs typeface="+mn-cs"/>
              </a:defRPr>
            </a:lvl7pPr>
            <a:lvl8pPr marL="3200400" indent="0" algn="ctr" rtl="0" fontAlgn="base">
              <a:spcBef>
                <a:spcPct val="20000"/>
              </a:spcBef>
              <a:spcAft>
                <a:spcPct val="0"/>
              </a:spcAft>
              <a:buNone/>
              <a:defRPr sz="2000">
                <a:solidFill>
                  <a:schemeClr val="tx1"/>
                </a:solidFill>
                <a:latin typeface="+mn-lt"/>
                <a:cs typeface="+mn-cs"/>
              </a:defRPr>
            </a:lvl8pPr>
            <a:lvl9pPr marL="3657600" indent="0" algn="ctr" rtl="0" fontAlgn="base">
              <a:spcBef>
                <a:spcPct val="20000"/>
              </a:spcBef>
              <a:spcAft>
                <a:spcPct val="0"/>
              </a:spcAft>
              <a:buNone/>
              <a:defRPr sz="2000">
                <a:solidFill>
                  <a:schemeClr val="tx1"/>
                </a:solidFill>
                <a:latin typeface="+mn-lt"/>
                <a:cs typeface="+mn-cs"/>
              </a:defRPr>
            </a:lvl9pPr>
          </a:lstStyle>
          <a:p>
            <a:pPr algn="l"/>
            <a:r>
              <a:rPr lang="fr-FR" sz="800" b="1" kern="0" dirty="0"/>
              <a:t>21</a:t>
            </a:r>
          </a:p>
        </p:txBody>
      </p:sp>
      <p:sp>
        <p:nvSpPr>
          <p:cNvPr id="139" name="Sous-titre 4"/>
          <p:cNvSpPr txBox="1">
            <a:spLocks/>
          </p:cNvSpPr>
          <p:nvPr/>
        </p:nvSpPr>
        <p:spPr>
          <a:xfrm>
            <a:off x="3188220" y="6674434"/>
            <a:ext cx="326238" cy="230268"/>
          </a:xfrm>
          <a:prstGeom prst="rect">
            <a:avLst/>
          </a:prstGeom>
          <a:ln>
            <a:noFill/>
          </a:ln>
        </p:spPr>
        <p:txBody>
          <a:bodyPr/>
          <a:lstStyle>
            <a:lvl1pPr marL="0" indent="0" algn="ctr" rtl="0" eaLnBrk="0" fontAlgn="base" hangingPunct="0">
              <a:spcBef>
                <a:spcPct val="20000"/>
              </a:spcBef>
              <a:spcAft>
                <a:spcPct val="0"/>
              </a:spcAft>
              <a:buNone/>
              <a:defRPr sz="3200">
                <a:solidFill>
                  <a:schemeClr val="tx1"/>
                </a:solidFill>
                <a:latin typeface="+mn-lt"/>
                <a:ea typeface="+mn-ea"/>
                <a:cs typeface="+mn-cs"/>
              </a:defRPr>
            </a:lvl1pPr>
            <a:lvl2pPr marL="457200" indent="0" algn="ctr" rtl="0" eaLnBrk="0" fontAlgn="base" hangingPunct="0">
              <a:spcBef>
                <a:spcPct val="20000"/>
              </a:spcBef>
              <a:spcAft>
                <a:spcPct val="0"/>
              </a:spcAft>
              <a:buNone/>
              <a:defRPr sz="2800">
                <a:solidFill>
                  <a:schemeClr val="tx1"/>
                </a:solidFill>
                <a:latin typeface="+mn-lt"/>
                <a:cs typeface="+mn-cs"/>
              </a:defRPr>
            </a:lvl2pPr>
            <a:lvl3pPr marL="914400" indent="0" algn="ctr" rtl="0" eaLnBrk="0" fontAlgn="base" hangingPunct="0">
              <a:spcBef>
                <a:spcPct val="20000"/>
              </a:spcBef>
              <a:spcAft>
                <a:spcPct val="0"/>
              </a:spcAft>
              <a:buNone/>
              <a:defRPr sz="2400">
                <a:solidFill>
                  <a:schemeClr val="tx1"/>
                </a:solidFill>
                <a:latin typeface="+mn-lt"/>
                <a:cs typeface="+mn-cs"/>
              </a:defRPr>
            </a:lvl3pPr>
            <a:lvl4pPr marL="1371600" indent="0" algn="ctr" rtl="0" eaLnBrk="0" fontAlgn="base" hangingPunct="0">
              <a:spcBef>
                <a:spcPct val="20000"/>
              </a:spcBef>
              <a:spcAft>
                <a:spcPct val="0"/>
              </a:spcAft>
              <a:buNone/>
              <a:defRPr sz="2000">
                <a:solidFill>
                  <a:schemeClr val="tx1"/>
                </a:solidFill>
                <a:latin typeface="+mn-lt"/>
                <a:cs typeface="+mn-cs"/>
              </a:defRPr>
            </a:lvl4pPr>
            <a:lvl5pPr marL="1828800" indent="0" algn="ctr" rtl="0" eaLnBrk="0" fontAlgn="base" hangingPunct="0">
              <a:spcBef>
                <a:spcPct val="20000"/>
              </a:spcBef>
              <a:spcAft>
                <a:spcPct val="0"/>
              </a:spcAft>
              <a:buNone/>
              <a:defRPr sz="2000">
                <a:solidFill>
                  <a:schemeClr val="tx1"/>
                </a:solidFill>
                <a:latin typeface="+mn-lt"/>
                <a:cs typeface="+mn-cs"/>
              </a:defRPr>
            </a:lvl5pPr>
            <a:lvl6pPr marL="2286000" indent="0" algn="ctr" rtl="0" fontAlgn="base">
              <a:spcBef>
                <a:spcPct val="20000"/>
              </a:spcBef>
              <a:spcAft>
                <a:spcPct val="0"/>
              </a:spcAft>
              <a:buNone/>
              <a:defRPr sz="2000">
                <a:solidFill>
                  <a:schemeClr val="tx1"/>
                </a:solidFill>
                <a:latin typeface="+mn-lt"/>
                <a:cs typeface="+mn-cs"/>
              </a:defRPr>
            </a:lvl6pPr>
            <a:lvl7pPr marL="2743200" indent="0" algn="ctr" rtl="0" fontAlgn="base">
              <a:spcBef>
                <a:spcPct val="20000"/>
              </a:spcBef>
              <a:spcAft>
                <a:spcPct val="0"/>
              </a:spcAft>
              <a:buNone/>
              <a:defRPr sz="2000">
                <a:solidFill>
                  <a:schemeClr val="tx1"/>
                </a:solidFill>
                <a:latin typeface="+mn-lt"/>
                <a:cs typeface="+mn-cs"/>
              </a:defRPr>
            </a:lvl7pPr>
            <a:lvl8pPr marL="3200400" indent="0" algn="ctr" rtl="0" fontAlgn="base">
              <a:spcBef>
                <a:spcPct val="20000"/>
              </a:spcBef>
              <a:spcAft>
                <a:spcPct val="0"/>
              </a:spcAft>
              <a:buNone/>
              <a:defRPr sz="2000">
                <a:solidFill>
                  <a:schemeClr val="tx1"/>
                </a:solidFill>
                <a:latin typeface="+mn-lt"/>
                <a:cs typeface="+mn-cs"/>
              </a:defRPr>
            </a:lvl8pPr>
            <a:lvl9pPr marL="3657600" indent="0" algn="ctr" rtl="0" fontAlgn="base">
              <a:spcBef>
                <a:spcPct val="20000"/>
              </a:spcBef>
              <a:spcAft>
                <a:spcPct val="0"/>
              </a:spcAft>
              <a:buNone/>
              <a:defRPr sz="2000">
                <a:solidFill>
                  <a:schemeClr val="tx1"/>
                </a:solidFill>
                <a:latin typeface="+mn-lt"/>
                <a:cs typeface="+mn-cs"/>
              </a:defRPr>
            </a:lvl9pPr>
          </a:lstStyle>
          <a:p>
            <a:pPr algn="l"/>
            <a:r>
              <a:rPr lang="fr-FR" sz="800" b="1" kern="0" dirty="0"/>
              <a:t>21</a:t>
            </a:r>
          </a:p>
        </p:txBody>
      </p:sp>
      <p:sp>
        <p:nvSpPr>
          <p:cNvPr id="140" name="Sous-titre 4"/>
          <p:cNvSpPr txBox="1">
            <a:spLocks/>
          </p:cNvSpPr>
          <p:nvPr/>
        </p:nvSpPr>
        <p:spPr>
          <a:xfrm>
            <a:off x="4301944" y="3970632"/>
            <a:ext cx="326238" cy="230268"/>
          </a:xfrm>
          <a:prstGeom prst="rect">
            <a:avLst/>
          </a:prstGeom>
          <a:ln>
            <a:noFill/>
          </a:ln>
        </p:spPr>
        <p:txBody>
          <a:bodyPr/>
          <a:lstStyle>
            <a:lvl1pPr marL="0" indent="0" algn="ctr" rtl="0" eaLnBrk="0" fontAlgn="base" hangingPunct="0">
              <a:spcBef>
                <a:spcPct val="20000"/>
              </a:spcBef>
              <a:spcAft>
                <a:spcPct val="0"/>
              </a:spcAft>
              <a:buNone/>
              <a:defRPr sz="3200">
                <a:solidFill>
                  <a:schemeClr val="tx1"/>
                </a:solidFill>
                <a:latin typeface="+mn-lt"/>
                <a:ea typeface="+mn-ea"/>
                <a:cs typeface="+mn-cs"/>
              </a:defRPr>
            </a:lvl1pPr>
            <a:lvl2pPr marL="457200" indent="0" algn="ctr" rtl="0" eaLnBrk="0" fontAlgn="base" hangingPunct="0">
              <a:spcBef>
                <a:spcPct val="20000"/>
              </a:spcBef>
              <a:spcAft>
                <a:spcPct val="0"/>
              </a:spcAft>
              <a:buNone/>
              <a:defRPr sz="2800">
                <a:solidFill>
                  <a:schemeClr val="tx1"/>
                </a:solidFill>
                <a:latin typeface="+mn-lt"/>
                <a:cs typeface="+mn-cs"/>
              </a:defRPr>
            </a:lvl2pPr>
            <a:lvl3pPr marL="914400" indent="0" algn="ctr" rtl="0" eaLnBrk="0" fontAlgn="base" hangingPunct="0">
              <a:spcBef>
                <a:spcPct val="20000"/>
              </a:spcBef>
              <a:spcAft>
                <a:spcPct val="0"/>
              </a:spcAft>
              <a:buNone/>
              <a:defRPr sz="2400">
                <a:solidFill>
                  <a:schemeClr val="tx1"/>
                </a:solidFill>
                <a:latin typeface="+mn-lt"/>
                <a:cs typeface="+mn-cs"/>
              </a:defRPr>
            </a:lvl3pPr>
            <a:lvl4pPr marL="1371600" indent="0" algn="ctr" rtl="0" eaLnBrk="0" fontAlgn="base" hangingPunct="0">
              <a:spcBef>
                <a:spcPct val="20000"/>
              </a:spcBef>
              <a:spcAft>
                <a:spcPct val="0"/>
              </a:spcAft>
              <a:buNone/>
              <a:defRPr sz="2000">
                <a:solidFill>
                  <a:schemeClr val="tx1"/>
                </a:solidFill>
                <a:latin typeface="+mn-lt"/>
                <a:cs typeface="+mn-cs"/>
              </a:defRPr>
            </a:lvl4pPr>
            <a:lvl5pPr marL="1828800" indent="0" algn="ctr" rtl="0" eaLnBrk="0" fontAlgn="base" hangingPunct="0">
              <a:spcBef>
                <a:spcPct val="20000"/>
              </a:spcBef>
              <a:spcAft>
                <a:spcPct val="0"/>
              </a:spcAft>
              <a:buNone/>
              <a:defRPr sz="2000">
                <a:solidFill>
                  <a:schemeClr val="tx1"/>
                </a:solidFill>
                <a:latin typeface="+mn-lt"/>
                <a:cs typeface="+mn-cs"/>
              </a:defRPr>
            </a:lvl5pPr>
            <a:lvl6pPr marL="2286000" indent="0" algn="ctr" rtl="0" fontAlgn="base">
              <a:spcBef>
                <a:spcPct val="20000"/>
              </a:spcBef>
              <a:spcAft>
                <a:spcPct val="0"/>
              </a:spcAft>
              <a:buNone/>
              <a:defRPr sz="2000">
                <a:solidFill>
                  <a:schemeClr val="tx1"/>
                </a:solidFill>
                <a:latin typeface="+mn-lt"/>
                <a:cs typeface="+mn-cs"/>
              </a:defRPr>
            </a:lvl6pPr>
            <a:lvl7pPr marL="2743200" indent="0" algn="ctr" rtl="0" fontAlgn="base">
              <a:spcBef>
                <a:spcPct val="20000"/>
              </a:spcBef>
              <a:spcAft>
                <a:spcPct val="0"/>
              </a:spcAft>
              <a:buNone/>
              <a:defRPr sz="2000">
                <a:solidFill>
                  <a:schemeClr val="tx1"/>
                </a:solidFill>
                <a:latin typeface="+mn-lt"/>
                <a:cs typeface="+mn-cs"/>
              </a:defRPr>
            </a:lvl7pPr>
            <a:lvl8pPr marL="3200400" indent="0" algn="ctr" rtl="0" fontAlgn="base">
              <a:spcBef>
                <a:spcPct val="20000"/>
              </a:spcBef>
              <a:spcAft>
                <a:spcPct val="0"/>
              </a:spcAft>
              <a:buNone/>
              <a:defRPr sz="2000">
                <a:solidFill>
                  <a:schemeClr val="tx1"/>
                </a:solidFill>
                <a:latin typeface="+mn-lt"/>
                <a:cs typeface="+mn-cs"/>
              </a:defRPr>
            </a:lvl8pPr>
            <a:lvl9pPr marL="3657600" indent="0" algn="ctr" rtl="0" fontAlgn="base">
              <a:spcBef>
                <a:spcPct val="20000"/>
              </a:spcBef>
              <a:spcAft>
                <a:spcPct val="0"/>
              </a:spcAft>
              <a:buNone/>
              <a:defRPr sz="2000">
                <a:solidFill>
                  <a:schemeClr val="tx1"/>
                </a:solidFill>
                <a:latin typeface="+mn-lt"/>
                <a:cs typeface="+mn-cs"/>
              </a:defRPr>
            </a:lvl9pPr>
          </a:lstStyle>
          <a:p>
            <a:pPr algn="l"/>
            <a:r>
              <a:rPr lang="fr-FR" sz="800" b="1" kern="0" dirty="0"/>
              <a:t>22</a:t>
            </a:r>
          </a:p>
        </p:txBody>
      </p:sp>
      <p:sp>
        <p:nvSpPr>
          <p:cNvPr id="141" name="Sous-titre 4"/>
          <p:cNvSpPr txBox="1">
            <a:spLocks/>
          </p:cNvSpPr>
          <p:nvPr/>
        </p:nvSpPr>
        <p:spPr>
          <a:xfrm>
            <a:off x="4511268" y="4083886"/>
            <a:ext cx="326238" cy="230268"/>
          </a:xfrm>
          <a:prstGeom prst="rect">
            <a:avLst/>
          </a:prstGeom>
          <a:ln>
            <a:noFill/>
          </a:ln>
        </p:spPr>
        <p:txBody>
          <a:bodyPr/>
          <a:lstStyle>
            <a:lvl1pPr marL="0" indent="0" algn="ctr" rtl="0" eaLnBrk="0" fontAlgn="base" hangingPunct="0">
              <a:spcBef>
                <a:spcPct val="20000"/>
              </a:spcBef>
              <a:spcAft>
                <a:spcPct val="0"/>
              </a:spcAft>
              <a:buNone/>
              <a:defRPr sz="3200">
                <a:solidFill>
                  <a:schemeClr val="tx1"/>
                </a:solidFill>
                <a:latin typeface="+mn-lt"/>
                <a:ea typeface="+mn-ea"/>
                <a:cs typeface="+mn-cs"/>
              </a:defRPr>
            </a:lvl1pPr>
            <a:lvl2pPr marL="457200" indent="0" algn="ctr" rtl="0" eaLnBrk="0" fontAlgn="base" hangingPunct="0">
              <a:spcBef>
                <a:spcPct val="20000"/>
              </a:spcBef>
              <a:spcAft>
                <a:spcPct val="0"/>
              </a:spcAft>
              <a:buNone/>
              <a:defRPr sz="2800">
                <a:solidFill>
                  <a:schemeClr val="tx1"/>
                </a:solidFill>
                <a:latin typeface="+mn-lt"/>
                <a:cs typeface="+mn-cs"/>
              </a:defRPr>
            </a:lvl2pPr>
            <a:lvl3pPr marL="914400" indent="0" algn="ctr" rtl="0" eaLnBrk="0" fontAlgn="base" hangingPunct="0">
              <a:spcBef>
                <a:spcPct val="20000"/>
              </a:spcBef>
              <a:spcAft>
                <a:spcPct val="0"/>
              </a:spcAft>
              <a:buNone/>
              <a:defRPr sz="2400">
                <a:solidFill>
                  <a:schemeClr val="tx1"/>
                </a:solidFill>
                <a:latin typeface="+mn-lt"/>
                <a:cs typeface="+mn-cs"/>
              </a:defRPr>
            </a:lvl3pPr>
            <a:lvl4pPr marL="1371600" indent="0" algn="ctr" rtl="0" eaLnBrk="0" fontAlgn="base" hangingPunct="0">
              <a:spcBef>
                <a:spcPct val="20000"/>
              </a:spcBef>
              <a:spcAft>
                <a:spcPct val="0"/>
              </a:spcAft>
              <a:buNone/>
              <a:defRPr sz="2000">
                <a:solidFill>
                  <a:schemeClr val="tx1"/>
                </a:solidFill>
                <a:latin typeface="+mn-lt"/>
                <a:cs typeface="+mn-cs"/>
              </a:defRPr>
            </a:lvl4pPr>
            <a:lvl5pPr marL="1828800" indent="0" algn="ctr" rtl="0" eaLnBrk="0" fontAlgn="base" hangingPunct="0">
              <a:spcBef>
                <a:spcPct val="20000"/>
              </a:spcBef>
              <a:spcAft>
                <a:spcPct val="0"/>
              </a:spcAft>
              <a:buNone/>
              <a:defRPr sz="2000">
                <a:solidFill>
                  <a:schemeClr val="tx1"/>
                </a:solidFill>
                <a:latin typeface="+mn-lt"/>
                <a:cs typeface="+mn-cs"/>
              </a:defRPr>
            </a:lvl5pPr>
            <a:lvl6pPr marL="2286000" indent="0" algn="ctr" rtl="0" fontAlgn="base">
              <a:spcBef>
                <a:spcPct val="20000"/>
              </a:spcBef>
              <a:spcAft>
                <a:spcPct val="0"/>
              </a:spcAft>
              <a:buNone/>
              <a:defRPr sz="2000">
                <a:solidFill>
                  <a:schemeClr val="tx1"/>
                </a:solidFill>
                <a:latin typeface="+mn-lt"/>
                <a:cs typeface="+mn-cs"/>
              </a:defRPr>
            </a:lvl6pPr>
            <a:lvl7pPr marL="2743200" indent="0" algn="ctr" rtl="0" fontAlgn="base">
              <a:spcBef>
                <a:spcPct val="20000"/>
              </a:spcBef>
              <a:spcAft>
                <a:spcPct val="0"/>
              </a:spcAft>
              <a:buNone/>
              <a:defRPr sz="2000">
                <a:solidFill>
                  <a:schemeClr val="tx1"/>
                </a:solidFill>
                <a:latin typeface="+mn-lt"/>
                <a:cs typeface="+mn-cs"/>
              </a:defRPr>
            </a:lvl7pPr>
            <a:lvl8pPr marL="3200400" indent="0" algn="ctr" rtl="0" fontAlgn="base">
              <a:spcBef>
                <a:spcPct val="20000"/>
              </a:spcBef>
              <a:spcAft>
                <a:spcPct val="0"/>
              </a:spcAft>
              <a:buNone/>
              <a:defRPr sz="2000">
                <a:solidFill>
                  <a:schemeClr val="tx1"/>
                </a:solidFill>
                <a:latin typeface="+mn-lt"/>
                <a:cs typeface="+mn-cs"/>
              </a:defRPr>
            </a:lvl8pPr>
            <a:lvl9pPr marL="3657600" indent="0" algn="ctr" rtl="0" fontAlgn="base">
              <a:spcBef>
                <a:spcPct val="20000"/>
              </a:spcBef>
              <a:spcAft>
                <a:spcPct val="0"/>
              </a:spcAft>
              <a:buNone/>
              <a:defRPr sz="2000">
                <a:solidFill>
                  <a:schemeClr val="tx1"/>
                </a:solidFill>
                <a:latin typeface="+mn-lt"/>
                <a:cs typeface="+mn-cs"/>
              </a:defRPr>
            </a:lvl9pPr>
          </a:lstStyle>
          <a:p>
            <a:pPr algn="l"/>
            <a:r>
              <a:rPr lang="fr-FR" sz="800" b="1" kern="0" dirty="0"/>
              <a:t>23</a:t>
            </a:r>
          </a:p>
        </p:txBody>
      </p:sp>
      <p:sp>
        <p:nvSpPr>
          <p:cNvPr id="142" name="Sous-titre 4"/>
          <p:cNvSpPr txBox="1">
            <a:spLocks/>
          </p:cNvSpPr>
          <p:nvPr/>
        </p:nvSpPr>
        <p:spPr>
          <a:xfrm>
            <a:off x="7763960" y="5698771"/>
            <a:ext cx="326238" cy="214874"/>
          </a:xfrm>
          <a:prstGeom prst="rect">
            <a:avLst/>
          </a:prstGeom>
          <a:ln>
            <a:noFill/>
          </a:ln>
        </p:spPr>
        <p:txBody>
          <a:bodyPr/>
          <a:lstStyle>
            <a:lvl1pPr marL="0" indent="0" algn="ctr" rtl="0" eaLnBrk="0" fontAlgn="base" hangingPunct="0">
              <a:spcBef>
                <a:spcPct val="20000"/>
              </a:spcBef>
              <a:spcAft>
                <a:spcPct val="0"/>
              </a:spcAft>
              <a:buNone/>
              <a:defRPr sz="3200">
                <a:solidFill>
                  <a:schemeClr val="tx1"/>
                </a:solidFill>
                <a:latin typeface="+mn-lt"/>
                <a:ea typeface="+mn-ea"/>
                <a:cs typeface="+mn-cs"/>
              </a:defRPr>
            </a:lvl1pPr>
            <a:lvl2pPr marL="457200" indent="0" algn="ctr" rtl="0" eaLnBrk="0" fontAlgn="base" hangingPunct="0">
              <a:spcBef>
                <a:spcPct val="20000"/>
              </a:spcBef>
              <a:spcAft>
                <a:spcPct val="0"/>
              </a:spcAft>
              <a:buNone/>
              <a:defRPr sz="2800">
                <a:solidFill>
                  <a:schemeClr val="tx1"/>
                </a:solidFill>
                <a:latin typeface="+mn-lt"/>
                <a:cs typeface="+mn-cs"/>
              </a:defRPr>
            </a:lvl2pPr>
            <a:lvl3pPr marL="914400" indent="0" algn="ctr" rtl="0" eaLnBrk="0" fontAlgn="base" hangingPunct="0">
              <a:spcBef>
                <a:spcPct val="20000"/>
              </a:spcBef>
              <a:spcAft>
                <a:spcPct val="0"/>
              </a:spcAft>
              <a:buNone/>
              <a:defRPr sz="2400">
                <a:solidFill>
                  <a:schemeClr val="tx1"/>
                </a:solidFill>
                <a:latin typeface="+mn-lt"/>
                <a:cs typeface="+mn-cs"/>
              </a:defRPr>
            </a:lvl3pPr>
            <a:lvl4pPr marL="1371600" indent="0" algn="ctr" rtl="0" eaLnBrk="0" fontAlgn="base" hangingPunct="0">
              <a:spcBef>
                <a:spcPct val="20000"/>
              </a:spcBef>
              <a:spcAft>
                <a:spcPct val="0"/>
              </a:spcAft>
              <a:buNone/>
              <a:defRPr sz="2000">
                <a:solidFill>
                  <a:schemeClr val="tx1"/>
                </a:solidFill>
                <a:latin typeface="+mn-lt"/>
                <a:cs typeface="+mn-cs"/>
              </a:defRPr>
            </a:lvl4pPr>
            <a:lvl5pPr marL="1828800" indent="0" algn="ctr" rtl="0" eaLnBrk="0" fontAlgn="base" hangingPunct="0">
              <a:spcBef>
                <a:spcPct val="20000"/>
              </a:spcBef>
              <a:spcAft>
                <a:spcPct val="0"/>
              </a:spcAft>
              <a:buNone/>
              <a:defRPr sz="2000">
                <a:solidFill>
                  <a:schemeClr val="tx1"/>
                </a:solidFill>
                <a:latin typeface="+mn-lt"/>
                <a:cs typeface="+mn-cs"/>
              </a:defRPr>
            </a:lvl5pPr>
            <a:lvl6pPr marL="2286000" indent="0" algn="ctr" rtl="0" fontAlgn="base">
              <a:spcBef>
                <a:spcPct val="20000"/>
              </a:spcBef>
              <a:spcAft>
                <a:spcPct val="0"/>
              </a:spcAft>
              <a:buNone/>
              <a:defRPr sz="2000">
                <a:solidFill>
                  <a:schemeClr val="tx1"/>
                </a:solidFill>
                <a:latin typeface="+mn-lt"/>
                <a:cs typeface="+mn-cs"/>
              </a:defRPr>
            </a:lvl6pPr>
            <a:lvl7pPr marL="2743200" indent="0" algn="ctr" rtl="0" fontAlgn="base">
              <a:spcBef>
                <a:spcPct val="20000"/>
              </a:spcBef>
              <a:spcAft>
                <a:spcPct val="0"/>
              </a:spcAft>
              <a:buNone/>
              <a:defRPr sz="2000">
                <a:solidFill>
                  <a:schemeClr val="tx1"/>
                </a:solidFill>
                <a:latin typeface="+mn-lt"/>
                <a:cs typeface="+mn-cs"/>
              </a:defRPr>
            </a:lvl7pPr>
            <a:lvl8pPr marL="3200400" indent="0" algn="ctr" rtl="0" fontAlgn="base">
              <a:spcBef>
                <a:spcPct val="20000"/>
              </a:spcBef>
              <a:spcAft>
                <a:spcPct val="0"/>
              </a:spcAft>
              <a:buNone/>
              <a:defRPr sz="2000">
                <a:solidFill>
                  <a:schemeClr val="tx1"/>
                </a:solidFill>
                <a:latin typeface="+mn-lt"/>
                <a:cs typeface="+mn-cs"/>
              </a:defRPr>
            </a:lvl8pPr>
            <a:lvl9pPr marL="3657600" indent="0" algn="ctr" rtl="0" fontAlgn="base">
              <a:spcBef>
                <a:spcPct val="20000"/>
              </a:spcBef>
              <a:spcAft>
                <a:spcPct val="0"/>
              </a:spcAft>
              <a:buNone/>
              <a:defRPr sz="2000">
                <a:solidFill>
                  <a:schemeClr val="tx1"/>
                </a:solidFill>
                <a:latin typeface="+mn-lt"/>
                <a:cs typeface="+mn-cs"/>
              </a:defRPr>
            </a:lvl9pPr>
          </a:lstStyle>
          <a:p>
            <a:pPr algn="l"/>
            <a:r>
              <a:rPr lang="fr-FR" sz="800" b="1" kern="0" dirty="0"/>
              <a:t>23</a:t>
            </a:r>
          </a:p>
        </p:txBody>
      </p:sp>
      <p:sp>
        <p:nvSpPr>
          <p:cNvPr id="143" name="Sous-titre 4"/>
          <p:cNvSpPr txBox="1">
            <a:spLocks/>
          </p:cNvSpPr>
          <p:nvPr/>
        </p:nvSpPr>
        <p:spPr>
          <a:xfrm>
            <a:off x="7768952" y="5938721"/>
            <a:ext cx="326238" cy="230268"/>
          </a:xfrm>
          <a:prstGeom prst="rect">
            <a:avLst/>
          </a:prstGeom>
          <a:ln>
            <a:noFill/>
          </a:ln>
        </p:spPr>
        <p:txBody>
          <a:bodyPr/>
          <a:lstStyle>
            <a:lvl1pPr marL="0" indent="0" algn="ctr" rtl="0" eaLnBrk="0" fontAlgn="base" hangingPunct="0">
              <a:spcBef>
                <a:spcPct val="20000"/>
              </a:spcBef>
              <a:spcAft>
                <a:spcPct val="0"/>
              </a:spcAft>
              <a:buNone/>
              <a:defRPr sz="3200">
                <a:solidFill>
                  <a:schemeClr val="tx1"/>
                </a:solidFill>
                <a:latin typeface="+mn-lt"/>
                <a:ea typeface="+mn-ea"/>
                <a:cs typeface="+mn-cs"/>
              </a:defRPr>
            </a:lvl1pPr>
            <a:lvl2pPr marL="457200" indent="0" algn="ctr" rtl="0" eaLnBrk="0" fontAlgn="base" hangingPunct="0">
              <a:spcBef>
                <a:spcPct val="20000"/>
              </a:spcBef>
              <a:spcAft>
                <a:spcPct val="0"/>
              </a:spcAft>
              <a:buNone/>
              <a:defRPr sz="2800">
                <a:solidFill>
                  <a:schemeClr val="tx1"/>
                </a:solidFill>
                <a:latin typeface="+mn-lt"/>
                <a:cs typeface="+mn-cs"/>
              </a:defRPr>
            </a:lvl2pPr>
            <a:lvl3pPr marL="914400" indent="0" algn="ctr" rtl="0" eaLnBrk="0" fontAlgn="base" hangingPunct="0">
              <a:spcBef>
                <a:spcPct val="20000"/>
              </a:spcBef>
              <a:spcAft>
                <a:spcPct val="0"/>
              </a:spcAft>
              <a:buNone/>
              <a:defRPr sz="2400">
                <a:solidFill>
                  <a:schemeClr val="tx1"/>
                </a:solidFill>
                <a:latin typeface="+mn-lt"/>
                <a:cs typeface="+mn-cs"/>
              </a:defRPr>
            </a:lvl3pPr>
            <a:lvl4pPr marL="1371600" indent="0" algn="ctr" rtl="0" eaLnBrk="0" fontAlgn="base" hangingPunct="0">
              <a:spcBef>
                <a:spcPct val="20000"/>
              </a:spcBef>
              <a:spcAft>
                <a:spcPct val="0"/>
              </a:spcAft>
              <a:buNone/>
              <a:defRPr sz="2000">
                <a:solidFill>
                  <a:schemeClr val="tx1"/>
                </a:solidFill>
                <a:latin typeface="+mn-lt"/>
                <a:cs typeface="+mn-cs"/>
              </a:defRPr>
            </a:lvl4pPr>
            <a:lvl5pPr marL="1828800" indent="0" algn="ctr" rtl="0" eaLnBrk="0" fontAlgn="base" hangingPunct="0">
              <a:spcBef>
                <a:spcPct val="20000"/>
              </a:spcBef>
              <a:spcAft>
                <a:spcPct val="0"/>
              </a:spcAft>
              <a:buNone/>
              <a:defRPr sz="2000">
                <a:solidFill>
                  <a:schemeClr val="tx1"/>
                </a:solidFill>
                <a:latin typeface="+mn-lt"/>
                <a:cs typeface="+mn-cs"/>
              </a:defRPr>
            </a:lvl5pPr>
            <a:lvl6pPr marL="2286000" indent="0" algn="ctr" rtl="0" fontAlgn="base">
              <a:spcBef>
                <a:spcPct val="20000"/>
              </a:spcBef>
              <a:spcAft>
                <a:spcPct val="0"/>
              </a:spcAft>
              <a:buNone/>
              <a:defRPr sz="2000">
                <a:solidFill>
                  <a:schemeClr val="tx1"/>
                </a:solidFill>
                <a:latin typeface="+mn-lt"/>
                <a:cs typeface="+mn-cs"/>
              </a:defRPr>
            </a:lvl6pPr>
            <a:lvl7pPr marL="2743200" indent="0" algn="ctr" rtl="0" fontAlgn="base">
              <a:spcBef>
                <a:spcPct val="20000"/>
              </a:spcBef>
              <a:spcAft>
                <a:spcPct val="0"/>
              </a:spcAft>
              <a:buNone/>
              <a:defRPr sz="2000">
                <a:solidFill>
                  <a:schemeClr val="tx1"/>
                </a:solidFill>
                <a:latin typeface="+mn-lt"/>
                <a:cs typeface="+mn-cs"/>
              </a:defRPr>
            </a:lvl7pPr>
            <a:lvl8pPr marL="3200400" indent="0" algn="ctr" rtl="0" fontAlgn="base">
              <a:spcBef>
                <a:spcPct val="20000"/>
              </a:spcBef>
              <a:spcAft>
                <a:spcPct val="0"/>
              </a:spcAft>
              <a:buNone/>
              <a:defRPr sz="2000">
                <a:solidFill>
                  <a:schemeClr val="tx1"/>
                </a:solidFill>
                <a:latin typeface="+mn-lt"/>
                <a:cs typeface="+mn-cs"/>
              </a:defRPr>
            </a:lvl8pPr>
            <a:lvl9pPr marL="3657600" indent="0" algn="ctr" rtl="0" fontAlgn="base">
              <a:spcBef>
                <a:spcPct val="20000"/>
              </a:spcBef>
              <a:spcAft>
                <a:spcPct val="0"/>
              </a:spcAft>
              <a:buNone/>
              <a:defRPr sz="2000">
                <a:solidFill>
                  <a:schemeClr val="tx1"/>
                </a:solidFill>
                <a:latin typeface="+mn-lt"/>
                <a:cs typeface="+mn-cs"/>
              </a:defRPr>
            </a:lvl9pPr>
          </a:lstStyle>
          <a:p>
            <a:pPr algn="l"/>
            <a:r>
              <a:rPr lang="fr-FR" sz="800" b="1" kern="0" dirty="0"/>
              <a:t>24</a:t>
            </a:r>
          </a:p>
        </p:txBody>
      </p:sp>
      <p:sp>
        <p:nvSpPr>
          <p:cNvPr id="144" name="Sous-titre 4"/>
          <p:cNvSpPr txBox="1">
            <a:spLocks/>
          </p:cNvSpPr>
          <p:nvPr/>
        </p:nvSpPr>
        <p:spPr>
          <a:xfrm>
            <a:off x="4575944" y="4298296"/>
            <a:ext cx="326238" cy="230268"/>
          </a:xfrm>
          <a:prstGeom prst="rect">
            <a:avLst/>
          </a:prstGeom>
          <a:ln>
            <a:noFill/>
          </a:ln>
        </p:spPr>
        <p:txBody>
          <a:bodyPr/>
          <a:lstStyle>
            <a:lvl1pPr marL="0" indent="0" algn="ctr" rtl="0" eaLnBrk="0" fontAlgn="base" hangingPunct="0">
              <a:spcBef>
                <a:spcPct val="20000"/>
              </a:spcBef>
              <a:spcAft>
                <a:spcPct val="0"/>
              </a:spcAft>
              <a:buNone/>
              <a:defRPr sz="3200">
                <a:solidFill>
                  <a:schemeClr val="tx1"/>
                </a:solidFill>
                <a:latin typeface="+mn-lt"/>
                <a:ea typeface="+mn-ea"/>
                <a:cs typeface="+mn-cs"/>
              </a:defRPr>
            </a:lvl1pPr>
            <a:lvl2pPr marL="457200" indent="0" algn="ctr" rtl="0" eaLnBrk="0" fontAlgn="base" hangingPunct="0">
              <a:spcBef>
                <a:spcPct val="20000"/>
              </a:spcBef>
              <a:spcAft>
                <a:spcPct val="0"/>
              </a:spcAft>
              <a:buNone/>
              <a:defRPr sz="2800">
                <a:solidFill>
                  <a:schemeClr val="tx1"/>
                </a:solidFill>
                <a:latin typeface="+mn-lt"/>
                <a:cs typeface="+mn-cs"/>
              </a:defRPr>
            </a:lvl2pPr>
            <a:lvl3pPr marL="914400" indent="0" algn="ctr" rtl="0" eaLnBrk="0" fontAlgn="base" hangingPunct="0">
              <a:spcBef>
                <a:spcPct val="20000"/>
              </a:spcBef>
              <a:spcAft>
                <a:spcPct val="0"/>
              </a:spcAft>
              <a:buNone/>
              <a:defRPr sz="2400">
                <a:solidFill>
                  <a:schemeClr val="tx1"/>
                </a:solidFill>
                <a:latin typeface="+mn-lt"/>
                <a:cs typeface="+mn-cs"/>
              </a:defRPr>
            </a:lvl3pPr>
            <a:lvl4pPr marL="1371600" indent="0" algn="ctr" rtl="0" eaLnBrk="0" fontAlgn="base" hangingPunct="0">
              <a:spcBef>
                <a:spcPct val="20000"/>
              </a:spcBef>
              <a:spcAft>
                <a:spcPct val="0"/>
              </a:spcAft>
              <a:buNone/>
              <a:defRPr sz="2000">
                <a:solidFill>
                  <a:schemeClr val="tx1"/>
                </a:solidFill>
                <a:latin typeface="+mn-lt"/>
                <a:cs typeface="+mn-cs"/>
              </a:defRPr>
            </a:lvl4pPr>
            <a:lvl5pPr marL="1828800" indent="0" algn="ctr" rtl="0" eaLnBrk="0" fontAlgn="base" hangingPunct="0">
              <a:spcBef>
                <a:spcPct val="20000"/>
              </a:spcBef>
              <a:spcAft>
                <a:spcPct val="0"/>
              </a:spcAft>
              <a:buNone/>
              <a:defRPr sz="2000">
                <a:solidFill>
                  <a:schemeClr val="tx1"/>
                </a:solidFill>
                <a:latin typeface="+mn-lt"/>
                <a:cs typeface="+mn-cs"/>
              </a:defRPr>
            </a:lvl5pPr>
            <a:lvl6pPr marL="2286000" indent="0" algn="ctr" rtl="0" fontAlgn="base">
              <a:spcBef>
                <a:spcPct val="20000"/>
              </a:spcBef>
              <a:spcAft>
                <a:spcPct val="0"/>
              </a:spcAft>
              <a:buNone/>
              <a:defRPr sz="2000">
                <a:solidFill>
                  <a:schemeClr val="tx1"/>
                </a:solidFill>
                <a:latin typeface="+mn-lt"/>
                <a:cs typeface="+mn-cs"/>
              </a:defRPr>
            </a:lvl6pPr>
            <a:lvl7pPr marL="2743200" indent="0" algn="ctr" rtl="0" fontAlgn="base">
              <a:spcBef>
                <a:spcPct val="20000"/>
              </a:spcBef>
              <a:spcAft>
                <a:spcPct val="0"/>
              </a:spcAft>
              <a:buNone/>
              <a:defRPr sz="2000">
                <a:solidFill>
                  <a:schemeClr val="tx1"/>
                </a:solidFill>
                <a:latin typeface="+mn-lt"/>
                <a:cs typeface="+mn-cs"/>
              </a:defRPr>
            </a:lvl7pPr>
            <a:lvl8pPr marL="3200400" indent="0" algn="ctr" rtl="0" fontAlgn="base">
              <a:spcBef>
                <a:spcPct val="20000"/>
              </a:spcBef>
              <a:spcAft>
                <a:spcPct val="0"/>
              </a:spcAft>
              <a:buNone/>
              <a:defRPr sz="2000">
                <a:solidFill>
                  <a:schemeClr val="tx1"/>
                </a:solidFill>
                <a:latin typeface="+mn-lt"/>
                <a:cs typeface="+mn-cs"/>
              </a:defRPr>
            </a:lvl8pPr>
            <a:lvl9pPr marL="3657600" indent="0" algn="ctr" rtl="0" fontAlgn="base">
              <a:spcBef>
                <a:spcPct val="20000"/>
              </a:spcBef>
              <a:spcAft>
                <a:spcPct val="0"/>
              </a:spcAft>
              <a:buNone/>
              <a:defRPr sz="2000">
                <a:solidFill>
                  <a:schemeClr val="tx1"/>
                </a:solidFill>
                <a:latin typeface="+mn-lt"/>
                <a:cs typeface="+mn-cs"/>
              </a:defRPr>
            </a:lvl9pPr>
          </a:lstStyle>
          <a:p>
            <a:pPr algn="l"/>
            <a:r>
              <a:rPr lang="fr-FR" sz="800" b="1" kern="0" dirty="0"/>
              <a:t>24</a:t>
            </a:r>
          </a:p>
        </p:txBody>
      </p:sp>
      <p:sp>
        <p:nvSpPr>
          <p:cNvPr id="145" name="Sous-titre 4"/>
          <p:cNvSpPr txBox="1">
            <a:spLocks/>
          </p:cNvSpPr>
          <p:nvPr/>
        </p:nvSpPr>
        <p:spPr>
          <a:xfrm>
            <a:off x="7777335" y="6164985"/>
            <a:ext cx="326238" cy="230268"/>
          </a:xfrm>
          <a:prstGeom prst="rect">
            <a:avLst/>
          </a:prstGeom>
          <a:ln>
            <a:noFill/>
          </a:ln>
        </p:spPr>
        <p:txBody>
          <a:bodyPr/>
          <a:lstStyle>
            <a:lvl1pPr marL="0" indent="0" algn="ctr" rtl="0" eaLnBrk="0" fontAlgn="base" hangingPunct="0">
              <a:spcBef>
                <a:spcPct val="20000"/>
              </a:spcBef>
              <a:spcAft>
                <a:spcPct val="0"/>
              </a:spcAft>
              <a:buNone/>
              <a:defRPr sz="3200">
                <a:solidFill>
                  <a:schemeClr val="tx1"/>
                </a:solidFill>
                <a:latin typeface="+mn-lt"/>
                <a:ea typeface="+mn-ea"/>
                <a:cs typeface="+mn-cs"/>
              </a:defRPr>
            </a:lvl1pPr>
            <a:lvl2pPr marL="457200" indent="0" algn="ctr" rtl="0" eaLnBrk="0" fontAlgn="base" hangingPunct="0">
              <a:spcBef>
                <a:spcPct val="20000"/>
              </a:spcBef>
              <a:spcAft>
                <a:spcPct val="0"/>
              </a:spcAft>
              <a:buNone/>
              <a:defRPr sz="2800">
                <a:solidFill>
                  <a:schemeClr val="tx1"/>
                </a:solidFill>
                <a:latin typeface="+mn-lt"/>
                <a:cs typeface="+mn-cs"/>
              </a:defRPr>
            </a:lvl2pPr>
            <a:lvl3pPr marL="914400" indent="0" algn="ctr" rtl="0" eaLnBrk="0" fontAlgn="base" hangingPunct="0">
              <a:spcBef>
                <a:spcPct val="20000"/>
              </a:spcBef>
              <a:spcAft>
                <a:spcPct val="0"/>
              </a:spcAft>
              <a:buNone/>
              <a:defRPr sz="2400">
                <a:solidFill>
                  <a:schemeClr val="tx1"/>
                </a:solidFill>
                <a:latin typeface="+mn-lt"/>
                <a:cs typeface="+mn-cs"/>
              </a:defRPr>
            </a:lvl3pPr>
            <a:lvl4pPr marL="1371600" indent="0" algn="ctr" rtl="0" eaLnBrk="0" fontAlgn="base" hangingPunct="0">
              <a:spcBef>
                <a:spcPct val="20000"/>
              </a:spcBef>
              <a:spcAft>
                <a:spcPct val="0"/>
              </a:spcAft>
              <a:buNone/>
              <a:defRPr sz="2000">
                <a:solidFill>
                  <a:schemeClr val="tx1"/>
                </a:solidFill>
                <a:latin typeface="+mn-lt"/>
                <a:cs typeface="+mn-cs"/>
              </a:defRPr>
            </a:lvl4pPr>
            <a:lvl5pPr marL="1828800" indent="0" algn="ctr" rtl="0" eaLnBrk="0" fontAlgn="base" hangingPunct="0">
              <a:spcBef>
                <a:spcPct val="20000"/>
              </a:spcBef>
              <a:spcAft>
                <a:spcPct val="0"/>
              </a:spcAft>
              <a:buNone/>
              <a:defRPr sz="2000">
                <a:solidFill>
                  <a:schemeClr val="tx1"/>
                </a:solidFill>
                <a:latin typeface="+mn-lt"/>
                <a:cs typeface="+mn-cs"/>
              </a:defRPr>
            </a:lvl5pPr>
            <a:lvl6pPr marL="2286000" indent="0" algn="ctr" rtl="0" fontAlgn="base">
              <a:spcBef>
                <a:spcPct val="20000"/>
              </a:spcBef>
              <a:spcAft>
                <a:spcPct val="0"/>
              </a:spcAft>
              <a:buNone/>
              <a:defRPr sz="2000">
                <a:solidFill>
                  <a:schemeClr val="tx1"/>
                </a:solidFill>
                <a:latin typeface="+mn-lt"/>
                <a:cs typeface="+mn-cs"/>
              </a:defRPr>
            </a:lvl6pPr>
            <a:lvl7pPr marL="2743200" indent="0" algn="ctr" rtl="0" fontAlgn="base">
              <a:spcBef>
                <a:spcPct val="20000"/>
              </a:spcBef>
              <a:spcAft>
                <a:spcPct val="0"/>
              </a:spcAft>
              <a:buNone/>
              <a:defRPr sz="2000">
                <a:solidFill>
                  <a:schemeClr val="tx1"/>
                </a:solidFill>
                <a:latin typeface="+mn-lt"/>
                <a:cs typeface="+mn-cs"/>
              </a:defRPr>
            </a:lvl7pPr>
            <a:lvl8pPr marL="3200400" indent="0" algn="ctr" rtl="0" fontAlgn="base">
              <a:spcBef>
                <a:spcPct val="20000"/>
              </a:spcBef>
              <a:spcAft>
                <a:spcPct val="0"/>
              </a:spcAft>
              <a:buNone/>
              <a:defRPr sz="2000">
                <a:solidFill>
                  <a:schemeClr val="tx1"/>
                </a:solidFill>
                <a:latin typeface="+mn-lt"/>
                <a:cs typeface="+mn-cs"/>
              </a:defRPr>
            </a:lvl8pPr>
            <a:lvl9pPr marL="3657600" indent="0" algn="ctr" rtl="0" fontAlgn="base">
              <a:spcBef>
                <a:spcPct val="20000"/>
              </a:spcBef>
              <a:spcAft>
                <a:spcPct val="0"/>
              </a:spcAft>
              <a:buNone/>
              <a:defRPr sz="2000">
                <a:solidFill>
                  <a:schemeClr val="tx1"/>
                </a:solidFill>
                <a:latin typeface="+mn-lt"/>
                <a:cs typeface="+mn-cs"/>
              </a:defRPr>
            </a:lvl9pPr>
          </a:lstStyle>
          <a:p>
            <a:pPr algn="l"/>
            <a:r>
              <a:rPr lang="fr-FR" sz="800" b="1" kern="0" dirty="0"/>
              <a:t>25</a:t>
            </a:r>
          </a:p>
        </p:txBody>
      </p:sp>
      <p:sp>
        <p:nvSpPr>
          <p:cNvPr id="146" name="Sous-titre 4"/>
          <p:cNvSpPr txBox="1">
            <a:spLocks/>
          </p:cNvSpPr>
          <p:nvPr/>
        </p:nvSpPr>
        <p:spPr>
          <a:xfrm>
            <a:off x="5222724" y="4391633"/>
            <a:ext cx="326238" cy="230268"/>
          </a:xfrm>
          <a:prstGeom prst="rect">
            <a:avLst/>
          </a:prstGeom>
          <a:ln>
            <a:noFill/>
          </a:ln>
        </p:spPr>
        <p:txBody>
          <a:bodyPr/>
          <a:lstStyle>
            <a:lvl1pPr marL="0" indent="0" algn="ctr" rtl="0" eaLnBrk="0" fontAlgn="base" hangingPunct="0">
              <a:spcBef>
                <a:spcPct val="20000"/>
              </a:spcBef>
              <a:spcAft>
                <a:spcPct val="0"/>
              </a:spcAft>
              <a:buNone/>
              <a:defRPr sz="3200">
                <a:solidFill>
                  <a:schemeClr val="tx1"/>
                </a:solidFill>
                <a:latin typeface="+mn-lt"/>
                <a:ea typeface="+mn-ea"/>
                <a:cs typeface="+mn-cs"/>
              </a:defRPr>
            </a:lvl1pPr>
            <a:lvl2pPr marL="457200" indent="0" algn="ctr" rtl="0" eaLnBrk="0" fontAlgn="base" hangingPunct="0">
              <a:spcBef>
                <a:spcPct val="20000"/>
              </a:spcBef>
              <a:spcAft>
                <a:spcPct val="0"/>
              </a:spcAft>
              <a:buNone/>
              <a:defRPr sz="2800">
                <a:solidFill>
                  <a:schemeClr val="tx1"/>
                </a:solidFill>
                <a:latin typeface="+mn-lt"/>
                <a:cs typeface="+mn-cs"/>
              </a:defRPr>
            </a:lvl2pPr>
            <a:lvl3pPr marL="914400" indent="0" algn="ctr" rtl="0" eaLnBrk="0" fontAlgn="base" hangingPunct="0">
              <a:spcBef>
                <a:spcPct val="20000"/>
              </a:spcBef>
              <a:spcAft>
                <a:spcPct val="0"/>
              </a:spcAft>
              <a:buNone/>
              <a:defRPr sz="2400">
                <a:solidFill>
                  <a:schemeClr val="tx1"/>
                </a:solidFill>
                <a:latin typeface="+mn-lt"/>
                <a:cs typeface="+mn-cs"/>
              </a:defRPr>
            </a:lvl3pPr>
            <a:lvl4pPr marL="1371600" indent="0" algn="ctr" rtl="0" eaLnBrk="0" fontAlgn="base" hangingPunct="0">
              <a:spcBef>
                <a:spcPct val="20000"/>
              </a:spcBef>
              <a:spcAft>
                <a:spcPct val="0"/>
              </a:spcAft>
              <a:buNone/>
              <a:defRPr sz="2000">
                <a:solidFill>
                  <a:schemeClr val="tx1"/>
                </a:solidFill>
                <a:latin typeface="+mn-lt"/>
                <a:cs typeface="+mn-cs"/>
              </a:defRPr>
            </a:lvl4pPr>
            <a:lvl5pPr marL="1828800" indent="0" algn="ctr" rtl="0" eaLnBrk="0" fontAlgn="base" hangingPunct="0">
              <a:spcBef>
                <a:spcPct val="20000"/>
              </a:spcBef>
              <a:spcAft>
                <a:spcPct val="0"/>
              </a:spcAft>
              <a:buNone/>
              <a:defRPr sz="2000">
                <a:solidFill>
                  <a:schemeClr val="tx1"/>
                </a:solidFill>
                <a:latin typeface="+mn-lt"/>
                <a:cs typeface="+mn-cs"/>
              </a:defRPr>
            </a:lvl5pPr>
            <a:lvl6pPr marL="2286000" indent="0" algn="ctr" rtl="0" fontAlgn="base">
              <a:spcBef>
                <a:spcPct val="20000"/>
              </a:spcBef>
              <a:spcAft>
                <a:spcPct val="0"/>
              </a:spcAft>
              <a:buNone/>
              <a:defRPr sz="2000">
                <a:solidFill>
                  <a:schemeClr val="tx1"/>
                </a:solidFill>
                <a:latin typeface="+mn-lt"/>
                <a:cs typeface="+mn-cs"/>
              </a:defRPr>
            </a:lvl6pPr>
            <a:lvl7pPr marL="2743200" indent="0" algn="ctr" rtl="0" fontAlgn="base">
              <a:spcBef>
                <a:spcPct val="20000"/>
              </a:spcBef>
              <a:spcAft>
                <a:spcPct val="0"/>
              </a:spcAft>
              <a:buNone/>
              <a:defRPr sz="2000">
                <a:solidFill>
                  <a:schemeClr val="tx1"/>
                </a:solidFill>
                <a:latin typeface="+mn-lt"/>
                <a:cs typeface="+mn-cs"/>
              </a:defRPr>
            </a:lvl7pPr>
            <a:lvl8pPr marL="3200400" indent="0" algn="ctr" rtl="0" fontAlgn="base">
              <a:spcBef>
                <a:spcPct val="20000"/>
              </a:spcBef>
              <a:spcAft>
                <a:spcPct val="0"/>
              </a:spcAft>
              <a:buNone/>
              <a:defRPr sz="2000">
                <a:solidFill>
                  <a:schemeClr val="tx1"/>
                </a:solidFill>
                <a:latin typeface="+mn-lt"/>
                <a:cs typeface="+mn-cs"/>
              </a:defRPr>
            </a:lvl8pPr>
            <a:lvl9pPr marL="3657600" indent="0" algn="ctr" rtl="0" fontAlgn="base">
              <a:spcBef>
                <a:spcPct val="20000"/>
              </a:spcBef>
              <a:spcAft>
                <a:spcPct val="0"/>
              </a:spcAft>
              <a:buNone/>
              <a:defRPr sz="2000">
                <a:solidFill>
                  <a:schemeClr val="tx1"/>
                </a:solidFill>
                <a:latin typeface="+mn-lt"/>
                <a:cs typeface="+mn-cs"/>
              </a:defRPr>
            </a:lvl9pPr>
          </a:lstStyle>
          <a:p>
            <a:pPr algn="l"/>
            <a:r>
              <a:rPr lang="fr-FR" sz="800" b="1" kern="0" dirty="0"/>
              <a:t>25</a:t>
            </a:r>
          </a:p>
        </p:txBody>
      </p:sp>
      <p:sp>
        <p:nvSpPr>
          <p:cNvPr id="147" name="Sous-titre 4"/>
          <p:cNvSpPr txBox="1">
            <a:spLocks/>
          </p:cNvSpPr>
          <p:nvPr/>
        </p:nvSpPr>
        <p:spPr>
          <a:xfrm>
            <a:off x="7777335" y="6400909"/>
            <a:ext cx="326238" cy="230268"/>
          </a:xfrm>
          <a:prstGeom prst="rect">
            <a:avLst/>
          </a:prstGeom>
          <a:ln>
            <a:noFill/>
          </a:ln>
        </p:spPr>
        <p:txBody>
          <a:bodyPr/>
          <a:lstStyle>
            <a:lvl1pPr marL="0" indent="0" algn="ctr" rtl="0" eaLnBrk="0" fontAlgn="base" hangingPunct="0">
              <a:spcBef>
                <a:spcPct val="20000"/>
              </a:spcBef>
              <a:spcAft>
                <a:spcPct val="0"/>
              </a:spcAft>
              <a:buNone/>
              <a:defRPr sz="3200">
                <a:solidFill>
                  <a:schemeClr val="tx1"/>
                </a:solidFill>
                <a:latin typeface="+mn-lt"/>
                <a:ea typeface="+mn-ea"/>
                <a:cs typeface="+mn-cs"/>
              </a:defRPr>
            </a:lvl1pPr>
            <a:lvl2pPr marL="457200" indent="0" algn="ctr" rtl="0" eaLnBrk="0" fontAlgn="base" hangingPunct="0">
              <a:spcBef>
                <a:spcPct val="20000"/>
              </a:spcBef>
              <a:spcAft>
                <a:spcPct val="0"/>
              </a:spcAft>
              <a:buNone/>
              <a:defRPr sz="2800">
                <a:solidFill>
                  <a:schemeClr val="tx1"/>
                </a:solidFill>
                <a:latin typeface="+mn-lt"/>
                <a:cs typeface="+mn-cs"/>
              </a:defRPr>
            </a:lvl2pPr>
            <a:lvl3pPr marL="914400" indent="0" algn="ctr" rtl="0" eaLnBrk="0" fontAlgn="base" hangingPunct="0">
              <a:spcBef>
                <a:spcPct val="20000"/>
              </a:spcBef>
              <a:spcAft>
                <a:spcPct val="0"/>
              </a:spcAft>
              <a:buNone/>
              <a:defRPr sz="2400">
                <a:solidFill>
                  <a:schemeClr val="tx1"/>
                </a:solidFill>
                <a:latin typeface="+mn-lt"/>
                <a:cs typeface="+mn-cs"/>
              </a:defRPr>
            </a:lvl3pPr>
            <a:lvl4pPr marL="1371600" indent="0" algn="ctr" rtl="0" eaLnBrk="0" fontAlgn="base" hangingPunct="0">
              <a:spcBef>
                <a:spcPct val="20000"/>
              </a:spcBef>
              <a:spcAft>
                <a:spcPct val="0"/>
              </a:spcAft>
              <a:buNone/>
              <a:defRPr sz="2000">
                <a:solidFill>
                  <a:schemeClr val="tx1"/>
                </a:solidFill>
                <a:latin typeface="+mn-lt"/>
                <a:cs typeface="+mn-cs"/>
              </a:defRPr>
            </a:lvl4pPr>
            <a:lvl5pPr marL="1828800" indent="0" algn="ctr" rtl="0" eaLnBrk="0" fontAlgn="base" hangingPunct="0">
              <a:spcBef>
                <a:spcPct val="20000"/>
              </a:spcBef>
              <a:spcAft>
                <a:spcPct val="0"/>
              </a:spcAft>
              <a:buNone/>
              <a:defRPr sz="2000">
                <a:solidFill>
                  <a:schemeClr val="tx1"/>
                </a:solidFill>
                <a:latin typeface="+mn-lt"/>
                <a:cs typeface="+mn-cs"/>
              </a:defRPr>
            </a:lvl5pPr>
            <a:lvl6pPr marL="2286000" indent="0" algn="ctr" rtl="0" fontAlgn="base">
              <a:spcBef>
                <a:spcPct val="20000"/>
              </a:spcBef>
              <a:spcAft>
                <a:spcPct val="0"/>
              </a:spcAft>
              <a:buNone/>
              <a:defRPr sz="2000">
                <a:solidFill>
                  <a:schemeClr val="tx1"/>
                </a:solidFill>
                <a:latin typeface="+mn-lt"/>
                <a:cs typeface="+mn-cs"/>
              </a:defRPr>
            </a:lvl6pPr>
            <a:lvl7pPr marL="2743200" indent="0" algn="ctr" rtl="0" fontAlgn="base">
              <a:spcBef>
                <a:spcPct val="20000"/>
              </a:spcBef>
              <a:spcAft>
                <a:spcPct val="0"/>
              </a:spcAft>
              <a:buNone/>
              <a:defRPr sz="2000">
                <a:solidFill>
                  <a:schemeClr val="tx1"/>
                </a:solidFill>
                <a:latin typeface="+mn-lt"/>
                <a:cs typeface="+mn-cs"/>
              </a:defRPr>
            </a:lvl7pPr>
            <a:lvl8pPr marL="3200400" indent="0" algn="ctr" rtl="0" fontAlgn="base">
              <a:spcBef>
                <a:spcPct val="20000"/>
              </a:spcBef>
              <a:spcAft>
                <a:spcPct val="0"/>
              </a:spcAft>
              <a:buNone/>
              <a:defRPr sz="2000">
                <a:solidFill>
                  <a:schemeClr val="tx1"/>
                </a:solidFill>
                <a:latin typeface="+mn-lt"/>
                <a:cs typeface="+mn-cs"/>
              </a:defRPr>
            </a:lvl8pPr>
            <a:lvl9pPr marL="3657600" indent="0" algn="ctr" rtl="0" fontAlgn="base">
              <a:spcBef>
                <a:spcPct val="20000"/>
              </a:spcBef>
              <a:spcAft>
                <a:spcPct val="0"/>
              </a:spcAft>
              <a:buNone/>
              <a:defRPr sz="2000">
                <a:solidFill>
                  <a:schemeClr val="tx1"/>
                </a:solidFill>
                <a:latin typeface="+mn-lt"/>
                <a:cs typeface="+mn-cs"/>
              </a:defRPr>
            </a:lvl9pPr>
          </a:lstStyle>
          <a:p>
            <a:pPr algn="l"/>
            <a:r>
              <a:rPr lang="fr-FR" sz="800" b="1" kern="0" dirty="0"/>
              <a:t>26</a:t>
            </a:r>
          </a:p>
        </p:txBody>
      </p:sp>
      <p:sp>
        <p:nvSpPr>
          <p:cNvPr id="148" name="Sous-titre 4"/>
          <p:cNvSpPr txBox="1">
            <a:spLocks/>
          </p:cNvSpPr>
          <p:nvPr/>
        </p:nvSpPr>
        <p:spPr>
          <a:xfrm>
            <a:off x="5825278" y="4037048"/>
            <a:ext cx="326238" cy="230268"/>
          </a:xfrm>
          <a:prstGeom prst="rect">
            <a:avLst/>
          </a:prstGeom>
          <a:ln>
            <a:noFill/>
          </a:ln>
        </p:spPr>
        <p:txBody>
          <a:bodyPr/>
          <a:lstStyle>
            <a:lvl1pPr marL="0" indent="0" algn="ctr" rtl="0" eaLnBrk="0" fontAlgn="base" hangingPunct="0">
              <a:spcBef>
                <a:spcPct val="20000"/>
              </a:spcBef>
              <a:spcAft>
                <a:spcPct val="0"/>
              </a:spcAft>
              <a:buNone/>
              <a:defRPr sz="3200">
                <a:solidFill>
                  <a:schemeClr val="tx1"/>
                </a:solidFill>
                <a:latin typeface="+mn-lt"/>
                <a:ea typeface="+mn-ea"/>
                <a:cs typeface="+mn-cs"/>
              </a:defRPr>
            </a:lvl1pPr>
            <a:lvl2pPr marL="457200" indent="0" algn="ctr" rtl="0" eaLnBrk="0" fontAlgn="base" hangingPunct="0">
              <a:spcBef>
                <a:spcPct val="20000"/>
              </a:spcBef>
              <a:spcAft>
                <a:spcPct val="0"/>
              </a:spcAft>
              <a:buNone/>
              <a:defRPr sz="2800">
                <a:solidFill>
                  <a:schemeClr val="tx1"/>
                </a:solidFill>
                <a:latin typeface="+mn-lt"/>
                <a:cs typeface="+mn-cs"/>
              </a:defRPr>
            </a:lvl2pPr>
            <a:lvl3pPr marL="914400" indent="0" algn="ctr" rtl="0" eaLnBrk="0" fontAlgn="base" hangingPunct="0">
              <a:spcBef>
                <a:spcPct val="20000"/>
              </a:spcBef>
              <a:spcAft>
                <a:spcPct val="0"/>
              </a:spcAft>
              <a:buNone/>
              <a:defRPr sz="2400">
                <a:solidFill>
                  <a:schemeClr val="tx1"/>
                </a:solidFill>
                <a:latin typeface="+mn-lt"/>
                <a:cs typeface="+mn-cs"/>
              </a:defRPr>
            </a:lvl3pPr>
            <a:lvl4pPr marL="1371600" indent="0" algn="ctr" rtl="0" eaLnBrk="0" fontAlgn="base" hangingPunct="0">
              <a:spcBef>
                <a:spcPct val="20000"/>
              </a:spcBef>
              <a:spcAft>
                <a:spcPct val="0"/>
              </a:spcAft>
              <a:buNone/>
              <a:defRPr sz="2000">
                <a:solidFill>
                  <a:schemeClr val="tx1"/>
                </a:solidFill>
                <a:latin typeface="+mn-lt"/>
                <a:cs typeface="+mn-cs"/>
              </a:defRPr>
            </a:lvl4pPr>
            <a:lvl5pPr marL="1828800" indent="0" algn="ctr" rtl="0" eaLnBrk="0" fontAlgn="base" hangingPunct="0">
              <a:spcBef>
                <a:spcPct val="20000"/>
              </a:spcBef>
              <a:spcAft>
                <a:spcPct val="0"/>
              </a:spcAft>
              <a:buNone/>
              <a:defRPr sz="2000">
                <a:solidFill>
                  <a:schemeClr val="tx1"/>
                </a:solidFill>
                <a:latin typeface="+mn-lt"/>
                <a:cs typeface="+mn-cs"/>
              </a:defRPr>
            </a:lvl5pPr>
            <a:lvl6pPr marL="2286000" indent="0" algn="ctr" rtl="0" fontAlgn="base">
              <a:spcBef>
                <a:spcPct val="20000"/>
              </a:spcBef>
              <a:spcAft>
                <a:spcPct val="0"/>
              </a:spcAft>
              <a:buNone/>
              <a:defRPr sz="2000">
                <a:solidFill>
                  <a:schemeClr val="tx1"/>
                </a:solidFill>
                <a:latin typeface="+mn-lt"/>
                <a:cs typeface="+mn-cs"/>
              </a:defRPr>
            </a:lvl6pPr>
            <a:lvl7pPr marL="2743200" indent="0" algn="ctr" rtl="0" fontAlgn="base">
              <a:spcBef>
                <a:spcPct val="20000"/>
              </a:spcBef>
              <a:spcAft>
                <a:spcPct val="0"/>
              </a:spcAft>
              <a:buNone/>
              <a:defRPr sz="2000">
                <a:solidFill>
                  <a:schemeClr val="tx1"/>
                </a:solidFill>
                <a:latin typeface="+mn-lt"/>
                <a:cs typeface="+mn-cs"/>
              </a:defRPr>
            </a:lvl7pPr>
            <a:lvl8pPr marL="3200400" indent="0" algn="ctr" rtl="0" fontAlgn="base">
              <a:spcBef>
                <a:spcPct val="20000"/>
              </a:spcBef>
              <a:spcAft>
                <a:spcPct val="0"/>
              </a:spcAft>
              <a:buNone/>
              <a:defRPr sz="2000">
                <a:solidFill>
                  <a:schemeClr val="tx1"/>
                </a:solidFill>
                <a:latin typeface="+mn-lt"/>
                <a:cs typeface="+mn-cs"/>
              </a:defRPr>
            </a:lvl8pPr>
            <a:lvl9pPr marL="3657600" indent="0" algn="ctr" rtl="0" fontAlgn="base">
              <a:spcBef>
                <a:spcPct val="20000"/>
              </a:spcBef>
              <a:spcAft>
                <a:spcPct val="0"/>
              </a:spcAft>
              <a:buNone/>
              <a:defRPr sz="2000">
                <a:solidFill>
                  <a:schemeClr val="tx1"/>
                </a:solidFill>
                <a:latin typeface="+mn-lt"/>
                <a:cs typeface="+mn-cs"/>
              </a:defRPr>
            </a:lvl9pPr>
          </a:lstStyle>
          <a:p>
            <a:pPr algn="l"/>
            <a:r>
              <a:rPr lang="fr-FR" sz="800" b="1" kern="0" dirty="0"/>
              <a:t>26</a:t>
            </a:r>
          </a:p>
        </p:txBody>
      </p:sp>
      <p:sp>
        <p:nvSpPr>
          <p:cNvPr id="149" name="Sous-titre 4"/>
          <p:cNvSpPr txBox="1">
            <a:spLocks/>
          </p:cNvSpPr>
          <p:nvPr/>
        </p:nvSpPr>
        <p:spPr>
          <a:xfrm>
            <a:off x="8048411" y="5921362"/>
            <a:ext cx="1974298" cy="245539"/>
          </a:xfrm>
          <a:prstGeom prst="rect">
            <a:avLst/>
          </a:prstGeom>
          <a:solidFill>
            <a:schemeClr val="bg1"/>
          </a:solidFill>
        </p:spPr>
        <p:txBody>
          <a:bodyPr/>
          <a:lstStyle>
            <a:lvl1pPr marL="0" indent="0" algn="ctr" rtl="0" eaLnBrk="0" fontAlgn="base" hangingPunct="0">
              <a:spcBef>
                <a:spcPct val="20000"/>
              </a:spcBef>
              <a:spcAft>
                <a:spcPct val="0"/>
              </a:spcAft>
              <a:buNone/>
              <a:defRPr sz="3200">
                <a:solidFill>
                  <a:schemeClr val="tx1"/>
                </a:solidFill>
                <a:latin typeface="+mn-lt"/>
                <a:ea typeface="+mn-ea"/>
                <a:cs typeface="+mn-cs"/>
              </a:defRPr>
            </a:lvl1pPr>
            <a:lvl2pPr marL="457200" indent="0" algn="ctr" rtl="0" eaLnBrk="0" fontAlgn="base" hangingPunct="0">
              <a:spcBef>
                <a:spcPct val="20000"/>
              </a:spcBef>
              <a:spcAft>
                <a:spcPct val="0"/>
              </a:spcAft>
              <a:buNone/>
              <a:defRPr sz="2800">
                <a:solidFill>
                  <a:schemeClr val="tx1"/>
                </a:solidFill>
                <a:latin typeface="+mn-lt"/>
                <a:cs typeface="+mn-cs"/>
              </a:defRPr>
            </a:lvl2pPr>
            <a:lvl3pPr marL="914400" indent="0" algn="ctr" rtl="0" eaLnBrk="0" fontAlgn="base" hangingPunct="0">
              <a:spcBef>
                <a:spcPct val="20000"/>
              </a:spcBef>
              <a:spcAft>
                <a:spcPct val="0"/>
              </a:spcAft>
              <a:buNone/>
              <a:defRPr sz="2400">
                <a:solidFill>
                  <a:schemeClr val="tx1"/>
                </a:solidFill>
                <a:latin typeface="+mn-lt"/>
                <a:cs typeface="+mn-cs"/>
              </a:defRPr>
            </a:lvl3pPr>
            <a:lvl4pPr marL="1371600" indent="0" algn="ctr" rtl="0" eaLnBrk="0" fontAlgn="base" hangingPunct="0">
              <a:spcBef>
                <a:spcPct val="20000"/>
              </a:spcBef>
              <a:spcAft>
                <a:spcPct val="0"/>
              </a:spcAft>
              <a:buNone/>
              <a:defRPr sz="2000">
                <a:solidFill>
                  <a:schemeClr val="tx1"/>
                </a:solidFill>
                <a:latin typeface="+mn-lt"/>
                <a:cs typeface="+mn-cs"/>
              </a:defRPr>
            </a:lvl4pPr>
            <a:lvl5pPr marL="1828800" indent="0" algn="ctr" rtl="0" eaLnBrk="0" fontAlgn="base" hangingPunct="0">
              <a:spcBef>
                <a:spcPct val="20000"/>
              </a:spcBef>
              <a:spcAft>
                <a:spcPct val="0"/>
              </a:spcAft>
              <a:buNone/>
              <a:defRPr sz="2000">
                <a:solidFill>
                  <a:schemeClr val="tx1"/>
                </a:solidFill>
                <a:latin typeface="+mn-lt"/>
                <a:cs typeface="+mn-cs"/>
              </a:defRPr>
            </a:lvl5pPr>
            <a:lvl6pPr marL="2286000" indent="0" algn="ctr" rtl="0" fontAlgn="base">
              <a:spcBef>
                <a:spcPct val="20000"/>
              </a:spcBef>
              <a:spcAft>
                <a:spcPct val="0"/>
              </a:spcAft>
              <a:buNone/>
              <a:defRPr sz="2000">
                <a:solidFill>
                  <a:schemeClr val="tx1"/>
                </a:solidFill>
                <a:latin typeface="+mn-lt"/>
                <a:cs typeface="+mn-cs"/>
              </a:defRPr>
            </a:lvl6pPr>
            <a:lvl7pPr marL="2743200" indent="0" algn="ctr" rtl="0" fontAlgn="base">
              <a:spcBef>
                <a:spcPct val="20000"/>
              </a:spcBef>
              <a:spcAft>
                <a:spcPct val="0"/>
              </a:spcAft>
              <a:buNone/>
              <a:defRPr sz="2000">
                <a:solidFill>
                  <a:schemeClr val="tx1"/>
                </a:solidFill>
                <a:latin typeface="+mn-lt"/>
                <a:cs typeface="+mn-cs"/>
              </a:defRPr>
            </a:lvl7pPr>
            <a:lvl8pPr marL="3200400" indent="0" algn="ctr" rtl="0" fontAlgn="base">
              <a:spcBef>
                <a:spcPct val="20000"/>
              </a:spcBef>
              <a:spcAft>
                <a:spcPct val="0"/>
              </a:spcAft>
              <a:buNone/>
              <a:defRPr sz="2000">
                <a:solidFill>
                  <a:schemeClr val="tx1"/>
                </a:solidFill>
                <a:latin typeface="+mn-lt"/>
                <a:cs typeface="+mn-cs"/>
              </a:defRPr>
            </a:lvl8pPr>
            <a:lvl9pPr marL="3657600" indent="0" algn="ctr" rtl="0" fontAlgn="base">
              <a:spcBef>
                <a:spcPct val="20000"/>
              </a:spcBef>
              <a:spcAft>
                <a:spcPct val="0"/>
              </a:spcAft>
              <a:buNone/>
              <a:defRPr sz="2000">
                <a:solidFill>
                  <a:schemeClr val="tx1"/>
                </a:solidFill>
                <a:latin typeface="+mn-lt"/>
                <a:cs typeface="+mn-cs"/>
              </a:defRPr>
            </a:lvl9pPr>
          </a:lstStyle>
          <a:p>
            <a:pPr algn="l"/>
            <a:r>
              <a:rPr lang="fr-FR" sz="1000" b="1" kern="0" dirty="0"/>
              <a:t>Vénissieux – Site </a:t>
            </a:r>
            <a:r>
              <a:rPr lang="fr-FR" sz="1000" b="1" kern="0" dirty="0" err="1"/>
              <a:t>Véninov</a:t>
            </a:r>
            <a:endParaRPr lang="fr-FR" sz="1000" b="1" i="1" kern="0" dirty="0"/>
          </a:p>
        </p:txBody>
      </p:sp>
      <p:sp>
        <p:nvSpPr>
          <p:cNvPr id="150" name="Sous-titre 4"/>
          <p:cNvSpPr txBox="1">
            <a:spLocks/>
          </p:cNvSpPr>
          <p:nvPr/>
        </p:nvSpPr>
        <p:spPr>
          <a:xfrm>
            <a:off x="8019162" y="5448410"/>
            <a:ext cx="2497455" cy="258705"/>
          </a:xfrm>
          <a:prstGeom prst="rect">
            <a:avLst/>
          </a:prstGeom>
        </p:spPr>
        <p:txBody>
          <a:bodyPr/>
          <a:lstStyle>
            <a:lvl1pPr marL="0" indent="0" algn="ctr" rtl="0" eaLnBrk="0" fontAlgn="base" hangingPunct="0">
              <a:spcBef>
                <a:spcPct val="20000"/>
              </a:spcBef>
              <a:spcAft>
                <a:spcPct val="0"/>
              </a:spcAft>
              <a:buNone/>
              <a:defRPr sz="3200">
                <a:solidFill>
                  <a:schemeClr val="tx1"/>
                </a:solidFill>
                <a:latin typeface="+mn-lt"/>
                <a:ea typeface="+mn-ea"/>
                <a:cs typeface="+mn-cs"/>
              </a:defRPr>
            </a:lvl1pPr>
            <a:lvl2pPr marL="457200" indent="0" algn="ctr" rtl="0" eaLnBrk="0" fontAlgn="base" hangingPunct="0">
              <a:spcBef>
                <a:spcPct val="20000"/>
              </a:spcBef>
              <a:spcAft>
                <a:spcPct val="0"/>
              </a:spcAft>
              <a:buNone/>
              <a:defRPr sz="2800">
                <a:solidFill>
                  <a:schemeClr val="tx1"/>
                </a:solidFill>
                <a:latin typeface="+mn-lt"/>
                <a:cs typeface="+mn-cs"/>
              </a:defRPr>
            </a:lvl2pPr>
            <a:lvl3pPr marL="914400" indent="0" algn="ctr" rtl="0" eaLnBrk="0" fontAlgn="base" hangingPunct="0">
              <a:spcBef>
                <a:spcPct val="20000"/>
              </a:spcBef>
              <a:spcAft>
                <a:spcPct val="0"/>
              </a:spcAft>
              <a:buNone/>
              <a:defRPr sz="2400">
                <a:solidFill>
                  <a:schemeClr val="tx1"/>
                </a:solidFill>
                <a:latin typeface="+mn-lt"/>
                <a:cs typeface="+mn-cs"/>
              </a:defRPr>
            </a:lvl3pPr>
            <a:lvl4pPr marL="1371600" indent="0" algn="ctr" rtl="0" eaLnBrk="0" fontAlgn="base" hangingPunct="0">
              <a:spcBef>
                <a:spcPct val="20000"/>
              </a:spcBef>
              <a:spcAft>
                <a:spcPct val="0"/>
              </a:spcAft>
              <a:buNone/>
              <a:defRPr sz="2000">
                <a:solidFill>
                  <a:schemeClr val="tx1"/>
                </a:solidFill>
                <a:latin typeface="+mn-lt"/>
                <a:cs typeface="+mn-cs"/>
              </a:defRPr>
            </a:lvl4pPr>
            <a:lvl5pPr marL="1828800" indent="0" algn="ctr" rtl="0" eaLnBrk="0" fontAlgn="base" hangingPunct="0">
              <a:spcBef>
                <a:spcPct val="20000"/>
              </a:spcBef>
              <a:spcAft>
                <a:spcPct val="0"/>
              </a:spcAft>
              <a:buNone/>
              <a:defRPr sz="2000">
                <a:solidFill>
                  <a:schemeClr val="tx1"/>
                </a:solidFill>
                <a:latin typeface="+mn-lt"/>
                <a:cs typeface="+mn-cs"/>
              </a:defRPr>
            </a:lvl5pPr>
            <a:lvl6pPr marL="2286000" indent="0" algn="ctr" rtl="0" fontAlgn="base">
              <a:spcBef>
                <a:spcPct val="20000"/>
              </a:spcBef>
              <a:spcAft>
                <a:spcPct val="0"/>
              </a:spcAft>
              <a:buNone/>
              <a:defRPr sz="2000">
                <a:solidFill>
                  <a:schemeClr val="tx1"/>
                </a:solidFill>
                <a:latin typeface="+mn-lt"/>
                <a:cs typeface="+mn-cs"/>
              </a:defRPr>
            </a:lvl6pPr>
            <a:lvl7pPr marL="2743200" indent="0" algn="ctr" rtl="0" fontAlgn="base">
              <a:spcBef>
                <a:spcPct val="20000"/>
              </a:spcBef>
              <a:spcAft>
                <a:spcPct val="0"/>
              </a:spcAft>
              <a:buNone/>
              <a:defRPr sz="2000">
                <a:solidFill>
                  <a:schemeClr val="tx1"/>
                </a:solidFill>
                <a:latin typeface="+mn-lt"/>
                <a:cs typeface="+mn-cs"/>
              </a:defRPr>
            </a:lvl7pPr>
            <a:lvl8pPr marL="3200400" indent="0" algn="ctr" rtl="0" fontAlgn="base">
              <a:spcBef>
                <a:spcPct val="20000"/>
              </a:spcBef>
              <a:spcAft>
                <a:spcPct val="0"/>
              </a:spcAft>
              <a:buNone/>
              <a:defRPr sz="2000">
                <a:solidFill>
                  <a:schemeClr val="tx1"/>
                </a:solidFill>
                <a:latin typeface="+mn-lt"/>
                <a:cs typeface="+mn-cs"/>
              </a:defRPr>
            </a:lvl8pPr>
            <a:lvl9pPr marL="3657600" indent="0" algn="ctr" rtl="0" fontAlgn="base">
              <a:spcBef>
                <a:spcPct val="20000"/>
              </a:spcBef>
              <a:spcAft>
                <a:spcPct val="0"/>
              </a:spcAft>
              <a:buNone/>
              <a:defRPr sz="2000">
                <a:solidFill>
                  <a:schemeClr val="tx1"/>
                </a:solidFill>
                <a:latin typeface="+mn-lt"/>
                <a:cs typeface="+mn-cs"/>
              </a:defRPr>
            </a:lvl9pPr>
          </a:lstStyle>
          <a:p>
            <a:pPr algn="l"/>
            <a:r>
              <a:rPr lang="fr-FR" sz="1000" b="1" kern="0" dirty="0"/>
              <a:t>Vénissieux – Sect. Ouest de Carrefour</a:t>
            </a:r>
            <a:endParaRPr lang="fr-FR" sz="1000" b="1" i="1" kern="0" dirty="0"/>
          </a:p>
        </p:txBody>
      </p:sp>
      <p:sp>
        <p:nvSpPr>
          <p:cNvPr id="151" name="Sous-titre 4"/>
          <p:cNvSpPr txBox="1">
            <a:spLocks/>
          </p:cNvSpPr>
          <p:nvPr/>
        </p:nvSpPr>
        <p:spPr>
          <a:xfrm>
            <a:off x="8045380" y="6134095"/>
            <a:ext cx="2487102" cy="289705"/>
          </a:xfrm>
          <a:prstGeom prst="rect">
            <a:avLst/>
          </a:prstGeom>
          <a:solidFill>
            <a:schemeClr val="bg1"/>
          </a:solidFill>
        </p:spPr>
        <p:txBody>
          <a:bodyPr/>
          <a:lstStyle>
            <a:lvl1pPr marL="0" indent="0" algn="ctr" rtl="0" eaLnBrk="0" fontAlgn="base" hangingPunct="0">
              <a:spcBef>
                <a:spcPct val="20000"/>
              </a:spcBef>
              <a:spcAft>
                <a:spcPct val="0"/>
              </a:spcAft>
              <a:buNone/>
              <a:defRPr sz="3200">
                <a:solidFill>
                  <a:schemeClr val="tx1"/>
                </a:solidFill>
                <a:latin typeface="+mn-lt"/>
                <a:ea typeface="+mn-ea"/>
                <a:cs typeface="+mn-cs"/>
              </a:defRPr>
            </a:lvl1pPr>
            <a:lvl2pPr marL="457200" indent="0" algn="ctr" rtl="0" eaLnBrk="0" fontAlgn="base" hangingPunct="0">
              <a:spcBef>
                <a:spcPct val="20000"/>
              </a:spcBef>
              <a:spcAft>
                <a:spcPct val="0"/>
              </a:spcAft>
              <a:buNone/>
              <a:defRPr sz="2800">
                <a:solidFill>
                  <a:schemeClr val="tx1"/>
                </a:solidFill>
                <a:latin typeface="+mn-lt"/>
                <a:cs typeface="+mn-cs"/>
              </a:defRPr>
            </a:lvl2pPr>
            <a:lvl3pPr marL="914400" indent="0" algn="ctr" rtl="0" eaLnBrk="0" fontAlgn="base" hangingPunct="0">
              <a:spcBef>
                <a:spcPct val="20000"/>
              </a:spcBef>
              <a:spcAft>
                <a:spcPct val="0"/>
              </a:spcAft>
              <a:buNone/>
              <a:defRPr sz="2400">
                <a:solidFill>
                  <a:schemeClr val="tx1"/>
                </a:solidFill>
                <a:latin typeface="+mn-lt"/>
                <a:cs typeface="+mn-cs"/>
              </a:defRPr>
            </a:lvl3pPr>
            <a:lvl4pPr marL="1371600" indent="0" algn="ctr" rtl="0" eaLnBrk="0" fontAlgn="base" hangingPunct="0">
              <a:spcBef>
                <a:spcPct val="20000"/>
              </a:spcBef>
              <a:spcAft>
                <a:spcPct val="0"/>
              </a:spcAft>
              <a:buNone/>
              <a:defRPr sz="2000">
                <a:solidFill>
                  <a:schemeClr val="tx1"/>
                </a:solidFill>
                <a:latin typeface="+mn-lt"/>
                <a:cs typeface="+mn-cs"/>
              </a:defRPr>
            </a:lvl4pPr>
            <a:lvl5pPr marL="1828800" indent="0" algn="ctr" rtl="0" eaLnBrk="0" fontAlgn="base" hangingPunct="0">
              <a:spcBef>
                <a:spcPct val="20000"/>
              </a:spcBef>
              <a:spcAft>
                <a:spcPct val="0"/>
              </a:spcAft>
              <a:buNone/>
              <a:defRPr sz="2000">
                <a:solidFill>
                  <a:schemeClr val="tx1"/>
                </a:solidFill>
                <a:latin typeface="+mn-lt"/>
                <a:cs typeface="+mn-cs"/>
              </a:defRPr>
            </a:lvl5pPr>
            <a:lvl6pPr marL="2286000" indent="0" algn="ctr" rtl="0" fontAlgn="base">
              <a:spcBef>
                <a:spcPct val="20000"/>
              </a:spcBef>
              <a:spcAft>
                <a:spcPct val="0"/>
              </a:spcAft>
              <a:buNone/>
              <a:defRPr sz="2000">
                <a:solidFill>
                  <a:schemeClr val="tx1"/>
                </a:solidFill>
                <a:latin typeface="+mn-lt"/>
                <a:cs typeface="+mn-cs"/>
              </a:defRPr>
            </a:lvl6pPr>
            <a:lvl7pPr marL="2743200" indent="0" algn="ctr" rtl="0" fontAlgn="base">
              <a:spcBef>
                <a:spcPct val="20000"/>
              </a:spcBef>
              <a:spcAft>
                <a:spcPct val="0"/>
              </a:spcAft>
              <a:buNone/>
              <a:defRPr sz="2000">
                <a:solidFill>
                  <a:schemeClr val="tx1"/>
                </a:solidFill>
                <a:latin typeface="+mn-lt"/>
                <a:cs typeface="+mn-cs"/>
              </a:defRPr>
            </a:lvl7pPr>
            <a:lvl8pPr marL="3200400" indent="0" algn="ctr" rtl="0" fontAlgn="base">
              <a:spcBef>
                <a:spcPct val="20000"/>
              </a:spcBef>
              <a:spcAft>
                <a:spcPct val="0"/>
              </a:spcAft>
              <a:buNone/>
              <a:defRPr sz="2000">
                <a:solidFill>
                  <a:schemeClr val="tx1"/>
                </a:solidFill>
                <a:latin typeface="+mn-lt"/>
                <a:cs typeface="+mn-cs"/>
              </a:defRPr>
            </a:lvl8pPr>
            <a:lvl9pPr marL="3657600" indent="0" algn="ctr" rtl="0" fontAlgn="base">
              <a:spcBef>
                <a:spcPct val="20000"/>
              </a:spcBef>
              <a:spcAft>
                <a:spcPct val="0"/>
              </a:spcAft>
              <a:buNone/>
              <a:defRPr sz="2000">
                <a:solidFill>
                  <a:schemeClr val="tx1"/>
                </a:solidFill>
                <a:latin typeface="+mn-lt"/>
                <a:cs typeface="+mn-cs"/>
              </a:defRPr>
            </a:lvl9pPr>
          </a:lstStyle>
          <a:p>
            <a:pPr algn="l"/>
            <a:r>
              <a:rPr lang="fr-FR" sz="1000" b="1" kern="0" dirty="0"/>
              <a:t>St-</a:t>
            </a:r>
            <a:r>
              <a:rPr lang="fr-FR" sz="1000" b="1" kern="0" dirty="0" err="1"/>
              <a:t>Priest</a:t>
            </a:r>
            <a:r>
              <a:rPr lang="fr-FR" sz="1000" b="1" kern="0" dirty="0"/>
              <a:t> – </a:t>
            </a:r>
            <a:r>
              <a:rPr lang="fr-FR" sz="1000" b="1" kern="0" dirty="0" err="1"/>
              <a:t>Chabal-Solyem</a:t>
            </a:r>
            <a:endParaRPr lang="fr-FR" sz="1000" b="1" i="1" kern="0" dirty="0"/>
          </a:p>
        </p:txBody>
      </p:sp>
      <p:sp>
        <p:nvSpPr>
          <p:cNvPr id="152" name="Sous-titre 4"/>
          <p:cNvSpPr txBox="1">
            <a:spLocks/>
          </p:cNvSpPr>
          <p:nvPr/>
        </p:nvSpPr>
        <p:spPr>
          <a:xfrm>
            <a:off x="7995812" y="2112924"/>
            <a:ext cx="2113330" cy="254831"/>
          </a:xfrm>
          <a:prstGeom prst="rect">
            <a:avLst/>
          </a:prstGeom>
        </p:spPr>
        <p:txBody>
          <a:bodyPr/>
          <a:lstStyle>
            <a:lvl1pPr marL="0" indent="0" algn="ctr" rtl="0" eaLnBrk="0" fontAlgn="base" hangingPunct="0">
              <a:spcBef>
                <a:spcPct val="20000"/>
              </a:spcBef>
              <a:spcAft>
                <a:spcPct val="0"/>
              </a:spcAft>
              <a:buNone/>
              <a:defRPr sz="3200">
                <a:solidFill>
                  <a:schemeClr val="tx1"/>
                </a:solidFill>
                <a:latin typeface="+mn-lt"/>
                <a:ea typeface="+mn-ea"/>
                <a:cs typeface="+mn-cs"/>
              </a:defRPr>
            </a:lvl1pPr>
            <a:lvl2pPr marL="457200" indent="0" algn="ctr" rtl="0" eaLnBrk="0" fontAlgn="base" hangingPunct="0">
              <a:spcBef>
                <a:spcPct val="20000"/>
              </a:spcBef>
              <a:spcAft>
                <a:spcPct val="0"/>
              </a:spcAft>
              <a:buNone/>
              <a:defRPr sz="2800">
                <a:solidFill>
                  <a:schemeClr val="tx1"/>
                </a:solidFill>
                <a:latin typeface="+mn-lt"/>
                <a:cs typeface="+mn-cs"/>
              </a:defRPr>
            </a:lvl2pPr>
            <a:lvl3pPr marL="914400" indent="0" algn="ctr" rtl="0" eaLnBrk="0" fontAlgn="base" hangingPunct="0">
              <a:spcBef>
                <a:spcPct val="20000"/>
              </a:spcBef>
              <a:spcAft>
                <a:spcPct val="0"/>
              </a:spcAft>
              <a:buNone/>
              <a:defRPr sz="2400">
                <a:solidFill>
                  <a:schemeClr val="tx1"/>
                </a:solidFill>
                <a:latin typeface="+mn-lt"/>
                <a:cs typeface="+mn-cs"/>
              </a:defRPr>
            </a:lvl3pPr>
            <a:lvl4pPr marL="1371600" indent="0" algn="ctr" rtl="0" eaLnBrk="0" fontAlgn="base" hangingPunct="0">
              <a:spcBef>
                <a:spcPct val="20000"/>
              </a:spcBef>
              <a:spcAft>
                <a:spcPct val="0"/>
              </a:spcAft>
              <a:buNone/>
              <a:defRPr sz="2000">
                <a:solidFill>
                  <a:schemeClr val="tx1"/>
                </a:solidFill>
                <a:latin typeface="+mn-lt"/>
                <a:cs typeface="+mn-cs"/>
              </a:defRPr>
            </a:lvl4pPr>
            <a:lvl5pPr marL="1828800" indent="0" algn="ctr" rtl="0" eaLnBrk="0" fontAlgn="base" hangingPunct="0">
              <a:spcBef>
                <a:spcPct val="20000"/>
              </a:spcBef>
              <a:spcAft>
                <a:spcPct val="0"/>
              </a:spcAft>
              <a:buNone/>
              <a:defRPr sz="2000">
                <a:solidFill>
                  <a:schemeClr val="tx1"/>
                </a:solidFill>
                <a:latin typeface="+mn-lt"/>
                <a:cs typeface="+mn-cs"/>
              </a:defRPr>
            </a:lvl5pPr>
            <a:lvl6pPr marL="2286000" indent="0" algn="ctr" rtl="0" fontAlgn="base">
              <a:spcBef>
                <a:spcPct val="20000"/>
              </a:spcBef>
              <a:spcAft>
                <a:spcPct val="0"/>
              </a:spcAft>
              <a:buNone/>
              <a:defRPr sz="2000">
                <a:solidFill>
                  <a:schemeClr val="tx1"/>
                </a:solidFill>
                <a:latin typeface="+mn-lt"/>
                <a:cs typeface="+mn-cs"/>
              </a:defRPr>
            </a:lvl6pPr>
            <a:lvl7pPr marL="2743200" indent="0" algn="ctr" rtl="0" fontAlgn="base">
              <a:spcBef>
                <a:spcPct val="20000"/>
              </a:spcBef>
              <a:spcAft>
                <a:spcPct val="0"/>
              </a:spcAft>
              <a:buNone/>
              <a:defRPr sz="2000">
                <a:solidFill>
                  <a:schemeClr val="tx1"/>
                </a:solidFill>
                <a:latin typeface="+mn-lt"/>
                <a:cs typeface="+mn-cs"/>
              </a:defRPr>
            </a:lvl7pPr>
            <a:lvl8pPr marL="3200400" indent="0" algn="ctr" rtl="0" fontAlgn="base">
              <a:spcBef>
                <a:spcPct val="20000"/>
              </a:spcBef>
              <a:spcAft>
                <a:spcPct val="0"/>
              </a:spcAft>
              <a:buNone/>
              <a:defRPr sz="2000">
                <a:solidFill>
                  <a:schemeClr val="tx1"/>
                </a:solidFill>
                <a:latin typeface="+mn-lt"/>
                <a:cs typeface="+mn-cs"/>
              </a:defRPr>
            </a:lvl8pPr>
            <a:lvl9pPr marL="3657600" indent="0" algn="ctr" rtl="0" fontAlgn="base">
              <a:spcBef>
                <a:spcPct val="20000"/>
              </a:spcBef>
              <a:spcAft>
                <a:spcPct val="0"/>
              </a:spcAft>
              <a:buNone/>
              <a:defRPr sz="2000">
                <a:solidFill>
                  <a:schemeClr val="tx1"/>
                </a:solidFill>
                <a:latin typeface="+mn-lt"/>
                <a:cs typeface="+mn-cs"/>
              </a:defRPr>
            </a:lvl9pPr>
          </a:lstStyle>
          <a:p>
            <a:pPr algn="l"/>
            <a:r>
              <a:rPr lang="fr-FR" sz="1000" b="1" kern="0" dirty="0"/>
              <a:t>Villeurbanne – Grand Clément</a:t>
            </a:r>
            <a:endParaRPr lang="fr-FR" sz="1000" b="1" i="1" kern="0" dirty="0"/>
          </a:p>
        </p:txBody>
      </p:sp>
      <p:sp>
        <p:nvSpPr>
          <p:cNvPr id="153" name="Sous-titre 4"/>
          <p:cNvSpPr txBox="1">
            <a:spLocks/>
          </p:cNvSpPr>
          <p:nvPr/>
        </p:nvSpPr>
        <p:spPr>
          <a:xfrm>
            <a:off x="7988792" y="1878482"/>
            <a:ext cx="2113330" cy="254831"/>
          </a:xfrm>
          <a:prstGeom prst="rect">
            <a:avLst/>
          </a:prstGeom>
        </p:spPr>
        <p:txBody>
          <a:bodyPr/>
          <a:lstStyle>
            <a:lvl1pPr marL="0" indent="0" algn="ctr" rtl="0" eaLnBrk="0" fontAlgn="base" hangingPunct="0">
              <a:spcBef>
                <a:spcPct val="20000"/>
              </a:spcBef>
              <a:spcAft>
                <a:spcPct val="0"/>
              </a:spcAft>
              <a:buNone/>
              <a:defRPr sz="3200">
                <a:solidFill>
                  <a:schemeClr val="tx1"/>
                </a:solidFill>
                <a:latin typeface="+mn-lt"/>
                <a:ea typeface="+mn-ea"/>
                <a:cs typeface="+mn-cs"/>
              </a:defRPr>
            </a:lvl1pPr>
            <a:lvl2pPr marL="457200" indent="0" algn="ctr" rtl="0" eaLnBrk="0" fontAlgn="base" hangingPunct="0">
              <a:spcBef>
                <a:spcPct val="20000"/>
              </a:spcBef>
              <a:spcAft>
                <a:spcPct val="0"/>
              </a:spcAft>
              <a:buNone/>
              <a:defRPr sz="2800">
                <a:solidFill>
                  <a:schemeClr val="tx1"/>
                </a:solidFill>
                <a:latin typeface="+mn-lt"/>
                <a:cs typeface="+mn-cs"/>
              </a:defRPr>
            </a:lvl2pPr>
            <a:lvl3pPr marL="914400" indent="0" algn="ctr" rtl="0" eaLnBrk="0" fontAlgn="base" hangingPunct="0">
              <a:spcBef>
                <a:spcPct val="20000"/>
              </a:spcBef>
              <a:spcAft>
                <a:spcPct val="0"/>
              </a:spcAft>
              <a:buNone/>
              <a:defRPr sz="2400">
                <a:solidFill>
                  <a:schemeClr val="tx1"/>
                </a:solidFill>
                <a:latin typeface="+mn-lt"/>
                <a:cs typeface="+mn-cs"/>
              </a:defRPr>
            </a:lvl3pPr>
            <a:lvl4pPr marL="1371600" indent="0" algn="ctr" rtl="0" eaLnBrk="0" fontAlgn="base" hangingPunct="0">
              <a:spcBef>
                <a:spcPct val="20000"/>
              </a:spcBef>
              <a:spcAft>
                <a:spcPct val="0"/>
              </a:spcAft>
              <a:buNone/>
              <a:defRPr sz="2000">
                <a:solidFill>
                  <a:schemeClr val="tx1"/>
                </a:solidFill>
                <a:latin typeface="+mn-lt"/>
                <a:cs typeface="+mn-cs"/>
              </a:defRPr>
            </a:lvl4pPr>
            <a:lvl5pPr marL="1828800" indent="0" algn="ctr" rtl="0" eaLnBrk="0" fontAlgn="base" hangingPunct="0">
              <a:spcBef>
                <a:spcPct val="20000"/>
              </a:spcBef>
              <a:spcAft>
                <a:spcPct val="0"/>
              </a:spcAft>
              <a:buNone/>
              <a:defRPr sz="2000">
                <a:solidFill>
                  <a:schemeClr val="tx1"/>
                </a:solidFill>
                <a:latin typeface="+mn-lt"/>
                <a:cs typeface="+mn-cs"/>
              </a:defRPr>
            </a:lvl5pPr>
            <a:lvl6pPr marL="2286000" indent="0" algn="ctr" rtl="0" fontAlgn="base">
              <a:spcBef>
                <a:spcPct val="20000"/>
              </a:spcBef>
              <a:spcAft>
                <a:spcPct val="0"/>
              </a:spcAft>
              <a:buNone/>
              <a:defRPr sz="2000">
                <a:solidFill>
                  <a:schemeClr val="tx1"/>
                </a:solidFill>
                <a:latin typeface="+mn-lt"/>
                <a:cs typeface="+mn-cs"/>
              </a:defRPr>
            </a:lvl6pPr>
            <a:lvl7pPr marL="2743200" indent="0" algn="ctr" rtl="0" fontAlgn="base">
              <a:spcBef>
                <a:spcPct val="20000"/>
              </a:spcBef>
              <a:spcAft>
                <a:spcPct val="0"/>
              </a:spcAft>
              <a:buNone/>
              <a:defRPr sz="2000">
                <a:solidFill>
                  <a:schemeClr val="tx1"/>
                </a:solidFill>
                <a:latin typeface="+mn-lt"/>
                <a:cs typeface="+mn-cs"/>
              </a:defRPr>
            </a:lvl7pPr>
            <a:lvl8pPr marL="3200400" indent="0" algn="ctr" rtl="0" fontAlgn="base">
              <a:spcBef>
                <a:spcPct val="20000"/>
              </a:spcBef>
              <a:spcAft>
                <a:spcPct val="0"/>
              </a:spcAft>
              <a:buNone/>
              <a:defRPr sz="2000">
                <a:solidFill>
                  <a:schemeClr val="tx1"/>
                </a:solidFill>
                <a:latin typeface="+mn-lt"/>
                <a:cs typeface="+mn-cs"/>
              </a:defRPr>
            </a:lvl8pPr>
            <a:lvl9pPr marL="3657600" indent="0" algn="ctr" rtl="0" fontAlgn="base">
              <a:spcBef>
                <a:spcPct val="20000"/>
              </a:spcBef>
              <a:spcAft>
                <a:spcPct val="0"/>
              </a:spcAft>
              <a:buNone/>
              <a:defRPr sz="2000">
                <a:solidFill>
                  <a:schemeClr val="tx1"/>
                </a:solidFill>
                <a:latin typeface="+mn-lt"/>
                <a:cs typeface="+mn-cs"/>
              </a:defRPr>
            </a:lvl9pPr>
          </a:lstStyle>
          <a:p>
            <a:pPr algn="l"/>
            <a:r>
              <a:rPr lang="fr-FR" sz="1000" b="1" kern="0" dirty="0"/>
              <a:t>Villeurbanne – Secteur St-Jean</a:t>
            </a:r>
            <a:endParaRPr lang="fr-FR" sz="1000" b="1" i="1" kern="0" dirty="0"/>
          </a:p>
        </p:txBody>
      </p:sp>
      <p:sp>
        <p:nvSpPr>
          <p:cNvPr id="154" name="Sous-titre 4"/>
          <p:cNvSpPr txBox="1">
            <a:spLocks/>
          </p:cNvSpPr>
          <p:nvPr/>
        </p:nvSpPr>
        <p:spPr>
          <a:xfrm>
            <a:off x="7966445" y="412535"/>
            <a:ext cx="2113330" cy="254831"/>
          </a:xfrm>
          <a:prstGeom prst="rect">
            <a:avLst/>
          </a:prstGeom>
        </p:spPr>
        <p:txBody>
          <a:bodyPr/>
          <a:lstStyle>
            <a:lvl1pPr marL="0" indent="0" algn="ctr" rtl="0" eaLnBrk="0" fontAlgn="base" hangingPunct="0">
              <a:spcBef>
                <a:spcPct val="20000"/>
              </a:spcBef>
              <a:spcAft>
                <a:spcPct val="0"/>
              </a:spcAft>
              <a:buNone/>
              <a:defRPr sz="3200">
                <a:solidFill>
                  <a:schemeClr val="tx1"/>
                </a:solidFill>
                <a:latin typeface="+mn-lt"/>
                <a:ea typeface="+mn-ea"/>
                <a:cs typeface="+mn-cs"/>
              </a:defRPr>
            </a:lvl1pPr>
            <a:lvl2pPr marL="457200" indent="0" algn="ctr" rtl="0" eaLnBrk="0" fontAlgn="base" hangingPunct="0">
              <a:spcBef>
                <a:spcPct val="20000"/>
              </a:spcBef>
              <a:spcAft>
                <a:spcPct val="0"/>
              </a:spcAft>
              <a:buNone/>
              <a:defRPr sz="2800">
                <a:solidFill>
                  <a:schemeClr val="tx1"/>
                </a:solidFill>
                <a:latin typeface="+mn-lt"/>
                <a:cs typeface="+mn-cs"/>
              </a:defRPr>
            </a:lvl2pPr>
            <a:lvl3pPr marL="914400" indent="0" algn="ctr" rtl="0" eaLnBrk="0" fontAlgn="base" hangingPunct="0">
              <a:spcBef>
                <a:spcPct val="20000"/>
              </a:spcBef>
              <a:spcAft>
                <a:spcPct val="0"/>
              </a:spcAft>
              <a:buNone/>
              <a:defRPr sz="2400">
                <a:solidFill>
                  <a:schemeClr val="tx1"/>
                </a:solidFill>
                <a:latin typeface="+mn-lt"/>
                <a:cs typeface="+mn-cs"/>
              </a:defRPr>
            </a:lvl3pPr>
            <a:lvl4pPr marL="1371600" indent="0" algn="ctr" rtl="0" eaLnBrk="0" fontAlgn="base" hangingPunct="0">
              <a:spcBef>
                <a:spcPct val="20000"/>
              </a:spcBef>
              <a:spcAft>
                <a:spcPct val="0"/>
              </a:spcAft>
              <a:buNone/>
              <a:defRPr sz="2000">
                <a:solidFill>
                  <a:schemeClr val="tx1"/>
                </a:solidFill>
                <a:latin typeface="+mn-lt"/>
                <a:cs typeface="+mn-cs"/>
              </a:defRPr>
            </a:lvl4pPr>
            <a:lvl5pPr marL="1828800" indent="0" algn="ctr" rtl="0" eaLnBrk="0" fontAlgn="base" hangingPunct="0">
              <a:spcBef>
                <a:spcPct val="20000"/>
              </a:spcBef>
              <a:spcAft>
                <a:spcPct val="0"/>
              </a:spcAft>
              <a:buNone/>
              <a:defRPr sz="2000">
                <a:solidFill>
                  <a:schemeClr val="tx1"/>
                </a:solidFill>
                <a:latin typeface="+mn-lt"/>
                <a:cs typeface="+mn-cs"/>
              </a:defRPr>
            </a:lvl5pPr>
            <a:lvl6pPr marL="2286000" indent="0" algn="ctr" rtl="0" fontAlgn="base">
              <a:spcBef>
                <a:spcPct val="20000"/>
              </a:spcBef>
              <a:spcAft>
                <a:spcPct val="0"/>
              </a:spcAft>
              <a:buNone/>
              <a:defRPr sz="2000">
                <a:solidFill>
                  <a:schemeClr val="tx1"/>
                </a:solidFill>
                <a:latin typeface="+mn-lt"/>
                <a:cs typeface="+mn-cs"/>
              </a:defRPr>
            </a:lvl6pPr>
            <a:lvl7pPr marL="2743200" indent="0" algn="ctr" rtl="0" fontAlgn="base">
              <a:spcBef>
                <a:spcPct val="20000"/>
              </a:spcBef>
              <a:spcAft>
                <a:spcPct val="0"/>
              </a:spcAft>
              <a:buNone/>
              <a:defRPr sz="2000">
                <a:solidFill>
                  <a:schemeClr val="tx1"/>
                </a:solidFill>
                <a:latin typeface="+mn-lt"/>
                <a:cs typeface="+mn-cs"/>
              </a:defRPr>
            </a:lvl7pPr>
            <a:lvl8pPr marL="3200400" indent="0" algn="ctr" rtl="0" fontAlgn="base">
              <a:spcBef>
                <a:spcPct val="20000"/>
              </a:spcBef>
              <a:spcAft>
                <a:spcPct val="0"/>
              </a:spcAft>
              <a:buNone/>
              <a:defRPr sz="2000">
                <a:solidFill>
                  <a:schemeClr val="tx1"/>
                </a:solidFill>
                <a:latin typeface="+mn-lt"/>
                <a:cs typeface="+mn-cs"/>
              </a:defRPr>
            </a:lvl8pPr>
            <a:lvl9pPr marL="3657600" indent="0" algn="ctr" rtl="0" fontAlgn="base">
              <a:spcBef>
                <a:spcPct val="20000"/>
              </a:spcBef>
              <a:spcAft>
                <a:spcPct val="0"/>
              </a:spcAft>
              <a:buNone/>
              <a:defRPr sz="2000">
                <a:solidFill>
                  <a:schemeClr val="tx1"/>
                </a:solidFill>
                <a:latin typeface="+mn-lt"/>
                <a:cs typeface="+mn-cs"/>
              </a:defRPr>
            </a:lvl9pPr>
          </a:lstStyle>
          <a:p>
            <a:pPr algn="l"/>
            <a:r>
              <a:rPr lang="fr-FR" sz="1000" b="1" kern="0" dirty="0"/>
              <a:t>Meyzieu – Entrée Ouest</a:t>
            </a:r>
            <a:endParaRPr lang="fr-FR" sz="1000" b="1" i="1" kern="0" dirty="0"/>
          </a:p>
        </p:txBody>
      </p:sp>
      <p:sp>
        <p:nvSpPr>
          <p:cNvPr id="155" name="Sous-titre 4"/>
          <p:cNvSpPr txBox="1">
            <a:spLocks/>
          </p:cNvSpPr>
          <p:nvPr/>
        </p:nvSpPr>
        <p:spPr>
          <a:xfrm>
            <a:off x="7974243" y="649457"/>
            <a:ext cx="2113330" cy="254831"/>
          </a:xfrm>
          <a:prstGeom prst="rect">
            <a:avLst/>
          </a:prstGeom>
        </p:spPr>
        <p:txBody>
          <a:bodyPr/>
          <a:lstStyle>
            <a:lvl1pPr marL="0" indent="0" algn="ctr" rtl="0" eaLnBrk="0" fontAlgn="base" hangingPunct="0">
              <a:spcBef>
                <a:spcPct val="20000"/>
              </a:spcBef>
              <a:spcAft>
                <a:spcPct val="0"/>
              </a:spcAft>
              <a:buNone/>
              <a:defRPr sz="3200">
                <a:solidFill>
                  <a:schemeClr val="tx1"/>
                </a:solidFill>
                <a:latin typeface="+mn-lt"/>
                <a:ea typeface="+mn-ea"/>
                <a:cs typeface="+mn-cs"/>
              </a:defRPr>
            </a:lvl1pPr>
            <a:lvl2pPr marL="457200" indent="0" algn="ctr" rtl="0" eaLnBrk="0" fontAlgn="base" hangingPunct="0">
              <a:spcBef>
                <a:spcPct val="20000"/>
              </a:spcBef>
              <a:spcAft>
                <a:spcPct val="0"/>
              </a:spcAft>
              <a:buNone/>
              <a:defRPr sz="2800">
                <a:solidFill>
                  <a:schemeClr val="tx1"/>
                </a:solidFill>
                <a:latin typeface="+mn-lt"/>
                <a:cs typeface="+mn-cs"/>
              </a:defRPr>
            </a:lvl2pPr>
            <a:lvl3pPr marL="914400" indent="0" algn="ctr" rtl="0" eaLnBrk="0" fontAlgn="base" hangingPunct="0">
              <a:spcBef>
                <a:spcPct val="20000"/>
              </a:spcBef>
              <a:spcAft>
                <a:spcPct val="0"/>
              </a:spcAft>
              <a:buNone/>
              <a:defRPr sz="2400">
                <a:solidFill>
                  <a:schemeClr val="tx1"/>
                </a:solidFill>
                <a:latin typeface="+mn-lt"/>
                <a:cs typeface="+mn-cs"/>
              </a:defRPr>
            </a:lvl3pPr>
            <a:lvl4pPr marL="1371600" indent="0" algn="ctr" rtl="0" eaLnBrk="0" fontAlgn="base" hangingPunct="0">
              <a:spcBef>
                <a:spcPct val="20000"/>
              </a:spcBef>
              <a:spcAft>
                <a:spcPct val="0"/>
              </a:spcAft>
              <a:buNone/>
              <a:defRPr sz="2000">
                <a:solidFill>
                  <a:schemeClr val="tx1"/>
                </a:solidFill>
                <a:latin typeface="+mn-lt"/>
                <a:cs typeface="+mn-cs"/>
              </a:defRPr>
            </a:lvl4pPr>
            <a:lvl5pPr marL="1828800" indent="0" algn="ctr" rtl="0" eaLnBrk="0" fontAlgn="base" hangingPunct="0">
              <a:spcBef>
                <a:spcPct val="20000"/>
              </a:spcBef>
              <a:spcAft>
                <a:spcPct val="0"/>
              </a:spcAft>
              <a:buNone/>
              <a:defRPr sz="2000">
                <a:solidFill>
                  <a:schemeClr val="tx1"/>
                </a:solidFill>
                <a:latin typeface="+mn-lt"/>
                <a:cs typeface="+mn-cs"/>
              </a:defRPr>
            </a:lvl5pPr>
            <a:lvl6pPr marL="2286000" indent="0" algn="ctr" rtl="0" fontAlgn="base">
              <a:spcBef>
                <a:spcPct val="20000"/>
              </a:spcBef>
              <a:spcAft>
                <a:spcPct val="0"/>
              </a:spcAft>
              <a:buNone/>
              <a:defRPr sz="2000">
                <a:solidFill>
                  <a:schemeClr val="tx1"/>
                </a:solidFill>
                <a:latin typeface="+mn-lt"/>
                <a:cs typeface="+mn-cs"/>
              </a:defRPr>
            </a:lvl6pPr>
            <a:lvl7pPr marL="2743200" indent="0" algn="ctr" rtl="0" fontAlgn="base">
              <a:spcBef>
                <a:spcPct val="20000"/>
              </a:spcBef>
              <a:spcAft>
                <a:spcPct val="0"/>
              </a:spcAft>
              <a:buNone/>
              <a:defRPr sz="2000">
                <a:solidFill>
                  <a:schemeClr val="tx1"/>
                </a:solidFill>
                <a:latin typeface="+mn-lt"/>
                <a:cs typeface="+mn-cs"/>
              </a:defRPr>
            </a:lvl7pPr>
            <a:lvl8pPr marL="3200400" indent="0" algn="ctr" rtl="0" fontAlgn="base">
              <a:spcBef>
                <a:spcPct val="20000"/>
              </a:spcBef>
              <a:spcAft>
                <a:spcPct val="0"/>
              </a:spcAft>
              <a:buNone/>
              <a:defRPr sz="2000">
                <a:solidFill>
                  <a:schemeClr val="tx1"/>
                </a:solidFill>
                <a:latin typeface="+mn-lt"/>
                <a:cs typeface="+mn-cs"/>
              </a:defRPr>
            </a:lvl8pPr>
            <a:lvl9pPr marL="3657600" indent="0" algn="ctr" rtl="0" fontAlgn="base">
              <a:spcBef>
                <a:spcPct val="20000"/>
              </a:spcBef>
              <a:spcAft>
                <a:spcPct val="0"/>
              </a:spcAft>
              <a:buNone/>
              <a:defRPr sz="2000">
                <a:solidFill>
                  <a:schemeClr val="tx1"/>
                </a:solidFill>
                <a:latin typeface="+mn-lt"/>
                <a:cs typeface="+mn-cs"/>
              </a:defRPr>
            </a:lvl9pPr>
          </a:lstStyle>
          <a:p>
            <a:pPr algn="l"/>
            <a:r>
              <a:rPr lang="fr-FR" sz="1000" b="1" kern="0" dirty="0" err="1"/>
              <a:t>Décines</a:t>
            </a:r>
            <a:r>
              <a:rPr lang="fr-FR" sz="1000" b="1" kern="0" dirty="0"/>
              <a:t> – Site </a:t>
            </a:r>
            <a:r>
              <a:rPr lang="fr-FR" sz="1000" b="1" kern="0" dirty="0" err="1"/>
              <a:t>Gifrer</a:t>
            </a:r>
            <a:endParaRPr lang="fr-FR" sz="1000" b="1" i="1" kern="0" dirty="0"/>
          </a:p>
        </p:txBody>
      </p:sp>
      <p:sp>
        <p:nvSpPr>
          <p:cNvPr id="156" name="Sous-titre 4"/>
          <p:cNvSpPr txBox="1">
            <a:spLocks/>
          </p:cNvSpPr>
          <p:nvPr/>
        </p:nvSpPr>
        <p:spPr>
          <a:xfrm>
            <a:off x="7987390" y="897850"/>
            <a:ext cx="2113330" cy="254831"/>
          </a:xfrm>
          <a:prstGeom prst="rect">
            <a:avLst/>
          </a:prstGeom>
        </p:spPr>
        <p:txBody>
          <a:bodyPr/>
          <a:lstStyle>
            <a:lvl1pPr marL="0" indent="0" algn="ctr" rtl="0" eaLnBrk="0" fontAlgn="base" hangingPunct="0">
              <a:spcBef>
                <a:spcPct val="20000"/>
              </a:spcBef>
              <a:spcAft>
                <a:spcPct val="0"/>
              </a:spcAft>
              <a:buNone/>
              <a:defRPr sz="3200">
                <a:solidFill>
                  <a:schemeClr val="tx1"/>
                </a:solidFill>
                <a:latin typeface="+mn-lt"/>
                <a:ea typeface="+mn-ea"/>
                <a:cs typeface="+mn-cs"/>
              </a:defRPr>
            </a:lvl1pPr>
            <a:lvl2pPr marL="457200" indent="0" algn="ctr" rtl="0" eaLnBrk="0" fontAlgn="base" hangingPunct="0">
              <a:spcBef>
                <a:spcPct val="20000"/>
              </a:spcBef>
              <a:spcAft>
                <a:spcPct val="0"/>
              </a:spcAft>
              <a:buNone/>
              <a:defRPr sz="2800">
                <a:solidFill>
                  <a:schemeClr val="tx1"/>
                </a:solidFill>
                <a:latin typeface="+mn-lt"/>
                <a:cs typeface="+mn-cs"/>
              </a:defRPr>
            </a:lvl2pPr>
            <a:lvl3pPr marL="914400" indent="0" algn="ctr" rtl="0" eaLnBrk="0" fontAlgn="base" hangingPunct="0">
              <a:spcBef>
                <a:spcPct val="20000"/>
              </a:spcBef>
              <a:spcAft>
                <a:spcPct val="0"/>
              </a:spcAft>
              <a:buNone/>
              <a:defRPr sz="2400">
                <a:solidFill>
                  <a:schemeClr val="tx1"/>
                </a:solidFill>
                <a:latin typeface="+mn-lt"/>
                <a:cs typeface="+mn-cs"/>
              </a:defRPr>
            </a:lvl3pPr>
            <a:lvl4pPr marL="1371600" indent="0" algn="ctr" rtl="0" eaLnBrk="0" fontAlgn="base" hangingPunct="0">
              <a:spcBef>
                <a:spcPct val="20000"/>
              </a:spcBef>
              <a:spcAft>
                <a:spcPct val="0"/>
              </a:spcAft>
              <a:buNone/>
              <a:defRPr sz="2000">
                <a:solidFill>
                  <a:schemeClr val="tx1"/>
                </a:solidFill>
                <a:latin typeface="+mn-lt"/>
                <a:cs typeface="+mn-cs"/>
              </a:defRPr>
            </a:lvl4pPr>
            <a:lvl5pPr marL="1828800" indent="0" algn="ctr" rtl="0" eaLnBrk="0" fontAlgn="base" hangingPunct="0">
              <a:spcBef>
                <a:spcPct val="20000"/>
              </a:spcBef>
              <a:spcAft>
                <a:spcPct val="0"/>
              </a:spcAft>
              <a:buNone/>
              <a:defRPr sz="2000">
                <a:solidFill>
                  <a:schemeClr val="tx1"/>
                </a:solidFill>
                <a:latin typeface="+mn-lt"/>
                <a:cs typeface="+mn-cs"/>
              </a:defRPr>
            </a:lvl5pPr>
            <a:lvl6pPr marL="2286000" indent="0" algn="ctr" rtl="0" fontAlgn="base">
              <a:spcBef>
                <a:spcPct val="20000"/>
              </a:spcBef>
              <a:spcAft>
                <a:spcPct val="0"/>
              </a:spcAft>
              <a:buNone/>
              <a:defRPr sz="2000">
                <a:solidFill>
                  <a:schemeClr val="tx1"/>
                </a:solidFill>
                <a:latin typeface="+mn-lt"/>
                <a:cs typeface="+mn-cs"/>
              </a:defRPr>
            </a:lvl6pPr>
            <a:lvl7pPr marL="2743200" indent="0" algn="ctr" rtl="0" fontAlgn="base">
              <a:spcBef>
                <a:spcPct val="20000"/>
              </a:spcBef>
              <a:spcAft>
                <a:spcPct val="0"/>
              </a:spcAft>
              <a:buNone/>
              <a:defRPr sz="2000">
                <a:solidFill>
                  <a:schemeClr val="tx1"/>
                </a:solidFill>
                <a:latin typeface="+mn-lt"/>
                <a:cs typeface="+mn-cs"/>
              </a:defRPr>
            </a:lvl7pPr>
            <a:lvl8pPr marL="3200400" indent="0" algn="ctr" rtl="0" fontAlgn="base">
              <a:spcBef>
                <a:spcPct val="20000"/>
              </a:spcBef>
              <a:spcAft>
                <a:spcPct val="0"/>
              </a:spcAft>
              <a:buNone/>
              <a:defRPr sz="2000">
                <a:solidFill>
                  <a:schemeClr val="tx1"/>
                </a:solidFill>
                <a:latin typeface="+mn-lt"/>
                <a:cs typeface="+mn-cs"/>
              </a:defRPr>
            </a:lvl8pPr>
            <a:lvl9pPr marL="3657600" indent="0" algn="ctr" rtl="0" fontAlgn="base">
              <a:spcBef>
                <a:spcPct val="20000"/>
              </a:spcBef>
              <a:spcAft>
                <a:spcPct val="0"/>
              </a:spcAft>
              <a:buNone/>
              <a:defRPr sz="2000">
                <a:solidFill>
                  <a:schemeClr val="tx1"/>
                </a:solidFill>
                <a:latin typeface="+mn-lt"/>
                <a:cs typeface="+mn-cs"/>
              </a:defRPr>
            </a:lvl9pPr>
          </a:lstStyle>
          <a:p>
            <a:pPr algn="l"/>
            <a:r>
              <a:rPr lang="fr-FR" sz="1000" b="1" kern="0" dirty="0" err="1"/>
              <a:t>Décines</a:t>
            </a:r>
            <a:r>
              <a:rPr lang="fr-FR" sz="1000" b="1" kern="0" dirty="0"/>
              <a:t> – Projet D-</a:t>
            </a:r>
            <a:r>
              <a:rPr lang="fr-FR" sz="1000" b="1" kern="0" dirty="0" err="1"/>
              <a:t>Side</a:t>
            </a:r>
            <a:endParaRPr lang="fr-FR" sz="1000" b="1" i="1" kern="0" dirty="0"/>
          </a:p>
        </p:txBody>
      </p:sp>
      <p:sp>
        <p:nvSpPr>
          <p:cNvPr id="157" name="Sous-titre 4"/>
          <p:cNvSpPr txBox="1">
            <a:spLocks/>
          </p:cNvSpPr>
          <p:nvPr/>
        </p:nvSpPr>
        <p:spPr>
          <a:xfrm>
            <a:off x="7988794" y="1628581"/>
            <a:ext cx="2444802" cy="268188"/>
          </a:xfrm>
          <a:prstGeom prst="rect">
            <a:avLst/>
          </a:prstGeom>
        </p:spPr>
        <p:txBody>
          <a:bodyPr/>
          <a:lstStyle>
            <a:lvl1pPr marL="0" indent="0" algn="ctr" rtl="0" eaLnBrk="0" fontAlgn="base" hangingPunct="0">
              <a:spcBef>
                <a:spcPct val="20000"/>
              </a:spcBef>
              <a:spcAft>
                <a:spcPct val="0"/>
              </a:spcAft>
              <a:buNone/>
              <a:defRPr sz="3200">
                <a:solidFill>
                  <a:schemeClr val="tx1"/>
                </a:solidFill>
                <a:latin typeface="+mn-lt"/>
                <a:ea typeface="+mn-ea"/>
                <a:cs typeface="+mn-cs"/>
              </a:defRPr>
            </a:lvl1pPr>
            <a:lvl2pPr marL="457200" indent="0" algn="ctr" rtl="0" eaLnBrk="0" fontAlgn="base" hangingPunct="0">
              <a:spcBef>
                <a:spcPct val="20000"/>
              </a:spcBef>
              <a:spcAft>
                <a:spcPct val="0"/>
              </a:spcAft>
              <a:buNone/>
              <a:defRPr sz="2800">
                <a:solidFill>
                  <a:schemeClr val="tx1"/>
                </a:solidFill>
                <a:latin typeface="+mn-lt"/>
                <a:cs typeface="+mn-cs"/>
              </a:defRPr>
            </a:lvl2pPr>
            <a:lvl3pPr marL="914400" indent="0" algn="ctr" rtl="0" eaLnBrk="0" fontAlgn="base" hangingPunct="0">
              <a:spcBef>
                <a:spcPct val="20000"/>
              </a:spcBef>
              <a:spcAft>
                <a:spcPct val="0"/>
              </a:spcAft>
              <a:buNone/>
              <a:defRPr sz="2400">
                <a:solidFill>
                  <a:schemeClr val="tx1"/>
                </a:solidFill>
                <a:latin typeface="+mn-lt"/>
                <a:cs typeface="+mn-cs"/>
              </a:defRPr>
            </a:lvl3pPr>
            <a:lvl4pPr marL="1371600" indent="0" algn="ctr" rtl="0" eaLnBrk="0" fontAlgn="base" hangingPunct="0">
              <a:spcBef>
                <a:spcPct val="20000"/>
              </a:spcBef>
              <a:spcAft>
                <a:spcPct val="0"/>
              </a:spcAft>
              <a:buNone/>
              <a:defRPr sz="2000">
                <a:solidFill>
                  <a:schemeClr val="tx1"/>
                </a:solidFill>
                <a:latin typeface="+mn-lt"/>
                <a:cs typeface="+mn-cs"/>
              </a:defRPr>
            </a:lvl4pPr>
            <a:lvl5pPr marL="1828800" indent="0" algn="ctr" rtl="0" eaLnBrk="0" fontAlgn="base" hangingPunct="0">
              <a:spcBef>
                <a:spcPct val="20000"/>
              </a:spcBef>
              <a:spcAft>
                <a:spcPct val="0"/>
              </a:spcAft>
              <a:buNone/>
              <a:defRPr sz="2000">
                <a:solidFill>
                  <a:schemeClr val="tx1"/>
                </a:solidFill>
                <a:latin typeface="+mn-lt"/>
                <a:cs typeface="+mn-cs"/>
              </a:defRPr>
            </a:lvl5pPr>
            <a:lvl6pPr marL="2286000" indent="0" algn="ctr" rtl="0" fontAlgn="base">
              <a:spcBef>
                <a:spcPct val="20000"/>
              </a:spcBef>
              <a:spcAft>
                <a:spcPct val="0"/>
              </a:spcAft>
              <a:buNone/>
              <a:defRPr sz="2000">
                <a:solidFill>
                  <a:schemeClr val="tx1"/>
                </a:solidFill>
                <a:latin typeface="+mn-lt"/>
                <a:cs typeface="+mn-cs"/>
              </a:defRPr>
            </a:lvl6pPr>
            <a:lvl7pPr marL="2743200" indent="0" algn="ctr" rtl="0" fontAlgn="base">
              <a:spcBef>
                <a:spcPct val="20000"/>
              </a:spcBef>
              <a:spcAft>
                <a:spcPct val="0"/>
              </a:spcAft>
              <a:buNone/>
              <a:defRPr sz="2000">
                <a:solidFill>
                  <a:schemeClr val="tx1"/>
                </a:solidFill>
                <a:latin typeface="+mn-lt"/>
                <a:cs typeface="+mn-cs"/>
              </a:defRPr>
            </a:lvl7pPr>
            <a:lvl8pPr marL="3200400" indent="0" algn="ctr" rtl="0" fontAlgn="base">
              <a:spcBef>
                <a:spcPct val="20000"/>
              </a:spcBef>
              <a:spcAft>
                <a:spcPct val="0"/>
              </a:spcAft>
              <a:buNone/>
              <a:defRPr sz="2000">
                <a:solidFill>
                  <a:schemeClr val="tx1"/>
                </a:solidFill>
                <a:latin typeface="+mn-lt"/>
                <a:cs typeface="+mn-cs"/>
              </a:defRPr>
            </a:lvl8pPr>
            <a:lvl9pPr marL="3657600" indent="0" algn="ctr" rtl="0" fontAlgn="base">
              <a:spcBef>
                <a:spcPct val="20000"/>
              </a:spcBef>
              <a:spcAft>
                <a:spcPct val="0"/>
              </a:spcAft>
              <a:buNone/>
              <a:defRPr sz="2000">
                <a:solidFill>
                  <a:schemeClr val="tx1"/>
                </a:solidFill>
                <a:latin typeface="+mn-lt"/>
                <a:cs typeface="+mn-cs"/>
              </a:defRPr>
            </a:lvl9pPr>
          </a:lstStyle>
          <a:p>
            <a:pPr algn="l"/>
            <a:r>
              <a:rPr lang="fr-FR" sz="1000" b="1" kern="0" dirty="0"/>
              <a:t>Vaulx en V. – Foncier Renault </a:t>
            </a:r>
            <a:r>
              <a:rPr lang="fr-FR" sz="1000" b="1" kern="0" dirty="0" err="1"/>
              <a:t>Bohlen</a:t>
            </a:r>
            <a:endParaRPr lang="fr-FR" sz="1000" b="1" i="1" kern="0" dirty="0"/>
          </a:p>
        </p:txBody>
      </p:sp>
      <p:sp>
        <p:nvSpPr>
          <p:cNvPr id="158" name="Sous-titre 4"/>
          <p:cNvSpPr txBox="1">
            <a:spLocks/>
          </p:cNvSpPr>
          <p:nvPr/>
        </p:nvSpPr>
        <p:spPr>
          <a:xfrm>
            <a:off x="7981598" y="1391225"/>
            <a:ext cx="2394426" cy="241341"/>
          </a:xfrm>
          <a:prstGeom prst="rect">
            <a:avLst/>
          </a:prstGeom>
        </p:spPr>
        <p:txBody>
          <a:bodyPr/>
          <a:lstStyle>
            <a:lvl1pPr marL="0" indent="0" algn="ctr" rtl="0" eaLnBrk="0" fontAlgn="base" hangingPunct="0">
              <a:spcBef>
                <a:spcPct val="20000"/>
              </a:spcBef>
              <a:spcAft>
                <a:spcPct val="0"/>
              </a:spcAft>
              <a:buNone/>
              <a:defRPr sz="3200">
                <a:solidFill>
                  <a:schemeClr val="tx1"/>
                </a:solidFill>
                <a:latin typeface="+mn-lt"/>
                <a:ea typeface="+mn-ea"/>
                <a:cs typeface="+mn-cs"/>
              </a:defRPr>
            </a:lvl1pPr>
            <a:lvl2pPr marL="457200" indent="0" algn="ctr" rtl="0" eaLnBrk="0" fontAlgn="base" hangingPunct="0">
              <a:spcBef>
                <a:spcPct val="20000"/>
              </a:spcBef>
              <a:spcAft>
                <a:spcPct val="0"/>
              </a:spcAft>
              <a:buNone/>
              <a:defRPr sz="2800">
                <a:solidFill>
                  <a:schemeClr val="tx1"/>
                </a:solidFill>
                <a:latin typeface="+mn-lt"/>
                <a:cs typeface="+mn-cs"/>
              </a:defRPr>
            </a:lvl2pPr>
            <a:lvl3pPr marL="914400" indent="0" algn="ctr" rtl="0" eaLnBrk="0" fontAlgn="base" hangingPunct="0">
              <a:spcBef>
                <a:spcPct val="20000"/>
              </a:spcBef>
              <a:spcAft>
                <a:spcPct val="0"/>
              </a:spcAft>
              <a:buNone/>
              <a:defRPr sz="2400">
                <a:solidFill>
                  <a:schemeClr val="tx1"/>
                </a:solidFill>
                <a:latin typeface="+mn-lt"/>
                <a:cs typeface="+mn-cs"/>
              </a:defRPr>
            </a:lvl3pPr>
            <a:lvl4pPr marL="1371600" indent="0" algn="ctr" rtl="0" eaLnBrk="0" fontAlgn="base" hangingPunct="0">
              <a:spcBef>
                <a:spcPct val="20000"/>
              </a:spcBef>
              <a:spcAft>
                <a:spcPct val="0"/>
              </a:spcAft>
              <a:buNone/>
              <a:defRPr sz="2000">
                <a:solidFill>
                  <a:schemeClr val="tx1"/>
                </a:solidFill>
                <a:latin typeface="+mn-lt"/>
                <a:cs typeface="+mn-cs"/>
              </a:defRPr>
            </a:lvl4pPr>
            <a:lvl5pPr marL="1828800" indent="0" algn="ctr" rtl="0" eaLnBrk="0" fontAlgn="base" hangingPunct="0">
              <a:spcBef>
                <a:spcPct val="20000"/>
              </a:spcBef>
              <a:spcAft>
                <a:spcPct val="0"/>
              </a:spcAft>
              <a:buNone/>
              <a:defRPr sz="2000">
                <a:solidFill>
                  <a:schemeClr val="tx1"/>
                </a:solidFill>
                <a:latin typeface="+mn-lt"/>
                <a:cs typeface="+mn-cs"/>
              </a:defRPr>
            </a:lvl5pPr>
            <a:lvl6pPr marL="2286000" indent="0" algn="ctr" rtl="0" fontAlgn="base">
              <a:spcBef>
                <a:spcPct val="20000"/>
              </a:spcBef>
              <a:spcAft>
                <a:spcPct val="0"/>
              </a:spcAft>
              <a:buNone/>
              <a:defRPr sz="2000">
                <a:solidFill>
                  <a:schemeClr val="tx1"/>
                </a:solidFill>
                <a:latin typeface="+mn-lt"/>
                <a:cs typeface="+mn-cs"/>
              </a:defRPr>
            </a:lvl6pPr>
            <a:lvl7pPr marL="2743200" indent="0" algn="ctr" rtl="0" fontAlgn="base">
              <a:spcBef>
                <a:spcPct val="20000"/>
              </a:spcBef>
              <a:spcAft>
                <a:spcPct val="0"/>
              </a:spcAft>
              <a:buNone/>
              <a:defRPr sz="2000">
                <a:solidFill>
                  <a:schemeClr val="tx1"/>
                </a:solidFill>
                <a:latin typeface="+mn-lt"/>
                <a:cs typeface="+mn-cs"/>
              </a:defRPr>
            </a:lvl7pPr>
            <a:lvl8pPr marL="3200400" indent="0" algn="ctr" rtl="0" fontAlgn="base">
              <a:spcBef>
                <a:spcPct val="20000"/>
              </a:spcBef>
              <a:spcAft>
                <a:spcPct val="0"/>
              </a:spcAft>
              <a:buNone/>
              <a:defRPr sz="2000">
                <a:solidFill>
                  <a:schemeClr val="tx1"/>
                </a:solidFill>
                <a:latin typeface="+mn-lt"/>
                <a:cs typeface="+mn-cs"/>
              </a:defRPr>
            </a:lvl8pPr>
            <a:lvl9pPr marL="3657600" indent="0" algn="ctr" rtl="0" fontAlgn="base">
              <a:spcBef>
                <a:spcPct val="20000"/>
              </a:spcBef>
              <a:spcAft>
                <a:spcPct val="0"/>
              </a:spcAft>
              <a:buNone/>
              <a:defRPr sz="2000">
                <a:solidFill>
                  <a:schemeClr val="tx1"/>
                </a:solidFill>
                <a:latin typeface="+mn-lt"/>
                <a:cs typeface="+mn-cs"/>
              </a:defRPr>
            </a:lvl9pPr>
          </a:lstStyle>
          <a:p>
            <a:pPr algn="l"/>
            <a:r>
              <a:rPr lang="fr-FR" sz="1000" b="1" kern="0" dirty="0"/>
              <a:t>Vaulx en V. – Usine </a:t>
            </a:r>
            <a:r>
              <a:rPr lang="fr-FR" sz="1000" b="1" kern="0" dirty="0" err="1"/>
              <a:t>Tase</a:t>
            </a:r>
            <a:endParaRPr lang="fr-FR" sz="1000" b="1" i="1" kern="0" dirty="0"/>
          </a:p>
        </p:txBody>
      </p:sp>
      <p:sp>
        <p:nvSpPr>
          <p:cNvPr id="159" name="Sous-titre 4"/>
          <p:cNvSpPr txBox="1">
            <a:spLocks/>
          </p:cNvSpPr>
          <p:nvPr/>
        </p:nvSpPr>
        <p:spPr>
          <a:xfrm>
            <a:off x="7977179" y="1139315"/>
            <a:ext cx="2623507" cy="241341"/>
          </a:xfrm>
          <a:prstGeom prst="rect">
            <a:avLst/>
          </a:prstGeom>
        </p:spPr>
        <p:txBody>
          <a:bodyPr/>
          <a:lstStyle>
            <a:lvl1pPr marL="0" indent="0" algn="ctr" rtl="0" eaLnBrk="0" fontAlgn="base" hangingPunct="0">
              <a:spcBef>
                <a:spcPct val="20000"/>
              </a:spcBef>
              <a:spcAft>
                <a:spcPct val="0"/>
              </a:spcAft>
              <a:buNone/>
              <a:defRPr sz="3200">
                <a:solidFill>
                  <a:schemeClr val="tx1"/>
                </a:solidFill>
                <a:latin typeface="+mn-lt"/>
                <a:ea typeface="+mn-ea"/>
                <a:cs typeface="+mn-cs"/>
              </a:defRPr>
            </a:lvl1pPr>
            <a:lvl2pPr marL="457200" indent="0" algn="ctr" rtl="0" eaLnBrk="0" fontAlgn="base" hangingPunct="0">
              <a:spcBef>
                <a:spcPct val="20000"/>
              </a:spcBef>
              <a:spcAft>
                <a:spcPct val="0"/>
              </a:spcAft>
              <a:buNone/>
              <a:defRPr sz="2800">
                <a:solidFill>
                  <a:schemeClr val="tx1"/>
                </a:solidFill>
                <a:latin typeface="+mn-lt"/>
                <a:cs typeface="+mn-cs"/>
              </a:defRPr>
            </a:lvl2pPr>
            <a:lvl3pPr marL="914400" indent="0" algn="ctr" rtl="0" eaLnBrk="0" fontAlgn="base" hangingPunct="0">
              <a:spcBef>
                <a:spcPct val="20000"/>
              </a:spcBef>
              <a:spcAft>
                <a:spcPct val="0"/>
              </a:spcAft>
              <a:buNone/>
              <a:defRPr sz="2400">
                <a:solidFill>
                  <a:schemeClr val="tx1"/>
                </a:solidFill>
                <a:latin typeface="+mn-lt"/>
                <a:cs typeface="+mn-cs"/>
              </a:defRPr>
            </a:lvl3pPr>
            <a:lvl4pPr marL="1371600" indent="0" algn="ctr" rtl="0" eaLnBrk="0" fontAlgn="base" hangingPunct="0">
              <a:spcBef>
                <a:spcPct val="20000"/>
              </a:spcBef>
              <a:spcAft>
                <a:spcPct val="0"/>
              </a:spcAft>
              <a:buNone/>
              <a:defRPr sz="2000">
                <a:solidFill>
                  <a:schemeClr val="tx1"/>
                </a:solidFill>
                <a:latin typeface="+mn-lt"/>
                <a:cs typeface="+mn-cs"/>
              </a:defRPr>
            </a:lvl4pPr>
            <a:lvl5pPr marL="1828800" indent="0" algn="ctr" rtl="0" eaLnBrk="0" fontAlgn="base" hangingPunct="0">
              <a:spcBef>
                <a:spcPct val="20000"/>
              </a:spcBef>
              <a:spcAft>
                <a:spcPct val="0"/>
              </a:spcAft>
              <a:buNone/>
              <a:defRPr sz="2000">
                <a:solidFill>
                  <a:schemeClr val="tx1"/>
                </a:solidFill>
                <a:latin typeface="+mn-lt"/>
                <a:cs typeface="+mn-cs"/>
              </a:defRPr>
            </a:lvl5pPr>
            <a:lvl6pPr marL="2286000" indent="0" algn="ctr" rtl="0" fontAlgn="base">
              <a:spcBef>
                <a:spcPct val="20000"/>
              </a:spcBef>
              <a:spcAft>
                <a:spcPct val="0"/>
              </a:spcAft>
              <a:buNone/>
              <a:defRPr sz="2000">
                <a:solidFill>
                  <a:schemeClr val="tx1"/>
                </a:solidFill>
                <a:latin typeface="+mn-lt"/>
                <a:cs typeface="+mn-cs"/>
              </a:defRPr>
            </a:lvl6pPr>
            <a:lvl7pPr marL="2743200" indent="0" algn="ctr" rtl="0" fontAlgn="base">
              <a:spcBef>
                <a:spcPct val="20000"/>
              </a:spcBef>
              <a:spcAft>
                <a:spcPct val="0"/>
              </a:spcAft>
              <a:buNone/>
              <a:defRPr sz="2000">
                <a:solidFill>
                  <a:schemeClr val="tx1"/>
                </a:solidFill>
                <a:latin typeface="+mn-lt"/>
                <a:cs typeface="+mn-cs"/>
              </a:defRPr>
            </a:lvl7pPr>
            <a:lvl8pPr marL="3200400" indent="0" algn="ctr" rtl="0" fontAlgn="base">
              <a:spcBef>
                <a:spcPct val="20000"/>
              </a:spcBef>
              <a:spcAft>
                <a:spcPct val="0"/>
              </a:spcAft>
              <a:buNone/>
              <a:defRPr sz="2000">
                <a:solidFill>
                  <a:schemeClr val="tx1"/>
                </a:solidFill>
                <a:latin typeface="+mn-lt"/>
                <a:cs typeface="+mn-cs"/>
              </a:defRPr>
            </a:lvl8pPr>
            <a:lvl9pPr marL="3657600" indent="0" algn="ctr" rtl="0" fontAlgn="base">
              <a:spcBef>
                <a:spcPct val="20000"/>
              </a:spcBef>
              <a:spcAft>
                <a:spcPct val="0"/>
              </a:spcAft>
              <a:buNone/>
              <a:defRPr sz="2000">
                <a:solidFill>
                  <a:schemeClr val="tx1"/>
                </a:solidFill>
                <a:latin typeface="+mn-lt"/>
                <a:cs typeface="+mn-cs"/>
              </a:defRPr>
            </a:lvl9pPr>
          </a:lstStyle>
          <a:p>
            <a:pPr algn="l"/>
            <a:r>
              <a:rPr lang="fr-FR" sz="1000" b="1" kern="0" dirty="0"/>
              <a:t>Vaulx en V. – Site BUE-</a:t>
            </a:r>
            <a:r>
              <a:rPr lang="fr-FR" sz="1000" b="1" kern="0" dirty="0" err="1"/>
              <a:t>Marhaba</a:t>
            </a:r>
            <a:r>
              <a:rPr lang="fr-FR" sz="1000" b="1" kern="0" dirty="0"/>
              <a:t>-</a:t>
            </a:r>
            <a:r>
              <a:rPr lang="fr-FR" sz="1000" b="1" kern="0" dirty="0" err="1"/>
              <a:t>Bohlen</a:t>
            </a:r>
            <a:endParaRPr lang="fr-FR" sz="1000" b="1" i="1" kern="0" dirty="0"/>
          </a:p>
        </p:txBody>
      </p:sp>
      <p:sp>
        <p:nvSpPr>
          <p:cNvPr id="160" name="Sous-titre 4"/>
          <p:cNvSpPr txBox="1">
            <a:spLocks/>
          </p:cNvSpPr>
          <p:nvPr/>
        </p:nvSpPr>
        <p:spPr>
          <a:xfrm>
            <a:off x="7981598" y="2346312"/>
            <a:ext cx="2404428" cy="219972"/>
          </a:xfrm>
          <a:prstGeom prst="rect">
            <a:avLst/>
          </a:prstGeom>
        </p:spPr>
        <p:txBody>
          <a:bodyPr/>
          <a:lstStyle>
            <a:lvl1pPr marL="0" indent="0" algn="ctr" rtl="0" eaLnBrk="0" fontAlgn="base" hangingPunct="0">
              <a:spcBef>
                <a:spcPct val="20000"/>
              </a:spcBef>
              <a:spcAft>
                <a:spcPct val="0"/>
              </a:spcAft>
              <a:buNone/>
              <a:defRPr sz="3200">
                <a:solidFill>
                  <a:schemeClr val="tx1"/>
                </a:solidFill>
                <a:latin typeface="+mn-lt"/>
                <a:ea typeface="+mn-ea"/>
                <a:cs typeface="+mn-cs"/>
              </a:defRPr>
            </a:lvl1pPr>
            <a:lvl2pPr marL="457200" indent="0" algn="ctr" rtl="0" eaLnBrk="0" fontAlgn="base" hangingPunct="0">
              <a:spcBef>
                <a:spcPct val="20000"/>
              </a:spcBef>
              <a:spcAft>
                <a:spcPct val="0"/>
              </a:spcAft>
              <a:buNone/>
              <a:defRPr sz="2800">
                <a:solidFill>
                  <a:schemeClr val="tx1"/>
                </a:solidFill>
                <a:latin typeface="+mn-lt"/>
                <a:cs typeface="+mn-cs"/>
              </a:defRPr>
            </a:lvl2pPr>
            <a:lvl3pPr marL="914400" indent="0" algn="ctr" rtl="0" eaLnBrk="0" fontAlgn="base" hangingPunct="0">
              <a:spcBef>
                <a:spcPct val="20000"/>
              </a:spcBef>
              <a:spcAft>
                <a:spcPct val="0"/>
              </a:spcAft>
              <a:buNone/>
              <a:defRPr sz="2400">
                <a:solidFill>
                  <a:schemeClr val="tx1"/>
                </a:solidFill>
                <a:latin typeface="+mn-lt"/>
                <a:cs typeface="+mn-cs"/>
              </a:defRPr>
            </a:lvl3pPr>
            <a:lvl4pPr marL="1371600" indent="0" algn="ctr" rtl="0" eaLnBrk="0" fontAlgn="base" hangingPunct="0">
              <a:spcBef>
                <a:spcPct val="20000"/>
              </a:spcBef>
              <a:spcAft>
                <a:spcPct val="0"/>
              </a:spcAft>
              <a:buNone/>
              <a:defRPr sz="2000">
                <a:solidFill>
                  <a:schemeClr val="tx1"/>
                </a:solidFill>
                <a:latin typeface="+mn-lt"/>
                <a:cs typeface="+mn-cs"/>
              </a:defRPr>
            </a:lvl4pPr>
            <a:lvl5pPr marL="1828800" indent="0" algn="ctr" rtl="0" eaLnBrk="0" fontAlgn="base" hangingPunct="0">
              <a:spcBef>
                <a:spcPct val="20000"/>
              </a:spcBef>
              <a:spcAft>
                <a:spcPct val="0"/>
              </a:spcAft>
              <a:buNone/>
              <a:defRPr sz="2000">
                <a:solidFill>
                  <a:schemeClr val="tx1"/>
                </a:solidFill>
                <a:latin typeface="+mn-lt"/>
                <a:cs typeface="+mn-cs"/>
              </a:defRPr>
            </a:lvl5pPr>
            <a:lvl6pPr marL="2286000" indent="0" algn="ctr" rtl="0" fontAlgn="base">
              <a:spcBef>
                <a:spcPct val="20000"/>
              </a:spcBef>
              <a:spcAft>
                <a:spcPct val="0"/>
              </a:spcAft>
              <a:buNone/>
              <a:defRPr sz="2000">
                <a:solidFill>
                  <a:schemeClr val="tx1"/>
                </a:solidFill>
                <a:latin typeface="+mn-lt"/>
                <a:cs typeface="+mn-cs"/>
              </a:defRPr>
            </a:lvl6pPr>
            <a:lvl7pPr marL="2743200" indent="0" algn="ctr" rtl="0" fontAlgn="base">
              <a:spcBef>
                <a:spcPct val="20000"/>
              </a:spcBef>
              <a:spcAft>
                <a:spcPct val="0"/>
              </a:spcAft>
              <a:buNone/>
              <a:defRPr sz="2000">
                <a:solidFill>
                  <a:schemeClr val="tx1"/>
                </a:solidFill>
                <a:latin typeface="+mn-lt"/>
                <a:cs typeface="+mn-cs"/>
              </a:defRPr>
            </a:lvl7pPr>
            <a:lvl8pPr marL="3200400" indent="0" algn="ctr" rtl="0" fontAlgn="base">
              <a:spcBef>
                <a:spcPct val="20000"/>
              </a:spcBef>
              <a:spcAft>
                <a:spcPct val="0"/>
              </a:spcAft>
              <a:buNone/>
              <a:defRPr sz="2000">
                <a:solidFill>
                  <a:schemeClr val="tx1"/>
                </a:solidFill>
                <a:latin typeface="+mn-lt"/>
                <a:cs typeface="+mn-cs"/>
              </a:defRPr>
            </a:lvl8pPr>
            <a:lvl9pPr marL="3657600" indent="0" algn="ctr" rtl="0" fontAlgn="base">
              <a:spcBef>
                <a:spcPct val="20000"/>
              </a:spcBef>
              <a:spcAft>
                <a:spcPct val="0"/>
              </a:spcAft>
              <a:buNone/>
              <a:defRPr sz="2000">
                <a:solidFill>
                  <a:schemeClr val="tx1"/>
                </a:solidFill>
                <a:latin typeface="+mn-lt"/>
                <a:cs typeface="+mn-cs"/>
              </a:defRPr>
            </a:lvl9pPr>
          </a:lstStyle>
          <a:p>
            <a:pPr algn="l"/>
            <a:r>
              <a:rPr lang="fr-FR" sz="1000" b="1" kern="0" dirty="0"/>
              <a:t>Rillieux la Pape – Site AFPA</a:t>
            </a:r>
            <a:endParaRPr lang="fr-FR" sz="1000" b="1" i="1" kern="0" dirty="0"/>
          </a:p>
        </p:txBody>
      </p:sp>
      <p:sp>
        <p:nvSpPr>
          <p:cNvPr id="161" name="Sous-titre 4"/>
          <p:cNvSpPr txBox="1">
            <a:spLocks/>
          </p:cNvSpPr>
          <p:nvPr/>
        </p:nvSpPr>
        <p:spPr>
          <a:xfrm>
            <a:off x="7995812" y="2586916"/>
            <a:ext cx="2404428" cy="219972"/>
          </a:xfrm>
          <a:prstGeom prst="rect">
            <a:avLst/>
          </a:prstGeom>
        </p:spPr>
        <p:txBody>
          <a:bodyPr/>
          <a:lstStyle>
            <a:lvl1pPr marL="0" indent="0" algn="ctr" rtl="0" eaLnBrk="0" fontAlgn="base" hangingPunct="0">
              <a:spcBef>
                <a:spcPct val="20000"/>
              </a:spcBef>
              <a:spcAft>
                <a:spcPct val="0"/>
              </a:spcAft>
              <a:buNone/>
              <a:defRPr sz="3200">
                <a:solidFill>
                  <a:schemeClr val="tx1"/>
                </a:solidFill>
                <a:latin typeface="+mn-lt"/>
                <a:ea typeface="+mn-ea"/>
                <a:cs typeface="+mn-cs"/>
              </a:defRPr>
            </a:lvl1pPr>
            <a:lvl2pPr marL="457200" indent="0" algn="ctr" rtl="0" eaLnBrk="0" fontAlgn="base" hangingPunct="0">
              <a:spcBef>
                <a:spcPct val="20000"/>
              </a:spcBef>
              <a:spcAft>
                <a:spcPct val="0"/>
              </a:spcAft>
              <a:buNone/>
              <a:defRPr sz="2800">
                <a:solidFill>
                  <a:schemeClr val="tx1"/>
                </a:solidFill>
                <a:latin typeface="+mn-lt"/>
                <a:cs typeface="+mn-cs"/>
              </a:defRPr>
            </a:lvl2pPr>
            <a:lvl3pPr marL="914400" indent="0" algn="ctr" rtl="0" eaLnBrk="0" fontAlgn="base" hangingPunct="0">
              <a:spcBef>
                <a:spcPct val="20000"/>
              </a:spcBef>
              <a:spcAft>
                <a:spcPct val="0"/>
              </a:spcAft>
              <a:buNone/>
              <a:defRPr sz="2400">
                <a:solidFill>
                  <a:schemeClr val="tx1"/>
                </a:solidFill>
                <a:latin typeface="+mn-lt"/>
                <a:cs typeface="+mn-cs"/>
              </a:defRPr>
            </a:lvl3pPr>
            <a:lvl4pPr marL="1371600" indent="0" algn="ctr" rtl="0" eaLnBrk="0" fontAlgn="base" hangingPunct="0">
              <a:spcBef>
                <a:spcPct val="20000"/>
              </a:spcBef>
              <a:spcAft>
                <a:spcPct val="0"/>
              </a:spcAft>
              <a:buNone/>
              <a:defRPr sz="2000">
                <a:solidFill>
                  <a:schemeClr val="tx1"/>
                </a:solidFill>
                <a:latin typeface="+mn-lt"/>
                <a:cs typeface="+mn-cs"/>
              </a:defRPr>
            </a:lvl4pPr>
            <a:lvl5pPr marL="1828800" indent="0" algn="ctr" rtl="0" eaLnBrk="0" fontAlgn="base" hangingPunct="0">
              <a:spcBef>
                <a:spcPct val="20000"/>
              </a:spcBef>
              <a:spcAft>
                <a:spcPct val="0"/>
              </a:spcAft>
              <a:buNone/>
              <a:defRPr sz="2000">
                <a:solidFill>
                  <a:schemeClr val="tx1"/>
                </a:solidFill>
                <a:latin typeface="+mn-lt"/>
                <a:cs typeface="+mn-cs"/>
              </a:defRPr>
            </a:lvl5pPr>
            <a:lvl6pPr marL="2286000" indent="0" algn="ctr" rtl="0" fontAlgn="base">
              <a:spcBef>
                <a:spcPct val="20000"/>
              </a:spcBef>
              <a:spcAft>
                <a:spcPct val="0"/>
              </a:spcAft>
              <a:buNone/>
              <a:defRPr sz="2000">
                <a:solidFill>
                  <a:schemeClr val="tx1"/>
                </a:solidFill>
                <a:latin typeface="+mn-lt"/>
                <a:cs typeface="+mn-cs"/>
              </a:defRPr>
            </a:lvl6pPr>
            <a:lvl7pPr marL="2743200" indent="0" algn="ctr" rtl="0" fontAlgn="base">
              <a:spcBef>
                <a:spcPct val="20000"/>
              </a:spcBef>
              <a:spcAft>
                <a:spcPct val="0"/>
              </a:spcAft>
              <a:buNone/>
              <a:defRPr sz="2000">
                <a:solidFill>
                  <a:schemeClr val="tx1"/>
                </a:solidFill>
                <a:latin typeface="+mn-lt"/>
                <a:cs typeface="+mn-cs"/>
              </a:defRPr>
            </a:lvl7pPr>
            <a:lvl8pPr marL="3200400" indent="0" algn="ctr" rtl="0" fontAlgn="base">
              <a:spcBef>
                <a:spcPct val="20000"/>
              </a:spcBef>
              <a:spcAft>
                <a:spcPct val="0"/>
              </a:spcAft>
              <a:buNone/>
              <a:defRPr sz="2000">
                <a:solidFill>
                  <a:schemeClr val="tx1"/>
                </a:solidFill>
                <a:latin typeface="+mn-lt"/>
                <a:cs typeface="+mn-cs"/>
              </a:defRPr>
            </a:lvl8pPr>
            <a:lvl9pPr marL="3657600" indent="0" algn="ctr" rtl="0" fontAlgn="base">
              <a:spcBef>
                <a:spcPct val="20000"/>
              </a:spcBef>
              <a:spcAft>
                <a:spcPct val="0"/>
              </a:spcAft>
              <a:buNone/>
              <a:defRPr sz="2000">
                <a:solidFill>
                  <a:schemeClr val="tx1"/>
                </a:solidFill>
                <a:latin typeface="+mn-lt"/>
                <a:cs typeface="+mn-cs"/>
              </a:defRPr>
            </a:lvl9pPr>
          </a:lstStyle>
          <a:p>
            <a:pPr algn="l"/>
            <a:r>
              <a:rPr lang="fr-FR" sz="1000" b="1" kern="0" dirty="0"/>
              <a:t>Caluire et C. – Parc </a:t>
            </a:r>
            <a:r>
              <a:rPr lang="fr-FR" sz="1000" b="1" kern="0" dirty="0" err="1"/>
              <a:t>Thimmonier</a:t>
            </a:r>
            <a:endParaRPr lang="fr-FR" sz="1000" b="1" i="1" kern="0" dirty="0"/>
          </a:p>
        </p:txBody>
      </p:sp>
      <p:sp>
        <p:nvSpPr>
          <p:cNvPr id="162" name="Sous-titre 4"/>
          <p:cNvSpPr txBox="1">
            <a:spLocks/>
          </p:cNvSpPr>
          <p:nvPr/>
        </p:nvSpPr>
        <p:spPr>
          <a:xfrm>
            <a:off x="7996325" y="2824360"/>
            <a:ext cx="2439476" cy="238755"/>
          </a:xfrm>
          <a:prstGeom prst="rect">
            <a:avLst/>
          </a:prstGeom>
        </p:spPr>
        <p:txBody>
          <a:bodyPr/>
          <a:lstStyle>
            <a:lvl1pPr marL="0" indent="0" algn="ctr" rtl="0" eaLnBrk="0" fontAlgn="base" hangingPunct="0">
              <a:spcBef>
                <a:spcPct val="20000"/>
              </a:spcBef>
              <a:spcAft>
                <a:spcPct val="0"/>
              </a:spcAft>
              <a:buNone/>
              <a:defRPr sz="3200">
                <a:solidFill>
                  <a:schemeClr val="tx1"/>
                </a:solidFill>
                <a:latin typeface="+mn-lt"/>
                <a:ea typeface="+mn-ea"/>
                <a:cs typeface="+mn-cs"/>
              </a:defRPr>
            </a:lvl1pPr>
            <a:lvl2pPr marL="457200" indent="0" algn="ctr" rtl="0" eaLnBrk="0" fontAlgn="base" hangingPunct="0">
              <a:spcBef>
                <a:spcPct val="20000"/>
              </a:spcBef>
              <a:spcAft>
                <a:spcPct val="0"/>
              </a:spcAft>
              <a:buNone/>
              <a:defRPr sz="2800">
                <a:solidFill>
                  <a:schemeClr val="tx1"/>
                </a:solidFill>
                <a:latin typeface="+mn-lt"/>
                <a:cs typeface="+mn-cs"/>
              </a:defRPr>
            </a:lvl2pPr>
            <a:lvl3pPr marL="914400" indent="0" algn="ctr" rtl="0" eaLnBrk="0" fontAlgn="base" hangingPunct="0">
              <a:spcBef>
                <a:spcPct val="20000"/>
              </a:spcBef>
              <a:spcAft>
                <a:spcPct val="0"/>
              </a:spcAft>
              <a:buNone/>
              <a:defRPr sz="2400">
                <a:solidFill>
                  <a:schemeClr val="tx1"/>
                </a:solidFill>
                <a:latin typeface="+mn-lt"/>
                <a:cs typeface="+mn-cs"/>
              </a:defRPr>
            </a:lvl3pPr>
            <a:lvl4pPr marL="1371600" indent="0" algn="ctr" rtl="0" eaLnBrk="0" fontAlgn="base" hangingPunct="0">
              <a:spcBef>
                <a:spcPct val="20000"/>
              </a:spcBef>
              <a:spcAft>
                <a:spcPct val="0"/>
              </a:spcAft>
              <a:buNone/>
              <a:defRPr sz="2000">
                <a:solidFill>
                  <a:schemeClr val="tx1"/>
                </a:solidFill>
                <a:latin typeface="+mn-lt"/>
                <a:cs typeface="+mn-cs"/>
              </a:defRPr>
            </a:lvl4pPr>
            <a:lvl5pPr marL="1828800" indent="0" algn="ctr" rtl="0" eaLnBrk="0" fontAlgn="base" hangingPunct="0">
              <a:spcBef>
                <a:spcPct val="20000"/>
              </a:spcBef>
              <a:spcAft>
                <a:spcPct val="0"/>
              </a:spcAft>
              <a:buNone/>
              <a:defRPr sz="2000">
                <a:solidFill>
                  <a:schemeClr val="tx1"/>
                </a:solidFill>
                <a:latin typeface="+mn-lt"/>
                <a:cs typeface="+mn-cs"/>
              </a:defRPr>
            </a:lvl5pPr>
            <a:lvl6pPr marL="2286000" indent="0" algn="ctr" rtl="0" fontAlgn="base">
              <a:spcBef>
                <a:spcPct val="20000"/>
              </a:spcBef>
              <a:spcAft>
                <a:spcPct val="0"/>
              </a:spcAft>
              <a:buNone/>
              <a:defRPr sz="2000">
                <a:solidFill>
                  <a:schemeClr val="tx1"/>
                </a:solidFill>
                <a:latin typeface="+mn-lt"/>
                <a:cs typeface="+mn-cs"/>
              </a:defRPr>
            </a:lvl6pPr>
            <a:lvl7pPr marL="2743200" indent="0" algn="ctr" rtl="0" fontAlgn="base">
              <a:spcBef>
                <a:spcPct val="20000"/>
              </a:spcBef>
              <a:spcAft>
                <a:spcPct val="0"/>
              </a:spcAft>
              <a:buNone/>
              <a:defRPr sz="2000">
                <a:solidFill>
                  <a:schemeClr val="tx1"/>
                </a:solidFill>
                <a:latin typeface="+mn-lt"/>
                <a:cs typeface="+mn-cs"/>
              </a:defRPr>
            </a:lvl7pPr>
            <a:lvl8pPr marL="3200400" indent="0" algn="ctr" rtl="0" fontAlgn="base">
              <a:spcBef>
                <a:spcPct val="20000"/>
              </a:spcBef>
              <a:spcAft>
                <a:spcPct val="0"/>
              </a:spcAft>
              <a:buNone/>
              <a:defRPr sz="2000">
                <a:solidFill>
                  <a:schemeClr val="tx1"/>
                </a:solidFill>
                <a:latin typeface="+mn-lt"/>
                <a:cs typeface="+mn-cs"/>
              </a:defRPr>
            </a:lvl8pPr>
            <a:lvl9pPr marL="3657600" indent="0" algn="ctr" rtl="0" fontAlgn="base">
              <a:spcBef>
                <a:spcPct val="20000"/>
              </a:spcBef>
              <a:spcAft>
                <a:spcPct val="0"/>
              </a:spcAft>
              <a:buNone/>
              <a:defRPr sz="2000">
                <a:solidFill>
                  <a:schemeClr val="tx1"/>
                </a:solidFill>
                <a:latin typeface="+mn-lt"/>
                <a:cs typeface="+mn-cs"/>
              </a:defRPr>
            </a:lvl9pPr>
          </a:lstStyle>
          <a:p>
            <a:pPr algn="l"/>
            <a:r>
              <a:rPr lang="fr-FR" sz="1000" b="1" kern="0" dirty="0"/>
              <a:t>Collonges au Mont d’Or – Island</a:t>
            </a:r>
            <a:endParaRPr lang="fr-FR" sz="1000" b="1" i="1" kern="0" dirty="0"/>
          </a:p>
        </p:txBody>
      </p:sp>
      <p:sp>
        <p:nvSpPr>
          <p:cNvPr id="163" name="Sous-titre 4"/>
          <p:cNvSpPr txBox="1">
            <a:spLocks/>
          </p:cNvSpPr>
          <p:nvPr/>
        </p:nvSpPr>
        <p:spPr>
          <a:xfrm>
            <a:off x="8000752" y="3047176"/>
            <a:ext cx="2439476" cy="238755"/>
          </a:xfrm>
          <a:prstGeom prst="rect">
            <a:avLst/>
          </a:prstGeom>
        </p:spPr>
        <p:txBody>
          <a:bodyPr/>
          <a:lstStyle>
            <a:lvl1pPr marL="0" indent="0" algn="ctr" rtl="0" eaLnBrk="0" fontAlgn="base" hangingPunct="0">
              <a:spcBef>
                <a:spcPct val="20000"/>
              </a:spcBef>
              <a:spcAft>
                <a:spcPct val="0"/>
              </a:spcAft>
              <a:buNone/>
              <a:defRPr sz="3200">
                <a:solidFill>
                  <a:schemeClr val="tx1"/>
                </a:solidFill>
                <a:latin typeface="+mn-lt"/>
                <a:ea typeface="+mn-ea"/>
                <a:cs typeface="+mn-cs"/>
              </a:defRPr>
            </a:lvl1pPr>
            <a:lvl2pPr marL="457200" indent="0" algn="ctr" rtl="0" eaLnBrk="0" fontAlgn="base" hangingPunct="0">
              <a:spcBef>
                <a:spcPct val="20000"/>
              </a:spcBef>
              <a:spcAft>
                <a:spcPct val="0"/>
              </a:spcAft>
              <a:buNone/>
              <a:defRPr sz="2800">
                <a:solidFill>
                  <a:schemeClr val="tx1"/>
                </a:solidFill>
                <a:latin typeface="+mn-lt"/>
                <a:cs typeface="+mn-cs"/>
              </a:defRPr>
            </a:lvl2pPr>
            <a:lvl3pPr marL="914400" indent="0" algn="ctr" rtl="0" eaLnBrk="0" fontAlgn="base" hangingPunct="0">
              <a:spcBef>
                <a:spcPct val="20000"/>
              </a:spcBef>
              <a:spcAft>
                <a:spcPct val="0"/>
              </a:spcAft>
              <a:buNone/>
              <a:defRPr sz="2400">
                <a:solidFill>
                  <a:schemeClr val="tx1"/>
                </a:solidFill>
                <a:latin typeface="+mn-lt"/>
                <a:cs typeface="+mn-cs"/>
              </a:defRPr>
            </a:lvl3pPr>
            <a:lvl4pPr marL="1371600" indent="0" algn="ctr" rtl="0" eaLnBrk="0" fontAlgn="base" hangingPunct="0">
              <a:spcBef>
                <a:spcPct val="20000"/>
              </a:spcBef>
              <a:spcAft>
                <a:spcPct val="0"/>
              </a:spcAft>
              <a:buNone/>
              <a:defRPr sz="2000">
                <a:solidFill>
                  <a:schemeClr val="tx1"/>
                </a:solidFill>
                <a:latin typeface="+mn-lt"/>
                <a:cs typeface="+mn-cs"/>
              </a:defRPr>
            </a:lvl4pPr>
            <a:lvl5pPr marL="1828800" indent="0" algn="ctr" rtl="0" eaLnBrk="0" fontAlgn="base" hangingPunct="0">
              <a:spcBef>
                <a:spcPct val="20000"/>
              </a:spcBef>
              <a:spcAft>
                <a:spcPct val="0"/>
              </a:spcAft>
              <a:buNone/>
              <a:defRPr sz="2000">
                <a:solidFill>
                  <a:schemeClr val="tx1"/>
                </a:solidFill>
                <a:latin typeface="+mn-lt"/>
                <a:cs typeface="+mn-cs"/>
              </a:defRPr>
            </a:lvl5pPr>
            <a:lvl6pPr marL="2286000" indent="0" algn="ctr" rtl="0" fontAlgn="base">
              <a:spcBef>
                <a:spcPct val="20000"/>
              </a:spcBef>
              <a:spcAft>
                <a:spcPct val="0"/>
              </a:spcAft>
              <a:buNone/>
              <a:defRPr sz="2000">
                <a:solidFill>
                  <a:schemeClr val="tx1"/>
                </a:solidFill>
                <a:latin typeface="+mn-lt"/>
                <a:cs typeface="+mn-cs"/>
              </a:defRPr>
            </a:lvl6pPr>
            <a:lvl7pPr marL="2743200" indent="0" algn="ctr" rtl="0" fontAlgn="base">
              <a:spcBef>
                <a:spcPct val="20000"/>
              </a:spcBef>
              <a:spcAft>
                <a:spcPct val="0"/>
              </a:spcAft>
              <a:buNone/>
              <a:defRPr sz="2000">
                <a:solidFill>
                  <a:schemeClr val="tx1"/>
                </a:solidFill>
                <a:latin typeface="+mn-lt"/>
                <a:cs typeface="+mn-cs"/>
              </a:defRPr>
            </a:lvl7pPr>
            <a:lvl8pPr marL="3200400" indent="0" algn="ctr" rtl="0" fontAlgn="base">
              <a:spcBef>
                <a:spcPct val="20000"/>
              </a:spcBef>
              <a:spcAft>
                <a:spcPct val="0"/>
              </a:spcAft>
              <a:buNone/>
              <a:defRPr sz="2000">
                <a:solidFill>
                  <a:schemeClr val="tx1"/>
                </a:solidFill>
                <a:latin typeface="+mn-lt"/>
                <a:cs typeface="+mn-cs"/>
              </a:defRPr>
            </a:lvl8pPr>
            <a:lvl9pPr marL="3657600" indent="0" algn="ctr" rtl="0" fontAlgn="base">
              <a:spcBef>
                <a:spcPct val="20000"/>
              </a:spcBef>
              <a:spcAft>
                <a:spcPct val="0"/>
              </a:spcAft>
              <a:buNone/>
              <a:defRPr sz="2000">
                <a:solidFill>
                  <a:schemeClr val="tx1"/>
                </a:solidFill>
                <a:latin typeface="+mn-lt"/>
                <a:cs typeface="+mn-cs"/>
              </a:defRPr>
            </a:lvl9pPr>
          </a:lstStyle>
          <a:p>
            <a:pPr algn="l"/>
            <a:r>
              <a:rPr lang="fr-FR" sz="1000" b="1" kern="0" dirty="0"/>
              <a:t>Craponne – ZA du </a:t>
            </a:r>
            <a:r>
              <a:rPr lang="fr-FR" sz="1000" b="1" kern="0" dirty="0" err="1"/>
              <a:t>Tourrais</a:t>
            </a:r>
            <a:endParaRPr lang="fr-FR" sz="1000" b="1" i="1" kern="0" dirty="0"/>
          </a:p>
        </p:txBody>
      </p:sp>
      <p:sp>
        <p:nvSpPr>
          <p:cNvPr id="164" name="Sous-titre 4"/>
          <p:cNvSpPr txBox="1">
            <a:spLocks/>
          </p:cNvSpPr>
          <p:nvPr/>
        </p:nvSpPr>
        <p:spPr>
          <a:xfrm>
            <a:off x="8010331" y="3279574"/>
            <a:ext cx="2458843" cy="214475"/>
          </a:xfrm>
          <a:prstGeom prst="rect">
            <a:avLst/>
          </a:prstGeom>
        </p:spPr>
        <p:txBody>
          <a:bodyPr/>
          <a:lstStyle>
            <a:lvl1pPr marL="0" indent="0" algn="ctr" rtl="0" eaLnBrk="0" fontAlgn="base" hangingPunct="0">
              <a:spcBef>
                <a:spcPct val="20000"/>
              </a:spcBef>
              <a:spcAft>
                <a:spcPct val="0"/>
              </a:spcAft>
              <a:buNone/>
              <a:defRPr sz="3200">
                <a:solidFill>
                  <a:schemeClr val="tx1"/>
                </a:solidFill>
                <a:latin typeface="+mn-lt"/>
                <a:ea typeface="+mn-ea"/>
                <a:cs typeface="+mn-cs"/>
              </a:defRPr>
            </a:lvl1pPr>
            <a:lvl2pPr marL="457200" indent="0" algn="ctr" rtl="0" eaLnBrk="0" fontAlgn="base" hangingPunct="0">
              <a:spcBef>
                <a:spcPct val="20000"/>
              </a:spcBef>
              <a:spcAft>
                <a:spcPct val="0"/>
              </a:spcAft>
              <a:buNone/>
              <a:defRPr sz="2800">
                <a:solidFill>
                  <a:schemeClr val="tx1"/>
                </a:solidFill>
                <a:latin typeface="+mn-lt"/>
                <a:cs typeface="+mn-cs"/>
              </a:defRPr>
            </a:lvl2pPr>
            <a:lvl3pPr marL="914400" indent="0" algn="ctr" rtl="0" eaLnBrk="0" fontAlgn="base" hangingPunct="0">
              <a:spcBef>
                <a:spcPct val="20000"/>
              </a:spcBef>
              <a:spcAft>
                <a:spcPct val="0"/>
              </a:spcAft>
              <a:buNone/>
              <a:defRPr sz="2400">
                <a:solidFill>
                  <a:schemeClr val="tx1"/>
                </a:solidFill>
                <a:latin typeface="+mn-lt"/>
                <a:cs typeface="+mn-cs"/>
              </a:defRPr>
            </a:lvl3pPr>
            <a:lvl4pPr marL="1371600" indent="0" algn="ctr" rtl="0" eaLnBrk="0" fontAlgn="base" hangingPunct="0">
              <a:spcBef>
                <a:spcPct val="20000"/>
              </a:spcBef>
              <a:spcAft>
                <a:spcPct val="0"/>
              </a:spcAft>
              <a:buNone/>
              <a:defRPr sz="2000">
                <a:solidFill>
                  <a:schemeClr val="tx1"/>
                </a:solidFill>
                <a:latin typeface="+mn-lt"/>
                <a:cs typeface="+mn-cs"/>
              </a:defRPr>
            </a:lvl4pPr>
            <a:lvl5pPr marL="1828800" indent="0" algn="ctr" rtl="0" eaLnBrk="0" fontAlgn="base" hangingPunct="0">
              <a:spcBef>
                <a:spcPct val="20000"/>
              </a:spcBef>
              <a:spcAft>
                <a:spcPct val="0"/>
              </a:spcAft>
              <a:buNone/>
              <a:defRPr sz="2000">
                <a:solidFill>
                  <a:schemeClr val="tx1"/>
                </a:solidFill>
                <a:latin typeface="+mn-lt"/>
                <a:cs typeface="+mn-cs"/>
              </a:defRPr>
            </a:lvl5pPr>
            <a:lvl6pPr marL="2286000" indent="0" algn="ctr" rtl="0" fontAlgn="base">
              <a:spcBef>
                <a:spcPct val="20000"/>
              </a:spcBef>
              <a:spcAft>
                <a:spcPct val="0"/>
              </a:spcAft>
              <a:buNone/>
              <a:defRPr sz="2000">
                <a:solidFill>
                  <a:schemeClr val="tx1"/>
                </a:solidFill>
                <a:latin typeface="+mn-lt"/>
                <a:cs typeface="+mn-cs"/>
              </a:defRPr>
            </a:lvl6pPr>
            <a:lvl7pPr marL="2743200" indent="0" algn="ctr" rtl="0" fontAlgn="base">
              <a:spcBef>
                <a:spcPct val="20000"/>
              </a:spcBef>
              <a:spcAft>
                <a:spcPct val="0"/>
              </a:spcAft>
              <a:buNone/>
              <a:defRPr sz="2000">
                <a:solidFill>
                  <a:schemeClr val="tx1"/>
                </a:solidFill>
                <a:latin typeface="+mn-lt"/>
                <a:cs typeface="+mn-cs"/>
              </a:defRPr>
            </a:lvl7pPr>
            <a:lvl8pPr marL="3200400" indent="0" algn="ctr" rtl="0" fontAlgn="base">
              <a:spcBef>
                <a:spcPct val="20000"/>
              </a:spcBef>
              <a:spcAft>
                <a:spcPct val="0"/>
              </a:spcAft>
              <a:buNone/>
              <a:defRPr sz="2000">
                <a:solidFill>
                  <a:schemeClr val="tx1"/>
                </a:solidFill>
                <a:latin typeface="+mn-lt"/>
                <a:cs typeface="+mn-cs"/>
              </a:defRPr>
            </a:lvl8pPr>
            <a:lvl9pPr marL="3657600" indent="0" algn="ctr" rtl="0" fontAlgn="base">
              <a:spcBef>
                <a:spcPct val="20000"/>
              </a:spcBef>
              <a:spcAft>
                <a:spcPct val="0"/>
              </a:spcAft>
              <a:buNone/>
              <a:defRPr sz="2000">
                <a:solidFill>
                  <a:schemeClr val="tx1"/>
                </a:solidFill>
                <a:latin typeface="+mn-lt"/>
                <a:cs typeface="+mn-cs"/>
              </a:defRPr>
            </a:lvl9pPr>
          </a:lstStyle>
          <a:p>
            <a:pPr algn="l"/>
            <a:r>
              <a:rPr lang="fr-FR" sz="1000" b="1" kern="0" dirty="0"/>
              <a:t>Lyon 7</a:t>
            </a:r>
            <a:r>
              <a:rPr lang="fr-FR" sz="1000" b="1" kern="0" baseline="30000" dirty="0"/>
              <a:t>è</a:t>
            </a:r>
            <a:r>
              <a:rPr lang="fr-FR" sz="1000" b="1" kern="0" dirty="0"/>
              <a:t> – </a:t>
            </a:r>
            <a:r>
              <a:rPr lang="fr-FR" sz="1000" b="1" kern="0" dirty="0" err="1"/>
              <a:t>Gerland</a:t>
            </a:r>
            <a:r>
              <a:rPr lang="fr-FR" sz="1000" b="1" kern="0" dirty="0"/>
              <a:t> SNCF/Mouche </a:t>
            </a:r>
            <a:endParaRPr lang="fr-FR" sz="1000" b="1" i="1" kern="0" dirty="0"/>
          </a:p>
        </p:txBody>
      </p:sp>
      <p:sp>
        <p:nvSpPr>
          <p:cNvPr id="165" name="Sous-titre 4"/>
          <p:cNvSpPr txBox="1">
            <a:spLocks/>
          </p:cNvSpPr>
          <p:nvPr/>
        </p:nvSpPr>
        <p:spPr>
          <a:xfrm>
            <a:off x="7999014" y="3530684"/>
            <a:ext cx="2377010" cy="240147"/>
          </a:xfrm>
          <a:prstGeom prst="rect">
            <a:avLst/>
          </a:prstGeom>
          <a:noFill/>
        </p:spPr>
        <p:txBody>
          <a:bodyPr/>
          <a:lstStyle>
            <a:lvl1pPr marL="0" indent="0" algn="ctr" rtl="0" eaLnBrk="0" fontAlgn="base" hangingPunct="0">
              <a:spcBef>
                <a:spcPct val="20000"/>
              </a:spcBef>
              <a:spcAft>
                <a:spcPct val="0"/>
              </a:spcAft>
              <a:buNone/>
              <a:defRPr sz="3200">
                <a:solidFill>
                  <a:schemeClr val="tx1"/>
                </a:solidFill>
                <a:latin typeface="+mn-lt"/>
                <a:ea typeface="+mn-ea"/>
                <a:cs typeface="+mn-cs"/>
              </a:defRPr>
            </a:lvl1pPr>
            <a:lvl2pPr marL="457200" indent="0" algn="ctr" rtl="0" eaLnBrk="0" fontAlgn="base" hangingPunct="0">
              <a:spcBef>
                <a:spcPct val="20000"/>
              </a:spcBef>
              <a:spcAft>
                <a:spcPct val="0"/>
              </a:spcAft>
              <a:buNone/>
              <a:defRPr sz="2800">
                <a:solidFill>
                  <a:schemeClr val="tx1"/>
                </a:solidFill>
                <a:latin typeface="+mn-lt"/>
                <a:cs typeface="+mn-cs"/>
              </a:defRPr>
            </a:lvl2pPr>
            <a:lvl3pPr marL="914400" indent="0" algn="ctr" rtl="0" eaLnBrk="0" fontAlgn="base" hangingPunct="0">
              <a:spcBef>
                <a:spcPct val="20000"/>
              </a:spcBef>
              <a:spcAft>
                <a:spcPct val="0"/>
              </a:spcAft>
              <a:buNone/>
              <a:defRPr sz="2400">
                <a:solidFill>
                  <a:schemeClr val="tx1"/>
                </a:solidFill>
                <a:latin typeface="+mn-lt"/>
                <a:cs typeface="+mn-cs"/>
              </a:defRPr>
            </a:lvl3pPr>
            <a:lvl4pPr marL="1371600" indent="0" algn="ctr" rtl="0" eaLnBrk="0" fontAlgn="base" hangingPunct="0">
              <a:spcBef>
                <a:spcPct val="20000"/>
              </a:spcBef>
              <a:spcAft>
                <a:spcPct val="0"/>
              </a:spcAft>
              <a:buNone/>
              <a:defRPr sz="2000">
                <a:solidFill>
                  <a:schemeClr val="tx1"/>
                </a:solidFill>
                <a:latin typeface="+mn-lt"/>
                <a:cs typeface="+mn-cs"/>
              </a:defRPr>
            </a:lvl4pPr>
            <a:lvl5pPr marL="1828800" indent="0" algn="ctr" rtl="0" eaLnBrk="0" fontAlgn="base" hangingPunct="0">
              <a:spcBef>
                <a:spcPct val="20000"/>
              </a:spcBef>
              <a:spcAft>
                <a:spcPct val="0"/>
              </a:spcAft>
              <a:buNone/>
              <a:defRPr sz="2000">
                <a:solidFill>
                  <a:schemeClr val="tx1"/>
                </a:solidFill>
                <a:latin typeface="+mn-lt"/>
                <a:cs typeface="+mn-cs"/>
              </a:defRPr>
            </a:lvl5pPr>
            <a:lvl6pPr marL="2286000" indent="0" algn="ctr" rtl="0" fontAlgn="base">
              <a:spcBef>
                <a:spcPct val="20000"/>
              </a:spcBef>
              <a:spcAft>
                <a:spcPct val="0"/>
              </a:spcAft>
              <a:buNone/>
              <a:defRPr sz="2000">
                <a:solidFill>
                  <a:schemeClr val="tx1"/>
                </a:solidFill>
                <a:latin typeface="+mn-lt"/>
                <a:cs typeface="+mn-cs"/>
              </a:defRPr>
            </a:lvl6pPr>
            <a:lvl7pPr marL="2743200" indent="0" algn="ctr" rtl="0" fontAlgn="base">
              <a:spcBef>
                <a:spcPct val="20000"/>
              </a:spcBef>
              <a:spcAft>
                <a:spcPct val="0"/>
              </a:spcAft>
              <a:buNone/>
              <a:defRPr sz="2000">
                <a:solidFill>
                  <a:schemeClr val="tx1"/>
                </a:solidFill>
                <a:latin typeface="+mn-lt"/>
                <a:cs typeface="+mn-cs"/>
              </a:defRPr>
            </a:lvl7pPr>
            <a:lvl8pPr marL="3200400" indent="0" algn="ctr" rtl="0" fontAlgn="base">
              <a:spcBef>
                <a:spcPct val="20000"/>
              </a:spcBef>
              <a:spcAft>
                <a:spcPct val="0"/>
              </a:spcAft>
              <a:buNone/>
              <a:defRPr sz="2000">
                <a:solidFill>
                  <a:schemeClr val="tx1"/>
                </a:solidFill>
                <a:latin typeface="+mn-lt"/>
                <a:cs typeface="+mn-cs"/>
              </a:defRPr>
            </a:lvl8pPr>
            <a:lvl9pPr marL="3657600" indent="0" algn="ctr" rtl="0" fontAlgn="base">
              <a:spcBef>
                <a:spcPct val="20000"/>
              </a:spcBef>
              <a:spcAft>
                <a:spcPct val="0"/>
              </a:spcAft>
              <a:buNone/>
              <a:defRPr sz="2000">
                <a:solidFill>
                  <a:schemeClr val="tx1"/>
                </a:solidFill>
                <a:latin typeface="+mn-lt"/>
                <a:cs typeface="+mn-cs"/>
              </a:defRPr>
            </a:lvl9pPr>
          </a:lstStyle>
          <a:p>
            <a:pPr algn="l"/>
            <a:r>
              <a:rPr lang="fr-FR" sz="1000" b="1" kern="0" dirty="0"/>
              <a:t>St-</a:t>
            </a:r>
            <a:r>
              <a:rPr lang="fr-FR" sz="1000" b="1" kern="0" dirty="0" err="1"/>
              <a:t>Génis</a:t>
            </a:r>
            <a:r>
              <a:rPr lang="fr-FR" sz="1000" b="1" kern="0" dirty="0"/>
              <a:t>-Laval - Site Camping Gaz</a:t>
            </a:r>
            <a:endParaRPr lang="fr-FR" sz="1000" b="1" i="1" kern="0" dirty="0"/>
          </a:p>
        </p:txBody>
      </p:sp>
      <p:sp>
        <p:nvSpPr>
          <p:cNvPr id="166" name="Sous-titre 4"/>
          <p:cNvSpPr txBox="1">
            <a:spLocks/>
          </p:cNvSpPr>
          <p:nvPr/>
        </p:nvSpPr>
        <p:spPr>
          <a:xfrm>
            <a:off x="8003388" y="3776772"/>
            <a:ext cx="2402320" cy="194336"/>
          </a:xfrm>
          <a:prstGeom prst="rect">
            <a:avLst/>
          </a:prstGeom>
          <a:noFill/>
        </p:spPr>
        <p:txBody>
          <a:bodyPr/>
          <a:lstStyle>
            <a:lvl1pPr marL="0" indent="0" algn="ctr" rtl="0" eaLnBrk="0" fontAlgn="base" hangingPunct="0">
              <a:spcBef>
                <a:spcPct val="20000"/>
              </a:spcBef>
              <a:spcAft>
                <a:spcPct val="0"/>
              </a:spcAft>
              <a:buNone/>
              <a:defRPr sz="3200">
                <a:solidFill>
                  <a:schemeClr val="tx1"/>
                </a:solidFill>
                <a:latin typeface="+mn-lt"/>
                <a:ea typeface="+mn-ea"/>
                <a:cs typeface="+mn-cs"/>
              </a:defRPr>
            </a:lvl1pPr>
            <a:lvl2pPr marL="457200" indent="0" algn="ctr" rtl="0" eaLnBrk="0" fontAlgn="base" hangingPunct="0">
              <a:spcBef>
                <a:spcPct val="20000"/>
              </a:spcBef>
              <a:spcAft>
                <a:spcPct val="0"/>
              </a:spcAft>
              <a:buNone/>
              <a:defRPr sz="2800">
                <a:solidFill>
                  <a:schemeClr val="tx1"/>
                </a:solidFill>
                <a:latin typeface="+mn-lt"/>
                <a:cs typeface="+mn-cs"/>
              </a:defRPr>
            </a:lvl2pPr>
            <a:lvl3pPr marL="914400" indent="0" algn="ctr" rtl="0" eaLnBrk="0" fontAlgn="base" hangingPunct="0">
              <a:spcBef>
                <a:spcPct val="20000"/>
              </a:spcBef>
              <a:spcAft>
                <a:spcPct val="0"/>
              </a:spcAft>
              <a:buNone/>
              <a:defRPr sz="2400">
                <a:solidFill>
                  <a:schemeClr val="tx1"/>
                </a:solidFill>
                <a:latin typeface="+mn-lt"/>
                <a:cs typeface="+mn-cs"/>
              </a:defRPr>
            </a:lvl3pPr>
            <a:lvl4pPr marL="1371600" indent="0" algn="ctr" rtl="0" eaLnBrk="0" fontAlgn="base" hangingPunct="0">
              <a:spcBef>
                <a:spcPct val="20000"/>
              </a:spcBef>
              <a:spcAft>
                <a:spcPct val="0"/>
              </a:spcAft>
              <a:buNone/>
              <a:defRPr sz="2000">
                <a:solidFill>
                  <a:schemeClr val="tx1"/>
                </a:solidFill>
                <a:latin typeface="+mn-lt"/>
                <a:cs typeface="+mn-cs"/>
              </a:defRPr>
            </a:lvl4pPr>
            <a:lvl5pPr marL="1828800" indent="0" algn="ctr" rtl="0" eaLnBrk="0" fontAlgn="base" hangingPunct="0">
              <a:spcBef>
                <a:spcPct val="20000"/>
              </a:spcBef>
              <a:spcAft>
                <a:spcPct val="0"/>
              </a:spcAft>
              <a:buNone/>
              <a:defRPr sz="2000">
                <a:solidFill>
                  <a:schemeClr val="tx1"/>
                </a:solidFill>
                <a:latin typeface="+mn-lt"/>
                <a:cs typeface="+mn-cs"/>
              </a:defRPr>
            </a:lvl5pPr>
            <a:lvl6pPr marL="2286000" indent="0" algn="ctr" rtl="0" fontAlgn="base">
              <a:spcBef>
                <a:spcPct val="20000"/>
              </a:spcBef>
              <a:spcAft>
                <a:spcPct val="0"/>
              </a:spcAft>
              <a:buNone/>
              <a:defRPr sz="2000">
                <a:solidFill>
                  <a:schemeClr val="tx1"/>
                </a:solidFill>
                <a:latin typeface="+mn-lt"/>
                <a:cs typeface="+mn-cs"/>
              </a:defRPr>
            </a:lvl6pPr>
            <a:lvl7pPr marL="2743200" indent="0" algn="ctr" rtl="0" fontAlgn="base">
              <a:spcBef>
                <a:spcPct val="20000"/>
              </a:spcBef>
              <a:spcAft>
                <a:spcPct val="0"/>
              </a:spcAft>
              <a:buNone/>
              <a:defRPr sz="2000">
                <a:solidFill>
                  <a:schemeClr val="tx1"/>
                </a:solidFill>
                <a:latin typeface="+mn-lt"/>
                <a:cs typeface="+mn-cs"/>
              </a:defRPr>
            </a:lvl7pPr>
            <a:lvl8pPr marL="3200400" indent="0" algn="ctr" rtl="0" fontAlgn="base">
              <a:spcBef>
                <a:spcPct val="20000"/>
              </a:spcBef>
              <a:spcAft>
                <a:spcPct val="0"/>
              </a:spcAft>
              <a:buNone/>
              <a:defRPr sz="2000">
                <a:solidFill>
                  <a:schemeClr val="tx1"/>
                </a:solidFill>
                <a:latin typeface="+mn-lt"/>
                <a:cs typeface="+mn-cs"/>
              </a:defRPr>
            </a:lvl8pPr>
            <a:lvl9pPr marL="3657600" indent="0" algn="ctr" rtl="0" fontAlgn="base">
              <a:spcBef>
                <a:spcPct val="20000"/>
              </a:spcBef>
              <a:spcAft>
                <a:spcPct val="0"/>
              </a:spcAft>
              <a:buNone/>
              <a:defRPr sz="2000">
                <a:solidFill>
                  <a:schemeClr val="tx1"/>
                </a:solidFill>
                <a:latin typeface="+mn-lt"/>
                <a:cs typeface="+mn-cs"/>
              </a:defRPr>
            </a:lvl9pPr>
          </a:lstStyle>
          <a:p>
            <a:pPr algn="l"/>
            <a:r>
              <a:rPr lang="fr-FR" sz="1000" b="1" kern="0" dirty="0"/>
              <a:t>St-</a:t>
            </a:r>
            <a:r>
              <a:rPr lang="fr-FR" sz="1000" b="1" kern="0" dirty="0" err="1"/>
              <a:t>Génis</a:t>
            </a:r>
            <a:r>
              <a:rPr lang="fr-FR" sz="1000" b="1" kern="0" dirty="0"/>
              <a:t>-Laval – Site </a:t>
            </a:r>
            <a:r>
              <a:rPr lang="fr-FR" sz="1000" b="1" kern="0" dirty="0" err="1"/>
              <a:t>Benta</a:t>
            </a:r>
            <a:endParaRPr lang="fr-FR" sz="1000" b="1" i="1" kern="0" dirty="0"/>
          </a:p>
        </p:txBody>
      </p:sp>
      <p:sp>
        <p:nvSpPr>
          <p:cNvPr id="167" name="Sous-titre 4"/>
          <p:cNvSpPr txBox="1">
            <a:spLocks/>
          </p:cNvSpPr>
          <p:nvPr/>
        </p:nvSpPr>
        <p:spPr>
          <a:xfrm>
            <a:off x="8015905" y="4033701"/>
            <a:ext cx="2402320" cy="194336"/>
          </a:xfrm>
          <a:prstGeom prst="rect">
            <a:avLst/>
          </a:prstGeom>
          <a:noFill/>
        </p:spPr>
        <p:txBody>
          <a:bodyPr/>
          <a:lstStyle>
            <a:lvl1pPr marL="0" indent="0" algn="ctr" rtl="0" eaLnBrk="0" fontAlgn="base" hangingPunct="0">
              <a:spcBef>
                <a:spcPct val="20000"/>
              </a:spcBef>
              <a:spcAft>
                <a:spcPct val="0"/>
              </a:spcAft>
              <a:buNone/>
              <a:defRPr sz="3200">
                <a:solidFill>
                  <a:schemeClr val="tx1"/>
                </a:solidFill>
                <a:latin typeface="+mn-lt"/>
                <a:ea typeface="+mn-ea"/>
                <a:cs typeface="+mn-cs"/>
              </a:defRPr>
            </a:lvl1pPr>
            <a:lvl2pPr marL="457200" indent="0" algn="ctr" rtl="0" eaLnBrk="0" fontAlgn="base" hangingPunct="0">
              <a:spcBef>
                <a:spcPct val="20000"/>
              </a:spcBef>
              <a:spcAft>
                <a:spcPct val="0"/>
              </a:spcAft>
              <a:buNone/>
              <a:defRPr sz="2800">
                <a:solidFill>
                  <a:schemeClr val="tx1"/>
                </a:solidFill>
                <a:latin typeface="+mn-lt"/>
                <a:cs typeface="+mn-cs"/>
              </a:defRPr>
            </a:lvl2pPr>
            <a:lvl3pPr marL="914400" indent="0" algn="ctr" rtl="0" eaLnBrk="0" fontAlgn="base" hangingPunct="0">
              <a:spcBef>
                <a:spcPct val="20000"/>
              </a:spcBef>
              <a:spcAft>
                <a:spcPct val="0"/>
              </a:spcAft>
              <a:buNone/>
              <a:defRPr sz="2400">
                <a:solidFill>
                  <a:schemeClr val="tx1"/>
                </a:solidFill>
                <a:latin typeface="+mn-lt"/>
                <a:cs typeface="+mn-cs"/>
              </a:defRPr>
            </a:lvl3pPr>
            <a:lvl4pPr marL="1371600" indent="0" algn="ctr" rtl="0" eaLnBrk="0" fontAlgn="base" hangingPunct="0">
              <a:spcBef>
                <a:spcPct val="20000"/>
              </a:spcBef>
              <a:spcAft>
                <a:spcPct val="0"/>
              </a:spcAft>
              <a:buNone/>
              <a:defRPr sz="2000">
                <a:solidFill>
                  <a:schemeClr val="tx1"/>
                </a:solidFill>
                <a:latin typeface="+mn-lt"/>
                <a:cs typeface="+mn-cs"/>
              </a:defRPr>
            </a:lvl4pPr>
            <a:lvl5pPr marL="1828800" indent="0" algn="ctr" rtl="0" eaLnBrk="0" fontAlgn="base" hangingPunct="0">
              <a:spcBef>
                <a:spcPct val="20000"/>
              </a:spcBef>
              <a:spcAft>
                <a:spcPct val="0"/>
              </a:spcAft>
              <a:buNone/>
              <a:defRPr sz="2000">
                <a:solidFill>
                  <a:schemeClr val="tx1"/>
                </a:solidFill>
                <a:latin typeface="+mn-lt"/>
                <a:cs typeface="+mn-cs"/>
              </a:defRPr>
            </a:lvl5pPr>
            <a:lvl6pPr marL="2286000" indent="0" algn="ctr" rtl="0" fontAlgn="base">
              <a:spcBef>
                <a:spcPct val="20000"/>
              </a:spcBef>
              <a:spcAft>
                <a:spcPct val="0"/>
              </a:spcAft>
              <a:buNone/>
              <a:defRPr sz="2000">
                <a:solidFill>
                  <a:schemeClr val="tx1"/>
                </a:solidFill>
                <a:latin typeface="+mn-lt"/>
                <a:cs typeface="+mn-cs"/>
              </a:defRPr>
            </a:lvl6pPr>
            <a:lvl7pPr marL="2743200" indent="0" algn="ctr" rtl="0" fontAlgn="base">
              <a:spcBef>
                <a:spcPct val="20000"/>
              </a:spcBef>
              <a:spcAft>
                <a:spcPct val="0"/>
              </a:spcAft>
              <a:buNone/>
              <a:defRPr sz="2000">
                <a:solidFill>
                  <a:schemeClr val="tx1"/>
                </a:solidFill>
                <a:latin typeface="+mn-lt"/>
                <a:cs typeface="+mn-cs"/>
              </a:defRPr>
            </a:lvl7pPr>
            <a:lvl8pPr marL="3200400" indent="0" algn="ctr" rtl="0" fontAlgn="base">
              <a:spcBef>
                <a:spcPct val="20000"/>
              </a:spcBef>
              <a:spcAft>
                <a:spcPct val="0"/>
              </a:spcAft>
              <a:buNone/>
              <a:defRPr sz="2000">
                <a:solidFill>
                  <a:schemeClr val="tx1"/>
                </a:solidFill>
                <a:latin typeface="+mn-lt"/>
                <a:cs typeface="+mn-cs"/>
              </a:defRPr>
            </a:lvl8pPr>
            <a:lvl9pPr marL="3657600" indent="0" algn="ctr" rtl="0" fontAlgn="base">
              <a:spcBef>
                <a:spcPct val="20000"/>
              </a:spcBef>
              <a:spcAft>
                <a:spcPct val="0"/>
              </a:spcAft>
              <a:buNone/>
              <a:defRPr sz="2000">
                <a:solidFill>
                  <a:schemeClr val="tx1"/>
                </a:solidFill>
                <a:latin typeface="+mn-lt"/>
                <a:cs typeface="+mn-cs"/>
              </a:defRPr>
            </a:lvl9pPr>
          </a:lstStyle>
          <a:p>
            <a:pPr algn="l"/>
            <a:r>
              <a:rPr lang="fr-FR" sz="1000" b="1" kern="0" dirty="0"/>
              <a:t>St-</a:t>
            </a:r>
            <a:r>
              <a:rPr lang="fr-FR" sz="1000" b="1" kern="0" dirty="0" err="1"/>
              <a:t>Génis</a:t>
            </a:r>
            <a:r>
              <a:rPr lang="fr-FR" sz="1000" b="1" kern="0" dirty="0"/>
              <a:t>-Laval – Site ZI La Mouche</a:t>
            </a:r>
            <a:endParaRPr lang="fr-FR" sz="1000" b="1" i="1" kern="0" dirty="0"/>
          </a:p>
        </p:txBody>
      </p:sp>
      <p:sp>
        <p:nvSpPr>
          <p:cNvPr id="168" name="Sous-titre 4"/>
          <p:cNvSpPr txBox="1">
            <a:spLocks/>
          </p:cNvSpPr>
          <p:nvPr/>
        </p:nvSpPr>
        <p:spPr>
          <a:xfrm>
            <a:off x="8015905" y="4489179"/>
            <a:ext cx="2273756" cy="255192"/>
          </a:xfrm>
          <a:prstGeom prst="rect">
            <a:avLst/>
          </a:prstGeom>
          <a:noFill/>
        </p:spPr>
        <p:txBody>
          <a:bodyPr/>
          <a:lstStyle>
            <a:lvl1pPr marL="0" indent="0" algn="ctr" rtl="0" eaLnBrk="0" fontAlgn="base" hangingPunct="0">
              <a:spcBef>
                <a:spcPct val="20000"/>
              </a:spcBef>
              <a:spcAft>
                <a:spcPct val="0"/>
              </a:spcAft>
              <a:buNone/>
              <a:defRPr sz="3200">
                <a:solidFill>
                  <a:schemeClr val="tx1"/>
                </a:solidFill>
                <a:latin typeface="+mn-lt"/>
                <a:ea typeface="+mn-ea"/>
                <a:cs typeface="+mn-cs"/>
              </a:defRPr>
            </a:lvl1pPr>
            <a:lvl2pPr marL="457200" indent="0" algn="ctr" rtl="0" eaLnBrk="0" fontAlgn="base" hangingPunct="0">
              <a:spcBef>
                <a:spcPct val="20000"/>
              </a:spcBef>
              <a:spcAft>
                <a:spcPct val="0"/>
              </a:spcAft>
              <a:buNone/>
              <a:defRPr sz="2800">
                <a:solidFill>
                  <a:schemeClr val="tx1"/>
                </a:solidFill>
                <a:latin typeface="+mn-lt"/>
                <a:cs typeface="+mn-cs"/>
              </a:defRPr>
            </a:lvl2pPr>
            <a:lvl3pPr marL="914400" indent="0" algn="ctr" rtl="0" eaLnBrk="0" fontAlgn="base" hangingPunct="0">
              <a:spcBef>
                <a:spcPct val="20000"/>
              </a:spcBef>
              <a:spcAft>
                <a:spcPct val="0"/>
              </a:spcAft>
              <a:buNone/>
              <a:defRPr sz="2400">
                <a:solidFill>
                  <a:schemeClr val="tx1"/>
                </a:solidFill>
                <a:latin typeface="+mn-lt"/>
                <a:cs typeface="+mn-cs"/>
              </a:defRPr>
            </a:lvl3pPr>
            <a:lvl4pPr marL="1371600" indent="0" algn="ctr" rtl="0" eaLnBrk="0" fontAlgn="base" hangingPunct="0">
              <a:spcBef>
                <a:spcPct val="20000"/>
              </a:spcBef>
              <a:spcAft>
                <a:spcPct val="0"/>
              </a:spcAft>
              <a:buNone/>
              <a:defRPr sz="2000">
                <a:solidFill>
                  <a:schemeClr val="tx1"/>
                </a:solidFill>
                <a:latin typeface="+mn-lt"/>
                <a:cs typeface="+mn-cs"/>
              </a:defRPr>
            </a:lvl4pPr>
            <a:lvl5pPr marL="1828800" indent="0" algn="ctr" rtl="0" eaLnBrk="0" fontAlgn="base" hangingPunct="0">
              <a:spcBef>
                <a:spcPct val="20000"/>
              </a:spcBef>
              <a:spcAft>
                <a:spcPct val="0"/>
              </a:spcAft>
              <a:buNone/>
              <a:defRPr sz="2000">
                <a:solidFill>
                  <a:schemeClr val="tx1"/>
                </a:solidFill>
                <a:latin typeface="+mn-lt"/>
                <a:cs typeface="+mn-cs"/>
              </a:defRPr>
            </a:lvl5pPr>
            <a:lvl6pPr marL="2286000" indent="0" algn="ctr" rtl="0" fontAlgn="base">
              <a:spcBef>
                <a:spcPct val="20000"/>
              </a:spcBef>
              <a:spcAft>
                <a:spcPct val="0"/>
              </a:spcAft>
              <a:buNone/>
              <a:defRPr sz="2000">
                <a:solidFill>
                  <a:schemeClr val="tx1"/>
                </a:solidFill>
                <a:latin typeface="+mn-lt"/>
                <a:cs typeface="+mn-cs"/>
              </a:defRPr>
            </a:lvl6pPr>
            <a:lvl7pPr marL="2743200" indent="0" algn="ctr" rtl="0" fontAlgn="base">
              <a:spcBef>
                <a:spcPct val="20000"/>
              </a:spcBef>
              <a:spcAft>
                <a:spcPct val="0"/>
              </a:spcAft>
              <a:buNone/>
              <a:defRPr sz="2000">
                <a:solidFill>
                  <a:schemeClr val="tx1"/>
                </a:solidFill>
                <a:latin typeface="+mn-lt"/>
                <a:cs typeface="+mn-cs"/>
              </a:defRPr>
            </a:lvl7pPr>
            <a:lvl8pPr marL="3200400" indent="0" algn="ctr" rtl="0" fontAlgn="base">
              <a:spcBef>
                <a:spcPct val="20000"/>
              </a:spcBef>
              <a:spcAft>
                <a:spcPct val="0"/>
              </a:spcAft>
              <a:buNone/>
              <a:defRPr sz="2000">
                <a:solidFill>
                  <a:schemeClr val="tx1"/>
                </a:solidFill>
                <a:latin typeface="+mn-lt"/>
                <a:cs typeface="+mn-cs"/>
              </a:defRPr>
            </a:lvl8pPr>
            <a:lvl9pPr marL="3657600" indent="0" algn="ctr" rtl="0" fontAlgn="base">
              <a:spcBef>
                <a:spcPct val="20000"/>
              </a:spcBef>
              <a:spcAft>
                <a:spcPct val="0"/>
              </a:spcAft>
              <a:buNone/>
              <a:defRPr sz="2000">
                <a:solidFill>
                  <a:schemeClr val="tx1"/>
                </a:solidFill>
                <a:latin typeface="+mn-lt"/>
                <a:cs typeface="+mn-cs"/>
              </a:defRPr>
            </a:lvl9pPr>
          </a:lstStyle>
          <a:p>
            <a:pPr algn="l"/>
            <a:r>
              <a:rPr lang="fr-FR" sz="1000" b="1" kern="0" dirty="0"/>
              <a:t>Feyzin – Sous-Gournay</a:t>
            </a:r>
            <a:endParaRPr lang="fr-FR" sz="1000" b="1" i="1" kern="0" dirty="0"/>
          </a:p>
        </p:txBody>
      </p:sp>
      <p:sp>
        <p:nvSpPr>
          <p:cNvPr id="169" name="Sous-titre 4"/>
          <p:cNvSpPr txBox="1">
            <a:spLocks/>
          </p:cNvSpPr>
          <p:nvPr/>
        </p:nvSpPr>
        <p:spPr>
          <a:xfrm>
            <a:off x="8019721" y="4250576"/>
            <a:ext cx="2402320" cy="264657"/>
          </a:xfrm>
          <a:prstGeom prst="rect">
            <a:avLst/>
          </a:prstGeom>
          <a:noFill/>
        </p:spPr>
        <p:txBody>
          <a:bodyPr/>
          <a:lstStyle>
            <a:lvl1pPr marL="0" indent="0" algn="ctr" rtl="0" eaLnBrk="0" fontAlgn="base" hangingPunct="0">
              <a:spcBef>
                <a:spcPct val="20000"/>
              </a:spcBef>
              <a:spcAft>
                <a:spcPct val="0"/>
              </a:spcAft>
              <a:buNone/>
              <a:defRPr sz="3200">
                <a:solidFill>
                  <a:schemeClr val="tx1"/>
                </a:solidFill>
                <a:latin typeface="+mn-lt"/>
                <a:ea typeface="+mn-ea"/>
                <a:cs typeface="+mn-cs"/>
              </a:defRPr>
            </a:lvl1pPr>
            <a:lvl2pPr marL="457200" indent="0" algn="ctr" rtl="0" eaLnBrk="0" fontAlgn="base" hangingPunct="0">
              <a:spcBef>
                <a:spcPct val="20000"/>
              </a:spcBef>
              <a:spcAft>
                <a:spcPct val="0"/>
              </a:spcAft>
              <a:buNone/>
              <a:defRPr sz="2800">
                <a:solidFill>
                  <a:schemeClr val="tx1"/>
                </a:solidFill>
                <a:latin typeface="+mn-lt"/>
                <a:cs typeface="+mn-cs"/>
              </a:defRPr>
            </a:lvl2pPr>
            <a:lvl3pPr marL="914400" indent="0" algn="ctr" rtl="0" eaLnBrk="0" fontAlgn="base" hangingPunct="0">
              <a:spcBef>
                <a:spcPct val="20000"/>
              </a:spcBef>
              <a:spcAft>
                <a:spcPct val="0"/>
              </a:spcAft>
              <a:buNone/>
              <a:defRPr sz="2400">
                <a:solidFill>
                  <a:schemeClr val="tx1"/>
                </a:solidFill>
                <a:latin typeface="+mn-lt"/>
                <a:cs typeface="+mn-cs"/>
              </a:defRPr>
            </a:lvl3pPr>
            <a:lvl4pPr marL="1371600" indent="0" algn="ctr" rtl="0" eaLnBrk="0" fontAlgn="base" hangingPunct="0">
              <a:spcBef>
                <a:spcPct val="20000"/>
              </a:spcBef>
              <a:spcAft>
                <a:spcPct val="0"/>
              </a:spcAft>
              <a:buNone/>
              <a:defRPr sz="2000">
                <a:solidFill>
                  <a:schemeClr val="tx1"/>
                </a:solidFill>
                <a:latin typeface="+mn-lt"/>
                <a:cs typeface="+mn-cs"/>
              </a:defRPr>
            </a:lvl4pPr>
            <a:lvl5pPr marL="1828800" indent="0" algn="ctr" rtl="0" eaLnBrk="0" fontAlgn="base" hangingPunct="0">
              <a:spcBef>
                <a:spcPct val="20000"/>
              </a:spcBef>
              <a:spcAft>
                <a:spcPct val="0"/>
              </a:spcAft>
              <a:buNone/>
              <a:defRPr sz="2000">
                <a:solidFill>
                  <a:schemeClr val="tx1"/>
                </a:solidFill>
                <a:latin typeface="+mn-lt"/>
                <a:cs typeface="+mn-cs"/>
              </a:defRPr>
            </a:lvl5pPr>
            <a:lvl6pPr marL="2286000" indent="0" algn="ctr" rtl="0" fontAlgn="base">
              <a:spcBef>
                <a:spcPct val="20000"/>
              </a:spcBef>
              <a:spcAft>
                <a:spcPct val="0"/>
              </a:spcAft>
              <a:buNone/>
              <a:defRPr sz="2000">
                <a:solidFill>
                  <a:schemeClr val="tx1"/>
                </a:solidFill>
                <a:latin typeface="+mn-lt"/>
                <a:cs typeface="+mn-cs"/>
              </a:defRPr>
            </a:lvl6pPr>
            <a:lvl7pPr marL="2743200" indent="0" algn="ctr" rtl="0" fontAlgn="base">
              <a:spcBef>
                <a:spcPct val="20000"/>
              </a:spcBef>
              <a:spcAft>
                <a:spcPct val="0"/>
              </a:spcAft>
              <a:buNone/>
              <a:defRPr sz="2000">
                <a:solidFill>
                  <a:schemeClr val="tx1"/>
                </a:solidFill>
                <a:latin typeface="+mn-lt"/>
                <a:cs typeface="+mn-cs"/>
              </a:defRPr>
            </a:lvl7pPr>
            <a:lvl8pPr marL="3200400" indent="0" algn="ctr" rtl="0" fontAlgn="base">
              <a:spcBef>
                <a:spcPct val="20000"/>
              </a:spcBef>
              <a:spcAft>
                <a:spcPct val="0"/>
              </a:spcAft>
              <a:buNone/>
              <a:defRPr sz="2000">
                <a:solidFill>
                  <a:schemeClr val="tx1"/>
                </a:solidFill>
                <a:latin typeface="+mn-lt"/>
                <a:cs typeface="+mn-cs"/>
              </a:defRPr>
            </a:lvl8pPr>
            <a:lvl9pPr marL="3657600" indent="0" algn="ctr" rtl="0" fontAlgn="base">
              <a:spcBef>
                <a:spcPct val="20000"/>
              </a:spcBef>
              <a:spcAft>
                <a:spcPct val="0"/>
              </a:spcAft>
              <a:buNone/>
              <a:defRPr sz="2000">
                <a:solidFill>
                  <a:schemeClr val="tx1"/>
                </a:solidFill>
                <a:latin typeface="+mn-lt"/>
                <a:cs typeface="+mn-cs"/>
              </a:defRPr>
            </a:lvl9pPr>
          </a:lstStyle>
          <a:p>
            <a:pPr algn="l"/>
            <a:r>
              <a:rPr lang="fr-FR" sz="1000" b="1" kern="0" dirty="0"/>
              <a:t>Irigny – Site Le </a:t>
            </a:r>
            <a:r>
              <a:rPr lang="fr-FR" sz="1000" b="1" kern="0" dirty="0" err="1"/>
              <a:t>Broteau</a:t>
            </a:r>
            <a:endParaRPr lang="fr-FR" sz="1000" b="1" i="1" kern="0" dirty="0"/>
          </a:p>
        </p:txBody>
      </p:sp>
      <p:sp>
        <p:nvSpPr>
          <p:cNvPr id="170" name="Sous-titre 4"/>
          <p:cNvSpPr txBox="1">
            <a:spLocks/>
          </p:cNvSpPr>
          <p:nvPr/>
        </p:nvSpPr>
        <p:spPr>
          <a:xfrm>
            <a:off x="8010330" y="4955120"/>
            <a:ext cx="2273756" cy="245517"/>
          </a:xfrm>
          <a:prstGeom prst="rect">
            <a:avLst/>
          </a:prstGeom>
          <a:noFill/>
        </p:spPr>
        <p:txBody>
          <a:bodyPr/>
          <a:lstStyle>
            <a:lvl1pPr marL="0" indent="0" algn="ctr" rtl="0" eaLnBrk="0" fontAlgn="base" hangingPunct="0">
              <a:spcBef>
                <a:spcPct val="20000"/>
              </a:spcBef>
              <a:spcAft>
                <a:spcPct val="0"/>
              </a:spcAft>
              <a:buNone/>
              <a:defRPr sz="3200">
                <a:solidFill>
                  <a:schemeClr val="tx1"/>
                </a:solidFill>
                <a:latin typeface="+mn-lt"/>
                <a:ea typeface="+mn-ea"/>
                <a:cs typeface="+mn-cs"/>
              </a:defRPr>
            </a:lvl1pPr>
            <a:lvl2pPr marL="457200" indent="0" algn="ctr" rtl="0" eaLnBrk="0" fontAlgn="base" hangingPunct="0">
              <a:spcBef>
                <a:spcPct val="20000"/>
              </a:spcBef>
              <a:spcAft>
                <a:spcPct val="0"/>
              </a:spcAft>
              <a:buNone/>
              <a:defRPr sz="2800">
                <a:solidFill>
                  <a:schemeClr val="tx1"/>
                </a:solidFill>
                <a:latin typeface="+mn-lt"/>
                <a:cs typeface="+mn-cs"/>
              </a:defRPr>
            </a:lvl2pPr>
            <a:lvl3pPr marL="914400" indent="0" algn="ctr" rtl="0" eaLnBrk="0" fontAlgn="base" hangingPunct="0">
              <a:spcBef>
                <a:spcPct val="20000"/>
              </a:spcBef>
              <a:spcAft>
                <a:spcPct val="0"/>
              </a:spcAft>
              <a:buNone/>
              <a:defRPr sz="2400">
                <a:solidFill>
                  <a:schemeClr val="tx1"/>
                </a:solidFill>
                <a:latin typeface="+mn-lt"/>
                <a:cs typeface="+mn-cs"/>
              </a:defRPr>
            </a:lvl3pPr>
            <a:lvl4pPr marL="1371600" indent="0" algn="ctr" rtl="0" eaLnBrk="0" fontAlgn="base" hangingPunct="0">
              <a:spcBef>
                <a:spcPct val="20000"/>
              </a:spcBef>
              <a:spcAft>
                <a:spcPct val="0"/>
              </a:spcAft>
              <a:buNone/>
              <a:defRPr sz="2000">
                <a:solidFill>
                  <a:schemeClr val="tx1"/>
                </a:solidFill>
                <a:latin typeface="+mn-lt"/>
                <a:cs typeface="+mn-cs"/>
              </a:defRPr>
            </a:lvl4pPr>
            <a:lvl5pPr marL="1828800" indent="0" algn="ctr" rtl="0" eaLnBrk="0" fontAlgn="base" hangingPunct="0">
              <a:spcBef>
                <a:spcPct val="20000"/>
              </a:spcBef>
              <a:spcAft>
                <a:spcPct val="0"/>
              </a:spcAft>
              <a:buNone/>
              <a:defRPr sz="2000">
                <a:solidFill>
                  <a:schemeClr val="tx1"/>
                </a:solidFill>
                <a:latin typeface="+mn-lt"/>
                <a:cs typeface="+mn-cs"/>
              </a:defRPr>
            </a:lvl5pPr>
            <a:lvl6pPr marL="2286000" indent="0" algn="ctr" rtl="0" fontAlgn="base">
              <a:spcBef>
                <a:spcPct val="20000"/>
              </a:spcBef>
              <a:spcAft>
                <a:spcPct val="0"/>
              </a:spcAft>
              <a:buNone/>
              <a:defRPr sz="2000">
                <a:solidFill>
                  <a:schemeClr val="tx1"/>
                </a:solidFill>
                <a:latin typeface="+mn-lt"/>
                <a:cs typeface="+mn-cs"/>
              </a:defRPr>
            </a:lvl6pPr>
            <a:lvl7pPr marL="2743200" indent="0" algn="ctr" rtl="0" fontAlgn="base">
              <a:spcBef>
                <a:spcPct val="20000"/>
              </a:spcBef>
              <a:spcAft>
                <a:spcPct val="0"/>
              </a:spcAft>
              <a:buNone/>
              <a:defRPr sz="2000">
                <a:solidFill>
                  <a:schemeClr val="tx1"/>
                </a:solidFill>
                <a:latin typeface="+mn-lt"/>
                <a:cs typeface="+mn-cs"/>
              </a:defRPr>
            </a:lvl7pPr>
            <a:lvl8pPr marL="3200400" indent="0" algn="ctr" rtl="0" fontAlgn="base">
              <a:spcBef>
                <a:spcPct val="20000"/>
              </a:spcBef>
              <a:spcAft>
                <a:spcPct val="0"/>
              </a:spcAft>
              <a:buNone/>
              <a:defRPr sz="2000">
                <a:solidFill>
                  <a:schemeClr val="tx1"/>
                </a:solidFill>
                <a:latin typeface="+mn-lt"/>
                <a:cs typeface="+mn-cs"/>
              </a:defRPr>
            </a:lvl8pPr>
            <a:lvl9pPr marL="3657600" indent="0" algn="ctr" rtl="0" fontAlgn="base">
              <a:spcBef>
                <a:spcPct val="20000"/>
              </a:spcBef>
              <a:spcAft>
                <a:spcPct val="0"/>
              </a:spcAft>
              <a:buNone/>
              <a:defRPr sz="2000">
                <a:solidFill>
                  <a:schemeClr val="tx1"/>
                </a:solidFill>
                <a:latin typeface="+mn-lt"/>
                <a:cs typeface="+mn-cs"/>
              </a:defRPr>
            </a:lvl9pPr>
          </a:lstStyle>
          <a:p>
            <a:pPr algn="l"/>
            <a:r>
              <a:rPr lang="fr-FR" sz="1000" b="1" kern="0" dirty="0"/>
              <a:t>Givors – </a:t>
            </a:r>
            <a:r>
              <a:rPr lang="fr-FR" sz="1000" b="1" kern="0" dirty="0" err="1"/>
              <a:t>Fives</a:t>
            </a:r>
            <a:r>
              <a:rPr lang="fr-FR" sz="1000" b="1" kern="0" dirty="0"/>
              <a:t> Lille </a:t>
            </a:r>
            <a:endParaRPr lang="fr-FR" sz="1000" b="1" i="1" kern="0" dirty="0"/>
          </a:p>
        </p:txBody>
      </p:sp>
      <p:sp>
        <p:nvSpPr>
          <p:cNvPr id="171" name="Sous-titre 4"/>
          <p:cNvSpPr txBox="1">
            <a:spLocks/>
          </p:cNvSpPr>
          <p:nvPr/>
        </p:nvSpPr>
        <p:spPr>
          <a:xfrm>
            <a:off x="8018993" y="5193153"/>
            <a:ext cx="2273756" cy="236418"/>
          </a:xfrm>
          <a:prstGeom prst="rect">
            <a:avLst/>
          </a:prstGeom>
          <a:noFill/>
        </p:spPr>
        <p:txBody>
          <a:bodyPr/>
          <a:lstStyle>
            <a:lvl1pPr marL="0" indent="0" algn="ctr" rtl="0" eaLnBrk="0" fontAlgn="base" hangingPunct="0">
              <a:spcBef>
                <a:spcPct val="20000"/>
              </a:spcBef>
              <a:spcAft>
                <a:spcPct val="0"/>
              </a:spcAft>
              <a:buNone/>
              <a:defRPr sz="3200">
                <a:solidFill>
                  <a:schemeClr val="tx1"/>
                </a:solidFill>
                <a:latin typeface="+mn-lt"/>
                <a:ea typeface="+mn-ea"/>
                <a:cs typeface="+mn-cs"/>
              </a:defRPr>
            </a:lvl1pPr>
            <a:lvl2pPr marL="457200" indent="0" algn="ctr" rtl="0" eaLnBrk="0" fontAlgn="base" hangingPunct="0">
              <a:spcBef>
                <a:spcPct val="20000"/>
              </a:spcBef>
              <a:spcAft>
                <a:spcPct val="0"/>
              </a:spcAft>
              <a:buNone/>
              <a:defRPr sz="2800">
                <a:solidFill>
                  <a:schemeClr val="tx1"/>
                </a:solidFill>
                <a:latin typeface="+mn-lt"/>
                <a:cs typeface="+mn-cs"/>
              </a:defRPr>
            </a:lvl2pPr>
            <a:lvl3pPr marL="914400" indent="0" algn="ctr" rtl="0" eaLnBrk="0" fontAlgn="base" hangingPunct="0">
              <a:spcBef>
                <a:spcPct val="20000"/>
              </a:spcBef>
              <a:spcAft>
                <a:spcPct val="0"/>
              </a:spcAft>
              <a:buNone/>
              <a:defRPr sz="2400">
                <a:solidFill>
                  <a:schemeClr val="tx1"/>
                </a:solidFill>
                <a:latin typeface="+mn-lt"/>
                <a:cs typeface="+mn-cs"/>
              </a:defRPr>
            </a:lvl3pPr>
            <a:lvl4pPr marL="1371600" indent="0" algn="ctr" rtl="0" eaLnBrk="0" fontAlgn="base" hangingPunct="0">
              <a:spcBef>
                <a:spcPct val="20000"/>
              </a:spcBef>
              <a:spcAft>
                <a:spcPct val="0"/>
              </a:spcAft>
              <a:buNone/>
              <a:defRPr sz="2000">
                <a:solidFill>
                  <a:schemeClr val="tx1"/>
                </a:solidFill>
                <a:latin typeface="+mn-lt"/>
                <a:cs typeface="+mn-cs"/>
              </a:defRPr>
            </a:lvl4pPr>
            <a:lvl5pPr marL="1828800" indent="0" algn="ctr" rtl="0" eaLnBrk="0" fontAlgn="base" hangingPunct="0">
              <a:spcBef>
                <a:spcPct val="20000"/>
              </a:spcBef>
              <a:spcAft>
                <a:spcPct val="0"/>
              </a:spcAft>
              <a:buNone/>
              <a:defRPr sz="2000">
                <a:solidFill>
                  <a:schemeClr val="tx1"/>
                </a:solidFill>
                <a:latin typeface="+mn-lt"/>
                <a:cs typeface="+mn-cs"/>
              </a:defRPr>
            </a:lvl5pPr>
            <a:lvl6pPr marL="2286000" indent="0" algn="ctr" rtl="0" fontAlgn="base">
              <a:spcBef>
                <a:spcPct val="20000"/>
              </a:spcBef>
              <a:spcAft>
                <a:spcPct val="0"/>
              </a:spcAft>
              <a:buNone/>
              <a:defRPr sz="2000">
                <a:solidFill>
                  <a:schemeClr val="tx1"/>
                </a:solidFill>
                <a:latin typeface="+mn-lt"/>
                <a:cs typeface="+mn-cs"/>
              </a:defRPr>
            </a:lvl6pPr>
            <a:lvl7pPr marL="2743200" indent="0" algn="ctr" rtl="0" fontAlgn="base">
              <a:spcBef>
                <a:spcPct val="20000"/>
              </a:spcBef>
              <a:spcAft>
                <a:spcPct val="0"/>
              </a:spcAft>
              <a:buNone/>
              <a:defRPr sz="2000">
                <a:solidFill>
                  <a:schemeClr val="tx1"/>
                </a:solidFill>
                <a:latin typeface="+mn-lt"/>
                <a:cs typeface="+mn-cs"/>
              </a:defRPr>
            </a:lvl7pPr>
            <a:lvl8pPr marL="3200400" indent="0" algn="ctr" rtl="0" fontAlgn="base">
              <a:spcBef>
                <a:spcPct val="20000"/>
              </a:spcBef>
              <a:spcAft>
                <a:spcPct val="0"/>
              </a:spcAft>
              <a:buNone/>
              <a:defRPr sz="2000">
                <a:solidFill>
                  <a:schemeClr val="tx1"/>
                </a:solidFill>
                <a:latin typeface="+mn-lt"/>
                <a:cs typeface="+mn-cs"/>
              </a:defRPr>
            </a:lvl8pPr>
            <a:lvl9pPr marL="3657600" indent="0" algn="ctr" rtl="0" fontAlgn="base">
              <a:spcBef>
                <a:spcPct val="20000"/>
              </a:spcBef>
              <a:spcAft>
                <a:spcPct val="0"/>
              </a:spcAft>
              <a:buNone/>
              <a:defRPr sz="2000">
                <a:solidFill>
                  <a:schemeClr val="tx1"/>
                </a:solidFill>
                <a:latin typeface="+mn-lt"/>
                <a:cs typeface="+mn-cs"/>
              </a:defRPr>
            </a:lvl9pPr>
          </a:lstStyle>
          <a:p>
            <a:pPr algn="l"/>
            <a:r>
              <a:rPr lang="fr-FR" sz="1000" b="1" kern="0" dirty="0"/>
              <a:t>Givors – Bans Givors  </a:t>
            </a:r>
            <a:endParaRPr lang="fr-FR" sz="1000" b="1" i="1" kern="0" dirty="0"/>
          </a:p>
        </p:txBody>
      </p:sp>
      <p:sp>
        <p:nvSpPr>
          <p:cNvPr id="172" name="Sous-titre 4"/>
          <p:cNvSpPr txBox="1">
            <a:spLocks/>
          </p:cNvSpPr>
          <p:nvPr/>
        </p:nvSpPr>
        <p:spPr>
          <a:xfrm>
            <a:off x="8010330" y="4728702"/>
            <a:ext cx="2273756" cy="255192"/>
          </a:xfrm>
          <a:prstGeom prst="rect">
            <a:avLst/>
          </a:prstGeom>
          <a:noFill/>
        </p:spPr>
        <p:txBody>
          <a:bodyPr/>
          <a:lstStyle>
            <a:lvl1pPr marL="0" indent="0" algn="ctr" rtl="0" eaLnBrk="0" fontAlgn="base" hangingPunct="0">
              <a:spcBef>
                <a:spcPct val="20000"/>
              </a:spcBef>
              <a:spcAft>
                <a:spcPct val="0"/>
              </a:spcAft>
              <a:buNone/>
              <a:defRPr sz="3200">
                <a:solidFill>
                  <a:schemeClr val="tx1"/>
                </a:solidFill>
                <a:latin typeface="+mn-lt"/>
                <a:ea typeface="+mn-ea"/>
                <a:cs typeface="+mn-cs"/>
              </a:defRPr>
            </a:lvl1pPr>
            <a:lvl2pPr marL="457200" indent="0" algn="ctr" rtl="0" eaLnBrk="0" fontAlgn="base" hangingPunct="0">
              <a:spcBef>
                <a:spcPct val="20000"/>
              </a:spcBef>
              <a:spcAft>
                <a:spcPct val="0"/>
              </a:spcAft>
              <a:buNone/>
              <a:defRPr sz="2800">
                <a:solidFill>
                  <a:schemeClr val="tx1"/>
                </a:solidFill>
                <a:latin typeface="+mn-lt"/>
                <a:cs typeface="+mn-cs"/>
              </a:defRPr>
            </a:lvl2pPr>
            <a:lvl3pPr marL="914400" indent="0" algn="ctr" rtl="0" eaLnBrk="0" fontAlgn="base" hangingPunct="0">
              <a:spcBef>
                <a:spcPct val="20000"/>
              </a:spcBef>
              <a:spcAft>
                <a:spcPct val="0"/>
              </a:spcAft>
              <a:buNone/>
              <a:defRPr sz="2400">
                <a:solidFill>
                  <a:schemeClr val="tx1"/>
                </a:solidFill>
                <a:latin typeface="+mn-lt"/>
                <a:cs typeface="+mn-cs"/>
              </a:defRPr>
            </a:lvl3pPr>
            <a:lvl4pPr marL="1371600" indent="0" algn="ctr" rtl="0" eaLnBrk="0" fontAlgn="base" hangingPunct="0">
              <a:spcBef>
                <a:spcPct val="20000"/>
              </a:spcBef>
              <a:spcAft>
                <a:spcPct val="0"/>
              </a:spcAft>
              <a:buNone/>
              <a:defRPr sz="2000">
                <a:solidFill>
                  <a:schemeClr val="tx1"/>
                </a:solidFill>
                <a:latin typeface="+mn-lt"/>
                <a:cs typeface="+mn-cs"/>
              </a:defRPr>
            </a:lvl4pPr>
            <a:lvl5pPr marL="1828800" indent="0" algn="ctr" rtl="0" eaLnBrk="0" fontAlgn="base" hangingPunct="0">
              <a:spcBef>
                <a:spcPct val="20000"/>
              </a:spcBef>
              <a:spcAft>
                <a:spcPct val="0"/>
              </a:spcAft>
              <a:buNone/>
              <a:defRPr sz="2000">
                <a:solidFill>
                  <a:schemeClr val="tx1"/>
                </a:solidFill>
                <a:latin typeface="+mn-lt"/>
                <a:cs typeface="+mn-cs"/>
              </a:defRPr>
            </a:lvl5pPr>
            <a:lvl6pPr marL="2286000" indent="0" algn="ctr" rtl="0" fontAlgn="base">
              <a:spcBef>
                <a:spcPct val="20000"/>
              </a:spcBef>
              <a:spcAft>
                <a:spcPct val="0"/>
              </a:spcAft>
              <a:buNone/>
              <a:defRPr sz="2000">
                <a:solidFill>
                  <a:schemeClr val="tx1"/>
                </a:solidFill>
                <a:latin typeface="+mn-lt"/>
                <a:cs typeface="+mn-cs"/>
              </a:defRPr>
            </a:lvl6pPr>
            <a:lvl7pPr marL="2743200" indent="0" algn="ctr" rtl="0" fontAlgn="base">
              <a:spcBef>
                <a:spcPct val="20000"/>
              </a:spcBef>
              <a:spcAft>
                <a:spcPct val="0"/>
              </a:spcAft>
              <a:buNone/>
              <a:defRPr sz="2000">
                <a:solidFill>
                  <a:schemeClr val="tx1"/>
                </a:solidFill>
                <a:latin typeface="+mn-lt"/>
                <a:cs typeface="+mn-cs"/>
              </a:defRPr>
            </a:lvl7pPr>
            <a:lvl8pPr marL="3200400" indent="0" algn="ctr" rtl="0" fontAlgn="base">
              <a:spcBef>
                <a:spcPct val="20000"/>
              </a:spcBef>
              <a:spcAft>
                <a:spcPct val="0"/>
              </a:spcAft>
              <a:buNone/>
              <a:defRPr sz="2000">
                <a:solidFill>
                  <a:schemeClr val="tx1"/>
                </a:solidFill>
                <a:latin typeface="+mn-lt"/>
                <a:cs typeface="+mn-cs"/>
              </a:defRPr>
            </a:lvl8pPr>
            <a:lvl9pPr marL="3657600" indent="0" algn="ctr" rtl="0" fontAlgn="base">
              <a:spcBef>
                <a:spcPct val="20000"/>
              </a:spcBef>
              <a:spcAft>
                <a:spcPct val="0"/>
              </a:spcAft>
              <a:buNone/>
              <a:defRPr sz="2000">
                <a:solidFill>
                  <a:schemeClr val="tx1"/>
                </a:solidFill>
                <a:latin typeface="+mn-lt"/>
                <a:cs typeface="+mn-cs"/>
              </a:defRPr>
            </a:lvl9pPr>
          </a:lstStyle>
          <a:p>
            <a:pPr algn="l"/>
            <a:r>
              <a:rPr lang="fr-FR" sz="1000" b="1" kern="0" dirty="0"/>
              <a:t>Feyzin – Bulles-Unedic</a:t>
            </a:r>
            <a:endParaRPr lang="fr-FR" sz="1000" b="1" i="1" kern="0" dirty="0"/>
          </a:p>
        </p:txBody>
      </p:sp>
      <p:sp>
        <p:nvSpPr>
          <p:cNvPr id="173" name="Sous-titre 4"/>
          <p:cNvSpPr txBox="1">
            <a:spLocks/>
          </p:cNvSpPr>
          <p:nvPr/>
        </p:nvSpPr>
        <p:spPr>
          <a:xfrm>
            <a:off x="8026306" y="5697464"/>
            <a:ext cx="2497455" cy="258705"/>
          </a:xfrm>
          <a:prstGeom prst="rect">
            <a:avLst/>
          </a:prstGeom>
        </p:spPr>
        <p:txBody>
          <a:bodyPr/>
          <a:lstStyle>
            <a:lvl1pPr marL="0" indent="0" algn="ctr" rtl="0" eaLnBrk="0" fontAlgn="base" hangingPunct="0">
              <a:spcBef>
                <a:spcPct val="20000"/>
              </a:spcBef>
              <a:spcAft>
                <a:spcPct val="0"/>
              </a:spcAft>
              <a:buNone/>
              <a:defRPr sz="3200">
                <a:solidFill>
                  <a:schemeClr val="tx1"/>
                </a:solidFill>
                <a:latin typeface="+mn-lt"/>
                <a:ea typeface="+mn-ea"/>
                <a:cs typeface="+mn-cs"/>
              </a:defRPr>
            </a:lvl1pPr>
            <a:lvl2pPr marL="457200" indent="0" algn="ctr" rtl="0" eaLnBrk="0" fontAlgn="base" hangingPunct="0">
              <a:spcBef>
                <a:spcPct val="20000"/>
              </a:spcBef>
              <a:spcAft>
                <a:spcPct val="0"/>
              </a:spcAft>
              <a:buNone/>
              <a:defRPr sz="2800">
                <a:solidFill>
                  <a:schemeClr val="tx1"/>
                </a:solidFill>
                <a:latin typeface="+mn-lt"/>
                <a:cs typeface="+mn-cs"/>
              </a:defRPr>
            </a:lvl2pPr>
            <a:lvl3pPr marL="914400" indent="0" algn="ctr" rtl="0" eaLnBrk="0" fontAlgn="base" hangingPunct="0">
              <a:spcBef>
                <a:spcPct val="20000"/>
              </a:spcBef>
              <a:spcAft>
                <a:spcPct val="0"/>
              </a:spcAft>
              <a:buNone/>
              <a:defRPr sz="2400">
                <a:solidFill>
                  <a:schemeClr val="tx1"/>
                </a:solidFill>
                <a:latin typeface="+mn-lt"/>
                <a:cs typeface="+mn-cs"/>
              </a:defRPr>
            </a:lvl3pPr>
            <a:lvl4pPr marL="1371600" indent="0" algn="ctr" rtl="0" eaLnBrk="0" fontAlgn="base" hangingPunct="0">
              <a:spcBef>
                <a:spcPct val="20000"/>
              </a:spcBef>
              <a:spcAft>
                <a:spcPct val="0"/>
              </a:spcAft>
              <a:buNone/>
              <a:defRPr sz="2000">
                <a:solidFill>
                  <a:schemeClr val="tx1"/>
                </a:solidFill>
                <a:latin typeface="+mn-lt"/>
                <a:cs typeface="+mn-cs"/>
              </a:defRPr>
            </a:lvl4pPr>
            <a:lvl5pPr marL="1828800" indent="0" algn="ctr" rtl="0" eaLnBrk="0" fontAlgn="base" hangingPunct="0">
              <a:spcBef>
                <a:spcPct val="20000"/>
              </a:spcBef>
              <a:spcAft>
                <a:spcPct val="0"/>
              </a:spcAft>
              <a:buNone/>
              <a:defRPr sz="2000">
                <a:solidFill>
                  <a:schemeClr val="tx1"/>
                </a:solidFill>
                <a:latin typeface="+mn-lt"/>
                <a:cs typeface="+mn-cs"/>
              </a:defRPr>
            </a:lvl5pPr>
            <a:lvl6pPr marL="2286000" indent="0" algn="ctr" rtl="0" fontAlgn="base">
              <a:spcBef>
                <a:spcPct val="20000"/>
              </a:spcBef>
              <a:spcAft>
                <a:spcPct val="0"/>
              </a:spcAft>
              <a:buNone/>
              <a:defRPr sz="2000">
                <a:solidFill>
                  <a:schemeClr val="tx1"/>
                </a:solidFill>
                <a:latin typeface="+mn-lt"/>
                <a:cs typeface="+mn-cs"/>
              </a:defRPr>
            </a:lvl6pPr>
            <a:lvl7pPr marL="2743200" indent="0" algn="ctr" rtl="0" fontAlgn="base">
              <a:spcBef>
                <a:spcPct val="20000"/>
              </a:spcBef>
              <a:spcAft>
                <a:spcPct val="0"/>
              </a:spcAft>
              <a:buNone/>
              <a:defRPr sz="2000">
                <a:solidFill>
                  <a:schemeClr val="tx1"/>
                </a:solidFill>
                <a:latin typeface="+mn-lt"/>
                <a:cs typeface="+mn-cs"/>
              </a:defRPr>
            </a:lvl7pPr>
            <a:lvl8pPr marL="3200400" indent="0" algn="ctr" rtl="0" fontAlgn="base">
              <a:spcBef>
                <a:spcPct val="20000"/>
              </a:spcBef>
              <a:spcAft>
                <a:spcPct val="0"/>
              </a:spcAft>
              <a:buNone/>
              <a:defRPr sz="2000">
                <a:solidFill>
                  <a:schemeClr val="tx1"/>
                </a:solidFill>
                <a:latin typeface="+mn-lt"/>
                <a:cs typeface="+mn-cs"/>
              </a:defRPr>
            </a:lvl8pPr>
            <a:lvl9pPr marL="3657600" indent="0" algn="ctr" rtl="0" fontAlgn="base">
              <a:spcBef>
                <a:spcPct val="20000"/>
              </a:spcBef>
              <a:spcAft>
                <a:spcPct val="0"/>
              </a:spcAft>
              <a:buNone/>
              <a:defRPr sz="2000">
                <a:solidFill>
                  <a:schemeClr val="tx1"/>
                </a:solidFill>
                <a:latin typeface="+mn-lt"/>
                <a:cs typeface="+mn-cs"/>
              </a:defRPr>
            </a:lvl9pPr>
          </a:lstStyle>
          <a:p>
            <a:pPr algn="l"/>
            <a:r>
              <a:rPr lang="fr-FR" sz="1000" b="1" kern="0" dirty="0"/>
              <a:t>Vénissieux – Site Cœur industriel</a:t>
            </a:r>
            <a:endParaRPr lang="fr-FR" sz="1000" b="1" i="1" kern="0" dirty="0"/>
          </a:p>
        </p:txBody>
      </p:sp>
      <p:sp>
        <p:nvSpPr>
          <p:cNvPr id="174" name="Sous-titre 4"/>
          <p:cNvSpPr txBox="1">
            <a:spLocks/>
          </p:cNvSpPr>
          <p:nvPr/>
        </p:nvSpPr>
        <p:spPr>
          <a:xfrm>
            <a:off x="8042166" y="6371191"/>
            <a:ext cx="2474450" cy="278753"/>
          </a:xfrm>
          <a:prstGeom prst="rect">
            <a:avLst/>
          </a:prstGeom>
          <a:solidFill>
            <a:schemeClr val="bg1"/>
          </a:solidFill>
        </p:spPr>
        <p:txBody>
          <a:bodyPr/>
          <a:lstStyle>
            <a:lvl1pPr marL="0" indent="0" algn="ctr" rtl="0" eaLnBrk="0" fontAlgn="base" hangingPunct="0">
              <a:spcBef>
                <a:spcPct val="20000"/>
              </a:spcBef>
              <a:spcAft>
                <a:spcPct val="0"/>
              </a:spcAft>
              <a:buNone/>
              <a:defRPr sz="3200">
                <a:solidFill>
                  <a:schemeClr val="tx1"/>
                </a:solidFill>
                <a:latin typeface="+mn-lt"/>
                <a:ea typeface="+mn-ea"/>
                <a:cs typeface="+mn-cs"/>
              </a:defRPr>
            </a:lvl1pPr>
            <a:lvl2pPr marL="457200" indent="0" algn="ctr" rtl="0" eaLnBrk="0" fontAlgn="base" hangingPunct="0">
              <a:spcBef>
                <a:spcPct val="20000"/>
              </a:spcBef>
              <a:spcAft>
                <a:spcPct val="0"/>
              </a:spcAft>
              <a:buNone/>
              <a:defRPr sz="2800">
                <a:solidFill>
                  <a:schemeClr val="tx1"/>
                </a:solidFill>
                <a:latin typeface="+mn-lt"/>
                <a:cs typeface="+mn-cs"/>
              </a:defRPr>
            </a:lvl2pPr>
            <a:lvl3pPr marL="914400" indent="0" algn="ctr" rtl="0" eaLnBrk="0" fontAlgn="base" hangingPunct="0">
              <a:spcBef>
                <a:spcPct val="20000"/>
              </a:spcBef>
              <a:spcAft>
                <a:spcPct val="0"/>
              </a:spcAft>
              <a:buNone/>
              <a:defRPr sz="2400">
                <a:solidFill>
                  <a:schemeClr val="tx1"/>
                </a:solidFill>
                <a:latin typeface="+mn-lt"/>
                <a:cs typeface="+mn-cs"/>
              </a:defRPr>
            </a:lvl3pPr>
            <a:lvl4pPr marL="1371600" indent="0" algn="ctr" rtl="0" eaLnBrk="0" fontAlgn="base" hangingPunct="0">
              <a:spcBef>
                <a:spcPct val="20000"/>
              </a:spcBef>
              <a:spcAft>
                <a:spcPct val="0"/>
              </a:spcAft>
              <a:buNone/>
              <a:defRPr sz="2000">
                <a:solidFill>
                  <a:schemeClr val="tx1"/>
                </a:solidFill>
                <a:latin typeface="+mn-lt"/>
                <a:cs typeface="+mn-cs"/>
              </a:defRPr>
            </a:lvl4pPr>
            <a:lvl5pPr marL="1828800" indent="0" algn="ctr" rtl="0" eaLnBrk="0" fontAlgn="base" hangingPunct="0">
              <a:spcBef>
                <a:spcPct val="20000"/>
              </a:spcBef>
              <a:spcAft>
                <a:spcPct val="0"/>
              </a:spcAft>
              <a:buNone/>
              <a:defRPr sz="2000">
                <a:solidFill>
                  <a:schemeClr val="tx1"/>
                </a:solidFill>
                <a:latin typeface="+mn-lt"/>
                <a:cs typeface="+mn-cs"/>
              </a:defRPr>
            </a:lvl5pPr>
            <a:lvl6pPr marL="2286000" indent="0" algn="ctr" rtl="0" fontAlgn="base">
              <a:spcBef>
                <a:spcPct val="20000"/>
              </a:spcBef>
              <a:spcAft>
                <a:spcPct val="0"/>
              </a:spcAft>
              <a:buNone/>
              <a:defRPr sz="2000">
                <a:solidFill>
                  <a:schemeClr val="tx1"/>
                </a:solidFill>
                <a:latin typeface="+mn-lt"/>
                <a:cs typeface="+mn-cs"/>
              </a:defRPr>
            </a:lvl6pPr>
            <a:lvl7pPr marL="2743200" indent="0" algn="ctr" rtl="0" fontAlgn="base">
              <a:spcBef>
                <a:spcPct val="20000"/>
              </a:spcBef>
              <a:spcAft>
                <a:spcPct val="0"/>
              </a:spcAft>
              <a:buNone/>
              <a:defRPr sz="2000">
                <a:solidFill>
                  <a:schemeClr val="tx1"/>
                </a:solidFill>
                <a:latin typeface="+mn-lt"/>
                <a:cs typeface="+mn-cs"/>
              </a:defRPr>
            </a:lvl7pPr>
            <a:lvl8pPr marL="3200400" indent="0" algn="ctr" rtl="0" fontAlgn="base">
              <a:spcBef>
                <a:spcPct val="20000"/>
              </a:spcBef>
              <a:spcAft>
                <a:spcPct val="0"/>
              </a:spcAft>
              <a:buNone/>
              <a:defRPr sz="2000">
                <a:solidFill>
                  <a:schemeClr val="tx1"/>
                </a:solidFill>
                <a:latin typeface="+mn-lt"/>
                <a:cs typeface="+mn-cs"/>
              </a:defRPr>
            </a:lvl8pPr>
            <a:lvl9pPr marL="3657600" indent="0" algn="ctr" rtl="0" fontAlgn="base">
              <a:spcBef>
                <a:spcPct val="20000"/>
              </a:spcBef>
              <a:spcAft>
                <a:spcPct val="0"/>
              </a:spcAft>
              <a:buNone/>
              <a:defRPr sz="2000">
                <a:solidFill>
                  <a:schemeClr val="tx1"/>
                </a:solidFill>
                <a:latin typeface="+mn-lt"/>
                <a:cs typeface="+mn-cs"/>
              </a:defRPr>
            </a:lvl9pPr>
          </a:lstStyle>
          <a:p>
            <a:pPr algn="l"/>
            <a:r>
              <a:rPr lang="fr-FR" sz="1000" b="1" kern="0" dirty="0"/>
              <a:t>St-</a:t>
            </a:r>
            <a:r>
              <a:rPr lang="fr-FR" sz="1000" b="1" kern="0" dirty="0" err="1"/>
              <a:t>Priest</a:t>
            </a:r>
            <a:r>
              <a:rPr lang="fr-FR" sz="1000" b="1" kern="0" dirty="0"/>
              <a:t> – RD306 Est</a:t>
            </a:r>
            <a:endParaRPr lang="fr-FR" sz="1000" b="1" i="1" kern="0" dirty="0"/>
          </a:p>
        </p:txBody>
      </p:sp>
      <p:sp>
        <p:nvSpPr>
          <p:cNvPr id="177" name="Ellipse 176"/>
          <p:cNvSpPr/>
          <p:nvPr/>
        </p:nvSpPr>
        <p:spPr>
          <a:xfrm>
            <a:off x="4170532" y="2415845"/>
            <a:ext cx="216024" cy="216024"/>
          </a:xfrm>
          <a:prstGeom prst="ellipse">
            <a:avLst/>
          </a:prstGeom>
          <a:solidFill>
            <a:srgbClr val="00DE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9" name="Ellipse 178"/>
          <p:cNvSpPr/>
          <p:nvPr/>
        </p:nvSpPr>
        <p:spPr>
          <a:xfrm>
            <a:off x="4432783" y="2431997"/>
            <a:ext cx="216024" cy="216024"/>
          </a:xfrm>
          <a:prstGeom prst="ellipse">
            <a:avLst/>
          </a:prstGeom>
          <a:solidFill>
            <a:srgbClr val="00DE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80" name="Sous-titre 4"/>
          <p:cNvSpPr txBox="1">
            <a:spLocks/>
          </p:cNvSpPr>
          <p:nvPr/>
        </p:nvSpPr>
        <p:spPr>
          <a:xfrm>
            <a:off x="4423763" y="2431670"/>
            <a:ext cx="245192" cy="230268"/>
          </a:xfrm>
          <a:prstGeom prst="rect">
            <a:avLst/>
          </a:prstGeom>
          <a:ln>
            <a:noFill/>
          </a:ln>
        </p:spPr>
        <p:txBody>
          <a:bodyPr/>
          <a:lstStyle>
            <a:lvl1pPr marL="0" indent="0" algn="ctr" rtl="0" eaLnBrk="0" fontAlgn="base" hangingPunct="0">
              <a:spcBef>
                <a:spcPct val="20000"/>
              </a:spcBef>
              <a:spcAft>
                <a:spcPct val="0"/>
              </a:spcAft>
              <a:buNone/>
              <a:defRPr sz="3200">
                <a:solidFill>
                  <a:schemeClr val="tx1"/>
                </a:solidFill>
                <a:latin typeface="+mn-lt"/>
                <a:ea typeface="+mn-ea"/>
                <a:cs typeface="+mn-cs"/>
              </a:defRPr>
            </a:lvl1pPr>
            <a:lvl2pPr marL="457200" indent="0" algn="ctr" rtl="0" eaLnBrk="0" fontAlgn="base" hangingPunct="0">
              <a:spcBef>
                <a:spcPct val="20000"/>
              </a:spcBef>
              <a:spcAft>
                <a:spcPct val="0"/>
              </a:spcAft>
              <a:buNone/>
              <a:defRPr sz="2800">
                <a:solidFill>
                  <a:schemeClr val="tx1"/>
                </a:solidFill>
                <a:latin typeface="+mn-lt"/>
                <a:cs typeface="+mn-cs"/>
              </a:defRPr>
            </a:lvl2pPr>
            <a:lvl3pPr marL="914400" indent="0" algn="ctr" rtl="0" eaLnBrk="0" fontAlgn="base" hangingPunct="0">
              <a:spcBef>
                <a:spcPct val="20000"/>
              </a:spcBef>
              <a:spcAft>
                <a:spcPct val="0"/>
              </a:spcAft>
              <a:buNone/>
              <a:defRPr sz="2400">
                <a:solidFill>
                  <a:schemeClr val="tx1"/>
                </a:solidFill>
                <a:latin typeface="+mn-lt"/>
                <a:cs typeface="+mn-cs"/>
              </a:defRPr>
            </a:lvl3pPr>
            <a:lvl4pPr marL="1371600" indent="0" algn="ctr" rtl="0" eaLnBrk="0" fontAlgn="base" hangingPunct="0">
              <a:spcBef>
                <a:spcPct val="20000"/>
              </a:spcBef>
              <a:spcAft>
                <a:spcPct val="0"/>
              </a:spcAft>
              <a:buNone/>
              <a:defRPr sz="2000">
                <a:solidFill>
                  <a:schemeClr val="tx1"/>
                </a:solidFill>
                <a:latin typeface="+mn-lt"/>
                <a:cs typeface="+mn-cs"/>
              </a:defRPr>
            </a:lvl4pPr>
            <a:lvl5pPr marL="1828800" indent="0" algn="ctr" rtl="0" eaLnBrk="0" fontAlgn="base" hangingPunct="0">
              <a:spcBef>
                <a:spcPct val="20000"/>
              </a:spcBef>
              <a:spcAft>
                <a:spcPct val="0"/>
              </a:spcAft>
              <a:buNone/>
              <a:defRPr sz="2000">
                <a:solidFill>
                  <a:schemeClr val="tx1"/>
                </a:solidFill>
                <a:latin typeface="+mn-lt"/>
                <a:cs typeface="+mn-cs"/>
              </a:defRPr>
            </a:lvl5pPr>
            <a:lvl6pPr marL="2286000" indent="0" algn="ctr" rtl="0" fontAlgn="base">
              <a:spcBef>
                <a:spcPct val="20000"/>
              </a:spcBef>
              <a:spcAft>
                <a:spcPct val="0"/>
              </a:spcAft>
              <a:buNone/>
              <a:defRPr sz="2000">
                <a:solidFill>
                  <a:schemeClr val="tx1"/>
                </a:solidFill>
                <a:latin typeface="+mn-lt"/>
                <a:cs typeface="+mn-cs"/>
              </a:defRPr>
            </a:lvl6pPr>
            <a:lvl7pPr marL="2743200" indent="0" algn="ctr" rtl="0" fontAlgn="base">
              <a:spcBef>
                <a:spcPct val="20000"/>
              </a:spcBef>
              <a:spcAft>
                <a:spcPct val="0"/>
              </a:spcAft>
              <a:buNone/>
              <a:defRPr sz="2000">
                <a:solidFill>
                  <a:schemeClr val="tx1"/>
                </a:solidFill>
                <a:latin typeface="+mn-lt"/>
                <a:cs typeface="+mn-cs"/>
              </a:defRPr>
            </a:lvl7pPr>
            <a:lvl8pPr marL="3200400" indent="0" algn="ctr" rtl="0" fontAlgn="base">
              <a:spcBef>
                <a:spcPct val="20000"/>
              </a:spcBef>
              <a:spcAft>
                <a:spcPct val="0"/>
              </a:spcAft>
              <a:buNone/>
              <a:defRPr sz="2000">
                <a:solidFill>
                  <a:schemeClr val="tx1"/>
                </a:solidFill>
                <a:latin typeface="+mn-lt"/>
                <a:cs typeface="+mn-cs"/>
              </a:defRPr>
            </a:lvl8pPr>
            <a:lvl9pPr marL="3657600" indent="0" algn="ctr" rtl="0" fontAlgn="base">
              <a:spcBef>
                <a:spcPct val="20000"/>
              </a:spcBef>
              <a:spcAft>
                <a:spcPct val="0"/>
              </a:spcAft>
              <a:buNone/>
              <a:defRPr sz="2000">
                <a:solidFill>
                  <a:schemeClr val="tx1"/>
                </a:solidFill>
                <a:latin typeface="+mn-lt"/>
                <a:cs typeface="+mn-cs"/>
              </a:defRPr>
            </a:lvl9pPr>
          </a:lstStyle>
          <a:p>
            <a:pPr algn="l"/>
            <a:r>
              <a:rPr lang="fr-FR" sz="800" b="1" kern="0" dirty="0"/>
              <a:t>9</a:t>
            </a:r>
          </a:p>
        </p:txBody>
      </p:sp>
      <p:sp>
        <p:nvSpPr>
          <p:cNvPr id="181" name="Sous-titre 4"/>
          <p:cNvSpPr txBox="1">
            <a:spLocks/>
          </p:cNvSpPr>
          <p:nvPr/>
        </p:nvSpPr>
        <p:spPr>
          <a:xfrm>
            <a:off x="4127143" y="2421238"/>
            <a:ext cx="319807" cy="232523"/>
          </a:xfrm>
          <a:prstGeom prst="rect">
            <a:avLst/>
          </a:prstGeom>
          <a:ln>
            <a:noFill/>
          </a:ln>
        </p:spPr>
        <p:txBody>
          <a:bodyPr/>
          <a:lstStyle>
            <a:lvl1pPr marL="0" indent="0" algn="ctr" rtl="0" eaLnBrk="0" fontAlgn="base" hangingPunct="0">
              <a:spcBef>
                <a:spcPct val="20000"/>
              </a:spcBef>
              <a:spcAft>
                <a:spcPct val="0"/>
              </a:spcAft>
              <a:buNone/>
              <a:defRPr sz="3200">
                <a:solidFill>
                  <a:schemeClr val="tx1"/>
                </a:solidFill>
                <a:latin typeface="+mn-lt"/>
                <a:ea typeface="+mn-ea"/>
                <a:cs typeface="+mn-cs"/>
              </a:defRPr>
            </a:lvl1pPr>
            <a:lvl2pPr marL="457200" indent="0" algn="ctr" rtl="0" eaLnBrk="0" fontAlgn="base" hangingPunct="0">
              <a:spcBef>
                <a:spcPct val="20000"/>
              </a:spcBef>
              <a:spcAft>
                <a:spcPct val="0"/>
              </a:spcAft>
              <a:buNone/>
              <a:defRPr sz="2800">
                <a:solidFill>
                  <a:schemeClr val="tx1"/>
                </a:solidFill>
                <a:latin typeface="+mn-lt"/>
                <a:cs typeface="+mn-cs"/>
              </a:defRPr>
            </a:lvl2pPr>
            <a:lvl3pPr marL="914400" indent="0" algn="ctr" rtl="0" eaLnBrk="0" fontAlgn="base" hangingPunct="0">
              <a:spcBef>
                <a:spcPct val="20000"/>
              </a:spcBef>
              <a:spcAft>
                <a:spcPct val="0"/>
              </a:spcAft>
              <a:buNone/>
              <a:defRPr sz="2400">
                <a:solidFill>
                  <a:schemeClr val="tx1"/>
                </a:solidFill>
                <a:latin typeface="+mn-lt"/>
                <a:cs typeface="+mn-cs"/>
              </a:defRPr>
            </a:lvl3pPr>
            <a:lvl4pPr marL="1371600" indent="0" algn="ctr" rtl="0" eaLnBrk="0" fontAlgn="base" hangingPunct="0">
              <a:spcBef>
                <a:spcPct val="20000"/>
              </a:spcBef>
              <a:spcAft>
                <a:spcPct val="0"/>
              </a:spcAft>
              <a:buNone/>
              <a:defRPr sz="2000">
                <a:solidFill>
                  <a:schemeClr val="tx1"/>
                </a:solidFill>
                <a:latin typeface="+mn-lt"/>
                <a:cs typeface="+mn-cs"/>
              </a:defRPr>
            </a:lvl4pPr>
            <a:lvl5pPr marL="1828800" indent="0" algn="ctr" rtl="0" eaLnBrk="0" fontAlgn="base" hangingPunct="0">
              <a:spcBef>
                <a:spcPct val="20000"/>
              </a:spcBef>
              <a:spcAft>
                <a:spcPct val="0"/>
              </a:spcAft>
              <a:buNone/>
              <a:defRPr sz="2000">
                <a:solidFill>
                  <a:schemeClr val="tx1"/>
                </a:solidFill>
                <a:latin typeface="+mn-lt"/>
                <a:cs typeface="+mn-cs"/>
              </a:defRPr>
            </a:lvl5pPr>
            <a:lvl6pPr marL="2286000" indent="0" algn="ctr" rtl="0" fontAlgn="base">
              <a:spcBef>
                <a:spcPct val="20000"/>
              </a:spcBef>
              <a:spcAft>
                <a:spcPct val="0"/>
              </a:spcAft>
              <a:buNone/>
              <a:defRPr sz="2000">
                <a:solidFill>
                  <a:schemeClr val="tx1"/>
                </a:solidFill>
                <a:latin typeface="+mn-lt"/>
                <a:cs typeface="+mn-cs"/>
              </a:defRPr>
            </a:lvl6pPr>
            <a:lvl7pPr marL="2743200" indent="0" algn="ctr" rtl="0" fontAlgn="base">
              <a:spcBef>
                <a:spcPct val="20000"/>
              </a:spcBef>
              <a:spcAft>
                <a:spcPct val="0"/>
              </a:spcAft>
              <a:buNone/>
              <a:defRPr sz="2000">
                <a:solidFill>
                  <a:schemeClr val="tx1"/>
                </a:solidFill>
                <a:latin typeface="+mn-lt"/>
                <a:cs typeface="+mn-cs"/>
              </a:defRPr>
            </a:lvl7pPr>
            <a:lvl8pPr marL="3200400" indent="0" algn="ctr" rtl="0" fontAlgn="base">
              <a:spcBef>
                <a:spcPct val="20000"/>
              </a:spcBef>
              <a:spcAft>
                <a:spcPct val="0"/>
              </a:spcAft>
              <a:buNone/>
              <a:defRPr sz="2000">
                <a:solidFill>
                  <a:schemeClr val="tx1"/>
                </a:solidFill>
                <a:latin typeface="+mn-lt"/>
                <a:cs typeface="+mn-cs"/>
              </a:defRPr>
            </a:lvl8pPr>
            <a:lvl9pPr marL="3657600" indent="0" algn="ctr" rtl="0" fontAlgn="base">
              <a:spcBef>
                <a:spcPct val="20000"/>
              </a:spcBef>
              <a:spcAft>
                <a:spcPct val="0"/>
              </a:spcAft>
              <a:buNone/>
              <a:defRPr sz="2000">
                <a:solidFill>
                  <a:schemeClr val="tx1"/>
                </a:solidFill>
                <a:latin typeface="+mn-lt"/>
                <a:cs typeface="+mn-cs"/>
              </a:defRPr>
            </a:lvl9pPr>
          </a:lstStyle>
          <a:p>
            <a:pPr algn="l"/>
            <a:r>
              <a:rPr lang="fr-FR" sz="800" b="1" kern="0" dirty="0"/>
              <a:t>10</a:t>
            </a:r>
          </a:p>
        </p:txBody>
      </p:sp>
      <p:sp>
        <p:nvSpPr>
          <p:cNvPr id="191" name="Sous-titre 4"/>
          <p:cNvSpPr txBox="1">
            <a:spLocks/>
          </p:cNvSpPr>
          <p:nvPr/>
        </p:nvSpPr>
        <p:spPr>
          <a:xfrm>
            <a:off x="4245606" y="420572"/>
            <a:ext cx="3362501" cy="380862"/>
          </a:xfrm>
          <a:prstGeom prst="rect">
            <a:avLst/>
          </a:prstGeom>
          <a:solidFill>
            <a:schemeClr val="bg1"/>
          </a:solidFill>
        </p:spPr>
        <p:txBody>
          <a:bodyPr/>
          <a:lstStyle>
            <a:lvl1pPr marL="0" indent="0" algn="ctr" rtl="0" eaLnBrk="0" fontAlgn="base" hangingPunct="0">
              <a:spcBef>
                <a:spcPct val="20000"/>
              </a:spcBef>
              <a:spcAft>
                <a:spcPct val="0"/>
              </a:spcAft>
              <a:buNone/>
              <a:defRPr sz="3200">
                <a:solidFill>
                  <a:schemeClr val="tx1"/>
                </a:solidFill>
                <a:latin typeface="+mn-lt"/>
                <a:ea typeface="+mn-ea"/>
                <a:cs typeface="+mn-cs"/>
              </a:defRPr>
            </a:lvl1pPr>
            <a:lvl2pPr marL="457200" indent="0" algn="ctr" rtl="0" eaLnBrk="0" fontAlgn="base" hangingPunct="0">
              <a:spcBef>
                <a:spcPct val="20000"/>
              </a:spcBef>
              <a:spcAft>
                <a:spcPct val="0"/>
              </a:spcAft>
              <a:buNone/>
              <a:defRPr sz="2800">
                <a:solidFill>
                  <a:schemeClr val="tx1"/>
                </a:solidFill>
                <a:latin typeface="+mn-lt"/>
                <a:cs typeface="+mn-cs"/>
              </a:defRPr>
            </a:lvl2pPr>
            <a:lvl3pPr marL="914400" indent="0" algn="ctr" rtl="0" eaLnBrk="0" fontAlgn="base" hangingPunct="0">
              <a:spcBef>
                <a:spcPct val="20000"/>
              </a:spcBef>
              <a:spcAft>
                <a:spcPct val="0"/>
              </a:spcAft>
              <a:buNone/>
              <a:defRPr sz="2400">
                <a:solidFill>
                  <a:schemeClr val="tx1"/>
                </a:solidFill>
                <a:latin typeface="+mn-lt"/>
                <a:cs typeface="+mn-cs"/>
              </a:defRPr>
            </a:lvl3pPr>
            <a:lvl4pPr marL="1371600" indent="0" algn="ctr" rtl="0" eaLnBrk="0" fontAlgn="base" hangingPunct="0">
              <a:spcBef>
                <a:spcPct val="20000"/>
              </a:spcBef>
              <a:spcAft>
                <a:spcPct val="0"/>
              </a:spcAft>
              <a:buNone/>
              <a:defRPr sz="2000">
                <a:solidFill>
                  <a:schemeClr val="tx1"/>
                </a:solidFill>
                <a:latin typeface="+mn-lt"/>
                <a:cs typeface="+mn-cs"/>
              </a:defRPr>
            </a:lvl4pPr>
            <a:lvl5pPr marL="1828800" indent="0" algn="ctr" rtl="0" eaLnBrk="0" fontAlgn="base" hangingPunct="0">
              <a:spcBef>
                <a:spcPct val="20000"/>
              </a:spcBef>
              <a:spcAft>
                <a:spcPct val="0"/>
              </a:spcAft>
              <a:buNone/>
              <a:defRPr sz="2000">
                <a:solidFill>
                  <a:schemeClr val="tx1"/>
                </a:solidFill>
                <a:latin typeface="+mn-lt"/>
                <a:cs typeface="+mn-cs"/>
              </a:defRPr>
            </a:lvl5pPr>
            <a:lvl6pPr marL="2286000" indent="0" algn="ctr" rtl="0" fontAlgn="base">
              <a:spcBef>
                <a:spcPct val="20000"/>
              </a:spcBef>
              <a:spcAft>
                <a:spcPct val="0"/>
              </a:spcAft>
              <a:buNone/>
              <a:defRPr sz="2000">
                <a:solidFill>
                  <a:schemeClr val="tx1"/>
                </a:solidFill>
                <a:latin typeface="+mn-lt"/>
                <a:cs typeface="+mn-cs"/>
              </a:defRPr>
            </a:lvl6pPr>
            <a:lvl7pPr marL="2743200" indent="0" algn="ctr" rtl="0" fontAlgn="base">
              <a:spcBef>
                <a:spcPct val="20000"/>
              </a:spcBef>
              <a:spcAft>
                <a:spcPct val="0"/>
              </a:spcAft>
              <a:buNone/>
              <a:defRPr sz="2000">
                <a:solidFill>
                  <a:schemeClr val="tx1"/>
                </a:solidFill>
                <a:latin typeface="+mn-lt"/>
                <a:cs typeface="+mn-cs"/>
              </a:defRPr>
            </a:lvl7pPr>
            <a:lvl8pPr marL="3200400" indent="0" algn="ctr" rtl="0" fontAlgn="base">
              <a:spcBef>
                <a:spcPct val="20000"/>
              </a:spcBef>
              <a:spcAft>
                <a:spcPct val="0"/>
              </a:spcAft>
              <a:buNone/>
              <a:defRPr sz="2000">
                <a:solidFill>
                  <a:schemeClr val="tx1"/>
                </a:solidFill>
                <a:latin typeface="+mn-lt"/>
                <a:cs typeface="+mn-cs"/>
              </a:defRPr>
            </a:lvl8pPr>
            <a:lvl9pPr marL="3657600" indent="0" algn="ctr" rtl="0" fontAlgn="base">
              <a:spcBef>
                <a:spcPct val="20000"/>
              </a:spcBef>
              <a:spcAft>
                <a:spcPct val="0"/>
              </a:spcAft>
              <a:buNone/>
              <a:defRPr sz="2000">
                <a:solidFill>
                  <a:schemeClr val="tx1"/>
                </a:solidFill>
                <a:latin typeface="+mn-lt"/>
                <a:cs typeface="+mn-cs"/>
              </a:defRPr>
            </a:lvl9pPr>
          </a:lstStyle>
          <a:p>
            <a:pPr algn="l"/>
            <a:r>
              <a:rPr lang="fr-FR" sz="1800" b="1" kern="0" dirty="0"/>
              <a:t>Sites à enjeux opérationnels </a:t>
            </a:r>
            <a:endParaRPr lang="fr-FR" sz="1600" b="1" i="1" kern="0" dirty="0"/>
          </a:p>
        </p:txBody>
      </p:sp>
      <p:sp>
        <p:nvSpPr>
          <p:cNvPr id="192" name="Ellipse 191"/>
          <p:cNvSpPr/>
          <p:nvPr/>
        </p:nvSpPr>
        <p:spPr>
          <a:xfrm>
            <a:off x="3077051" y="6145608"/>
            <a:ext cx="216024" cy="216024"/>
          </a:xfrm>
          <a:prstGeom prst="ellipse">
            <a:avLst/>
          </a:prstGeom>
          <a:solidFill>
            <a:srgbClr val="00DE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3" name="Ellipse 192"/>
          <p:cNvSpPr/>
          <p:nvPr/>
        </p:nvSpPr>
        <p:spPr>
          <a:xfrm>
            <a:off x="7819067" y="6631914"/>
            <a:ext cx="216024" cy="216024"/>
          </a:xfrm>
          <a:prstGeom prst="ellipse">
            <a:avLst/>
          </a:prstGeom>
          <a:solidFill>
            <a:srgbClr val="00DE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4" name="Sous-titre 4"/>
          <p:cNvSpPr txBox="1">
            <a:spLocks/>
          </p:cNvSpPr>
          <p:nvPr/>
        </p:nvSpPr>
        <p:spPr>
          <a:xfrm>
            <a:off x="8050966" y="6590169"/>
            <a:ext cx="2474450" cy="257033"/>
          </a:xfrm>
          <a:prstGeom prst="rect">
            <a:avLst/>
          </a:prstGeom>
          <a:solidFill>
            <a:schemeClr val="bg1"/>
          </a:solidFill>
        </p:spPr>
        <p:txBody>
          <a:bodyPr/>
          <a:lstStyle>
            <a:lvl1pPr marL="0" indent="0" algn="ctr" rtl="0" eaLnBrk="0" fontAlgn="base" hangingPunct="0">
              <a:spcBef>
                <a:spcPct val="20000"/>
              </a:spcBef>
              <a:spcAft>
                <a:spcPct val="0"/>
              </a:spcAft>
              <a:buNone/>
              <a:defRPr sz="3200">
                <a:solidFill>
                  <a:schemeClr val="tx1"/>
                </a:solidFill>
                <a:latin typeface="+mn-lt"/>
                <a:ea typeface="+mn-ea"/>
                <a:cs typeface="+mn-cs"/>
              </a:defRPr>
            </a:lvl1pPr>
            <a:lvl2pPr marL="457200" indent="0" algn="ctr" rtl="0" eaLnBrk="0" fontAlgn="base" hangingPunct="0">
              <a:spcBef>
                <a:spcPct val="20000"/>
              </a:spcBef>
              <a:spcAft>
                <a:spcPct val="0"/>
              </a:spcAft>
              <a:buNone/>
              <a:defRPr sz="2800">
                <a:solidFill>
                  <a:schemeClr val="tx1"/>
                </a:solidFill>
                <a:latin typeface="+mn-lt"/>
                <a:cs typeface="+mn-cs"/>
              </a:defRPr>
            </a:lvl2pPr>
            <a:lvl3pPr marL="914400" indent="0" algn="ctr" rtl="0" eaLnBrk="0" fontAlgn="base" hangingPunct="0">
              <a:spcBef>
                <a:spcPct val="20000"/>
              </a:spcBef>
              <a:spcAft>
                <a:spcPct val="0"/>
              </a:spcAft>
              <a:buNone/>
              <a:defRPr sz="2400">
                <a:solidFill>
                  <a:schemeClr val="tx1"/>
                </a:solidFill>
                <a:latin typeface="+mn-lt"/>
                <a:cs typeface="+mn-cs"/>
              </a:defRPr>
            </a:lvl3pPr>
            <a:lvl4pPr marL="1371600" indent="0" algn="ctr" rtl="0" eaLnBrk="0" fontAlgn="base" hangingPunct="0">
              <a:spcBef>
                <a:spcPct val="20000"/>
              </a:spcBef>
              <a:spcAft>
                <a:spcPct val="0"/>
              </a:spcAft>
              <a:buNone/>
              <a:defRPr sz="2000">
                <a:solidFill>
                  <a:schemeClr val="tx1"/>
                </a:solidFill>
                <a:latin typeface="+mn-lt"/>
                <a:cs typeface="+mn-cs"/>
              </a:defRPr>
            </a:lvl4pPr>
            <a:lvl5pPr marL="1828800" indent="0" algn="ctr" rtl="0" eaLnBrk="0" fontAlgn="base" hangingPunct="0">
              <a:spcBef>
                <a:spcPct val="20000"/>
              </a:spcBef>
              <a:spcAft>
                <a:spcPct val="0"/>
              </a:spcAft>
              <a:buNone/>
              <a:defRPr sz="2000">
                <a:solidFill>
                  <a:schemeClr val="tx1"/>
                </a:solidFill>
                <a:latin typeface="+mn-lt"/>
                <a:cs typeface="+mn-cs"/>
              </a:defRPr>
            </a:lvl5pPr>
            <a:lvl6pPr marL="2286000" indent="0" algn="ctr" rtl="0" fontAlgn="base">
              <a:spcBef>
                <a:spcPct val="20000"/>
              </a:spcBef>
              <a:spcAft>
                <a:spcPct val="0"/>
              </a:spcAft>
              <a:buNone/>
              <a:defRPr sz="2000">
                <a:solidFill>
                  <a:schemeClr val="tx1"/>
                </a:solidFill>
                <a:latin typeface="+mn-lt"/>
                <a:cs typeface="+mn-cs"/>
              </a:defRPr>
            </a:lvl6pPr>
            <a:lvl7pPr marL="2743200" indent="0" algn="ctr" rtl="0" fontAlgn="base">
              <a:spcBef>
                <a:spcPct val="20000"/>
              </a:spcBef>
              <a:spcAft>
                <a:spcPct val="0"/>
              </a:spcAft>
              <a:buNone/>
              <a:defRPr sz="2000">
                <a:solidFill>
                  <a:schemeClr val="tx1"/>
                </a:solidFill>
                <a:latin typeface="+mn-lt"/>
                <a:cs typeface="+mn-cs"/>
              </a:defRPr>
            </a:lvl7pPr>
            <a:lvl8pPr marL="3200400" indent="0" algn="ctr" rtl="0" fontAlgn="base">
              <a:spcBef>
                <a:spcPct val="20000"/>
              </a:spcBef>
              <a:spcAft>
                <a:spcPct val="0"/>
              </a:spcAft>
              <a:buNone/>
              <a:defRPr sz="2000">
                <a:solidFill>
                  <a:schemeClr val="tx1"/>
                </a:solidFill>
                <a:latin typeface="+mn-lt"/>
                <a:cs typeface="+mn-cs"/>
              </a:defRPr>
            </a:lvl8pPr>
            <a:lvl9pPr marL="3657600" indent="0" algn="ctr" rtl="0" fontAlgn="base">
              <a:spcBef>
                <a:spcPct val="20000"/>
              </a:spcBef>
              <a:spcAft>
                <a:spcPct val="0"/>
              </a:spcAft>
              <a:buNone/>
              <a:defRPr sz="2000">
                <a:solidFill>
                  <a:schemeClr val="tx1"/>
                </a:solidFill>
                <a:latin typeface="+mn-lt"/>
                <a:cs typeface="+mn-cs"/>
              </a:defRPr>
            </a:lvl9pPr>
          </a:lstStyle>
          <a:p>
            <a:pPr algn="l"/>
            <a:r>
              <a:rPr lang="fr-FR" sz="1000" b="1" kern="0" dirty="0"/>
              <a:t>Grigny – </a:t>
            </a:r>
            <a:r>
              <a:rPr lang="fr-FR" sz="1000" b="1" kern="0" dirty="0" err="1"/>
              <a:t>Boutras</a:t>
            </a:r>
            <a:endParaRPr lang="fr-FR" sz="1000" b="1" i="1" kern="0" dirty="0"/>
          </a:p>
        </p:txBody>
      </p:sp>
      <p:sp>
        <p:nvSpPr>
          <p:cNvPr id="195" name="Sous-titre 4"/>
          <p:cNvSpPr txBox="1">
            <a:spLocks/>
          </p:cNvSpPr>
          <p:nvPr/>
        </p:nvSpPr>
        <p:spPr>
          <a:xfrm>
            <a:off x="7781823" y="6639318"/>
            <a:ext cx="326238" cy="230268"/>
          </a:xfrm>
          <a:prstGeom prst="rect">
            <a:avLst/>
          </a:prstGeom>
          <a:ln>
            <a:noFill/>
          </a:ln>
        </p:spPr>
        <p:txBody>
          <a:bodyPr/>
          <a:lstStyle>
            <a:lvl1pPr marL="0" indent="0" algn="ctr" rtl="0" eaLnBrk="0" fontAlgn="base" hangingPunct="0">
              <a:spcBef>
                <a:spcPct val="20000"/>
              </a:spcBef>
              <a:spcAft>
                <a:spcPct val="0"/>
              </a:spcAft>
              <a:buNone/>
              <a:defRPr sz="3200">
                <a:solidFill>
                  <a:schemeClr val="tx1"/>
                </a:solidFill>
                <a:latin typeface="+mn-lt"/>
                <a:ea typeface="+mn-ea"/>
                <a:cs typeface="+mn-cs"/>
              </a:defRPr>
            </a:lvl1pPr>
            <a:lvl2pPr marL="457200" indent="0" algn="ctr" rtl="0" eaLnBrk="0" fontAlgn="base" hangingPunct="0">
              <a:spcBef>
                <a:spcPct val="20000"/>
              </a:spcBef>
              <a:spcAft>
                <a:spcPct val="0"/>
              </a:spcAft>
              <a:buNone/>
              <a:defRPr sz="2800">
                <a:solidFill>
                  <a:schemeClr val="tx1"/>
                </a:solidFill>
                <a:latin typeface="+mn-lt"/>
                <a:cs typeface="+mn-cs"/>
              </a:defRPr>
            </a:lvl2pPr>
            <a:lvl3pPr marL="914400" indent="0" algn="ctr" rtl="0" eaLnBrk="0" fontAlgn="base" hangingPunct="0">
              <a:spcBef>
                <a:spcPct val="20000"/>
              </a:spcBef>
              <a:spcAft>
                <a:spcPct val="0"/>
              </a:spcAft>
              <a:buNone/>
              <a:defRPr sz="2400">
                <a:solidFill>
                  <a:schemeClr val="tx1"/>
                </a:solidFill>
                <a:latin typeface="+mn-lt"/>
                <a:cs typeface="+mn-cs"/>
              </a:defRPr>
            </a:lvl3pPr>
            <a:lvl4pPr marL="1371600" indent="0" algn="ctr" rtl="0" eaLnBrk="0" fontAlgn="base" hangingPunct="0">
              <a:spcBef>
                <a:spcPct val="20000"/>
              </a:spcBef>
              <a:spcAft>
                <a:spcPct val="0"/>
              </a:spcAft>
              <a:buNone/>
              <a:defRPr sz="2000">
                <a:solidFill>
                  <a:schemeClr val="tx1"/>
                </a:solidFill>
                <a:latin typeface="+mn-lt"/>
                <a:cs typeface="+mn-cs"/>
              </a:defRPr>
            </a:lvl4pPr>
            <a:lvl5pPr marL="1828800" indent="0" algn="ctr" rtl="0" eaLnBrk="0" fontAlgn="base" hangingPunct="0">
              <a:spcBef>
                <a:spcPct val="20000"/>
              </a:spcBef>
              <a:spcAft>
                <a:spcPct val="0"/>
              </a:spcAft>
              <a:buNone/>
              <a:defRPr sz="2000">
                <a:solidFill>
                  <a:schemeClr val="tx1"/>
                </a:solidFill>
                <a:latin typeface="+mn-lt"/>
                <a:cs typeface="+mn-cs"/>
              </a:defRPr>
            </a:lvl5pPr>
            <a:lvl6pPr marL="2286000" indent="0" algn="ctr" rtl="0" fontAlgn="base">
              <a:spcBef>
                <a:spcPct val="20000"/>
              </a:spcBef>
              <a:spcAft>
                <a:spcPct val="0"/>
              </a:spcAft>
              <a:buNone/>
              <a:defRPr sz="2000">
                <a:solidFill>
                  <a:schemeClr val="tx1"/>
                </a:solidFill>
                <a:latin typeface="+mn-lt"/>
                <a:cs typeface="+mn-cs"/>
              </a:defRPr>
            </a:lvl6pPr>
            <a:lvl7pPr marL="2743200" indent="0" algn="ctr" rtl="0" fontAlgn="base">
              <a:spcBef>
                <a:spcPct val="20000"/>
              </a:spcBef>
              <a:spcAft>
                <a:spcPct val="0"/>
              </a:spcAft>
              <a:buNone/>
              <a:defRPr sz="2000">
                <a:solidFill>
                  <a:schemeClr val="tx1"/>
                </a:solidFill>
                <a:latin typeface="+mn-lt"/>
                <a:cs typeface="+mn-cs"/>
              </a:defRPr>
            </a:lvl7pPr>
            <a:lvl8pPr marL="3200400" indent="0" algn="ctr" rtl="0" fontAlgn="base">
              <a:spcBef>
                <a:spcPct val="20000"/>
              </a:spcBef>
              <a:spcAft>
                <a:spcPct val="0"/>
              </a:spcAft>
              <a:buNone/>
              <a:defRPr sz="2000">
                <a:solidFill>
                  <a:schemeClr val="tx1"/>
                </a:solidFill>
                <a:latin typeface="+mn-lt"/>
                <a:cs typeface="+mn-cs"/>
              </a:defRPr>
            </a:lvl8pPr>
            <a:lvl9pPr marL="3657600" indent="0" algn="ctr" rtl="0" fontAlgn="base">
              <a:spcBef>
                <a:spcPct val="20000"/>
              </a:spcBef>
              <a:spcAft>
                <a:spcPct val="0"/>
              </a:spcAft>
              <a:buNone/>
              <a:defRPr sz="2000">
                <a:solidFill>
                  <a:schemeClr val="tx1"/>
                </a:solidFill>
                <a:latin typeface="+mn-lt"/>
                <a:cs typeface="+mn-cs"/>
              </a:defRPr>
            </a:lvl9pPr>
          </a:lstStyle>
          <a:p>
            <a:pPr algn="l"/>
            <a:r>
              <a:rPr lang="fr-FR" sz="800" b="1" kern="0" dirty="0"/>
              <a:t>27</a:t>
            </a:r>
          </a:p>
        </p:txBody>
      </p:sp>
      <p:sp>
        <p:nvSpPr>
          <p:cNvPr id="196" name="Sous-titre 4"/>
          <p:cNvSpPr txBox="1">
            <a:spLocks/>
          </p:cNvSpPr>
          <p:nvPr/>
        </p:nvSpPr>
        <p:spPr>
          <a:xfrm>
            <a:off x="3033161" y="6153763"/>
            <a:ext cx="384904" cy="196350"/>
          </a:xfrm>
          <a:prstGeom prst="rect">
            <a:avLst/>
          </a:prstGeom>
          <a:ln>
            <a:noFill/>
          </a:ln>
        </p:spPr>
        <p:txBody>
          <a:bodyPr/>
          <a:lstStyle>
            <a:lvl1pPr marL="0" indent="0" algn="ctr" rtl="0" eaLnBrk="0" fontAlgn="base" hangingPunct="0">
              <a:spcBef>
                <a:spcPct val="20000"/>
              </a:spcBef>
              <a:spcAft>
                <a:spcPct val="0"/>
              </a:spcAft>
              <a:buNone/>
              <a:defRPr sz="3200">
                <a:solidFill>
                  <a:schemeClr val="tx1"/>
                </a:solidFill>
                <a:latin typeface="+mn-lt"/>
                <a:ea typeface="+mn-ea"/>
                <a:cs typeface="+mn-cs"/>
              </a:defRPr>
            </a:lvl1pPr>
            <a:lvl2pPr marL="457200" indent="0" algn="ctr" rtl="0" eaLnBrk="0" fontAlgn="base" hangingPunct="0">
              <a:spcBef>
                <a:spcPct val="20000"/>
              </a:spcBef>
              <a:spcAft>
                <a:spcPct val="0"/>
              </a:spcAft>
              <a:buNone/>
              <a:defRPr sz="2800">
                <a:solidFill>
                  <a:schemeClr val="tx1"/>
                </a:solidFill>
                <a:latin typeface="+mn-lt"/>
                <a:cs typeface="+mn-cs"/>
              </a:defRPr>
            </a:lvl2pPr>
            <a:lvl3pPr marL="914400" indent="0" algn="ctr" rtl="0" eaLnBrk="0" fontAlgn="base" hangingPunct="0">
              <a:spcBef>
                <a:spcPct val="20000"/>
              </a:spcBef>
              <a:spcAft>
                <a:spcPct val="0"/>
              </a:spcAft>
              <a:buNone/>
              <a:defRPr sz="2400">
                <a:solidFill>
                  <a:schemeClr val="tx1"/>
                </a:solidFill>
                <a:latin typeface="+mn-lt"/>
                <a:cs typeface="+mn-cs"/>
              </a:defRPr>
            </a:lvl3pPr>
            <a:lvl4pPr marL="1371600" indent="0" algn="ctr" rtl="0" eaLnBrk="0" fontAlgn="base" hangingPunct="0">
              <a:spcBef>
                <a:spcPct val="20000"/>
              </a:spcBef>
              <a:spcAft>
                <a:spcPct val="0"/>
              </a:spcAft>
              <a:buNone/>
              <a:defRPr sz="2000">
                <a:solidFill>
                  <a:schemeClr val="tx1"/>
                </a:solidFill>
                <a:latin typeface="+mn-lt"/>
                <a:cs typeface="+mn-cs"/>
              </a:defRPr>
            </a:lvl4pPr>
            <a:lvl5pPr marL="1828800" indent="0" algn="ctr" rtl="0" eaLnBrk="0" fontAlgn="base" hangingPunct="0">
              <a:spcBef>
                <a:spcPct val="20000"/>
              </a:spcBef>
              <a:spcAft>
                <a:spcPct val="0"/>
              </a:spcAft>
              <a:buNone/>
              <a:defRPr sz="2000">
                <a:solidFill>
                  <a:schemeClr val="tx1"/>
                </a:solidFill>
                <a:latin typeface="+mn-lt"/>
                <a:cs typeface="+mn-cs"/>
              </a:defRPr>
            </a:lvl5pPr>
            <a:lvl6pPr marL="2286000" indent="0" algn="ctr" rtl="0" fontAlgn="base">
              <a:spcBef>
                <a:spcPct val="20000"/>
              </a:spcBef>
              <a:spcAft>
                <a:spcPct val="0"/>
              </a:spcAft>
              <a:buNone/>
              <a:defRPr sz="2000">
                <a:solidFill>
                  <a:schemeClr val="tx1"/>
                </a:solidFill>
                <a:latin typeface="+mn-lt"/>
                <a:cs typeface="+mn-cs"/>
              </a:defRPr>
            </a:lvl6pPr>
            <a:lvl7pPr marL="2743200" indent="0" algn="ctr" rtl="0" fontAlgn="base">
              <a:spcBef>
                <a:spcPct val="20000"/>
              </a:spcBef>
              <a:spcAft>
                <a:spcPct val="0"/>
              </a:spcAft>
              <a:buNone/>
              <a:defRPr sz="2000">
                <a:solidFill>
                  <a:schemeClr val="tx1"/>
                </a:solidFill>
                <a:latin typeface="+mn-lt"/>
                <a:cs typeface="+mn-cs"/>
              </a:defRPr>
            </a:lvl7pPr>
            <a:lvl8pPr marL="3200400" indent="0" algn="ctr" rtl="0" fontAlgn="base">
              <a:spcBef>
                <a:spcPct val="20000"/>
              </a:spcBef>
              <a:spcAft>
                <a:spcPct val="0"/>
              </a:spcAft>
              <a:buNone/>
              <a:defRPr sz="2000">
                <a:solidFill>
                  <a:schemeClr val="tx1"/>
                </a:solidFill>
                <a:latin typeface="+mn-lt"/>
                <a:cs typeface="+mn-cs"/>
              </a:defRPr>
            </a:lvl8pPr>
            <a:lvl9pPr marL="3657600" indent="0" algn="ctr" rtl="0" fontAlgn="base">
              <a:spcBef>
                <a:spcPct val="20000"/>
              </a:spcBef>
              <a:spcAft>
                <a:spcPct val="0"/>
              </a:spcAft>
              <a:buNone/>
              <a:defRPr sz="2000">
                <a:solidFill>
                  <a:schemeClr val="tx1"/>
                </a:solidFill>
                <a:latin typeface="+mn-lt"/>
                <a:cs typeface="+mn-cs"/>
              </a:defRPr>
            </a:lvl9pPr>
          </a:lstStyle>
          <a:p>
            <a:pPr algn="l"/>
            <a:r>
              <a:rPr lang="fr-FR" sz="800" b="1" kern="0" dirty="0"/>
              <a:t>27</a:t>
            </a:r>
          </a:p>
        </p:txBody>
      </p:sp>
      <p:sp>
        <p:nvSpPr>
          <p:cNvPr id="202" name="Ellipse 201">
            <a:extLst>
              <a:ext uri="{FF2B5EF4-FFF2-40B4-BE49-F238E27FC236}">
                <a16:creationId xmlns:a16="http://schemas.microsoft.com/office/drawing/2014/main" id="{1F7E817C-1D62-42EA-8DB0-6F8736F35174}"/>
              </a:ext>
            </a:extLst>
          </p:cNvPr>
          <p:cNvSpPr/>
          <p:nvPr/>
        </p:nvSpPr>
        <p:spPr>
          <a:xfrm>
            <a:off x="4918751" y="2762276"/>
            <a:ext cx="216024" cy="216024"/>
          </a:xfrm>
          <a:prstGeom prst="ellipse">
            <a:avLst/>
          </a:prstGeom>
          <a:solidFill>
            <a:srgbClr val="00DE6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03" name="Sous-titre 4">
            <a:extLst>
              <a:ext uri="{FF2B5EF4-FFF2-40B4-BE49-F238E27FC236}">
                <a16:creationId xmlns:a16="http://schemas.microsoft.com/office/drawing/2014/main" id="{E0BC88F4-0A86-413E-A168-2FFBCF940457}"/>
              </a:ext>
            </a:extLst>
          </p:cNvPr>
          <p:cNvSpPr txBox="1">
            <a:spLocks/>
          </p:cNvSpPr>
          <p:nvPr/>
        </p:nvSpPr>
        <p:spPr>
          <a:xfrm>
            <a:off x="4889615" y="2776062"/>
            <a:ext cx="360909" cy="164066"/>
          </a:xfrm>
          <a:prstGeom prst="rect">
            <a:avLst/>
          </a:prstGeom>
          <a:ln>
            <a:noFill/>
          </a:ln>
        </p:spPr>
        <p:txBody>
          <a:bodyPr/>
          <a:lstStyle>
            <a:lvl1pPr marL="0" indent="0" algn="ctr" rtl="0" eaLnBrk="0" fontAlgn="base" hangingPunct="0">
              <a:spcBef>
                <a:spcPct val="20000"/>
              </a:spcBef>
              <a:spcAft>
                <a:spcPct val="0"/>
              </a:spcAft>
              <a:buNone/>
              <a:defRPr sz="3200">
                <a:solidFill>
                  <a:schemeClr val="tx1"/>
                </a:solidFill>
                <a:latin typeface="+mn-lt"/>
                <a:ea typeface="+mn-ea"/>
                <a:cs typeface="+mn-cs"/>
              </a:defRPr>
            </a:lvl1pPr>
            <a:lvl2pPr marL="457200" indent="0" algn="ctr" rtl="0" eaLnBrk="0" fontAlgn="base" hangingPunct="0">
              <a:spcBef>
                <a:spcPct val="20000"/>
              </a:spcBef>
              <a:spcAft>
                <a:spcPct val="0"/>
              </a:spcAft>
              <a:buNone/>
              <a:defRPr sz="2800">
                <a:solidFill>
                  <a:schemeClr val="tx1"/>
                </a:solidFill>
                <a:latin typeface="+mn-lt"/>
                <a:cs typeface="+mn-cs"/>
              </a:defRPr>
            </a:lvl2pPr>
            <a:lvl3pPr marL="914400" indent="0" algn="ctr" rtl="0" eaLnBrk="0" fontAlgn="base" hangingPunct="0">
              <a:spcBef>
                <a:spcPct val="20000"/>
              </a:spcBef>
              <a:spcAft>
                <a:spcPct val="0"/>
              </a:spcAft>
              <a:buNone/>
              <a:defRPr sz="2400">
                <a:solidFill>
                  <a:schemeClr val="tx1"/>
                </a:solidFill>
                <a:latin typeface="+mn-lt"/>
                <a:cs typeface="+mn-cs"/>
              </a:defRPr>
            </a:lvl3pPr>
            <a:lvl4pPr marL="1371600" indent="0" algn="ctr" rtl="0" eaLnBrk="0" fontAlgn="base" hangingPunct="0">
              <a:spcBef>
                <a:spcPct val="20000"/>
              </a:spcBef>
              <a:spcAft>
                <a:spcPct val="0"/>
              </a:spcAft>
              <a:buNone/>
              <a:defRPr sz="2000">
                <a:solidFill>
                  <a:schemeClr val="tx1"/>
                </a:solidFill>
                <a:latin typeface="+mn-lt"/>
                <a:cs typeface="+mn-cs"/>
              </a:defRPr>
            </a:lvl4pPr>
            <a:lvl5pPr marL="1828800" indent="0" algn="ctr" rtl="0" eaLnBrk="0" fontAlgn="base" hangingPunct="0">
              <a:spcBef>
                <a:spcPct val="20000"/>
              </a:spcBef>
              <a:spcAft>
                <a:spcPct val="0"/>
              </a:spcAft>
              <a:buNone/>
              <a:defRPr sz="2000">
                <a:solidFill>
                  <a:schemeClr val="tx1"/>
                </a:solidFill>
                <a:latin typeface="+mn-lt"/>
                <a:cs typeface="+mn-cs"/>
              </a:defRPr>
            </a:lvl5pPr>
            <a:lvl6pPr marL="2286000" indent="0" algn="ctr" rtl="0" fontAlgn="base">
              <a:spcBef>
                <a:spcPct val="20000"/>
              </a:spcBef>
              <a:spcAft>
                <a:spcPct val="0"/>
              </a:spcAft>
              <a:buNone/>
              <a:defRPr sz="2000">
                <a:solidFill>
                  <a:schemeClr val="tx1"/>
                </a:solidFill>
                <a:latin typeface="+mn-lt"/>
                <a:cs typeface="+mn-cs"/>
              </a:defRPr>
            </a:lvl6pPr>
            <a:lvl7pPr marL="2743200" indent="0" algn="ctr" rtl="0" fontAlgn="base">
              <a:spcBef>
                <a:spcPct val="20000"/>
              </a:spcBef>
              <a:spcAft>
                <a:spcPct val="0"/>
              </a:spcAft>
              <a:buNone/>
              <a:defRPr sz="2000">
                <a:solidFill>
                  <a:schemeClr val="tx1"/>
                </a:solidFill>
                <a:latin typeface="+mn-lt"/>
                <a:cs typeface="+mn-cs"/>
              </a:defRPr>
            </a:lvl7pPr>
            <a:lvl8pPr marL="3200400" indent="0" algn="ctr" rtl="0" fontAlgn="base">
              <a:spcBef>
                <a:spcPct val="20000"/>
              </a:spcBef>
              <a:spcAft>
                <a:spcPct val="0"/>
              </a:spcAft>
              <a:buNone/>
              <a:defRPr sz="2000">
                <a:solidFill>
                  <a:schemeClr val="tx1"/>
                </a:solidFill>
                <a:latin typeface="+mn-lt"/>
                <a:cs typeface="+mn-cs"/>
              </a:defRPr>
            </a:lvl8pPr>
            <a:lvl9pPr marL="3657600" indent="0" algn="ctr" rtl="0" fontAlgn="base">
              <a:spcBef>
                <a:spcPct val="20000"/>
              </a:spcBef>
              <a:spcAft>
                <a:spcPct val="0"/>
              </a:spcAft>
              <a:buNone/>
              <a:defRPr sz="2000">
                <a:solidFill>
                  <a:schemeClr val="tx1"/>
                </a:solidFill>
                <a:latin typeface="+mn-lt"/>
                <a:cs typeface="+mn-cs"/>
              </a:defRPr>
            </a:lvl9pPr>
          </a:lstStyle>
          <a:p>
            <a:pPr algn="l"/>
            <a:r>
              <a:rPr lang="fr-FR" sz="800" b="1" kern="0" dirty="0"/>
              <a:t>29</a:t>
            </a:r>
          </a:p>
        </p:txBody>
      </p:sp>
      <p:sp>
        <p:nvSpPr>
          <p:cNvPr id="204" name="Ellipse 203">
            <a:extLst>
              <a:ext uri="{FF2B5EF4-FFF2-40B4-BE49-F238E27FC236}">
                <a16:creationId xmlns:a16="http://schemas.microsoft.com/office/drawing/2014/main" id="{C344CBC9-9601-4918-AA8C-A5E083849637}"/>
              </a:ext>
            </a:extLst>
          </p:cNvPr>
          <p:cNvSpPr/>
          <p:nvPr/>
        </p:nvSpPr>
        <p:spPr>
          <a:xfrm>
            <a:off x="4286958" y="3765341"/>
            <a:ext cx="216024" cy="216024"/>
          </a:xfrm>
          <a:prstGeom prst="ellipse">
            <a:avLst/>
          </a:prstGeom>
          <a:solidFill>
            <a:srgbClr val="FF99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05" name="Sous-titre 4">
            <a:extLst>
              <a:ext uri="{FF2B5EF4-FFF2-40B4-BE49-F238E27FC236}">
                <a16:creationId xmlns:a16="http://schemas.microsoft.com/office/drawing/2014/main" id="{6E14AFF7-407E-4B21-99AC-582CEDA336AB}"/>
              </a:ext>
            </a:extLst>
          </p:cNvPr>
          <p:cNvSpPr txBox="1">
            <a:spLocks/>
          </p:cNvSpPr>
          <p:nvPr/>
        </p:nvSpPr>
        <p:spPr>
          <a:xfrm>
            <a:off x="4247201" y="3782399"/>
            <a:ext cx="326238" cy="230268"/>
          </a:xfrm>
          <a:prstGeom prst="rect">
            <a:avLst/>
          </a:prstGeom>
          <a:ln>
            <a:noFill/>
          </a:ln>
        </p:spPr>
        <p:txBody>
          <a:bodyPr/>
          <a:lstStyle>
            <a:lvl1pPr marL="0" indent="0" algn="ctr" rtl="0" eaLnBrk="0" fontAlgn="base" hangingPunct="0">
              <a:spcBef>
                <a:spcPct val="20000"/>
              </a:spcBef>
              <a:spcAft>
                <a:spcPct val="0"/>
              </a:spcAft>
              <a:buNone/>
              <a:defRPr sz="3200">
                <a:solidFill>
                  <a:schemeClr val="tx1"/>
                </a:solidFill>
                <a:latin typeface="+mn-lt"/>
                <a:ea typeface="+mn-ea"/>
                <a:cs typeface="+mn-cs"/>
              </a:defRPr>
            </a:lvl1pPr>
            <a:lvl2pPr marL="457200" indent="0" algn="ctr" rtl="0" eaLnBrk="0" fontAlgn="base" hangingPunct="0">
              <a:spcBef>
                <a:spcPct val="20000"/>
              </a:spcBef>
              <a:spcAft>
                <a:spcPct val="0"/>
              </a:spcAft>
              <a:buNone/>
              <a:defRPr sz="2800">
                <a:solidFill>
                  <a:schemeClr val="tx1"/>
                </a:solidFill>
                <a:latin typeface="+mn-lt"/>
                <a:cs typeface="+mn-cs"/>
              </a:defRPr>
            </a:lvl2pPr>
            <a:lvl3pPr marL="914400" indent="0" algn="ctr" rtl="0" eaLnBrk="0" fontAlgn="base" hangingPunct="0">
              <a:spcBef>
                <a:spcPct val="20000"/>
              </a:spcBef>
              <a:spcAft>
                <a:spcPct val="0"/>
              </a:spcAft>
              <a:buNone/>
              <a:defRPr sz="2400">
                <a:solidFill>
                  <a:schemeClr val="tx1"/>
                </a:solidFill>
                <a:latin typeface="+mn-lt"/>
                <a:cs typeface="+mn-cs"/>
              </a:defRPr>
            </a:lvl3pPr>
            <a:lvl4pPr marL="1371600" indent="0" algn="ctr" rtl="0" eaLnBrk="0" fontAlgn="base" hangingPunct="0">
              <a:spcBef>
                <a:spcPct val="20000"/>
              </a:spcBef>
              <a:spcAft>
                <a:spcPct val="0"/>
              </a:spcAft>
              <a:buNone/>
              <a:defRPr sz="2000">
                <a:solidFill>
                  <a:schemeClr val="tx1"/>
                </a:solidFill>
                <a:latin typeface="+mn-lt"/>
                <a:cs typeface="+mn-cs"/>
              </a:defRPr>
            </a:lvl4pPr>
            <a:lvl5pPr marL="1828800" indent="0" algn="ctr" rtl="0" eaLnBrk="0" fontAlgn="base" hangingPunct="0">
              <a:spcBef>
                <a:spcPct val="20000"/>
              </a:spcBef>
              <a:spcAft>
                <a:spcPct val="0"/>
              </a:spcAft>
              <a:buNone/>
              <a:defRPr sz="2000">
                <a:solidFill>
                  <a:schemeClr val="tx1"/>
                </a:solidFill>
                <a:latin typeface="+mn-lt"/>
                <a:cs typeface="+mn-cs"/>
              </a:defRPr>
            </a:lvl5pPr>
            <a:lvl6pPr marL="2286000" indent="0" algn="ctr" rtl="0" fontAlgn="base">
              <a:spcBef>
                <a:spcPct val="20000"/>
              </a:spcBef>
              <a:spcAft>
                <a:spcPct val="0"/>
              </a:spcAft>
              <a:buNone/>
              <a:defRPr sz="2000">
                <a:solidFill>
                  <a:schemeClr val="tx1"/>
                </a:solidFill>
                <a:latin typeface="+mn-lt"/>
                <a:cs typeface="+mn-cs"/>
              </a:defRPr>
            </a:lvl6pPr>
            <a:lvl7pPr marL="2743200" indent="0" algn="ctr" rtl="0" fontAlgn="base">
              <a:spcBef>
                <a:spcPct val="20000"/>
              </a:spcBef>
              <a:spcAft>
                <a:spcPct val="0"/>
              </a:spcAft>
              <a:buNone/>
              <a:defRPr sz="2000">
                <a:solidFill>
                  <a:schemeClr val="tx1"/>
                </a:solidFill>
                <a:latin typeface="+mn-lt"/>
                <a:cs typeface="+mn-cs"/>
              </a:defRPr>
            </a:lvl7pPr>
            <a:lvl8pPr marL="3200400" indent="0" algn="ctr" rtl="0" fontAlgn="base">
              <a:spcBef>
                <a:spcPct val="20000"/>
              </a:spcBef>
              <a:spcAft>
                <a:spcPct val="0"/>
              </a:spcAft>
              <a:buNone/>
              <a:defRPr sz="2000">
                <a:solidFill>
                  <a:schemeClr val="tx1"/>
                </a:solidFill>
                <a:latin typeface="+mn-lt"/>
                <a:cs typeface="+mn-cs"/>
              </a:defRPr>
            </a:lvl8pPr>
            <a:lvl9pPr marL="3657600" indent="0" algn="ctr" rtl="0" fontAlgn="base">
              <a:spcBef>
                <a:spcPct val="20000"/>
              </a:spcBef>
              <a:spcAft>
                <a:spcPct val="0"/>
              </a:spcAft>
              <a:buNone/>
              <a:defRPr sz="2000">
                <a:solidFill>
                  <a:schemeClr val="tx1"/>
                </a:solidFill>
                <a:latin typeface="+mn-lt"/>
                <a:cs typeface="+mn-cs"/>
              </a:defRPr>
            </a:lvl9pPr>
          </a:lstStyle>
          <a:p>
            <a:pPr algn="l"/>
            <a:r>
              <a:rPr lang="fr-FR" sz="800" b="1" kern="0" dirty="0"/>
              <a:t>28</a:t>
            </a:r>
          </a:p>
        </p:txBody>
      </p:sp>
      <p:sp>
        <p:nvSpPr>
          <p:cNvPr id="197" name="Ellipse 196">
            <a:extLst>
              <a:ext uri="{FF2B5EF4-FFF2-40B4-BE49-F238E27FC236}">
                <a16:creationId xmlns:a16="http://schemas.microsoft.com/office/drawing/2014/main" id="{EA8AE55A-F19A-4CAB-BB53-427F6CDCE2FD}"/>
              </a:ext>
            </a:extLst>
          </p:cNvPr>
          <p:cNvSpPr/>
          <p:nvPr/>
        </p:nvSpPr>
        <p:spPr>
          <a:xfrm>
            <a:off x="4840382" y="825910"/>
            <a:ext cx="216024" cy="216024"/>
          </a:xfrm>
          <a:prstGeom prst="ellipse">
            <a:avLst/>
          </a:pr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8" name="Ellipse 197">
            <a:extLst>
              <a:ext uri="{FF2B5EF4-FFF2-40B4-BE49-F238E27FC236}">
                <a16:creationId xmlns:a16="http://schemas.microsoft.com/office/drawing/2014/main" id="{721CA260-A9FE-4202-AA74-D872B334AE70}"/>
              </a:ext>
            </a:extLst>
          </p:cNvPr>
          <p:cNvSpPr/>
          <p:nvPr/>
        </p:nvSpPr>
        <p:spPr>
          <a:xfrm>
            <a:off x="4848082" y="1092044"/>
            <a:ext cx="216024" cy="216024"/>
          </a:xfrm>
          <a:prstGeom prst="ellipse">
            <a:avLst/>
          </a:prstGeom>
          <a:solidFill>
            <a:srgbClr val="00DE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9" name="Sous-titre 4">
            <a:extLst>
              <a:ext uri="{FF2B5EF4-FFF2-40B4-BE49-F238E27FC236}">
                <a16:creationId xmlns:a16="http://schemas.microsoft.com/office/drawing/2014/main" id="{9F978056-FB43-4C52-82F7-E12930E33565}"/>
              </a:ext>
            </a:extLst>
          </p:cNvPr>
          <p:cNvSpPr txBox="1">
            <a:spLocks/>
          </p:cNvSpPr>
          <p:nvPr/>
        </p:nvSpPr>
        <p:spPr>
          <a:xfrm>
            <a:off x="5084612" y="809912"/>
            <a:ext cx="2567357" cy="261438"/>
          </a:xfrm>
          <a:prstGeom prst="rect">
            <a:avLst/>
          </a:prstGeom>
          <a:solidFill>
            <a:schemeClr val="bg1"/>
          </a:solidFill>
        </p:spPr>
        <p:txBody>
          <a:bodyPr/>
          <a:lstStyle>
            <a:lvl1pPr marL="0" indent="0" algn="ctr" rtl="0" eaLnBrk="0" fontAlgn="base" hangingPunct="0">
              <a:spcBef>
                <a:spcPct val="20000"/>
              </a:spcBef>
              <a:spcAft>
                <a:spcPct val="0"/>
              </a:spcAft>
              <a:buNone/>
              <a:defRPr sz="3200">
                <a:solidFill>
                  <a:schemeClr val="tx1"/>
                </a:solidFill>
                <a:latin typeface="+mn-lt"/>
                <a:ea typeface="+mn-ea"/>
                <a:cs typeface="+mn-cs"/>
              </a:defRPr>
            </a:lvl1pPr>
            <a:lvl2pPr marL="457200" indent="0" algn="ctr" rtl="0" eaLnBrk="0" fontAlgn="base" hangingPunct="0">
              <a:spcBef>
                <a:spcPct val="20000"/>
              </a:spcBef>
              <a:spcAft>
                <a:spcPct val="0"/>
              </a:spcAft>
              <a:buNone/>
              <a:defRPr sz="2800">
                <a:solidFill>
                  <a:schemeClr val="tx1"/>
                </a:solidFill>
                <a:latin typeface="+mn-lt"/>
                <a:cs typeface="+mn-cs"/>
              </a:defRPr>
            </a:lvl2pPr>
            <a:lvl3pPr marL="914400" indent="0" algn="ctr" rtl="0" eaLnBrk="0" fontAlgn="base" hangingPunct="0">
              <a:spcBef>
                <a:spcPct val="20000"/>
              </a:spcBef>
              <a:spcAft>
                <a:spcPct val="0"/>
              </a:spcAft>
              <a:buNone/>
              <a:defRPr sz="2400">
                <a:solidFill>
                  <a:schemeClr val="tx1"/>
                </a:solidFill>
                <a:latin typeface="+mn-lt"/>
                <a:cs typeface="+mn-cs"/>
              </a:defRPr>
            </a:lvl3pPr>
            <a:lvl4pPr marL="1371600" indent="0" algn="ctr" rtl="0" eaLnBrk="0" fontAlgn="base" hangingPunct="0">
              <a:spcBef>
                <a:spcPct val="20000"/>
              </a:spcBef>
              <a:spcAft>
                <a:spcPct val="0"/>
              </a:spcAft>
              <a:buNone/>
              <a:defRPr sz="2000">
                <a:solidFill>
                  <a:schemeClr val="tx1"/>
                </a:solidFill>
                <a:latin typeface="+mn-lt"/>
                <a:cs typeface="+mn-cs"/>
              </a:defRPr>
            </a:lvl4pPr>
            <a:lvl5pPr marL="1828800" indent="0" algn="ctr" rtl="0" eaLnBrk="0" fontAlgn="base" hangingPunct="0">
              <a:spcBef>
                <a:spcPct val="20000"/>
              </a:spcBef>
              <a:spcAft>
                <a:spcPct val="0"/>
              </a:spcAft>
              <a:buNone/>
              <a:defRPr sz="2000">
                <a:solidFill>
                  <a:schemeClr val="tx1"/>
                </a:solidFill>
                <a:latin typeface="+mn-lt"/>
                <a:cs typeface="+mn-cs"/>
              </a:defRPr>
            </a:lvl5pPr>
            <a:lvl6pPr marL="2286000" indent="0" algn="ctr" rtl="0" fontAlgn="base">
              <a:spcBef>
                <a:spcPct val="20000"/>
              </a:spcBef>
              <a:spcAft>
                <a:spcPct val="0"/>
              </a:spcAft>
              <a:buNone/>
              <a:defRPr sz="2000">
                <a:solidFill>
                  <a:schemeClr val="tx1"/>
                </a:solidFill>
                <a:latin typeface="+mn-lt"/>
                <a:cs typeface="+mn-cs"/>
              </a:defRPr>
            </a:lvl6pPr>
            <a:lvl7pPr marL="2743200" indent="0" algn="ctr" rtl="0" fontAlgn="base">
              <a:spcBef>
                <a:spcPct val="20000"/>
              </a:spcBef>
              <a:spcAft>
                <a:spcPct val="0"/>
              </a:spcAft>
              <a:buNone/>
              <a:defRPr sz="2000">
                <a:solidFill>
                  <a:schemeClr val="tx1"/>
                </a:solidFill>
                <a:latin typeface="+mn-lt"/>
                <a:cs typeface="+mn-cs"/>
              </a:defRPr>
            </a:lvl7pPr>
            <a:lvl8pPr marL="3200400" indent="0" algn="ctr" rtl="0" fontAlgn="base">
              <a:spcBef>
                <a:spcPct val="20000"/>
              </a:spcBef>
              <a:spcAft>
                <a:spcPct val="0"/>
              </a:spcAft>
              <a:buNone/>
              <a:defRPr sz="2000">
                <a:solidFill>
                  <a:schemeClr val="tx1"/>
                </a:solidFill>
                <a:latin typeface="+mn-lt"/>
                <a:cs typeface="+mn-cs"/>
              </a:defRPr>
            </a:lvl8pPr>
            <a:lvl9pPr marL="3657600" indent="0" algn="ctr" rtl="0" fontAlgn="base">
              <a:spcBef>
                <a:spcPct val="20000"/>
              </a:spcBef>
              <a:spcAft>
                <a:spcPct val="0"/>
              </a:spcAft>
              <a:buNone/>
              <a:defRPr sz="2000">
                <a:solidFill>
                  <a:schemeClr val="tx1"/>
                </a:solidFill>
                <a:latin typeface="+mn-lt"/>
                <a:cs typeface="+mn-cs"/>
              </a:defRPr>
            </a:lvl9pPr>
          </a:lstStyle>
          <a:p>
            <a:pPr algn="l"/>
            <a:r>
              <a:rPr lang="fr-FR" sz="1000" b="1" kern="0" dirty="0"/>
              <a:t>Grande opération industrielle privée</a:t>
            </a:r>
            <a:endParaRPr lang="fr-FR" sz="1000" b="1" i="1" kern="0" dirty="0"/>
          </a:p>
        </p:txBody>
      </p:sp>
      <p:sp>
        <p:nvSpPr>
          <p:cNvPr id="200" name="Sous-titre 4">
            <a:extLst>
              <a:ext uri="{FF2B5EF4-FFF2-40B4-BE49-F238E27FC236}">
                <a16:creationId xmlns:a16="http://schemas.microsoft.com/office/drawing/2014/main" id="{1A9079BE-283A-4F6F-B642-B75DC8E4C31E}"/>
              </a:ext>
            </a:extLst>
          </p:cNvPr>
          <p:cNvSpPr txBox="1">
            <a:spLocks/>
          </p:cNvSpPr>
          <p:nvPr/>
        </p:nvSpPr>
        <p:spPr>
          <a:xfrm>
            <a:off x="5096021" y="1080849"/>
            <a:ext cx="2530250" cy="296363"/>
          </a:xfrm>
          <a:prstGeom prst="rect">
            <a:avLst/>
          </a:prstGeom>
          <a:solidFill>
            <a:schemeClr val="bg1"/>
          </a:solidFill>
        </p:spPr>
        <p:txBody>
          <a:bodyPr/>
          <a:lstStyle>
            <a:lvl1pPr marL="0" indent="0" algn="ctr" rtl="0" eaLnBrk="0" fontAlgn="base" hangingPunct="0">
              <a:spcBef>
                <a:spcPct val="20000"/>
              </a:spcBef>
              <a:spcAft>
                <a:spcPct val="0"/>
              </a:spcAft>
              <a:buNone/>
              <a:defRPr sz="3200">
                <a:solidFill>
                  <a:schemeClr val="tx1"/>
                </a:solidFill>
                <a:latin typeface="+mn-lt"/>
                <a:ea typeface="+mn-ea"/>
                <a:cs typeface="+mn-cs"/>
              </a:defRPr>
            </a:lvl1pPr>
            <a:lvl2pPr marL="457200" indent="0" algn="ctr" rtl="0" eaLnBrk="0" fontAlgn="base" hangingPunct="0">
              <a:spcBef>
                <a:spcPct val="20000"/>
              </a:spcBef>
              <a:spcAft>
                <a:spcPct val="0"/>
              </a:spcAft>
              <a:buNone/>
              <a:defRPr sz="2800">
                <a:solidFill>
                  <a:schemeClr val="tx1"/>
                </a:solidFill>
                <a:latin typeface="+mn-lt"/>
                <a:cs typeface="+mn-cs"/>
              </a:defRPr>
            </a:lvl2pPr>
            <a:lvl3pPr marL="914400" indent="0" algn="ctr" rtl="0" eaLnBrk="0" fontAlgn="base" hangingPunct="0">
              <a:spcBef>
                <a:spcPct val="20000"/>
              </a:spcBef>
              <a:spcAft>
                <a:spcPct val="0"/>
              </a:spcAft>
              <a:buNone/>
              <a:defRPr sz="2400">
                <a:solidFill>
                  <a:schemeClr val="tx1"/>
                </a:solidFill>
                <a:latin typeface="+mn-lt"/>
                <a:cs typeface="+mn-cs"/>
              </a:defRPr>
            </a:lvl3pPr>
            <a:lvl4pPr marL="1371600" indent="0" algn="ctr" rtl="0" eaLnBrk="0" fontAlgn="base" hangingPunct="0">
              <a:spcBef>
                <a:spcPct val="20000"/>
              </a:spcBef>
              <a:spcAft>
                <a:spcPct val="0"/>
              </a:spcAft>
              <a:buNone/>
              <a:defRPr sz="2000">
                <a:solidFill>
                  <a:schemeClr val="tx1"/>
                </a:solidFill>
                <a:latin typeface="+mn-lt"/>
                <a:cs typeface="+mn-cs"/>
              </a:defRPr>
            </a:lvl4pPr>
            <a:lvl5pPr marL="1828800" indent="0" algn="ctr" rtl="0" eaLnBrk="0" fontAlgn="base" hangingPunct="0">
              <a:spcBef>
                <a:spcPct val="20000"/>
              </a:spcBef>
              <a:spcAft>
                <a:spcPct val="0"/>
              </a:spcAft>
              <a:buNone/>
              <a:defRPr sz="2000">
                <a:solidFill>
                  <a:schemeClr val="tx1"/>
                </a:solidFill>
                <a:latin typeface="+mn-lt"/>
                <a:cs typeface="+mn-cs"/>
              </a:defRPr>
            </a:lvl5pPr>
            <a:lvl6pPr marL="2286000" indent="0" algn="ctr" rtl="0" fontAlgn="base">
              <a:spcBef>
                <a:spcPct val="20000"/>
              </a:spcBef>
              <a:spcAft>
                <a:spcPct val="0"/>
              </a:spcAft>
              <a:buNone/>
              <a:defRPr sz="2000">
                <a:solidFill>
                  <a:schemeClr val="tx1"/>
                </a:solidFill>
                <a:latin typeface="+mn-lt"/>
                <a:cs typeface="+mn-cs"/>
              </a:defRPr>
            </a:lvl6pPr>
            <a:lvl7pPr marL="2743200" indent="0" algn="ctr" rtl="0" fontAlgn="base">
              <a:spcBef>
                <a:spcPct val="20000"/>
              </a:spcBef>
              <a:spcAft>
                <a:spcPct val="0"/>
              </a:spcAft>
              <a:buNone/>
              <a:defRPr sz="2000">
                <a:solidFill>
                  <a:schemeClr val="tx1"/>
                </a:solidFill>
                <a:latin typeface="+mn-lt"/>
                <a:cs typeface="+mn-cs"/>
              </a:defRPr>
            </a:lvl7pPr>
            <a:lvl8pPr marL="3200400" indent="0" algn="ctr" rtl="0" fontAlgn="base">
              <a:spcBef>
                <a:spcPct val="20000"/>
              </a:spcBef>
              <a:spcAft>
                <a:spcPct val="0"/>
              </a:spcAft>
              <a:buNone/>
              <a:defRPr sz="2000">
                <a:solidFill>
                  <a:schemeClr val="tx1"/>
                </a:solidFill>
                <a:latin typeface="+mn-lt"/>
                <a:cs typeface="+mn-cs"/>
              </a:defRPr>
            </a:lvl8pPr>
            <a:lvl9pPr marL="3657600" indent="0" algn="ctr" rtl="0" fontAlgn="base">
              <a:spcBef>
                <a:spcPct val="20000"/>
              </a:spcBef>
              <a:spcAft>
                <a:spcPct val="0"/>
              </a:spcAft>
              <a:buNone/>
              <a:defRPr sz="2000">
                <a:solidFill>
                  <a:schemeClr val="tx1"/>
                </a:solidFill>
                <a:latin typeface="+mn-lt"/>
                <a:cs typeface="+mn-cs"/>
              </a:defRPr>
            </a:lvl9pPr>
          </a:lstStyle>
          <a:p>
            <a:pPr algn="l"/>
            <a:r>
              <a:rPr lang="fr-FR" sz="1000" b="1" kern="0" dirty="0"/>
              <a:t>Potentiel foncier pour opération MDL</a:t>
            </a:r>
            <a:endParaRPr lang="fr-FR" sz="1000" b="1" i="1" kern="0" dirty="0"/>
          </a:p>
        </p:txBody>
      </p:sp>
      <p:sp>
        <p:nvSpPr>
          <p:cNvPr id="201" name="Ellipse 200">
            <a:extLst>
              <a:ext uri="{FF2B5EF4-FFF2-40B4-BE49-F238E27FC236}">
                <a16:creationId xmlns:a16="http://schemas.microsoft.com/office/drawing/2014/main" id="{DFD25A73-2204-4794-82C4-5CAF89B43C54}"/>
              </a:ext>
            </a:extLst>
          </p:cNvPr>
          <p:cNvSpPr/>
          <p:nvPr/>
        </p:nvSpPr>
        <p:spPr>
          <a:xfrm>
            <a:off x="5135771" y="6386061"/>
            <a:ext cx="216024" cy="216024"/>
          </a:xfrm>
          <a:prstGeom prst="ellipse">
            <a:avLst/>
          </a:prstGeom>
          <a:solidFill>
            <a:srgbClr val="FF99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06" name="Sous-titre 4">
            <a:extLst>
              <a:ext uri="{FF2B5EF4-FFF2-40B4-BE49-F238E27FC236}">
                <a16:creationId xmlns:a16="http://schemas.microsoft.com/office/drawing/2014/main" id="{2F1A76CB-BA8C-4003-AF0E-F3FA31FA4FB8}"/>
              </a:ext>
            </a:extLst>
          </p:cNvPr>
          <p:cNvSpPr txBox="1">
            <a:spLocks/>
          </p:cNvSpPr>
          <p:nvPr/>
        </p:nvSpPr>
        <p:spPr>
          <a:xfrm>
            <a:off x="5103942" y="6398714"/>
            <a:ext cx="326238" cy="230268"/>
          </a:xfrm>
          <a:prstGeom prst="rect">
            <a:avLst/>
          </a:prstGeom>
          <a:ln>
            <a:noFill/>
          </a:ln>
        </p:spPr>
        <p:txBody>
          <a:bodyPr/>
          <a:lstStyle>
            <a:lvl1pPr marL="0" indent="0" algn="ctr" rtl="0" eaLnBrk="0" fontAlgn="base" hangingPunct="0">
              <a:spcBef>
                <a:spcPct val="20000"/>
              </a:spcBef>
              <a:spcAft>
                <a:spcPct val="0"/>
              </a:spcAft>
              <a:buNone/>
              <a:defRPr sz="3200">
                <a:solidFill>
                  <a:schemeClr val="tx1"/>
                </a:solidFill>
                <a:latin typeface="+mn-lt"/>
                <a:ea typeface="+mn-ea"/>
                <a:cs typeface="+mn-cs"/>
              </a:defRPr>
            </a:lvl1pPr>
            <a:lvl2pPr marL="457200" indent="0" algn="ctr" rtl="0" eaLnBrk="0" fontAlgn="base" hangingPunct="0">
              <a:spcBef>
                <a:spcPct val="20000"/>
              </a:spcBef>
              <a:spcAft>
                <a:spcPct val="0"/>
              </a:spcAft>
              <a:buNone/>
              <a:defRPr sz="2800">
                <a:solidFill>
                  <a:schemeClr val="tx1"/>
                </a:solidFill>
                <a:latin typeface="+mn-lt"/>
                <a:cs typeface="+mn-cs"/>
              </a:defRPr>
            </a:lvl2pPr>
            <a:lvl3pPr marL="914400" indent="0" algn="ctr" rtl="0" eaLnBrk="0" fontAlgn="base" hangingPunct="0">
              <a:spcBef>
                <a:spcPct val="20000"/>
              </a:spcBef>
              <a:spcAft>
                <a:spcPct val="0"/>
              </a:spcAft>
              <a:buNone/>
              <a:defRPr sz="2400">
                <a:solidFill>
                  <a:schemeClr val="tx1"/>
                </a:solidFill>
                <a:latin typeface="+mn-lt"/>
                <a:cs typeface="+mn-cs"/>
              </a:defRPr>
            </a:lvl3pPr>
            <a:lvl4pPr marL="1371600" indent="0" algn="ctr" rtl="0" eaLnBrk="0" fontAlgn="base" hangingPunct="0">
              <a:spcBef>
                <a:spcPct val="20000"/>
              </a:spcBef>
              <a:spcAft>
                <a:spcPct val="0"/>
              </a:spcAft>
              <a:buNone/>
              <a:defRPr sz="2000">
                <a:solidFill>
                  <a:schemeClr val="tx1"/>
                </a:solidFill>
                <a:latin typeface="+mn-lt"/>
                <a:cs typeface="+mn-cs"/>
              </a:defRPr>
            </a:lvl4pPr>
            <a:lvl5pPr marL="1828800" indent="0" algn="ctr" rtl="0" eaLnBrk="0" fontAlgn="base" hangingPunct="0">
              <a:spcBef>
                <a:spcPct val="20000"/>
              </a:spcBef>
              <a:spcAft>
                <a:spcPct val="0"/>
              </a:spcAft>
              <a:buNone/>
              <a:defRPr sz="2000">
                <a:solidFill>
                  <a:schemeClr val="tx1"/>
                </a:solidFill>
                <a:latin typeface="+mn-lt"/>
                <a:cs typeface="+mn-cs"/>
              </a:defRPr>
            </a:lvl5pPr>
            <a:lvl6pPr marL="2286000" indent="0" algn="ctr" rtl="0" fontAlgn="base">
              <a:spcBef>
                <a:spcPct val="20000"/>
              </a:spcBef>
              <a:spcAft>
                <a:spcPct val="0"/>
              </a:spcAft>
              <a:buNone/>
              <a:defRPr sz="2000">
                <a:solidFill>
                  <a:schemeClr val="tx1"/>
                </a:solidFill>
                <a:latin typeface="+mn-lt"/>
                <a:cs typeface="+mn-cs"/>
              </a:defRPr>
            </a:lvl6pPr>
            <a:lvl7pPr marL="2743200" indent="0" algn="ctr" rtl="0" fontAlgn="base">
              <a:spcBef>
                <a:spcPct val="20000"/>
              </a:spcBef>
              <a:spcAft>
                <a:spcPct val="0"/>
              </a:spcAft>
              <a:buNone/>
              <a:defRPr sz="2000">
                <a:solidFill>
                  <a:schemeClr val="tx1"/>
                </a:solidFill>
                <a:latin typeface="+mn-lt"/>
                <a:cs typeface="+mn-cs"/>
              </a:defRPr>
            </a:lvl7pPr>
            <a:lvl8pPr marL="3200400" indent="0" algn="ctr" rtl="0" fontAlgn="base">
              <a:spcBef>
                <a:spcPct val="20000"/>
              </a:spcBef>
              <a:spcAft>
                <a:spcPct val="0"/>
              </a:spcAft>
              <a:buNone/>
              <a:defRPr sz="2000">
                <a:solidFill>
                  <a:schemeClr val="tx1"/>
                </a:solidFill>
                <a:latin typeface="+mn-lt"/>
                <a:cs typeface="+mn-cs"/>
              </a:defRPr>
            </a:lvl8pPr>
            <a:lvl9pPr marL="3657600" indent="0" algn="ctr" rtl="0" fontAlgn="base">
              <a:spcBef>
                <a:spcPct val="20000"/>
              </a:spcBef>
              <a:spcAft>
                <a:spcPct val="0"/>
              </a:spcAft>
              <a:buNone/>
              <a:defRPr sz="2000">
                <a:solidFill>
                  <a:schemeClr val="tx1"/>
                </a:solidFill>
                <a:latin typeface="+mn-lt"/>
                <a:cs typeface="+mn-cs"/>
              </a:defRPr>
            </a:lvl9pPr>
          </a:lstStyle>
          <a:p>
            <a:pPr algn="l"/>
            <a:r>
              <a:rPr lang="fr-FR" sz="800" b="1" kern="0" dirty="0"/>
              <a:t>28</a:t>
            </a:r>
          </a:p>
        </p:txBody>
      </p:sp>
      <p:sp>
        <p:nvSpPr>
          <p:cNvPr id="208" name="Sous-titre 4">
            <a:extLst>
              <a:ext uri="{FF2B5EF4-FFF2-40B4-BE49-F238E27FC236}">
                <a16:creationId xmlns:a16="http://schemas.microsoft.com/office/drawing/2014/main" id="{877475C7-C1B7-4849-98A4-1D3ABE603549}"/>
              </a:ext>
            </a:extLst>
          </p:cNvPr>
          <p:cNvSpPr txBox="1">
            <a:spLocks/>
          </p:cNvSpPr>
          <p:nvPr/>
        </p:nvSpPr>
        <p:spPr>
          <a:xfrm>
            <a:off x="5111017" y="6647181"/>
            <a:ext cx="326238" cy="230268"/>
          </a:xfrm>
          <a:prstGeom prst="rect">
            <a:avLst/>
          </a:prstGeom>
          <a:ln>
            <a:noFill/>
          </a:ln>
        </p:spPr>
        <p:txBody>
          <a:bodyPr/>
          <a:lstStyle>
            <a:lvl1pPr marL="0" indent="0" algn="ctr" rtl="0" eaLnBrk="0" fontAlgn="base" hangingPunct="0">
              <a:spcBef>
                <a:spcPct val="20000"/>
              </a:spcBef>
              <a:spcAft>
                <a:spcPct val="0"/>
              </a:spcAft>
              <a:buNone/>
              <a:defRPr sz="3200">
                <a:solidFill>
                  <a:schemeClr val="tx1"/>
                </a:solidFill>
                <a:latin typeface="+mn-lt"/>
                <a:ea typeface="+mn-ea"/>
                <a:cs typeface="+mn-cs"/>
              </a:defRPr>
            </a:lvl1pPr>
            <a:lvl2pPr marL="457200" indent="0" algn="ctr" rtl="0" eaLnBrk="0" fontAlgn="base" hangingPunct="0">
              <a:spcBef>
                <a:spcPct val="20000"/>
              </a:spcBef>
              <a:spcAft>
                <a:spcPct val="0"/>
              </a:spcAft>
              <a:buNone/>
              <a:defRPr sz="2800">
                <a:solidFill>
                  <a:schemeClr val="tx1"/>
                </a:solidFill>
                <a:latin typeface="+mn-lt"/>
                <a:cs typeface="+mn-cs"/>
              </a:defRPr>
            </a:lvl2pPr>
            <a:lvl3pPr marL="914400" indent="0" algn="ctr" rtl="0" eaLnBrk="0" fontAlgn="base" hangingPunct="0">
              <a:spcBef>
                <a:spcPct val="20000"/>
              </a:spcBef>
              <a:spcAft>
                <a:spcPct val="0"/>
              </a:spcAft>
              <a:buNone/>
              <a:defRPr sz="2400">
                <a:solidFill>
                  <a:schemeClr val="tx1"/>
                </a:solidFill>
                <a:latin typeface="+mn-lt"/>
                <a:cs typeface="+mn-cs"/>
              </a:defRPr>
            </a:lvl3pPr>
            <a:lvl4pPr marL="1371600" indent="0" algn="ctr" rtl="0" eaLnBrk="0" fontAlgn="base" hangingPunct="0">
              <a:spcBef>
                <a:spcPct val="20000"/>
              </a:spcBef>
              <a:spcAft>
                <a:spcPct val="0"/>
              </a:spcAft>
              <a:buNone/>
              <a:defRPr sz="2000">
                <a:solidFill>
                  <a:schemeClr val="tx1"/>
                </a:solidFill>
                <a:latin typeface="+mn-lt"/>
                <a:cs typeface="+mn-cs"/>
              </a:defRPr>
            </a:lvl4pPr>
            <a:lvl5pPr marL="1828800" indent="0" algn="ctr" rtl="0" eaLnBrk="0" fontAlgn="base" hangingPunct="0">
              <a:spcBef>
                <a:spcPct val="20000"/>
              </a:spcBef>
              <a:spcAft>
                <a:spcPct val="0"/>
              </a:spcAft>
              <a:buNone/>
              <a:defRPr sz="2000">
                <a:solidFill>
                  <a:schemeClr val="tx1"/>
                </a:solidFill>
                <a:latin typeface="+mn-lt"/>
                <a:cs typeface="+mn-cs"/>
              </a:defRPr>
            </a:lvl5pPr>
            <a:lvl6pPr marL="2286000" indent="0" algn="ctr" rtl="0" fontAlgn="base">
              <a:spcBef>
                <a:spcPct val="20000"/>
              </a:spcBef>
              <a:spcAft>
                <a:spcPct val="0"/>
              </a:spcAft>
              <a:buNone/>
              <a:defRPr sz="2000">
                <a:solidFill>
                  <a:schemeClr val="tx1"/>
                </a:solidFill>
                <a:latin typeface="+mn-lt"/>
                <a:cs typeface="+mn-cs"/>
              </a:defRPr>
            </a:lvl6pPr>
            <a:lvl7pPr marL="2743200" indent="0" algn="ctr" rtl="0" fontAlgn="base">
              <a:spcBef>
                <a:spcPct val="20000"/>
              </a:spcBef>
              <a:spcAft>
                <a:spcPct val="0"/>
              </a:spcAft>
              <a:buNone/>
              <a:defRPr sz="2000">
                <a:solidFill>
                  <a:schemeClr val="tx1"/>
                </a:solidFill>
                <a:latin typeface="+mn-lt"/>
                <a:cs typeface="+mn-cs"/>
              </a:defRPr>
            </a:lvl7pPr>
            <a:lvl8pPr marL="3200400" indent="0" algn="ctr" rtl="0" fontAlgn="base">
              <a:spcBef>
                <a:spcPct val="20000"/>
              </a:spcBef>
              <a:spcAft>
                <a:spcPct val="0"/>
              </a:spcAft>
              <a:buNone/>
              <a:defRPr sz="2000">
                <a:solidFill>
                  <a:schemeClr val="tx1"/>
                </a:solidFill>
                <a:latin typeface="+mn-lt"/>
                <a:cs typeface="+mn-cs"/>
              </a:defRPr>
            </a:lvl8pPr>
            <a:lvl9pPr marL="3657600" indent="0" algn="ctr" rtl="0" fontAlgn="base">
              <a:spcBef>
                <a:spcPct val="20000"/>
              </a:spcBef>
              <a:spcAft>
                <a:spcPct val="0"/>
              </a:spcAft>
              <a:buNone/>
              <a:defRPr sz="2000">
                <a:solidFill>
                  <a:schemeClr val="tx1"/>
                </a:solidFill>
                <a:latin typeface="+mn-lt"/>
                <a:cs typeface="+mn-cs"/>
              </a:defRPr>
            </a:lvl9pPr>
          </a:lstStyle>
          <a:p>
            <a:pPr algn="l"/>
            <a:r>
              <a:rPr lang="fr-FR" sz="800" b="1" kern="0" dirty="0"/>
              <a:t>29</a:t>
            </a:r>
          </a:p>
        </p:txBody>
      </p:sp>
      <p:sp>
        <p:nvSpPr>
          <p:cNvPr id="178" name="Ellipse 177">
            <a:extLst>
              <a:ext uri="{FF2B5EF4-FFF2-40B4-BE49-F238E27FC236}">
                <a16:creationId xmlns:a16="http://schemas.microsoft.com/office/drawing/2014/main" id="{0479BE67-4CE4-4A66-97FD-1619A103E625}"/>
              </a:ext>
            </a:extLst>
          </p:cNvPr>
          <p:cNvSpPr/>
          <p:nvPr/>
        </p:nvSpPr>
        <p:spPr>
          <a:xfrm>
            <a:off x="2747741" y="1873381"/>
            <a:ext cx="216024" cy="216024"/>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82" name="Ellipse 181">
            <a:extLst>
              <a:ext uri="{FF2B5EF4-FFF2-40B4-BE49-F238E27FC236}">
                <a16:creationId xmlns:a16="http://schemas.microsoft.com/office/drawing/2014/main" id="{CCA1655A-A3EB-45F5-BAD7-65507E56519A}"/>
              </a:ext>
            </a:extLst>
          </p:cNvPr>
          <p:cNvSpPr/>
          <p:nvPr/>
        </p:nvSpPr>
        <p:spPr>
          <a:xfrm>
            <a:off x="2308255" y="1903387"/>
            <a:ext cx="216024" cy="216024"/>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83" name="Ellipse 182">
            <a:extLst>
              <a:ext uri="{FF2B5EF4-FFF2-40B4-BE49-F238E27FC236}">
                <a16:creationId xmlns:a16="http://schemas.microsoft.com/office/drawing/2014/main" id="{47695198-A827-4D65-A6AF-25AD9F7A2B23}"/>
              </a:ext>
            </a:extLst>
          </p:cNvPr>
          <p:cNvSpPr/>
          <p:nvPr/>
        </p:nvSpPr>
        <p:spPr>
          <a:xfrm>
            <a:off x="2573501" y="1109058"/>
            <a:ext cx="216024" cy="216024"/>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85" name="Ellipse 184">
            <a:extLst>
              <a:ext uri="{FF2B5EF4-FFF2-40B4-BE49-F238E27FC236}">
                <a16:creationId xmlns:a16="http://schemas.microsoft.com/office/drawing/2014/main" id="{29FD6BA8-FDD9-482D-A527-955760872BBC}"/>
              </a:ext>
            </a:extLst>
          </p:cNvPr>
          <p:cNvSpPr/>
          <p:nvPr/>
        </p:nvSpPr>
        <p:spPr>
          <a:xfrm>
            <a:off x="3626007" y="753324"/>
            <a:ext cx="216024" cy="216024"/>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86" name="Ellipse 185">
            <a:extLst>
              <a:ext uri="{FF2B5EF4-FFF2-40B4-BE49-F238E27FC236}">
                <a16:creationId xmlns:a16="http://schemas.microsoft.com/office/drawing/2014/main" id="{A682F3E0-6F18-4D33-9E86-CAD6B72D137D}"/>
              </a:ext>
            </a:extLst>
          </p:cNvPr>
          <p:cNvSpPr/>
          <p:nvPr/>
        </p:nvSpPr>
        <p:spPr>
          <a:xfrm>
            <a:off x="5538535" y="3823123"/>
            <a:ext cx="216024" cy="216024"/>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87" name="Ellipse 186">
            <a:extLst>
              <a:ext uri="{FF2B5EF4-FFF2-40B4-BE49-F238E27FC236}">
                <a16:creationId xmlns:a16="http://schemas.microsoft.com/office/drawing/2014/main" id="{3D45F031-3946-4138-8C7D-C752D881F65C}"/>
              </a:ext>
            </a:extLst>
          </p:cNvPr>
          <p:cNvSpPr/>
          <p:nvPr/>
        </p:nvSpPr>
        <p:spPr>
          <a:xfrm>
            <a:off x="4911714" y="3950344"/>
            <a:ext cx="216024" cy="216024"/>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88" name="Ellipse 187">
            <a:extLst>
              <a:ext uri="{FF2B5EF4-FFF2-40B4-BE49-F238E27FC236}">
                <a16:creationId xmlns:a16="http://schemas.microsoft.com/office/drawing/2014/main" id="{AC464D6B-3178-491F-B825-9826088FBCA2}"/>
              </a:ext>
            </a:extLst>
          </p:cNvPr>
          <p:cNvSpPr/>
          <p:nvPr/>
        </p:nvSpPr>
        <p:spPr>
          <a:xfrm>
            <a:off x="4656501" y="4633611"/>
            <a:ext cx="216024" cy="216024"/>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89" name="Ellipse 188">
            <a:extLst>
              <a:ext uri="{FF2B5EF4-FFF2-40B4-BE49-F238E27FC236}">
                <a16:creationId xmlns:a16="http://schemas.microsoft.com/office/drawing/2014/main" id="{B58AD95D-CAEF-4C32-9D93-225E39FD0C79}"/>
              </a:ext>
            </a:extLst>
          </p:cNvPr>
          <p:cNvSpPr/>
          <p:nvPr/>
        </p:nvSpPr>
        <p:spPr>
          <a:xfrm>
            <a:off x="4862237" y="4701622"/>
            <a:ext cx="216024" cy="216024"/>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0" name="Ellipse 189">
            <a:extLst>
              <a:ext uri="{FF2B5EF4-FFF2-40B4-BE49-F238E27FC236}">
                <a16:creationId xmlns:a16="http://schemas.microsoft.com/office/drawing/2014/main" id="{EE59568F-9B67-4207-B512-F93640FDB526}"/>
              </a:ext>
            </a:extLst>
          </p:cNvPr>
          <p:cNvSpPr/>
          <p:nvPr/>
        </p:nvSpPr>
        <p:spPr>
          <a:xfrm>
            <a:off x="4844345" y="1391224"/>
            <a:ext cx="216024" cy="216024"/>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07" name="Sous-titre 4">
            <a:extLst>
              <a:ext uri="{FF2B5EF4-FFF2-40B4-BE49-F238E27FC236}">
                <a16:creationId xmlns:a16="http://schemas.microsoft.com/office/drawing/2014/main" id="{7587CBF2-7390-46DE-A4C2-3A3815B3DEFA}"/>
              </a:ext>
            </a:extLst>
          </p:cNvPr>
          <p:cNvSpPr txBox="1">
            <a:spLocks/>
          </p:cNvSpPr>
          <p:nvPr/>
        </p:nvSpPr>
        <p:spPr>
          <a:xfrm>
            <a:off x="5084611" y="1384225"/>
            <a:ext cx="2652238" cy="253609"/>
          </a:xfrm>
          <a:prstGeom prst="rect">
            <a:avLst/>
          </a:prstGeom>
          <a:solidFill>
            <a:schemeClr val="bg1"/>
          </a:solidFill>
        </p:spPr>
        <p:txBody>
          <a:bodyPr/>
          <a:lstStyle>
            <a:lvl1pPr marL="0" indent="0" algn="ctr" rtl="0" eaLnBrk="0" fontAlgn="base" hangingPunct="0">
              <a:spcBef>
                <a:spcPct val="20000"/>
              </a:spcBef>
              <a:spcAft>
                <a:spcPct val="0"/>
              </a:spcAft>
              <a:buNone/>
              <a:defRPr sz="3200">
                <a:solidFill>
                  <a:schemeClr val="tx1"/>
                </a:solidFill>
                <a:latin typeface="+mn-lt"/>
                <a:ea typeface="+mn-ea"/>
                <a:cs typeface="+mn-cs"/>
              </a:defRPr>
            </a:lvl1pPr>
            <a:lvl2pPr marL="457200" indent="0" algn="ctr" rtl="0" eaLnBrk="0" fontAlgn="base" hangingPunct="0">
              <a:spcBef>
                <a:spcPct val="20000"/>
              </a:spcBef>
              <a:spcAft>
                <a:spcPct val="0"/>
              </a:spcAft>
              <a:buNone/>
              <a:defRPr sz="2800">
                <a:solidFill>
                  <a:schemeClr val="tx1"/>
                </a:solidFill>
                <a:latin typeface="+mn-lt"/>
                <a:cs typeface="+mn-cs"/>
              </a:defRPr>
            </a:lvl2pPr>
            <a:lvl3pPr marL="914400" indent="0" algn="ctr" rtl="0" eaLnBrk="0" fontAlgn="base" hangingPunct="0">
              <a:spcBef>
                <a:spcPct val="20000"/>
              </a:spcBef>
              <a:spcAft>
                <a:spcPct val="0"/>
              </a:spcAft>
              <a:buNone/>
              <a:defRPr sz="2400">
                <a:solidFill>
                  <a:schemeClr val="tx1"/>
                </a:solidFill>
                <a:latin typeface="+mn-lt"/>
                <a:cs typeface="+mn-cs"/>
              </a:defRPr>
            </a:lvl3pPr>
            <a:lvl4pPr marL="1371600" indent="0" algn="ctr" rtl="0" eaLnBrk="0" fontAlgn="base" hangingPunct="0">
              <a:spcBef>
                <a:spcPct val="20000"/>
              </a:spcBef>
              <a:spcAft>
                <a:spcPct val="0"/>
              </a:spcAft>
              <a:buNone/>
              <a:defRPr sz="2000">
                <a:solidFill>
                  <a:schemeClr val="tx1"/>
                </a:solidFill>
                <a:latin typeface="+mn-lt"/>
                <a:cs typeface="+mn-cs"/>
              </a:defRPr>
            </a:lvl4pPr>
            <a:lvl5pPr marL="1828800" indent="0" algn="ctr" rtl="0" eaLnBrk="0" fontAlgn="base" hangingPunct="0">
              <a:spcBef>
                <a:spcPct val="20000"/>
              </a:spcBef>
              <a:spcAft>
                <a:spcPct val="0"/>
              </a:spcAft>
              <a:buNone/>
              <a:defRPr sz="2000">
                <a:solidFill>
                  <a:schemeClr val="tx1"/>
                </a:solidFill>
                <a:latin typeface="+mn-lt"/>
                <a:cs typeface="+mn-cs"/>
              </a:defRPr>
            </a:lvl5pPr>
            <a:lvl6pPr marL="2286000" indent="0" algn="ctr" rtl="0" fontAlgn="base">
              <a:spcBef>
                <a:spcPct val="20000"/>
              </a:spcBef>
              <a:spcAft>
                <a:spcPct val="0"/>
              </a:spcAft>
              <a:buNone/>
              <a:defRPr sz="2000">
                <a:solidFill>
                  <a:schemeClr val="tx1"/>
                </a:solidFill>
                <a:latin typeface="+mn-lt"/>
                <a:cs typeface="+mn-cs"/>
              </a:defRPr>
            </a:lvl6pPr>
            <a:lvl7pPr marL="2743200" indent="0" algn="ctr" rtl="0" fontAlgn="base">
              <a:spcBef>
                <a:spcPct val="20000"/>
              </a:spcBef>
              <a:spcAft>
                <a:spcPct val="0"/>
              </a:spcAft>
              <a:buNone/>
              <a:defRPr sz="2000">
                <a:solidFill>
                  <a:schemeClr val="tx1"/>
                </a:solidFill>
                <a:latin typeface="+mn-lt"/>
                <a:cs typeface="+mn-cs"/>
              </a:defRPr>
            </a:lvl7pPr>
            <a:lvl8pPr marL="3200400" indent="0" algn="ctr" rtl="0" fontAlgn="base">
              <a:spcBef>
                <a:spcPct val="20000"/>
              </a:spcBef>
              <a:spcAft>
                <a:spcPct val="0"/>
              </a:spcAft>
              <a:buNone/>
              <a:defRPr sz="2000">
                <a:solidFill>
                  <a:schemeClr val="tx1"/>
                </a:solidFill>
                <a:latin typeface="+mn-lt"/>
                <a:cs typeface="+mn-cs"/>
              </a:defRPr>
            </a:lvl8pPr>
            <a:lvl9pPr marL="3657600" indent="0" algn="ctr" rtl="0" fontAlgn="base">
              <a:spcBef>
                <a:spcPct val="20000"/>
              </a:spcBef>
              <a:spcAft>
                <a:spcPct val="0"/>
              </a:spcAft>
              <a:buNone/>
              <a:defRPr sz="2000">
                <a:solidFill>
                  <a:schemeClr val="tx1"/>
                </a:solidFill>
                <a:latin typeface="+mn-lt"/>
                <a:cs typeface="+mn-cs"/>
              </a:defRPr>
            </a:lvl9pPr>
          </a:lstStyle>
          <a:p>
            <a:pPr algn="l"/>
            <a:r>
              <a:rPr lang="fr-FR" sz="1000" b="1" kern="0" dirty="0"/>
              <a:t>Opérations Renouvellement avant 2030</a:t>
            </a:r>
          </a:p>
        </p:txBody>
      </p:sp>
      <p:sp>
        <p:nvSpPr>
          <p:cNvPr id="209" name="Ellipse 208">
            <a:extLst>
              <a:ext uri="{FF2B5EF4-FFF2-40B4-BE49-F238E27FC236}">
                <a16:creationId xmlns:a16="http://schemas.microsoft.com/office/drawing/2014/main" id="{B0F07671-1460-43C9-B918-8DB39CB7EA2B}"/>
              </a:ext>
            </a:extLst>
          </p:cNvPr>
          <p:cNvSpPr/>
          <p:nvPr/>
        </p:nvSpPr>
        <p:spPr>
          <a:xfrm>
            <a:off x="4846157" y="1709852"/>
            <a:ext cx="216024" cy="216024"/>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10" name="Sous-titre 4">
            <a:extLst>
              <a:ext uri="{FF2B5EF4-FFF2-40B4-BE49-F238E27FC236}">
                <a16:creationId xmlns:a16="http://schemas.microsoft.com/office/drawing/2014/main" id="{3B10CA20-D202-4ED7-8C7E-72F324C0B882}"/>
              </a:ext>
            </a:extLst>
          </p:cNvPr>
          <p:cNvSpPr txBox="1">
            <a:spLocks/>
          </p:cNvSpPr>
          <p:nvPr/>
        </p:nvSpPr>
        <p:spPr>
          <a:xfrm>
            <a:off x="5085154" y="1640244"/>
            <a:ext cx="2426784" cy="298641"/>
          </a:xfrm>
          <a:prstGeom prst="rect">
            <a:avLst/>
          </a:prstGeom>
          <a:solidFill>
            <a:schemeClr val="bg1"/>
          </a:solidFill>
        </p:spPr>
        <p:txBody>
          <a:bodyPr/>
          <a:lstStyle>
            <a:lvl1pPr marL="0" indent="0" algn="ctr" rtl="0" eaLnBrk="0" fontAlgn="base" hangingPunct="0">
              <a:spcBef>
                <a:spcPct val="20000"/>
              </a:spcBef>
              <a:spcAft>
                <a:spcPct val="0"/>
              </a:spcAft>
              <a:buNone/>
              <a:defRPr sz="3200">
                <a:solidFill>
                  <a:schemeClr val="tx1"/>
                </a:solidFill>
                <a:latin typeface="+mn-lt"/>
                <a:ea typeface="+mn-ea"/>
                <a:cs typeface="+mn-cs"/>
              </a:defRPr>
            </a:lvl1pPr>
            <a:lvl2pPr marL="457200" indent="0" algn="ctr" rtl="0" eaLnBrk="0" fontAlgn="base" hangingPunct="0">
              <a:spcBef>
                <a:spcPct val="20000"/>
              </a:spcBef>
              <a:spcAft>
                <a:spcPct val="0"/>
              </a:spcAft>
              <a:buNone/>
              <a:defRPr sz="2800">
                <a:solidFill>
                  <a:schemeClr val="tx1"/>
                </a:solidFill>
                <a:latin typeface="+mn-lt"/>
                <a:cs typeface="+mn-cs"/>
              </a:defRPr>
            </a:lvl2pPr>
            <a:lvl3pPr marL="914400" indent="0" algn="ctr" rtl="0" eaLnBrk="0" fontAlgn="base" hangingPunct="0">
              <a:spcBef>
                <a:spcPct val="20000"/>
              </a:spcBef>
              <a:spcAft>
                <a:spcPct val="0"/>
              </a:spcAft>
              <a:buNone/>
              <a:defRPr sz="2400">
                <a:solidFill>
                  <a:schemeClr val="tx1"/>
                </a:solidFill>
                <a:latin typeface="+mn-lt"/>
                <a:cs typeface="+mn-cs"/>
              </a:defRPr>
            </a:lvl3pPr>
            <a:lvl4pPr marL="1371600" indent="0" algn="ctr" rtl="0" eaLnBrk="0" fontAlgn="base" hangingPunct="0">
              <a:spcBef>
                <a:spcPct val="20000"/>
              </a:spcBef>
              <a:spcAft>
                <a:spcPct val="0"/>
              </a:spcAft>
              <a:buNone/>
              <a:defRPr sz="2000">
                <a:solidFill>
                  <a:schemeClr val="tx1"/>
                </a:solidFill>
                <a:latin typeface="+mn-lt"/>
                <a:cs typeface="+mn-cs"/>
              </a:defRPr>
            </a:lvl4pPr>
            <a:lvl5pPr marL="1828800" indent="0" algn="ctr" rtl="0" eaLnBrk="0" fontAlgn="base" hangingPunct="0">
              <a:spcBef>
                <a:spcPct val="20000"/>
              </a:spcBef>
              <a:spcAft>
                <a:spcPct val="0"/>
              </a:spcAft>
              <a:buNone/>
              <a:defRPr sz="2000">
                <a:solidFill>
                  <a:schemeClr val="tx1"/>
                </a:solidFill>
                <a:latin typeface="+mn-lt"/>
                <a:cs typeface="+mn-cs"/>
              </a:defRPr>
            </a:lvl5pPr>
            <a:lvl6pPr marL="2286000" indent="0" algn="ctr" rtl="0" fontAlgn="base">
              <a:spcBef>
                <a:spcPct val="20000"/>
              </a:spcBef>
              <a:spcAft>
                <a:spcPct val="0"/>
              </a:spcAft>
              <a:buNone/>
              <a:defRPr sz="2000">
                <a:solidFill>
                  <a:schemeClr val="tx1"/>
                </a:solidFill>
                <a:latin typeface="+mn-lt"/>
                <a:cs typeface="+mn-cs"/>
              </a:defRPr>
            </a:lvl6pPr>
            <a:lvl7pPr marL="2743200" indent="0" algn="ctr" rtl="0" fontAlgn="base">
              <a:spcBef>
                <a:spcPct val="20000"/>
              </a:spcBef>
              <a:spcAft>
                <a:spcPct val="0"/>
              </a:spcAft>
              <a:buNone/>
              <a:defRPr sz="2000">
                <a:solidFill>
                  <a:schemeClr val="tx1"/>
                </a:solidFill>
                <a:latin typeface="+mn-lt"/>
                <a:cs typeface="+mn-cs"/>
              </a:defRPr>
            </a:lvl7pPr>
            <a:lvl8pPr marL="3200400" indent="0" algn="ctr" rtl="0" fontAlgn="base">
              <a:spcBef>
                <a:spcPct val="20000"/>
              </a:spcBef>
              <a:spcAft>
                <a:spcPct val="0"/>
              </a:spcAft>
              <a:buNone/>
              <a:defRPr sz="2000">
                <a:solidFill>
                  <a:schemeClr val="tx1"/>
                </a:solidFill>
                <a:latin typeface="+mn-lt"/>
                <a:cs typeface="+mn-cs"/>
              </a:defRPr>
            </a:lvl8pPr>
            <a:lvl9pPr marL="3657600" indent="0" algn="ctr" rtl="0" fontAlgn="base">
              <a:spcBef>
                <a:spcPct val="20000"/>
              </a:spcBef>
              <a:spcAft>
                <a:spcPct val="0"/>
              </a:spcAft>
              <a:buNone/>
              <a:defRPr sz="2000">
                <a:solidFill>
                  <a:schemeClr val="tx1"/>
                </a:solidFill>
                <a:latin typeface="+mn-lt"/>
                <a:cs typeface="+mn-cs"/>
              </a:defRPr>
            </a:lvl9pPr>
          </a:lstStyle>
          <a:p>
            <a:pPr algn="l"/>
            <a:r>
              <a:rPr lang="fr-FR" sz="1000" b="1" kern="0" dirty="0"/>
              <a:t>Projet éco. artificialisé en projet</a:t>
            </a:r>
          </a:p>
        </p:txBody>
      </p:sp>
    </p:spTree>
    <p:extLst>
      <p:ext uri="{BB962C8B-B14F-4D97-AF65-F5344CB8AC3E}">
        <p14:creationId xmlns:p14="http://schemas.microsoft.com/office/powerpoint/2010/main" val="42939687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F83EB17-F115-4FD4-88B0-D128E2F55FA9}"/>
              </a:ext>
            </a:extLst>
          </p:cNvPr>
          <p:cNvSpPr/>
          <p:nvPr/>
        </p:nvSpPr>
        <p:spPr>
          <a:xfrm>
            <a:off x="0" y="1"/>
            <a:ext cx="12192000" cy="1370199"/>
          </a:xfrm>
          <a:prstGeom prst="rect">
            <a:avLst/>
          </a:prstGeom>
          <a:solidFill>
            <a:srgbClr val="E4D0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914377" eaLnBrk="0" fontAlgn="base" hangingPunct="0">
              <a:spcBef>
                <a:spcPct val="0"/>
              </a:spcBef>
              <a:spcAft>
                <a:spcPct val="0"/>
              </a:spcAft>
            </a:pPr>
            <a:endParaRPr lang="fr-FR" dirty="0">
              <a:solidFill>
                <a:srgbClr val="FFFFFF"/>
              </a:solidFill>
              <a:latin typeface="Arial"/>
              <a:cs typeface="Arial"/>
            </a:endParaRPr>
          </a:p>
        </p:txBody>
      </p:sp>
      <p:sp>
        <p:nvSpPr>
          <p:cNvPr id="13" name="Rectangle 12">
            <a:extLst>
              <a:ext uri="{FF2B5EF4-FFF2-40B4-BE49-F238E27FC236}">
                <a16:creationId xmlns:a16="http://schemas.microsoft.com/office/drawing/2014/main" id="{3B086DEC-A91F-4D75-BE8A-24039F8E8C59}"/>
              </a:ext>
            </a:extLst>
          </p:cNvPr>
          <p:cNvSpPr/>
          <p:nvPr/>
        </p:nvSpPr>
        <p:spPr>
          <a:xfrm>
            <a:off x="-2" y="1332080"/>
            <a:ext cx="12192001" cy="186411"/>
          </a:xfrm>
          <a:prstGeom prst="rect">
            <a:avLst/>
          </a:prstGeom>
          <a:solidFill>
            <a:srgbClr val="FF00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914377" eaLnBrk="0" fontAlgn="base" hangingPunct="0">
              <a:spcBef>
                <a:spcPct val="0"/>
              </a:spcBef>
              <a:spcAft>
                <a:spcPct val="0"/>
              </a:spcAft>
            </a:pPr>
            <a:endParaRPr lang="fr-FR" dirty="0">
              <a:solidFill>
                <a:srgbClr val="FFFFFF"/>
              </a:solidFill>
              <a:latin typeface="Arial"/>
              <a:cs typeface="Arial"/>
            </a:endParaRPr>
          </a:p>
        </p:txBody>
      </p:sp>
      <p:sp>
        <p:nvSpPr>
          <p:cNvPr id="7" name="Content Placeholder 1">
            <a:extLst>
              <a:ext uri="{FF2B5EF4-FFF2-40B4-BE49-F238E27FC236}">
                <a16:creationId xmlns:a16="http://schemas.microsoft.com/office/drawing/2014/main" id="{D61B893D-6E6B-4B39-AAFF-274702FA3E89}"/>
              </a:ext>
            </a:extLst>
          </p:cNvPr>
          <p:cNvSpPr txBox="1">
            <a:spLocks/>
          </p:cNvSpPr>
          <p:nvPr/>
        </p:nvSpPr>
        <p:spPr>
          <a:xfrm>
            <a:off x="1398756" y="2263032"/>
            <a:ext cx="9785058" cy="369332"/>
          </a:xfrm>
          <a:prstGeom prst="rect">
            <a:avLst/>
          </a:prstGeom>
        </p:spPr>
        <p:txBody>
          <a:bodyPr wrap="square" anchor="ctr">
            <a:spAutoFit/>
          </a:bodyPr>
          <a:lstStyle>
            <a:lvl1pPr marL="0" indent="0" algn="l" defTabSz="914400" rtl="0" eaLnBrk="1" latinLnBrk="0" hangingPunct="1">
              <a:spcBef>
                <a:spcPts val="0"/>
              </a:spcBef>
              <a:spcAft>
                <a:spcPts val="500"/>
              </a:spcAft>
              <a:buFont typeface="Arial" panose="020B0604020202020204" pitchFamily="34" charset="0"/>
              <a:buNone/>
              <a:defRPr sz="2000" kern="1200" baseline="0">
                <a:solidFill>
                  <a:schemeClr val="tx2"/>
                </a:solidFill>
                <a:latin typeface="+mn-lt"/>
                <a:ea typeface="+mn-ea"/>
                <a:cs typeface="+mn-cs"/>
              </a:defRPr>
            </a:lvl1pPr>
            <a:lvl2pPr marL="0" indent="0" algn="l" defTabSz="914400" rtl="0" eaLnBrk="1" latinLnBrk="0" hangingPunct="1">
              <a:spcBef>
                <a:spcPts val="500"/>
              </a:spcBef>
              <a:buClr>
                <a:schemeClr val="tx2"/>
              </a:buClr>
              <a:buSzPct val="105000"/>
              <a:buFontTx/>
              <a:buNone/>
              <a:defRPr sz="1800" kern="1200">
                <a:solidFill>
                  <a:srgbClr val="6D6D6D"/>
                </a:solidFill>
                <a:latin typeface="+mn-lt"/>
                <a:ea typeface="+mn-ea"/>
                <a:cs typeface="+mn-cs"/>
              </a:defRPr>
            </a:lvl2pPr>
            <a:lvl3pPr marL="180000" indent="-180000" algn="l" defTabSz="914400" rtl="0" eaLnBrk="1" latinLnBrk="0" hangingPunct="1">
              <a:spcBef>
                <a:spcPts val="500"/>
              </a:spcBef>
              <a:buClr>
                <a:schemeClr val="tx2"/>
              </a:buClr>
              <a:buFont typeface="Calibri" panose="020F0502020204030204" pitchFamily="34" charset="0"/>
              <a:buChar char="›"/>
              <a:defRPr sz="1600" kern="1200">
                <a:solidFill>
                  <a:srgbClr val="6D6D6D"/>
                </a:solidFill>
                <a:latin typeface="+mn-lt"/>
                <a:ea typeface="+mn-ea"/>
                <a:cs typeface="+mn-cs"/>
              </a:defRPr>
            </a:lvl3pPr>
            <a:lvl4pPr marL="367200" indent="-187200" algn="l" defTabSz="914400" rtl="0" eaLnBrk="1" latinLnBrk="0" hangingPunct="1">
              <a:spcBef>
                <a:spcPts val="500"/>
              </a:spcBef>
              <a:buFont typeface="Symbol" panose="05050102010706020507" pitchFamily="18" charset="2"/>
              <a:buChar char="-"/>
              <a:defRPr sz="1600" kern="1200">
                <a:solidFill>
                  <a:srgbClr val="6D6D6D"/>
                </a:solidFill>
                <a:latin typeface="+mn-lt"/>
                <a:ea typeface="+mn-ea"/>
                <a:cs typeface="+mn-cs"/>
              </a:defRPr>
            </a:lvl4pPr>
            <a:lvl5pPr marL="576000" indent="-187200" algn="l" defTabSz="914400" rtl="0" eaLnBrk="1" latinLnBrk="0" hangingPunct="1">
              <a:spcBef>
                <a:spcPts val="500"/>
              </a:spcBef>
              <a:buClr>
                <a:schemeClr val="tx1"/>
              </a:buClr>
              <a:buFont typeface="Symbol" panose="05050102010706020507" pitchFamily="18" charset="2"/>
              <a:buChar char="-"/>
              <a:defRPr sz="1400" kern="1200">
                <a:solidFill>
                  <a:srgbClr val="6D6D6D"/>
                </a:solidFill>
                <a:latin typeface="+mn-lt"/>
                <a:ea typeface="+mn-ea"/>
                <a:cs typeface="+mn-cs"/>
              </a:defRPr>
            </a:lvl5pPr>
            <a:lvl6pPr marL="766763" indent="-185738" algn="l" defTabSz="914400" rtl="0" eaLnBrk="1" latinLnBrk="0" hangingPunct="1">
              <a:spcBef>
                <a:spcPts val="500"/>
              </a:spcBef>
              <a:buClr>
                <a:schemeClr val="tx2"/>
              </a:buClr>
              <a:buFont typeface="Calibri" panose="020F0502020204030204" pitchFamily="34" charset="0"/>
              <a:buChar char="»"/>
              <a:defRPr sz="1400" kern="1200">
                <a:solidFill>
                  <a:srgbClr val="6D6D6D"/>
                </a:solidFill>
                <a:latin typeface="+mn-lt"/>
                <a:ea typeface="+mn-ea"/>
                <a:cs typeface="+mn-cs"/>
              </a:defRPr>
            </a:lvl6pPr>
            <a:lvl7pPr marL="766800" indent="-187200" algn="l" defTabSz="914400" rtl="0" eaLnBrk="1" latinLnBrk="0" hangingPunct="1">
              <a:spcBef>
                <a:spcPts val="500"/>
              </a:spcBef>
              <a:buClr>
                <a:schemeClr val="tx2"/>
              </a:buClr>
              <a:buFont typeface="Calibri" panose="020F0502020204030204" pitchFamily="34" charset="0"/>
              <a:buChar char="»"/>
              <a:defRPr sz="1400" kern="1200" baseline="0">
                <a:solidFill>
                  <a:srgbClr val="6D6D6D"/>
                </a:solidFill>
                <a:latin typeface="+mn-lt"/>
                <a:ea typeface="+mn-ea"/>
                <a:cs typeface="+mn-cs"/>
              </a:defRPr>
            </a:lvl7pPr>
            <a:lvl8pPr marL="766800" indent="-187200" algn="l" defTabSz="914400" rtl="0" eaLnBrk="1" latinLnBrk="0" hangingPunct="1">
              <a:spcBef>
                <a:spcPts val="500"/>
              </a:spcBef>
              <a:buClr>
                <a:schemeClr val="tx2"/>
              </a:buClr>
              <a:buFont typeface="Calibri" panose="020F0502020204030204" pitchFamily="34" charset="0"/>
              <a:buChar char="»"/>
              <a:defRPr sz="1400" kern="1200" baseline="0">
                <a:solidFill>
                  <a:srgbClr val="6D6D6D"/>
                </a:solidFill>
                <a:latin typeface="+mn-lt"/>
                <a:ea typeface="+mn-ea"/>
                <a:cs typeface="+mn-cs"/>
              </a:defRPr>
            </a:lvl8pPr>
            <a:lvl9pPr marL="766800" indent="-187200" algn="l" defTabSz="914400" rtl="0" eaLnBrk="1" latinLnBrk="0" hangingPunct="1">
              <a:spcBef>
                <a:spcPts val="500"/>
              </a:spcBef>
              <a:buClr>
                <a:schemeClr val="tx2"/>
              </a:buClr>
              <a:buFont typeface="Calibri" panose="020F0502020204030204" pitchFamily="34" charset="0"/>
              <a:buChar char="»"/>
              <a:defRPr sz="1400" kern="1200" baseline="0">
                <a:solidFill>
                  <a:srgbClr val="6D6D6D"/>
                </a:solidFill>
                <a:latin typeface="+mn-lt"/>
                <a:ea typeface="+mn-ea"/>
                <a:cs typeface="+mn-cs"/>
              </a:defRPr>
            </a:lvl9pPr>
          </a:lstStyle>
          <a:p>
            <a:pPr algn="just" fontAlgn="base"/>
            <a:r>
              <a:rPr lang="fr-FR" sz="1800" dirty="0">
                <a:solidFill>
                  <a:prstClr val="black"/>
                </a:solidFill>
                <a:latin typeface="Arial"/>
                <a:cs typeface="Arial"/>
              </a:rPr>
              <a:t>L’action économique est </a:t>
            </a:r>
            <a:r>
              <a:rPr lang="fr-FR" sz="1800" b="1" dirty="0">
                <a:solidFill>
                  <a:prstClr val="black"/>
                </a:solidFill>
                <a:latin typeface="Arial"/>
                <a:cs typeface="Arial"/>
              </a:rPr>
              <a:t>un levier permettant de transformer le territoire métropolitain.</a:t>
            </a:r>
          </a:p>
        </p:txBody>
      </p:sp>
      <p:sp>
        <p:nvSpPr>
          <p:cNvPr id="8" name="TextBox 11">
            <a:extLst>
              <a:ext uri="{FF2B5EF4-FFF2-40B4-BE49-F238E27FC236}">
                <a16:creationId xmlns:a16="http://schemas.microsoft.com/office/drawing/2014/main" id="{0B517D6E-8688-43B3-A2A9-45332C98DB82}"/>
              </a:ext>
            </a:extLst>
          </p:cNvPr>
          <p:cNvSpPr txBox="1"/>
          <p:nvPr/>
        </p:nvSpPr>
        <p:spPr>
          <a:xfrm>
            <a:off x="634408" y="2137618"/>
            <a:ext cx="540000" cy="540000"/>
          </a:xfrm>
          <a:prstGeom prst="rect">
            <a:avLst/>
          </a:prstGeom>
          <a:solidFill>
            <a:schemeClr val="tx2"/>
          </a:solidFill>
          <a:ln>
            <a:noFill/>
          </a:ln>
        </p:spPr>
        <p:txBody>
          <a:bodyPr wrap="none" lIns="0" tIns="0" rIns="0" bIns="0" rtlCol="0" anchor="ctr" anchorCtr="0">
            <a:noAutofit/>
          </a:bodyPr>
          <a:lstStyle/>
          <a:p>
            <a:pPr algn="ctr" defTabSz="685783" eaLnBrk="0" fontAlgn="base" hangingPunct="0">
              <a:spcBef>
                <a:spcPct val="0"/>
              </a:spcBef>
              <a:spcAft>
                <a:spcPct val="0"/>
              </a:spcAft>
            </a:pPr>
            <a:r>
              <a:rPr lang="en-US" sz="2400" b="1" dirty="0">
                <a:solidFill>
                  <a:prstClr val="white"/>
                </a:solidFill>
                <a:latin typeface="Arial" panose="020B0604020202020204" pitchFamily="34" charset="0"/>
                <a:cs typeface="Arial" panose="020B0604020202020204" pitchFamily="34" charset="0"/>
              </a:rPr>
              <a:t>1</a:t>
            </a:r>
          </a:p>
        </p:txBody>
      </p:sp>
      <p:grpSp>
        <p:nvGrpSpPr>
          <p:cNvPr id="9" name="Group 12">
            <a:extLst>
              <a:ext uri="{FF2B5EF4-FFF2-40B4-BE49-F238E27FC236}">
                <a16:creationId xmlns:a16="http://schemas.microsoft.com/office/drawing/2014/main" id="{F29B1362-A772-4974-8468-E92F37B66C7A}"/>
              </a:ext>
            </a:extLst>
          </p:cNvPr>
          <p:cNvGrpSpPr/>
          <p:nvPr/>
        </p:nvGrpSpPr>
        <p:grpSpPr>
          <a:xfrm>
            <a:off x="634408" y="3281475"/>
            <a:ext cx="540000" cy="552701"/>
            <a:chOff x="2038132" y="1614096"/>
            <a:chExt cx="720000" cy="736934"/>
          </a:xfrm>
          <a:solidFill>
            <a:schemeClr val="tx2"/>
          </a:solidFill>
        </p:grpSpPr>
        <p:pic>
          <p:nvPicPr>
            <p:cNvPr id="10" name="Picture 13">
              <a:extLst>
                <a:ext uri="{FF2B5EF4-FFF2-40B4-BE49-F238E27FC236}">
                  <a16:creationId xmlns:a16="http://schemas.microsoft.com/office/drawing/2014/main" id="{4681F505-B0E1-4E20-87F8-67D9575FE5A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038132" y="1614096"/>
              <a:ext cx="720000" cy="716682"/>
            </a:xfrm>
            <a:prstGeom prst="rect">
              <a:avLst/>
            </a:prstGeom>
            <a:grpFill/>
          </p:spPr>
        </p:pic>
        <p:sp>
          <p:nvSpPr>
            <p:cNvPr id="11" name="TextBox 14">
              <a:extLst>
                <a:ext uri="{FF2B5EF4-FFF2-40B4-BE49-F238E27FC236}">
                  <a16:creationId xmlns:a16="http://schemas.microsoft.com/office/drawing/2014/main" id="{D4FB09F3-BCE1-4AF2-8AC3-EBC10301BE8F}"/>
                </a:ext>
              </a:extLst>
            </p:cNvPr>
            <p:cNvSpPr txBox="1"/>
            <p:nvPr/>
          </p:nvSpPr>
          <p:spPr>
            <a:xfrm>
              <a:off x="2038132" y="1631030"/>
              <a:ext cx="720000" cy="720000"/>
            </a:xfrm>
            <a:prstGeom prst="rect">
              <a:avLst/>
            </a:prstGeom>
            <a:grpFill/>
          </p:spPr>
          <p:txBody>
            <a:bodyPr wrap="none" lIns="0" tIns="0" rIns="0" bIns="0" rtlCol="0" anchor="ctr" anchorCtr="0">
              <a:noAutofit/>
            </a:bodyPr>
            <a:lstStyle/>
            <a:p>
              <a:pPr algn="ctr" defTabSz="685783" eaLnBrk="0" fontAlgn="base" hangingPunct="0">
                <a:spcBef>
                  <a:spcPct val="0"/>
                </a:spcBef>
                <a:spcAft>
                  <a:spcPct val="0"/>
                </a:spcAft>
              </a:pPr>
              <a:r>
                <a:rPr lang="en-US" sz="2400" b="1" dirty="0">
                  <a:solidFill>
                    <a:prstClr val="white"/>
                  </a:solidFill>
                  <a:latin typeface="Arial" panose="020B0604020202020204" pitchFamily="34" charset="0"/>
                  <a:cs typeface="Arial" panose="020B0604020202020204" pitchFamily="34" charset="0"/>
                </a:rPr>
                <a:t>2</a:t>
              </a:r>
            </a:p>
          </p:txBody>
        </p:sp>
      </p:grpSp>
      <p:sp>
        <p:nvSpPr>
          <p:cNvPr id="12" name="Content Placeholder 1">
            <a:extLst>
              <a:ext uri="{FF2B5EF4-FFF2-40B4-BE49-F238E27FC236}">
                <a16:creationId xmlns:a16="http://schemas.microsoft.com/office/drawing/2014/main" id="{B769893A-FF18-4BF9-B8FD-740E01303C86}"/>
              </a:ext>
            </a:extLst>
          </p:cNvPr>
          <p:cNvSpPr txBox="1">
            <a:spLocks/>
          </p:cNvSpPr>
          <p:nvPr/>
        </p:nvSpPr>
        <p:spPr>
          <a:xfrm>
            <a:off x="1376069" y="3062368"/>
            <a:ext cx="9962491" cy="1200329"/>
          </a:xfrm>
          <a:prstGeom prst="rect">
            <a:avLst/>
          </a:prstGeom>
        </p:spPr>
        <p:txBody>
          <a:bodyPr wrap="square" anchor="ctr">
            <a:spAutoFit/>
          </a:bodyPr>
          <a:lstStyle>
            <a:lvl1pPr marL="0" indent="0" algn="l" defTabSz="914400" rtl="0" eaLnBrk="1" latinLnBrk="0" hangingPunct="1">
              <a:spcBef>
                <a:spcPts val="0"/>
              </a:spcBef>
              <a:spcAft>
                <a:spcPts val="500"/>
              </a:spcAft>
              <a:buFont typeface="Arial" panose="020B0604020202020204" pitchFamily="34" charset="0"/>
              <a:buNone/>
              <a:defRPr sz="2000" kern="1200" baseline="0">
                <a:solidFill>
                  <a:schemeClr val="tx2"/>
                </a:solidFill>
                <a:latin typeface="+mn-lt"/>
                <a:ea typeface="+mn-ea"/>
                <a:cs typeface="+mn-cs"/>
              </a:defRPr>
            </a:lvl1pPr>
            <a:lvl2pPr marL="0" indent="0" algn="l" defTabSz="914400" rtl="0" eaLnBrk="1" latinLnBrk="0" hangingPunct="1">
              <a:spcBef>
                <a:spcPts val="500"/>
              </a:spcBef>
              <a:buClr>
                <a:schemeClr val="tx2"/>
              </a:buClr>
              <a:buSzPct val="105000"/>
              <a:buFontTx/>
              <a:buNone/>
              <a:defRPr sz="1800" kern="1200">
                <a:solidFill>
                  <a:srgbClr val="6D6D6D"/>
                </a:solidFill>
                <a:latin typeface="+mn-lt"/>
                <a:ea typeface="+mn-ea"/>
                <a:cs typeface="+mn-cs"/>
              </a:defRPr>
            </a:lvl2pPr>
            <a:lvl3pPr marL="180000" indent="-180000" algn="l" defTabSz="914400" rtl="0" eaLnBrk="1" latinLnBrk="0" hangingPunct="1">
              <a:spcBef>
                <a:spcPts val="500"/>
              </a:spcBef>
              <a:buClr>
                <a:schemeClr val="tx2"/>
              </a:buClr>
              <a:buFont typeface="Calibri" panose="020F0502020204030204" pitchFamily="34" charset="0"/>
              <a:buChar char="›"/>
              <a:defRPr sz="1600" kern="1200">
                <a:solidFill>
                  <a:srgbClr val="6D6D6D"/>
                </a:solidFill>
                <a:latin typeface="+mn-lt"/>
                <a:ea typeface="+mn-ea"/>
                <a:cs typeface="+mn-cs"/>
              </a:defRPr>
            </a:lvl3pPr>
            <a:lvl4pPr marL="367200" indent="-187200" algn="l" defTabSz="914400" rtl="0" eaLnBrk="1" latinLnBrk="0" hangingPunct="1">
              <a:spcBef>
                <a:spcPts val="500"/>
              </a:spcBef>
              <a:buFont typeface="Symbol" panose="05050102010706020507" pitchFamily="18" charset="2"/>
              <a:buChar char="-"/>
              <a:defRPr sz="1600" kern="1200">
                <a:solidFill>
                  <a:srgbClr val="6D6D6D"/>
                </a:solidFill>
                <a:latin typeface="+mn-lt"/>
                <a:ea typeface="+mn-ea"/>
                <a:cs typeface="+mn-cs"/>
              </a:defRPr>
            </a:lvl4pPr>
            <a:lvl5pPr marL="576000" indent="-187200" algn="l" defTabSz="914400" rtl="0" eaLnBrk="1" latinLnBrk="0" hangingPunct="1">
              <a:spcBef>
                <a:spcPts val="500"/>
              </a:spcBef>
              <a:buClr>
                <a:schemeClr val="tx1"/>
              </a:buClr>
              <a:buFont typeface="Symbol" panose="05050102010706020507" pitchFamily="18" charset="2"/>
              <a:buChar char="-"/>
              <a:defRPr sz="1400" kern="1200">
                <a:solidFill>
                  <a:srgbClr val="6D6D6D"/>
                </a:solidFill>
                <a:latin typeface="+mn-lt"/>
                <a:ea typeface="+mn-ea"/>
                <a:cs typeface="+mn-cs"/>
              </a:defRPr>
            </a:lvl5pPr>
            <a:lvl6pPr marL="766763" indent="-185738" algn="l" defTabSz="914400" rtl="0" eaLnBrk="1" latinLnBrk="0" hangingPunct="1">
              <a:spcBef>
                <a:spcPts val="500"/>
              </a:spcBef>
              <a:buClr>
                <a:schemeClr val="tx2"/>
              </a:buClr>
              <a:buFont typeface="Calibri" panose="020F0502020204030204" pitchFamily="34" charset="0"/>
              <a:buChar char="»"/>
              <a:defRPr sz="1400" kern="1200">
                <a:solidFill>
                  <a:srgbClr val="6D6D6D"/>
                </a:solidFill>
                <a:latin typeface="+mn-lt"/>
                <a:ea typeface="+mn-ea"/>
                <a:cs typeface="+mn-cs"/>
              </a:defRPr>
            </a:lvl6pPr>
            <a:lvl7pPr marL="766800" indent="-187200" algn="l" defTabSz="914400" rtl="0" eaLnBrk="1" latinLnBrk="0" hangingPunct="1">
              <a:spcBef>
                <a:spcPts val="500"/>
              </a:spcBef>
              <a:buClr>
                <a:schemeClr val="tx2"/>
              </a:buClr>
              <a:buFont typeface="Calibri" panose="020F0502020204030204" pitchFamily="34" charset="0"/>
              <a:buChar char="»"/>
              <a:defRPr sz="1400" kern="1200" baseline="0">
                <a:solidFill>
                  <a:srgbClr val="6D6D6D"/>
                </a:solidFill>
                <a:latin typeface="+mn-lt"/>
                <a:ea typeface="+mn-ea"/>
                <a:cs typeface="+mn-cs"/>
              </a:defRPr>
            </a:lvl7pPr>
            <a:lvl8pPr marL="766800" indent="-187200" algn="l" defTabSz="914400" rtl="0" eaLnBrk="1" latinLnBrk="0" hangingPunct="1">
              <a:spcBef>
                <a:spcPts val="500"/>
              </a:spcBef>
              <a:buClr>
                <a:schemeClr val="tx2"/>
              </a:buClr>
              <a:buFont typeface="Calibri" panose="020F0502020204030204" pitchFamily="34" charset="0"/>
              <a:buChar char="»"/>
              <a:defRPr sz="1400" kern="1200" baseline="0">
                <a:solidFill>
                  <a:srgbClr val="6D6D6D"/>
                </a:solidFill>
                <a:latin typeface="+mn-lt"/>
                <a:ea typeface="+mn-ea"/>
                <a:cs typeface="+mn-cs"/>
              </a:defRPr>
            </a:lvl8pPr>
            <a:lvl9pPr marL="766800" indent="-187200" algn="l" defTabSz="914400" rtl="0" eaLnBrk="1" latinLnBrk="0" hangingPunct="1">
              <a:spcBef>
                <a:spcPts val="500"/>
              </a:spcBef>
              <a:buClr>
                <a:schemeClr val="tx2"/>
              </a:buClr>
              <a:buFont typeface="Calibri" panose="020F0502020204030204" pitchFamily="34" charset="0"/>
              <a:buChar char="»"/>
              <a:defRPr sz="1400" kern="1200" baseline="0">
                <a:solidFill>
                  <a:srgbClr val="6D6D6D"/>
                </a:solidFill>
                <a:latin typeface="+mn-lt"/>
                <a:ea typeface="+mn-ea"/>
                <a:cs typeface="+mn-cs"/>
              </a:defRPr>
            </a:lvl9pPr>
          </a:lstStyle>
          <a:p>
            <a:pPr algn="just" fontAlgn="base"/>
            <a:r>
              <a:rPr lang="fr-FR" sz="1800" dirty="0">
                <a:solidFill>
                  <a:prstClr val="black"/>
                </a:solidFill>
              </a:rPr>
              <a:t>La Métropole est aux côtés l’ensemble des acteurs de la vie économique pour </a:t>
            </a:r>
            <a:r>
              <a:rPr lang="fr-FR" sz="1800" b="1" dirty="0">
                <a:solidFill>
                  <a:prstClr val="black"/>
                </a:solidFill>
              </a:rPr>
              <a:t>construire, ensemble, un modèle de développement pour une économie prospère, sobre, qui s’adapte aux enjeux climatiques, aux exigences de justice sociale et aux impératifs de santé publique.</a:t>
            </a:r>
            <a:endParaRPr lang="fr-FR" sz="1800" dirty="0">
              <a:solidFill>
                <a:prstClr val="black"/>
              </a:solidFill>
              <a:latin typeface="Arial"/>
              <a:cs typeface="Arial"/>
            </a:endParaRPr>
          </a:p>
        </p:txBody>
      </p:sp>
      <p:grpSp>
        <p:nvGrpSpPr>
          <p:cNvPr id="17" name="Group 15">
            <a:extLst>
              <a:ext uri="{FF2B5EF4-FFF2-40B4-BE49-F238E27FC236}">
                <a16:creationId xmlns:a16="http://schemas.microsoft.com/office/drawing/2014/main" id="{D2476C86-7187-4383-AB87-A876FC047812}"/>
              </a:ext>
            </a:extLst>
          </p:cNvPr>
          <p:cNvGrpSpPr/>
          <p:nvPr/>
        </p:nvGrpSpPr>
        <p:grpSpPr>
          <a:xfrm>
            <a:off x="634408" y="4853854"/>
            <a:ext cx="540000" cy="540212"/>
            <a:chOff x="2038132" y="1614096"/>
            <a:chExt cx="720000" cy="720282"/>
          </a:xfrm>
          <a:solidFill>
            <a:schemeClr val="tx2"/>
          </a:solidFill>
        </p:grpSpPr>
        <p:pic>
          <p:nvPicPr>
            <p:cNvPr id="18" name="Picture 16">
              <a:extLst>
                <a:ext uri="{FF2B5EF4-FFF2-40B4-BE49-F238E27FC236}">
                  <a16:creationId xmlns:a16="http://schemas.microsoft.com/office/drawing/2014/main" id="{8561B7AD-B11E-42BA-AB7B-AF8C9316346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038132" y="1614096"/>
              <a:ext cx="720000" cy="716682"/>
            </a:xfrm>
            <a:prstGeom prst="rect">
              <a:avLst/>
            </a:prstGeom>
            <a:grpFill/>
          </p:spPr>
        </p:pic>
        <p:sp>
          <p:nvSpPr>
            <p:cNvPr id="19" name="TextBox 17">
              <a:extLst>
                <a:ext uri="{FF2B5EF4-FFF2-40B4-BE49-F238E27FC236}">
                  <a16:creationId xmlns:a16="http://schemas.microsoft.com/office/drawing/2014/main" id="{3F3B87EF-4822-4A8F-ADD8-84D82EA6FC46}"/>
                </a:ext>
              </a:extLst>
            </p:cNvPr>
            <p:cNvSpPr txBox="1"/>
            <p:nvPr/>
          </p:nvSpPr>
          <p:spPr>
            <a:xfrm>
              <a:off x="2038132" y="1614378"/>
              <a:ext cx="720000" cy="720000"/>
            </a:xfrm>
            <a:prstGeom prst="rect">
              <a:avLst/>
            </a:prstGeom>
            <a:grpFill/>
          </p:spPr>
          <p:txBody>
            <a:bodyPr wrap="none" lIns="0" tIns="0" rIns="0" bIns="0" rtlCol="0" anchor="ctr" anchorCtr="0">
              <a:noAutofit/>
            </a:bodyPr>
            <a:lstStyle/>
            <a:p>
              <a:pPr algn="ctr" defTabSz="685783" eaLnBrk="0" fontAlgn="base" hangingPunct="0">
                <a:spcBef>
                  <a:spcPct val="0"/>
                </a:spcBef>
                <a:spcAft>
                  <a:spcPct val="0"/>
                </a:spcAft>
              </a:pPr>
              <a:r>
                <a:rPr lang="en-US" sz="2400" b="1" dirty="0">
                  <a:solidFill>
                    <a:prstClr val="white"/>
                  </a:solidFill>
                  <a:latin typeface="Arial" panose="020B0604020202020204" pitchFamily="34" charset="0"/>
                  <a:cs typeface="Arial" panose="020B0604020202020204" pitchFamily="34" charset="0"/>
                </a:rPr>
                <a:t>3</a:t>
              </a:r>
            </a:p>
          </p:txBody>
        </p:sp>
      </p:grpSp>
      <p:sp>
        <p:nvSpPr>
          <p:cNvPr id="2" name="Rectangle 1">
            <a:extLst>
              <a:ext uri="{FF2B5EF4-FFF2-40B4-BE49-F238E27FC236}">
                <a16:creationId xmlns:a16="http://schemas.microsoft.com/office/drawing/2014/main" id="{160543EE-5F59-4877-A121-34249F65D9E4}"/>
              </a:ext>
            </a:extLst>
          </p:cNvPr>
          <p:cNvSpPr/>
          <p:nvPr/>
        </p:nvSpPr>
        <p:spPr>
          <a:xfrm>
            <a:off x="1398756" y="4810479"/>
            <a:ext cx="9785058" cy="1200329"/>
          </a:xfrm>
          <a:prstGeom prst="rect">
            <a:avLst/>
          </a:prstGeom>
        </p:spPr>
        <p:txBody>
          <a:bodyPr wrap="square">
            <a:spAutoFit/>
          </a:bodyPr>
          <a:lstStyle/>
          <a:p>
            <a:r>
              <a:rPr lang="fr-FR" dirty="0">
                <a:latin typeface="Roboto-Bold"/>
              </a:rPr>
              <a:t>Les grands axes de la stratégie économie à impact positif :</a:t>
            </a:r>
          </a:p>
          <a:p>
            <a:pPr marL="285750" indent="-285750">
              <a:buFont typeface="Arial" panose="020B0604020202020204" pitchFamily="34" charset="0"/>
              <a:buChar char="•"/>
            </a:pPr>
            <a:r>
              <a:rPr lang="fr-FR" b="1" dirty="0">
                <a:latin typeface="Roboto-Bold"/>
              </a:rPr>
              <a:t>Transformer les modèles, préserver les ressources.</a:t>
            </a:r>
          </a:p>
          <a:p>
            <a:pPr marL="285750" indent="-285750">
              <a:buFont typeface="Arial" panose="020B0604020202020204" pitchFamily="34" charset="0"/>
              <a:buChar char="•"/>
            </a:pPr>
            <a:r>
              <a:rPr lang="fr-FR" b="1" dirty="0"/>
              <a:t>Créer de l’emploi utile et accessible, entreprendre, coopérer.</a:t>
            </a:r>
          </a:p>
          <a:p>
            <a:pPr marL="285750" indent="-285750">
              <a:buFont typeface="Arial" panose="020B0604020202020204" pitchFamily="34" charset="0"/>
              <a:buChar char="•"/>
            </a:pPr>
            <a:r>
              <a:rPr lang="fr-FR" b="1" dirty="0"/>
              <a:t>Construire les conditions du mieux-vivre.</a:t>
            </a:r>
            <a:endParaRPr lang="fr-FR" dirty="0"/>
          </a:p>
        </p:txBody>
      </p:sp>
      <p:sp>
        <p:nvSpPr>
          <p:cNvPr id="24" name="Titre 1">
            <a:extLst>
              <a:ext uri="{FF2B5EF4-FFF2-40B4-BE49-F238E27FC236}">
                <a16:creationId xmlns:a16="http://schemas.microsoft.com/office/drawing/2014/main" id="{4611AF0E-E5EB-4624-AC11-D21A5903FB98}"/>
              </a:ext>
            </a:extLst>
          </p:cNvPr>
          <p:cNvSpPr txBox="1">
            <a:spLocks/>
          </p:cNvSpPr>
          <p:nvPr/>
        </p:nvSpPr>
        <p:spPr>
          <a:xfrm>
            <a:off x="908323" y="60738"/>
            <a:ext cx="12191999" cy="851143"/>
          </a:xfrm>
          <a:prstGeom prst="rect">
            <a:avLst/>
          </a:prstGeom>
        </p:spPr>
        <p:txBody>
          <a:bodyPr/>
          <a:lstStyle>
            <a:lvl1pPr algn="ctr" rtl="0" eaLnBrk="1" fontAlgn="base" hangingPunct="1">
              <a:spcBef>
                <a:spcPct val="0"/>
              </a:spcBef>
              <a:spcAft>
                <a:spcPct val="0"/>
              </a:spcAft>
              <a:defRPr sz="3300">
                <a:solidFill>
                  <a:schemeClr val="tx2"/>
                </a:solidFill>
                <a:latin typeface="+mj-lt"/>
                <a:ea typeface="+mj-ea"/>
                <a:cs typeface="+mj-cs"/>
              </a:defRPr>
            </a:lvl1pPr>
            <a:lvl2pPr algn="ctr" rtl="0" eaLnBrk="1" fontAlgn="base" hangingPunct="1">
              <a:spcBef>
                <a:spcPct val="0"/>
              </a:spcBef>
              <a:spcAft>
                <a:spcPct val="0"/>
              </a:spcAft>
              <a:defRPr sz="3300">
                <a:solidFill>
                  <a:schemeClr val="tx2"/>
                </a:solidFill>
                <a:latin typeface="Arial" charset="0"/>
                <a:cs typeface="Arial" charset="0"/>
              </a:defRPr>
            </a:lvl2pPr>
            <a:lvl3pPr algn="ctr" rtl="0" eaLnBrk="1" fontAlgn="base" hangingPunct="1">
              <a:spcBef>
                <a:spcPct val="0"/>
              </a:spcBef>
              <a:spcAft>
                <a:spcPct val="0"/>
              </a:spcAft>
              <a:defRPr sz="3300">
                <a:solidFill>
                  <a:schemeClr val="tx2"/>
                </a:solidFill>
                <a:latin typeface="Arial" charset="0"/>
                <a:cs typeface="Arial" charset="0"/>
              </a:defRPr>
            </a:lvl3pPr>
            <a:lvl4pPr algn="ctr" rtl="0" eaLnBrk="1" fontAlgn="base" hangingPunct="1">
              <a:spcBef>
                <a:spcPct val="0"/>
              </a:spcBef>
              <a:spcAft>
                <a:spcPct val="0"/>
              </a:spcAft>
              <a:defRPr sz="3300">
                <a:solidFill>
                  <a:schemeClr val="tx2"/>
                </a:solidFill>
                <a:latin typeface="Arial" charset="0"/>
                <a:cs typeface="Arial" charset="0"/>
              </a:defRPr>
            </a:lvl4pPr>
            <a:lvl5pPr algn="ctr" rtl="0" eaLnBrk="1" fontAlgn="base" hangingPunct="1">
              <a:spcBef>
                <a:spcPct val="0"/>
              </a:spcBef>
              <a:spcAft>
                <a:spcPct val="0"/>
              </a:spcAft>
              <a:defRPr sz="3300">
                <a:solidFill>
                  <a:schemeClr val="tx2"/>
                </a:solidFill>
                <a:latin typeface="Arial" charset="0"/>
                <a:cs typeface="Arial" charset="0"/>
              </a:defRPr>
            </a:lvl5pPr>
            <a:lvl6pPr marL="342900" algn="ctr" rtl="0" eaLnBrk="1" fontAlgn="base" hangingPunct="1">
              <a:spcBef>
                <a:spcPct val="0"/>
              </a:spcBef>
              <a:spcAft>
                <a:spcPct val="0"/>
              </a:spcAft>
              <a:defRPr sz="3300">
                <a:solidFill>
                  <a:schemeClr val="tx2"/>
                </a:solidFill>
                <a:latin typeface="Arial" charset="0"/>
                <a:cs typeface="Arial" charset="0"/>
              </a:defRPr>
            </a:lvl6pPr>
            <a:lvl7pPr marL="685800" algn="ctr" rtl="0" eaLnBrk="1" fontAlgn="base" hangingPunct="1">
              <a:spcBef>
                <a:spcPct val="0"/>
              </a:spcBef>
              <a:spcAft>
                <a:spcPct val="0"/>
              </a:spcAft>
              <a:defRPr sz="3300">
                <a:solidFill>
                  <a:schemeClr val="tx2"/>
                </a:solidFill>
                <a:latin typeface="Arial" charset="0"/>
                <a:cs typeface="Arial" charset="0"/>
              </a:defRPr>
            </a:lvl7pPr>
            <a:lvl8pPr marL="1028700" algn="ctr" rtl="0" eaLnBrk="1" fontAlgn="base" hangingPunct="1">
              <a:spcBef>
                <a:spcPct val="0"/>
              </a:spcBef>
              <a:spcAft>
                <a:spcPct val="0"/>
              </a:spcAft>
              <a:defRPr sz="3300">
                <a:solidFill>
                  <a:schemeClr val="tx2"/>
                </a:solidFill>
                <a:latin typeface="Arial" charset="0"/>
                <a:cs typeface="Arial" charset="0"/>
              </a:defRPr>
            </a:lvl8pPr>
            <a:lvl9pPr marL="1371600" algn="ctr" rtl="0" eaLnBrk="1" fontAlgn="base" hangingPunct="1">
              <a:spcBef>
                <a:spcPct val="0"/>
              </a:spcBef>
              <a:spcAft>
                <a:spcPct val="0"/>
              </a:spcAft>
              <a:defRPr sz="3300">
                <a:solidFill>
                  <a:schemeClr val="tx2"/>
                </a:solidFill>
                <a:latin typeface="Arial" charset="0"/>
                <a:cs typeface="Arial" charset="0"/>
              </a:defRPr>
            </a:lvl9pPr>
          </a:lstStyle>
          <a:p>
            <a:pPr algn="l" defTabSz="1219170"/>
            <a:r>
              <a:rPr lang="fr-FR" sz="3733" b="1" kern="0" cap="all" dirty="0">
                <a:solidFill>
                  <a:srgbClr val="FFFFFF"/>
                </a:solidFill>
                <a:latin typeface="Arial Black" pitchFamily="34" charset="0"/>
                <a:cs typeface="Arial"/>
              </a:rPr>
              <a:t>La stratégie économique à impact positif de la métropole de lyon</a:t>
            </a:r>
          </a:p>
        </p:txBody>
      </p:sp>
    </p:spTree>
    <p:extLst>
      <p:ext uri="{BB962C8B-B14F-4D97-AF65-F5344CB8AC3E}">
        <p14:creationId xmlns:p14="http://schemas.microsoft.com/office/powerpoint/2010/main" val="34435624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F83EB17-F115-4FD4-88B0-D128E2F55FA9}"/>
              </a:ext>
            </a:extLst>
          </p:cNvPr>
          <p:cNvSpPr/>
          <p:nvPr/>
        </p:nvSpPr>
        <p:spPr>
          <a:xfrm>
            <a:off x="0" y="1"/>
            <a:ext cx="12192000" cy="1370199"/>
          </a:xfrm>
          <a:prstGeom prst="rect">
            <a:avLst/>
          </a:prstGeom>
          <a:solidFill>
            <a:srgbClr val="E4D0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914377" eaLnBrk="0" fontAlgn="base" hangingPunct="0">
              <a:spcBef>
                <a:spcPct val="0"/>
              </a:spcBef>
              <a:spcAft>
                <a:spcPct val="0"/>
              </a:spcAft>
            </a:pPr>
            <a:endParaRPr lang="fr-FR" dirty="0">
              <a:solidFill>
                <a:srgbClr val="FFFFFF"/>
              </a:solidFill>
              <a:latin typeface="Arial"/>
              <a:cs typeface="Arial"/>
            </a:endParaRPr>
          </a:p>
        </p:txBody>
      </p:sp>
      <p:sp>
        <p:nvSpPr>
          <p:cNvPr id="13" name="Rectangle 12">
            <a:extLst>
              <a:ext uri="{FF2B5EF4-FFF2-40B4-BE49-F238E27FC236}">
                <a16:creationId xmlns:a16="http://schemas.microsoft.com/office/drawing/2014/main" id="{3B086DEC-A91F-4D75-BE8A-24039F8E8C59}"/>
              </a:ext>
            </a:extLst>
          </p:cNvPr>
          <p:cNvSpPr/>
          <p:nvPr/>
        </p:nvSpPr>
        <p:spPr>
          <a:xfrm>
            <a:off x="-2" y="1332080"/>
            <a:ext cx="12192001" cy="186411"/>
          </a:xfrm>
          <a:prstGeom prst="rect">
            <a:avLst/>
          </a:prstGeom>
          <a:solidFill>
            <a:srgbClr val="FF00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914377" eaLnBrk="0" fontAlgn="base" hangingPunct="0">
              <a:spcBef>
                <a:spcPct val="0"/>
              </a:spcBef>
              <a:spcAft>
                <a:spcPct val="0"/>
              </a:spcAft>
            </a:pPr>
            <a:endParaRPr lang="fr-FR">
              <a:solidFill>
                <a:srgbClr val="FFFFFF"/>
              </a:solidFill>
              <a:latin typeface="Arial"/>
              <a:cs typeface="Arial"/>
            </a:endParaRPr>
          </a:p>
        </p:txBody>
      </p:sp>
      <p:sp>
        <p:nvSpPr>
          <p:cNvPr id="12" name="Content Placeholder 1">
            <a:extLst>
              <a:ext uri="{FF2B5EF4-FFF2-40B4-BE49-F238E27FC236}">
                <a16:creationId xmlns:a16="http://schemas.microsoft.com/office/drawing/2014/main" id="{B769893A-FF18-4BF9-B8FD-740E01303C86}"/>
              </a:ext>
            </a:extLst>
          </p:cNvPr>
          <p:cNvSpPr txBox="1">
            <a:spLocks/>
          </p:cNvSpPr>
          <p:nvPr/>
        </p:nvSpPr>
        <p:spPr>
          <a:xfrm>
            <a:off x="-1381199" y="3688882"/>
            <a:ext cx="9962491" cy="369332"/>
          </a:xfrm>
          <a:prstGeom prst="rect">
            <a:avLst/>
          </a:prstGeom>
        </p:spPr>
        <p:txBody>
          <a:bodyPr wrap="square" anchor="ctr">
            <a:spAutoFit/>
          </a:bodyPr>
          <a:lstStyle>
            <a:lvl1pPr marL="0" indent="0" algn="l" defTabSz="914400" rtl="0" eaLnBrk="1" latinLnBrk="0" hangingPunct="1">
              <a:spcBef>
                <a:spcPts val="0"/>
              </a:spcBef>
              <a:spcAft>
                <a:spcPts val="500"/>
              </a:spcAft>
              <a:buFont typeface="Arial" panose="020B0604020202020204" pitchFamily="34" charset="0"/>
              <a:buNone/>
              <a:defRPr sz="2000" kern="1200" baseline="0">
                <a:solidFill>
                  <a:schemeClr val="tx2"/>
                </a:solidFill>
                <a:latin typeface="+mn-lt"/>
                <a:ea typeface="+mn-ea"/>
                <a:cs typeface="+mn-cs"/>
              </a:defRPr>
            </a:lvl1pPr>
            <a:lvl2pPr marL="0" indent="0" algn="l" defTabSz="914400" rtl="0" eaLnBrk="1" latinLnBrk="0" hangingPunct="1">
              <a:spcBef>
                <a:spcPts val="500"/>
              </a:spcBef>
              <a:buClr>
                <a:schemeClr val="tx2"/>
              </a:buClr>
              <a:buSzPct val="105000"/>
              <a:buFontTx/>
              <a:buNone/>
              <a:defRPr sz="1800" kern="1200">
                <a:solidFill>
                  <a:srgbClr val="6D6D6D"/>
                </a:solidFill>
                <a:latin typeface="+mn-lt"/>
                <a:ea typeface="+mn-ea"/>
                <a:cs typeface="+mn-cs"/>
              </a:defRPr>
            </a:lvl2pPr>
            <a:lvl3pPr marL="180000" indent="-180000" algn="l" defTabSz="914400" rtl="0" eaLnBrk="1" latinLnBrk="0" hangingPunct="1">
              <a:spcBef>
                <a:spcPts val="500"/>
              </a:spcBef>
              <a:buClr>
                <a:schemeClr val="tx2"/>
              </a:buClr>
              <a:buFont typeface="Calibri" panose="020F0502020204030204" pitchFamily="34" charset="0"/>
              <a:buChar char="›"/>
              <a:defRPr sz="1600" kern="1200">
                <a:solidFill>
                  <a:srgbClr val="6D6D6D"/>
                </a:solidFill>
                <a:latin typeface="+mn-lt"/>
                <a:ea typeface="+mn-ea"/>
                <a:cs typeface="+mn-cs"/>
              </a:defRPr>
            </a:lvl3pPr>
            <a:lvl4pPr marL="367200" indent="-187200" algn="l" defTabSz="914400" rtl="0" eaLnBrk="1" latinLnBrk="0" hangingPunct="1">
              <a:spcBef>
                <a:spcPts val="500"/>
              </a:spcBef>
              <a:buFont typeface="Symbol" panose="05050102010706020507" pitchFamily="18" charset="2"/>
              <a:buChar char="-"/>
              <a:defRPr sz="1600" kern="1200">
                <a:solidFill>
                  <a:srgbClr val="6D6D6D"/>
                </a:solidFill>
                <a:latin typeface="+mn-lt"/>
                <a:ea typeface="+mn-ea"/>
                <a:cs typeface="+mn-cs"/>
              </a:defRPr>
            </a:lvl4pPr>
            <a:lvl5pPr marL="576000" indent="-187200" algn="l" defTabSz="914400" rtl="0" eaLnBrk="1" latinLnBrk="0" hangingPunct="1">
              <a:spcBef>
                <a:spcPts val="500"/>
              </a:spcBef>
              <a:buClr>
                <a:schemeClr val="tx1"/>
              </a:buClr>
              <a:buFont typeface="Symbol" panose="05050102010706020507" pitchFamily="18" charset="2"/>
              <a:buChar char="-"/>
              <a:defRPr sz="1400" kern="1200">
                <a:solidFill>
                  <a:srgbClr val="6D6D6D"/>
                </a:solidFill>
                <a:latin typeface="+mn-lt"/>
                <a:ea typeface="+mn-ea"/>
                <a:cs typeface="+mn-cs"/>
              </a:defRPr>
            </a:lvl5pPr>
            <a:lvl6pPr marL="766763" indent="-185738" algn="l" defTabSz="914400" rtl="0" eaLnBrk="1" latinLnBrk="0" hangingPunct="1">
              <a:spcBef>
                <a:spcPts val="500"/>
              </a:spcBef>
              <a:buClr>
                <a:schemeClr val="tx2"/>
              </a:buClr>
              <a:buFont typeface="Calibri" panose="020F0502020204030204" pitchFamily="34" charset="0"/>
              <a:buChar char="»"/>
              <a:defRPr sz="1400" kern="1200">
                <a:solidFill>
                  <a:srgbClr val="6D6D6D"/>
                </a:solidFill>
                <a:latin typeface="+mn-lt"/>
                <a:ea typeface="+mn-ea"/>
                <a:cs typeface="+mn-cs"/>
              </a:defRPr>
            </a:lvl6pPr>
            <a:lvl7pPr marL="766800" indent="-187200" algn="l" defTabSz="914400" rtl="0" eaLnBrk="1" latinLnBrk="0" hangingPunct="1">
              <a:spcBef>
                <a:spcPts val="500"/>
              </a:spcBef>
              <a:buClr>
                <a:schemeClr val="tx2"/>
              </a:buClr>
              <a:buFont typeface="Calibri" panose="020F0502020204030204" pitchFamily="34" charset="0"/>
              <a:buChar char="»"/>
              <a:defRPr sz="1400" kern="1200" baseline="0">
                <a:solidFill>
                  <a:srgbClr val="6D6D6D"/>
                </a:solidFill>
                <a:latin typeface="+mn-lt"/>
                <a:ea typeface="+mn-ea"/>
                <a:cs typeface="+mn-cs"/>
              </a:defRPr>
            </a:lvl7pPr>
            <a:lvl8pPr marL="766800" indent="-187200" algn="l" defTabSz="914400" rtl="0" eaLnBrk="1" latinLnBrk="0" hangingPunct="1">
              <a:spcBef>
                <a:spcPts val="500"/>
              </a:spcBef>
              <a:buClr>
                <a:schemeClr val="tx2"/>
              </a:buClr>
              <a:buFont typeface="Calibri" panose="020F0502020204030204" pitchFamily="34" charset="0"/>
              <a:buChar char="»"/>
              <a:defRPr sz="1400" kern="1200" baseline="0">
                <a:solidFill>
                  <a:srgbClr val="6D6D6D"/>
                </a:solidFill>
                <a:latin typeface="+mn-lt"/>
                <a:ea typeface="+mn-ea"/>
                <a:cs typeface="+mn-cs"/>
              </a:defRPr>
            </a:lvl8pPr>
            <a:lvl9pPr marL="766800" indent="-187200" algn="l" defTabSz="914400" rtl="0" eaLnBrk="1" latinLnBrk="0" hangingPunct="1">
              <a:spcBef>
                <a:spcPts val="500"/>
              </a:spcBef>
              <a:buClr>
                <a:schemeClr val="tx2"/>
              </a:buClr>
              <a:buFont typeface="Calibri" panose="020F0502020204030204" pitchFamily="34" charset="0"/>
              <a:buChar char="»"/>
              <a:defRPr sz="1400" kern="1200" baseline="0">
                <a:solidFill>
                  <a:srgbClr val="6D6D6D"/>
                </a:solidFill>
                <a:latin typeface="+mn-lt"/>
                <a:ea typeface="+mn-ea"/>
                <a:cs typeface="+mn-cs"/>
              </a:defRPr>
            </a:lvl9pPr>
          </a:lstStyle>
          <a:p>
            <a:pPr fontAlgn="base">
              <a:defRPr/>
            </a:pPr>
            <a:r>
              <a:rPr lang="fr-FR" sz="1800" dirty="0">
                <a:solidFill>
                  <a:srgbClr val="000000"/>
                </a:solidFill>
              </a:rPr>
              <a:t>:</a:t>
            </a:r>
          </a:p>
        </p:txBody>
      </p:sp>
      <p:sp>
        <p:nvSpPr>
          <p:cNvPr id="24" name="Titre 1">
            <a:extLst>
              <a:ext uri="{FF2B5EF4-FFF2-40B4-BE49-F238E27FC236}">
                <a16:creationId xmlns:a16="http://schemas.microsoft.com/office/drawing/2014/main" id="{4611AF0E-E5EB-4624-AC11-D21A5903FB98}"/>
              </a:ext>
            </a:extLst>
          </p:cNvPr>
          <p:cNvSpPr txBox="1">
            <a:spLocks/>
          </p:cNvSpPr>
          <p:nvPr/>
        </p:nvSpPr>
        <p:spPr>
          <a:xfrm>
            <a:off x="908323" y="328028"/>
            <a:ext cx="11283677" cy="851143"/>
          </a:xfrm>
          <a:prstGeom prst="rect">
            <a:avLst/>
          </a:prstGeom>
        </p:spPr>
        <p:txBody>
          <a:bodyPr/>
          <a:lstStyle>
            <a:lvl1pPr algn="ctr" rtl="0" eaLnBrk="1" fontAlgn="base" hangingPunct="1">
              <a:spcBef>
                <a:spcPct val="0"/>
              </a:spcBef>
              <a:spcAft>
                <a:spcPct val="0"/>
              </a:spcAft>
              <a:defRPr sz="3300">
                <a:solidFill>
                  <a:schemeClr val="tx2"/>
                </a:solidFill>
                <a:latin typeface="+mj-lt"/>
                <a:ea typeface="+mj-ea"/>
                <a:cs typeface="+mj-cs"/>
              </a:defRPr>
            </a:lvl1pPr>
            <a:lvl2pPr algn="ctr" rtl="0" eaLnBrk="1" fontAlgn="base" hangingPunct="1">
              <a:spcBef>
                <a:spcPct val="0"/>
              </a:spcBef>
              <a:spcAft>
                <a:spcPct val="0"/>
              </a:spcAft>
              <a:defRPr sz="3300">
                <a:solidFill>
                  <a:schemeClr val="tx2"/>
                </a:solidFill>
                <a:latin typeface="Arial" charset="0"/>
                <a:cs typeface="Arial" charset="0"/>
              </a:defRPr>
            </a:lvl2pPr>
            <a:lvl3pPr algn="ctr" rtl="0" eaLnBrk="1" fontAlgn="base" hangingPunct="1">
              <a:spcBef>
                <a:spcPct val="0"/>
              </a:spcBef>
              <a:spcAft>
                <a:spcPct val="0"/>
              </a:spcAft>
              <a:defRPr sz="3300">
                <a:solidFill>
                  <a:schemeClr val="tx2"/>
                </a:solidFill>
                <a:latin typeface="Arial" charset="0"/>
                <a:cs typeface="Arial" charset="0"/>
              </a:defRPr>
            </a:lvl3pPr>
            <a:lvl4pPr algn="ctr" rtl="0" eaLnBrk="1" fontAlgn="base" hangingPunct="1">
              <a:spcBef>
                <a:spcPct val="0"/>
              </a:spcBef>
              <a:spcAft>
                <a:spcPct val="0"/>
              </a:spcAft>
              <a:defRPr sz="3300">
                <a:solidFill>
                  <a:schemeClr val="tx2"/>
                </a:solidFill>
                <a:latin typeface="Arial" charset="0"/>
                <a:cs typeface="Arial" charset="0"/>
              </a:defRPr>
            </a:lvl4pPr>
            <a:lvl5pPr algn="ctr" rtl="0" eaLnBrk="1" fontAlgn="base" hangingPunct="1">
              <a:spcBef>
                <a:spcPct val="0"/>
              </a:spcBef>
              <a:spcAft>
                <a:spcPct val="0"/>
              </a:spcAft>
              <a:defRPr sz="3300">
                <a:solidFill>
                  <a:schemeClr val="tx2"/>
                </a:solidFill>
                <a:latin typeface="Arial" charset="0"/>
                <a:cs typeface="Arial" charset="0"/>
              </a:defRPr>
            </a:lvl5pPr>
            <a:lvl6pPr marL="342900" algn="ctr" rtl="0" eaLnBrk="1" fontAlgn="base" hangingPunct="1">
              <a:spcBef>
                <a:spcPct val="0"/>
              </a:spcBef>
              <a:spcAft>
                <a:spcPct val="0"/>
              </a:spcAft>
              <a:defRPr sz="3300">
                <a:solidFill>
                  <a:schemeClr val="tx2"/>
                </a:solidFill>
                <a:latin typeface="Arial" charset="0"/>
                <a:cs typeface="Arial" charset="0"/>
              </a:defRPr>
            </a:lvl6pPr>
            <a:lvl7pPr marL="685800" algn="ctr" rtl="0" eaLnBrk="1" fontAlgn="base" hangingPunct="1">
              <a:spcBef>
                <a:spcPct val="0"/>
              </a:spcBef>
              <a:spcAft>
                <a:spcPct val="0"/>
              </a:spcAft>
              <a:defRPr sz="3300">
                <a:solidFill>
                  <a:schemeClr val="tx2"/>
                </a:solidFill>
                <a:latin typeface="Arial" charset="0"/>
                <a:cs typeface="Arial" charset="0"/>
              </a:defRPr>
            </a:lvl7pPr>
            <a:lvl8pPr marL="1028700" algn="ctr" rtl="0" eaLnBrk="1" fontAlgn="base" hangingPunct="1">
              <a:spcBef>
                <a:spcPct val="0"/>
              </a:spcBef>
              <a:spcAft>
                <a:spcPct val="0"/>
              </a:spcAft>
              <a:defRPr sz="3300">
                <a:solidFill>
                  <a:schemeClr val="tx2"/>
                </a:solidFill>
                <a:latin typeface="Arial" charset="0"/>
                <a:cs typeface="Arial" charset="0"/>
              </a:defRPr>
            </a:lvl8pPr>
            <a:lvl9pPr marL="1371600" algn="ctr" rtl="0" eaLnBrk="1" fontAlgn="base" hangingPunct="1">
              <a:spcBef>
                <a:spcPct val="0"/>
              </a:spcBef>
              <a:spcAft>
                <a:spcPct val="0"/>
              </a:spcAft>
              <a:defRPr sz="3300">
                <a:solidFill>
                  <a:schemeClr val="tx2"/>
                </a:solidFill>
                <a:latin typeface="Arial" charset="0"/>
                <a:cs typeface="Arial" charset="0"/>
              </a:defRPr>
            </a:lvl9pPr>
          </a:lstStyle>
          <a:p>
            <a:pPr algn="l" defTabSz="1219170"/>
            <a:r>
              <a:rPr lang="fr-FR" sz="3733" b="1" kern="0" cap="all" dirty="0">
                <a:solidFill>
                  <a:srgbClr val="FFFFFF"/>
                </a:solidFill>
                <a:latin typeface="Arial Black" pitchFamily="34" charset="0"/>
                <a:cs typeface="Arial"/>
              </a:rPr>
              <a:t>Les leviers d’action</a:t>
            </a:r>
          </a:p>
        </p:txBody>
      </p:sp>
      <p:grpSp>
        <p:nvGrpSpPr>
          <p:cNvPr id="26" name="Circle diagram - 4 items">
            <a:extLst>
              <a:ext uri="{FF2B5EF4-FFF2-40B4-BE49-F238E27FC236}">
                <a16:creationId xmlns:a16="http://schemas.microsoft.com/office/drawing/2014/main" id="{C1B06992-3E14-4BC6-964C-438EEF72D9FE}"/>
              </a:ext>
            </a:extLst>
          </p:cNvPr>
          <p:cNvGrpSpPr>
            <a:grpSpLocks noChangeAspect="1"/>
          </p:cNvGrpSpPr>
          <p:nvPr/>
        </p:nvGrpSpPr>
        <p:grpSpPr>
          <a:xfrm>
            <a:off x="2002017" y="1955439"/>
            <a:ext cx="8125074" cy="4205549"/>
            <a:chOff x="372729" y="1351040"/>
            <a:chExt cx="8744631" cy="4526232"/>
          </a:xfrm>
        </p:grpSpPr>
        <p:grpSp>
          <p:nvGrpSpPr>
            <p:cNvPr id="27" name="Group 4">
              <a:extLst>
                <a:ext uri="{FF2B5EF4-FFF2-40B4-BE49-F238E27FC236}">
                  <a16:creationId xmlns:a16="http://schemas.microsoft.com/office/drawing/2014/main" id="{DBA5E749-3AF1-4215-ACA7-4686338D2C2E}"/>
                </a:ext>
              </a:extLst>
            </p:cNvPr>
            <p:cNvGrpSpPr/>
            <p:nvPr/>
          </p:nvGrpSpPr>
          <p:grpSpPr>
            <a:xfrm>
              <a:off x="2299460" y="1351040"/>
              <a:ext cx="6005513" cy="4375619"/>
              <a:chOff x="2073275" y="1590406"/>
              <a:chExt cx="6005513" cy="4375619"/>
            </a:xfrm>
          </p:grpSpPr>
          <p:pic>
            <p:nvPicPr>
              <p:cNvPr id="44" name="Picture 2">
                <a:extLst>
                  <a:ext uri="{FF2B5EF4-FFF2-40B4-BE49-F238E27FC236}">
                    <a16:creationId xmlns:a16="http://schemas.microsoft.com/office/drawing/2014/main" id="{58638BC0-6E18-48E4-A656-E04D014A753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gray">
              <a:xfrm>
                <a:off x="2073275" y="1917900"/>
                <a:ext cx="6005513" cy="4048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45" name="Gruppieren 20">
                <a:extLst>
                  <a:ext uri="{FF2B5EF4-FFF2-40B4-BE49-F238E27FC236}">
                    <a16:creationId xmlns:a16="http://schemas.microsoft.com/office/drawing/2014/main" id="{79901C9F-B0A3-4CD6-9A11-4C5953CF229F}"/>
                  </a:ext>
                </a:extLst>
              </p:cNvPr>
              <p:cNvGrpSpPr/>
              <p:nvPr/>
            </p:nvGrpSpPr>
            <p:grpSpPr bwMode="gray">
              <a:xfrm>
                <a:off x="2230436" y="1590406"/>
                <a:ext cx="4104000" cy="4104000"/>
                <a:chOff x="2827338" y="1946274"/>
                <a:chExt cx="3508375" cy="3508377"/>
              </a:xfrm>
              <a:effectLst/>
              <a:scene3d>
                <a:camera prst="perspectiveRelaxedModerately" fov="5400000">
                  <a:rot lat="19728000" lon="1266000" rev="21276000"/>
                </a:camera>
                <a:lightRig rig="threePt" dir="t">
                  <a:rot lat="0" lon="0" rev="16200000"/>
                </a:lightRig>
              </a:scene3d>
            </p:grpSpPr>
            <p:sp>
              <p:nvSpPr>
                <p:cNvPr id="46" name="Freeform 13" descr="© INSCALE GmbH, 26.05.2010&#10;http://www.presentationload.com/">
                  <a:extLst>
                    <a:ext uri="{FF2B5EF4-FFF2-40B4-BE49-F238E27FC236}">
                      <a16:creationId xmlns:a16="http://schemas.microsoft.com/office/drawing/2014/main" id="{C09524A1-AEED-47EC-93B8-50003ED90C21}"/>
                    </a:ext>
                  </a:extLst>
                </p:cNvPr>
                <p:cNvSpPr>
                  <a:spLocks/>
                </p:cNvSpPr>
                <p:nvPr>
                  <p:custDataLst>
                    <p:tags r:id="rId1"/>
                  </p:custDataLst>
                </p:nvPr>
              </p:nvSpPr>
              <p:spPr bwMode="gray">
                <a:xfrm>
                  <a:off x="2835275" y="3850608"/>
                  <a:ext cx="1801813" cy="1604043"/>
                </a:xfrm>
                <a:custGeom>
                  <a:avLst/>
                  <a:gdLst>
                    <a:gd name="connsiteX0" fmla="*/ 299 w 301"/>
                    <a:gd name="connsiteY0" fmla="*/ 174 h 268"/>
                    <a:gd name="connsiteX1" fmla="*/ 192 w 301"/>
                    <a:gd name="connsiteY1" fmla="*/ 147 h 268"/>
                    <a:gd name="connsiteX2" fmla="*/ 95 w 301"/>
                    <a:gd name="connsiteY2" fmla="*/ 0 h 268"/>
                    <a:gd name="connsiteX3" fmla="*/ 0 w 301"/>
                    <a:gd name="connsiteY3" fmla="*/ 1 h 268"/>
                    <a:gd name="connsiteX4" fmla="*/ 291 w 301"/>
                    <a:gd name="connsiteY4" fmla="*/ 268 h 268"/>
                    <a:gd name="connsiteX5" fmla="*/ 301 w 301"/>
                    <a:gd name="connsiteY5" fmla="*/ 268 h 268"/>
                    <a:gd name="connsiteX6" fmla="*/ 258 w 301"/>
                    <a:gd name="connsiteY6" fmla="*/ 220 h 268"/>
                    <a:gd name="connsiteX7" fmla="*/ 299 w 301"/>
                    <a:gd name="connsiteY7" fmla="*/ 174 h 268"/>
                    <a:gd name="connsiteX0" fmla="*/ 299 w 301"/>
                    <a:gd name="connsiteY0" fmla="*/ 174 h 268"/>
                    <a:gd name="connsiteX1" fmla="*/ 192 w 301"/>
                    <a:gd name="connsiteY1" fmla="*/ 147 h 268"/>
                    <a:gd name="connsiteX2" fmla="*/ 95 w 301"/>
                    <a:gd name="connsiteY2" fmla="*/ 0 h 268"/>
                    <a:gd name="connsiteX3" fmla="*/ 0 w 301"/>
                    <a:gd name="connsiteY3" fmla="*/ 1 h 268"/>
                    <a:gd name="connsiteX4" fmla="*/ 291 w 301"/>
                    <a:gd name="connsiteY4" fmla="*/ 268 h 268"/>
                    <a:gd name="connsiteX5" fmla="*/ 301 w 301"/>
                    <a:gd name="connsiteY5" fmla="*/ 268 h 268"/>
                    <a:gd name="connsiteX6" fmla="*/ 258 w 301"/>
                    <a:gd name="connsiteY6" fmla="*/ 220 h 268"/>
                    <a:gd name="connsiteX7" fmla="*/ 299 w 301"/>
                    <a:gd name="connsiteY7" fmla="*/ 174 h 268"/>
                    <a:gd name="connsiteX0" fmla="*/ 299 w 317"/>
                    <a:gd name="connsiteY0" fmla="*/ 174 h 268"/>
                    <a:gd name="connsiteX1" fmla="*/ 192 w 317"/>
                    <a:gd name="connsiteY1" fmla="*/ 147 h 268"/>
                    <a:gd name="connsiteX2" fmla="*/ 95 w 317"/>
                    <a:gd name="connsiteY2" fmla="*/ 0 h 268"/>
                    <a:gd name="connsiteX3" fmla="*/ 0 w 317"/>
                    <a:gd name="connsiteY3" fmla="*/ 1 h 268"/>
                    <a:gd name="connsiteX4" fmla="*/ 291 w 317"/>
                    <a:gd name="connsiteY4" fmla="*/ 268 h 268"/>
                    <a:gd name="connsiteX5" fmla="*/ 301 w 317"/>
                    <a:gd name="connsiteY5" fmla="*/ 268 h 268"/>
                    <a:gd name="connsiteX6" fmla="*/ 299 w 317"/>
                    <a:gd name="connsiteY6" fmla="*/ 174 h 268"/>
                    <a:gd name="connsiteX0" fmla="*/ 299 w 301"/>
                    <a:gd name="connsiteY0" fmla="*/ 174 h 268"/>
                    <a:gd name="connsiteX1" fmla="*/ 192 w 301"/>
                    <a:gd name="connsiteY1" fmla="*/ 147 h 268"/>
                    <a:gd name="connsiteX2" fmla="*/ 95 w 301"/>
                    <a:gd name="connsiteY2" fmla="*/ 0 h 268"/>
                    <a:gd name="connsiteX3" fmla="*/ 0 w 301"/>
                    <a:gd name="connsiteY3" fmla="*/ 1 h 268"/>
                    <a:gd name="connsiteX4" fmla="*/ 291 w 301"/>
                    <a:gd name="connsiteY4" fmla="*/ 268 h 268"/>
                    <a:gd name="connsiteX5" fmla="*/ 301 w 301"/>
                    <a:gd name="connsiteY5" fmla="*/ 268 h 268"/>
                    <a:gd name="connsiteX6" fmla="*/ 299 w 301"/>
                    <a:gd name="connsiteY6" fmla="*/ 174 h 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1" h="268">
                      <a:moveTo>
                        <a:pt x="299" y="174"/>
                      </a:moveTo>
                      <a:cubicBezTo>
                        <a:pt x="263" y="175"/>
                        <a:pt x="226" y="167"/>
                        <a:pt x="192" y="147"/>
                      </a:cubicBezTo>
                      <a:cubicBezTo>
                        <a:pt x="136" y="115"/>
                        <a:pt x="102" y="60"/>
                        <a:pt x="95" y="0"/>
                      </a:cubicBezTo>
                      <a:cubicBezTo>
                        <a:pt x="63" y="0"/>
                        <a:pt x="32" y="1"/>
                        <a:pt x="0" y="1"/>
                      </a:cubicBezTo>
                      <a:cubicBezTo>
                        <a:pt x="13" y="150"/>
                        <a:pt x="138" y="268"/>
                        <a:pt x="291" y="268"/>
                      </a:cubicBezTo>
                      <a:lnTo>
                        <a:pt x="301" y="268"/>
                      </a:lnTo>
                      <a:cubicBezTo>
                        <a:pt x="300" y="237"/>
                        <a:pt x="300" y="205"/>
                        <a:pt x="299" y="174"/>
                      </a:cubicBezTo>
                      <a:close/>
                    </a:path>
                  </a:pathLst>
                </a:custGeom>
                <a:solidFill>
                  <a:schemeClr val="accent3">
                    <a:lumMod val="75000"/>
                  </a:schemeClr>
                </a:solidFill>
                <a:ln w="19050">
                  <a:solidFill>
                    <a:srgbClr val="FFFFFF"/>
                  </a:solidFill>
                  <a:round/>
                  <a:headEnd/>
                  <a:tailEnd/>
                </a:ln>
                <a:sp3d/>
              </p:spPr>
              <p:txBody>
                <a:bodyPr/>
                <a:lstStyle/>
                <a:p>
                  <a:endParaRPr lang="en-GB"/>
                </a:p>
              </p:txBody>
            </p:sp>
            <p:sp>
              <p:nvSpPr>
                <p:cNvPr id="47" name="Freeform 14" descr="© INSCALE GmbH, 26.05.2010&#10;http://www.presentationload.com/">
                  <a:extLst>
                    <a:ext uri="{FF2B5EF4-FFF2-40B4-BE49-F238E27FC236}">
                      <a16:creationId xmlns:a16="http://schemas.microsoft.com/office/drawing/2014/main" id="{327B48F6-F024-470F-9150-0D7E44E24972}"/>
                    </a:ext>
                  </a:extLst>
                </p:cNvPr>
                <p:cNvSpPr>
                  <a:spLocks/>
                </p:cNvSpPr>
                <p:nvPr>
                  <p:custDataLst>
                    <p:tags r:id="rId2"/>
                  </p:custDataLst>
                </p:nvPr>
              </p:nvSpPr>
              <p:spPr bwMode="gray">
                <a:xfrm>
                  <a:off x="2827338" y="1957387"/>
                  <a:ext cx="1606797" cy="1795462"/>
                </a:xfrm>
                <a:custGeom>
                  <a:avLst/>
                  <a:gdLst>
                    <a:gd name="connsiteX0" fmla="*/ 94 w 309"/>
                    <a:gd name="connsiteY0" fmla="*/ 297 h 300"/>
                    <a:gd name="connsiteX1" fmla="*/ 121 w 309"/>
                    <a:gd name="connsiteY1" fmla="*/ 192 h 300"/>
                    <a:gd name="connsiteX2" fmla="*/ 267 w 309"/>
                    <a:gd name="connsiteY2" fmla="*/ 95 h 300"/>
                    <a:gd name="connsiteX3" fmla="*/ 309 w 309"/>
                    <a:gd name="connsiteY3" fmla="*/ 46 h 300"/>
                    <a:gd name="connsiteX4" fmla="*/ 268 w 309"/>
                    <a:gd name="connsiteY4" fmla="*/ 0 h 300"/>
                    <a:gd name="connsiteX5" fmla="*/ 0 w 309"/>
                    <a:gd name="connsiteY5" fmla="*/ 291 h 300"/>
                    <a:gd name="connsiteX6" fmla="*/ 0 w 309"/>
                    <a:gd name="connsiteY6" fmla="*/ 300 h 300"/>
                    <a:gd name="connsiteX7" fmla="*/ 94 w 309"/>
                    <a:gd name="connsiteY7" fmla="*/ 297 h 300"/>
                    <a:gd name="connsiteX0" fmla="*/ 94 w 313"/>
                    <a:gd name="connsiteY0" fmla="*/ 330 h 333"/>
                    <a:gd name="connsiteX1" fmla="*/ 121 w 313"/>
                    <a:gd name="connsiteY1" fmla="*/ 225 h 333"/>
                    <a:gd name="connsiteX2" fmla="*/ 267 w 313"/>
                    <a:gd name="connsiteY2" fmla="*/ 128 h 333"/>
                    <a:gd name="connsiteX3" fmla="*/ 268 w 313"/>
                    <a:gd name="connsiteY3" fmla="*/ 33 h 333"/>
                    <a:gd name="connsiteX4" fmla="*/ 0 w 313"/>
                    <a:gd name="connsiteY4" fmla="*/ 324 h 333"/>
                    <a:gd name="connsiteX5" fmla="*/ 0 w 313"/>
                    <a:gd name="connsiteY5" fmla="*/ 333 h 333"/>
                    <a:gd name="connsiteX6" fmla="*/ 94 w 313"/>
                    <a:gd name="connsiteY6" fmla="*/ 330 h 333"/>
                    <a:gd name="connsiteX0" fmla="*/ 94 w 268"/>
                    <a:gd name="connsiteY0" fmla="*/ 297 h 300"/>
                    <a:gd name="connsiteX1" fmla="*/ 121 w 268"/>
                    <a:gd name="connsiteY1" fmla="*/ 192 h 300"/>
                    <a:gd name="connsiteX2" fmla="*/ 267 w 268"/>
                    <a:gd name="connsiteY2" fmla="*/ 95 h 300"/>
                    <a:gd name="connsiteX3" fmla="*/ 268 w 268"/>
                    <a:gd name="connsiteY3" fmla="*/ 0 h 300"/>
                    <a:gd name="connsiteX4" fmla="*/ 0 w 268"/>
                    <a:gd name="connsiteY4" fmla="*/ 291 h 300"/>
                    <a:gd name="connsiteX5" fmla="*/ 0 w 268"/>
                    <a:gd name="connsiteY5" fmla="*/ 300 h 300"/>
                    <a:gd name="connsiteX6" fmla="*/ 94 w 268"/>
                    <a:gd name="connsiteY6" fmla="*/ 297 h 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 h="300">
                      <a:moveTo>
                        <a:pt x="94" y="297"/>
                      </a:moveTo>
                      <a:cubicBezTo>
                        <a:pt x="93" y="262"/>
                        <a:pt x="101" y="225"/>
                        <a:pt x="121" y="192"/>
                      </a:cubicBezTo>
                      <a:cubicBezTo>
                        <a:pt x="153" y="136"/>
                        <a:pt x="208" y="102"/>
                        <a:pt x="267" y="95"/>
                      </a:cubicBezTo>
                      <a:cubicBezTo>
                        <a:pt x="267" y="63"/>
                        <a:pt x="268" y="32"/>
                        <a:pt x="268" y="0"/>
                      </a:cubicBezTo>
                      <a:cubicBezTo>
                        <a:pt x="118" y="12"/>
                        <a:pt x="0" y="138"/>
                        <a:pt x="0" y="291"/>
                      </a:cubicBezTo>
                      <a:lnTo>
                        <a:pt x="0" y="300"/>
                      </a:lnTo>
                      <a:lnTo>
                        <a:pt x="94" y="297"/>
                      </a:lnTo>
                      <a:close/>
                    </a:path>
                  </a:pathLst>
                </a:custGeom>
                <a:solidFill>
                  <a:schemeClr val="accent3">
                    <a:lumMod val="75000"/>
                  </a:schemeClr>
                </a:solidFill>
                <a:ln w="19050">
                  <a:solidFill>
                    <a:srgbClr val="FFFFFF"/>
                  </a:solidFill>
                  <a:round/>
                  <a:headEnd/>
                  <a:tailEnd/>
                </a:ln>
                <a:sp3d/>
              </p:spPr>
              <p:txBody>
                <a:bodyPr/>
                <a:lstStyle/>
                <a:p>
                  <a:endParaRPr lang="en-GB"/>
                </a:p>
              </p:txBody>
            </p:sp>
            <p:sp>
              <p:nvSpPr>
                <p:cNvPr id="48" name="Freeform 15" descr="© INSCALE GmbH, 26.05.2010&#10;http://www.presentationload.com/">
                  <a:extLst>
                    <a:ext uri="{FF2B5EF4-FFF2-40B4-BE49-F238E27FC236}">
                      <a16:creationId xmlns:a16="http://schemas.microsoft.com/office/drawing/2014/main" id="{F8517EA0-D743-4AD3-AC58-695BB7A07A36}"/>
                    </a:ext>
                  </a:extLst>
                </p:cNvPr>
                <p:cNvSpPr>
                  <a:spLocks/>
                </p:cNvSpPr>
                <p:nvPr>
                  <p:custDataLst>
                    <p:tags r:id="rId3"/>
                  </p:custDataLst>
                </p:nvPr>
              </p:nvSpPr>
              <p:spPr bwMode="gray">
                <a:xfrm>
                  <a:off x="4738471" y="3652838"/>
                  <a:ext cx="1597242" cy="1793875"/>
                </a:xfrm>
                <a:custGeom>
                  <a:avLst/>
                  <a:gdLst>
                    <a:gd name="connsiteX0" fmla="*/ 214 w 308"/>
                    <a:gd name="connsiteY0" fmla="*/ 0 h 300"/>
                    <a:gd name="connsiteX1" fmla="*/ 187 w 308"/>
                    <a:gd name="connsiteY1" fmla="*/ 107 h 300"/>
                    <a:gd name="connsiteX2" fmla="*/ 42 w 308"/>
                    <a:gd name="connsiteY2" fmla="*/ 205 h 300"/>
                    <a:gd name="connsiteX3" fmla="*/ 0 w 308"/>
                    <a:gd name="connsiteY3" fmla="*/ 253 h 300"/>
                    <a:gd name="connsiteX4" fmla="*/ 42 w 308"/>
                    <a:gd name="connsiteY4" fmla="*/ 300 h 300"/>
                    <a:gd name="connsiteX5" fmla="*/ 308 w 308"/>
                    <a:gd name="connsiteY5" fmla="*/ 8 h 300"/>
                    <a:gd name="connsiteX6" fmla="*/ 308 w 308"/>
                    <a:gd name="connsiteY6" fmla="*/ 0 h 300"/>
                    <a:gd name="connsiteX7" fmla="*/ 214 w 308"/>
                    <a:gd name="connsiteY7" fmla="*/ 0 h 300"/>
                    <a:gd name="connsiteX0" fmla="*/ 172 w 266"/>
                    <a:gd name="connsiteY0" fmla="*/ 0 h 300"/>
                    <a:gd name="connsiteX1" fmla="*/ 145 w 266"/>
                    <a:gd name="connsiteY1" fmla="*/ 107 h 300"/>
                    <a:gd name="connsiteX2" fmla="*/ 0 w 266"/>
                    <a:gd name="connsiteY2" fmla="*/ 205 h 300"/>
                    <a:gd name="connsiteX3" fmla="*/ 0 w 266"/>
                    <a:gd name="connsiteY3" fmla="*/ 300 h 300"/>
                    <a:gd name="connsiteX4" fmla="*/ 266 w 266"/>
                    <a:gd name="connsiteY4" fmla="*/ 8 h 300"/>
                    <a:gd name="connsiteX5" fmla="*/ 266 w 266"/>
                    <a:gd name="connsiteY5" fmla="*/ 0 h 300"/>
                    <a:gd name="connsiteX6" fmla="*/ 172 w 266"/>
                    <a:gd name="connsiteY6" fmla="*/ 0 h 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 h="300">
                      <a:moveTo>
                        <a:pt x="172" y="0"/>
                      </a:moveTo>
                      <a:cubicBezTo>
                        <a:pt x="173" y="37"/>
                        <a:pt x="165" y="74"/>
                        <a:pt x="145" y="107"/>
                      </a:cubicBezTo>
                      <a:cubicBezTo>
                        <a:pt x="113" y="163"/>
                        <a:pt x="59" y="197"/>
                        <a:pt x="0" y="205"/>
                      </a:cubicBezTo>
                      <a:lnTo>
                        <a:pt x="0" y="300"/>
                      </a:lnTo>
                      <a:cubicBezTo>
                        <a:pt x="149" y="287"/>
                        <a:pt x="266" y="161"/>
                        <a:pt x="266" y="8"/>
                      </a:cubicBezTo>
                      <a:lnTo>
                        <a:pt x="266" y="0"/>
                      </a:lnTo>
                      <a:lnTo>
                        <a:pt x="172" y="0"/>
                      </a:lnTo>
                      <a:close/>
                    </a:path>
                  </a:pathLst>
                </a:custGeom>
                <a:solidFill>
                  <a:schemeClr val="accent3">
                    <a:lumMod val="75000"/>
                  </a:schemeClr>
                </a:solidFill>
                <a:ln w="19050">
                  <a:solidFill>
                    <a:srgbClr val="FFFFFF"/>
                  </a:solidFill>
                  <a:round/>
                  <a:headEnd/>
                  <a:tailEnd/>
                </a:ln>
                <a:sp3d/>
              </p:spPr>
              <p:txBody>
                <a:bodyPr/>
                <a:lstStyle/>
                <a:p>
                  <a:endParaRPr lang="en-GB"/>
                </a:p>
              </p:txBody>
            </p:sp>
            <p:sp>
              <p:nvSpPr>
                <p:cNvPr id="49" name="Freeform 16" descr="© INSCALE GmbH, 26.05.2010&#10;http://www.presentationload.com/">
                  <a:extLst>
                    <a:ext uri="{FF2B5EF4-FFF2-40B4-BE49-F238E27FC236}">
                      <a16:creationId xmlns:a16="http://schemas.microsoft.com/office/drawing/2014/main" id="{48BECA34-5763-4EF1-807F-ABEF750A0FCC}"/>
                    </a:ext>
                  </a:extLst>
                </p:cNvPr>
                <p:cNvSpPr>
                  <a:spLocks/>
                </p:cNvSpPr>
                <p:nvPr>
                  <p:custDataLst>
                    <p:tags r:id="rId4"/>
                  </p:custDataLst>
                </p:nvPr>
              </p:nvSpPr>
              <p:spPr bwMode="gray">
                <a:xfrm>
                  <a:off x="4537075" y="1946274"/>
                  <a:ext cx="1790700" cy="1604044"/>
                </a:xfrm>
                <a:custGeom>
                  <a:avLst/>
                  <a:gdLst>
                    <a:gd name="connsiteX0" fmla="*/ 1 w 299"/>
                    <a:gd name="connsiteY0" fmla="*/ 95 h 309"/>
                    <a:gd name="connsiteX1" fmla="*/ 107 w 299"/>
                    <a:gd name="connsiteY1" fmla="*/ 121 h 309"/>
                    <a:gd name="connsiteX2" fmla="*/ 204 w 299"/>
                    <a:gd name="connsiteY2" fmla="*/ 266 h 309"/>
                    <a:gd name="connsiteX3" fmla="*/ 253 w 299"/>
                    <a:gd name="connsiteY3" fmla="*/ 309 h 309"/>
                    <a:gd name="connsiteX4" fmla="*/ 299 w 299"/>
                    <a:gd name="connsiteY4" fmla="*/ 268 h 309"/>
                    <a:gd name="connsiteX5" fmla="*/ 7 w 299"/>
                    <a:gd name="connsiteY5" fmla="*/ 0 h 309"/>
                    <a:gd name="connsiteX6" fmla="*/ 0 w 299"/>
                    <a:gd name="connsiteY6" fmla="*/ 1 h 309"/>
                    <a:gd name="connsiteX7" fmla="*/ 1 w 299"/>
                    <a:gd name="connsiteY7" fmla="*/ 95 h 309"/>
                    <a:gd name="connsiteX0" fmla="*/ 1 w 299"/>
                    <a:gd name="connsiteY0" fmla="*/ 95 h 309"/>
                    <a:gd name="connsiteX1" fmla="*/ 107 w 299"/>
                    <a:gd name="connsiteY1" fmla="*/ 121 h 309"/>
                    <a:gd name="connsiteX2" fmla="*/ 204 w 299"/>
                    <a:gd name="connsiteY2" fmla="*/ 266 h 309"/>
                    <a:gd name="connsiteX3" fmla="*/ 253 w 299"/>
                    <a:gd name="connsiteY3" fmla="*/ 309 h 309"/>
                    <a:gd name="connsiteX4" fmla="*/ 299 w 299"/>
                    <a:gd name="connsiteY4" fmla="*/ 268 h 309"/>
                    <a:gd name="connsiteX5" fmla="*/ 7 w 299"/>
                    <a:gd name="connsiteY5" fmla="*/ 0 h 309"/>
                    <a:gd name="connsiteX6" fmla="*/ 0 w 299"/>
                    <a:gd name="connsiteY6" fmla="*/ 1 h 309"/>
                    <a:gd name="connsiteX7" fmla="*/ 1 w 299"/>
                    <a:gd name="connsiteY7" fmla="*/ 95 h 309"/>
                    <a:gd name="connsiteX0" fmla="*/ 1 w 299"/>
                    <a:gd name="connsiteY0" fmla="*/ 95 h 268"/>
                    <a:gd name="connsiteX1" fmla="*/ 107 w 299"/>
                    <a:gd name="connsiteY1" fmla="*/ 121 h 268"/>
                    <a:gd name="connsiteX2" fmla="*/ 204 w 299"/>
                    <a:gd name="connsiteY2" fmla="*/ 266 h 268"/>
                    <a:gd name="connsiteX3" fmla="*/ 299 w 299"/>
                    <a:gd name="connsiteY3" fmla="*/ 268 h 268"/>
                    <a:gd name="connsiteX4" fmla="*/ 7 w 299"/>
                    <a:gd name="connsiteY4" fmla="*/ 0 h 268"/>
                    <a:gd name="connsiteX5" fmla="*/ 0 w 299"/>
                    <a:gd name="connsiteY5" fmla="*/ 1 h 268"/>
                    <a:gd name="connsiteX6" fmla="*/ 1 w 299"/>
                    <a:gd name="connsiteY6" fmla="*/ 95 h 268"/>
                    <a:gd name="connsiteX0" fmla="*/ 1 w 299"/>
                    <a:gd name="connsiteY0" fmla="*/ 95 h 268"/>
                    <a:gd name="connsiteX1" fmla="*/ 107 w 299"/>
                    <a:gd name="connsiteY1" fmla="*/ 121 h 268"/>
                    <a:gd name="connsiteX2" fmla="*/ 204 w 299"/>
                    <a:gd name="connsiteY2" fmla="*/ 266 h 268"/>
                    <a:gd name="connsiteX3" fmla="*/ 299 w 299"/>
                    <a:gd name="connsiteY3" fmla="*/ 268 h 268"/>
                    <a:gd name="connsiteX4" fmla="*/ 7 w 299"/>
                    <a:gd name="connsiteY4" fmla="*/ 0 h 268"/>
                    <a:gd name="connsiteX5" fmla="*/ 0 w 299"/>
                    <a:gd name="connsiteY5" fmla="*/ 1 h 268"/>
                    <a:gd name="connsiteX6" fmla="*/ 1 w 299"/>
                    <a:gd name="connsiteY6" fmla="*/ 95 h 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9" h="268">
                      <a:moveTo>
                        <a:pt x="1" y="95"/>
                      </a:moveTo>
                      <a:cubicBezTo>
                        <a:pt x="37" y="94"/>
                        <a:pt x="73" y="102"/>
                        <a:pt x="107" y="121"/>
                      </a:cubicBezTo>
                      <a:cubicBezTo>
                        <a:pt x="162" y="153"/>
                        <a:pt x="196" y="208"/>
                        <a:pt x="204" y="266"/>
                      </a:cubicBezTo>
                      <a:cubicBezTo>
                        <a:pt x="236" y="267"/>
                        <a:pt x="267" y="267"/>
                        <a:pt x="299" y="268"/>
                      </a:cubicBezTo>
                      <a:cubicBezTo>
                        <a:pt x="287" y="118"/>
                        <a:pt x="161" y="0"/>
                        <a:pt x="7" y="0"/>
                      </a:cubicBezTo>
                      <a:cubicBezTo>
                        <a:pt x="5" y="0"/>
                        <a:pt x="2" y="1"/>
                        <a:pt x="0" y="1"/>
                      </a:cubicBezTo>
                      <a:cubicBezTo>
                        <a:pt x="0" y="32"/>
                        <a:pt x="1" y="64"/>
                        <a:pt x="1" y="95"/>
                      </a:cubicBezTo>
                      <a:close/>
                    </a:path>
                  </a:pathLst>
                </a:custGeom>
                <a:solidFill>
                  <a:schemeClr val="bg2">
                    <a:lumMod val="40000"/>
                    <a:lumOff val="60000"/>
                  </a:schemeClr>
                </a:solidFill>
                <a:ln w="19050">
                  <a:solidFill>
                    <a:srgbClr val="FFFFFF"/>
                  </a:solidFill>
                  <a:round/>
                  <a:headEnd/>
                  <a:tailEnd/>
                </a:ln>
                <a:sp3d/>
              </p:spPr>
              <p:txBody>
                <a:bodyPr/>
                <a:lstStyle/>
                <a:p>
                  <a:endParaRPr lang="en-GB"/>
                </a:p>
              </p:txBody>
            </p:sp>
          </p:grpSp>
        </p:grpSp>
        <p:grpSp>
          <p:nvGrpSpPr>
            <p:cNvPr id="28" name="Group 24">
              <a:extLst>
                <a:ext uri="{FF2B5EF4-FFF2-40B4-BE49-F238E27FC236}">
                  <a16:creationId xmlns:a16="http://schemas.microsoft.com/office/drawing/2014/main" id="{16997713-078B-4E5F-801E-135ACCE70085}"/>
                </a:ext>
              </a:extLst>
            </p:cNvPr>
            <p:cNvGrpSpPr/>
            <p:nvPr/>
          </p:nvGrpSpPr>
          <p:grpSpPr>
            <a:xfrm>
              <a:off x="6112635" y="4231829"/>
              <a:ext cx="3004724" cy="1645443"/>
              <a:chOff x="5886450" y="4471195"/>
              <a:chExt cx="3004724" cy="1645443"/>
            </a:xfrm>
          </p:grpSpPr>
          <p:sp>
            <p:nvSpPr>
              <p:cNvPr id="41" name="Text Box 52" descr="© INSCALE GmbH, 26.05.2010&#10;http://www.presentationload.com/">
                <a:extLst>
                  <a:ext uri="{FF2B5EF4-FFF2-40B4-BE49-F238E27FC236}">
                    <a16:creationId xmlns:a16="http://schemas.microsoft.com/office/drawing/2014/main" id="{1E0C6C17-FD77-4C03-A98D-321C567056C8}"/>
                  </a:ext>
                </a:extLst>
              </p:cNvPr>
              <p:cNvSpPr txBox="1">
                <a:spLocks noChangeArrowheads="1"/>
              </p:cNvSpPr>
              <p:nvPr/>
            </p:nvSpPr>
            <p:spPr bwMode="gray">
              <a:xfrm>
                <a:off x="6684962" y="5096145"/>
                <a:ext cx="2206211" cy="1020493"/>
              </a:xfrm>
              <a:prstGeom prst="rect">
                <a:avLst/>
              </a:prstGeom>
              <a:noFill/>
              <a:ln w="9525">
                <a:noFill/>
                <a:miter lim="800000"/>
                <a:headEnd/>
                <a:tailEnd/>
              </a:ln>
            </p:spPr>
            <p:txBody>
              <a:bodyPr lIns="0" tIns="72000" rIns="0" bIns="0">
                <a:noAutofit/>
              </a:bodyPr>
              <a:lstStyle/>
              <a:p>
                <a:pPr algn="r" defTabSz="801688">
                  <a:spcBef>
                    <a:spcPct val="20000"/>
                  </a:spcBef>
                </a:pPr>
                <a:r>
                  <a:rPr lang="fr-FR" sz="1400" dirty="0">
                    <a:solidFill>
                      <a:srgbClr val="000000"/>
                    </a:solidFill>
                  </a:rPr>
                  <a:t>Pour des cibles stratégiques : industriels des filières clés, acteurs de l’ESS et de l’économie circulaire </a:t>
                </a:r>
                <a:endParaRPr lang="en-GB" sz="1400" noProof="1">
                  <a:cs typeface="Arial" charset="0"/>
                </a:endParaRPr>
              </a:p>
            </p:txBody>
          </p:sp>
          <p:sp>
            <p:nvSpPr>
              <p:cNvPr id="42" name="Text Box 118" descr="© INSCALE GmbH, 26.05.2010&#10;http://www.presentationload.com/">
                <a:extLst>
                  <a:ext uri="{FF2B5EF4-FFF2-40B4-BE49-F238E27FC236}">
                    <a16:creationId xmlns:a16="http://schemas.microsoft.com/office/drawing/2014/main" id="{263AC353-629A-4870-A5B0-FADF8BA982C8}"/>
                  </a:ext>
                </a:extLst>
              </p:cNvPr>
              <p:cNvSpPr txBox="1">
                <a:spLocks noChangeArrowheads="1"/>
              </p:cNvSpPr>
              <p:nvPr/>
            </p:nvSpPr>
            <p:spPr bwMode="gray">
              <a:xfrm>
                <a:off x="6352833" y="4471195"/>
                <a:ext cx="2538341" cy="626701"/>
              </a:xfrm>
              <a:prstGeom prst="rect">
                <a:avLst/>
              </a:prstGeom>
              <a:noFill/>
              <a:ln w="9525">
                <a:noFill/>
                <a:miter lim="800000"/>
                <a:headEnd/>
                <a:tailEnd/>
              </a:ln>
            </p:spPr>
            <p:txBody>
              <a:bodyPr wrap="square" lIns="0" tIns="0" rIns="0" bIns="72000" anchor="b" anchorCtr="0">
                <a:spAutoFit/>
              </a:bodyPr>
              <a:lstStyle/>
              <a:p>
                <a:pPr algn="r" defTabSz="801688">
                  <a:spcBef>
                    <a:spcPct val="20000"/>
                  </a:spcBef>
                </a:pPr>
                <a:r>
                  <a:rPr lang="fr-FR" b="1" dirty="0">
                    <a:solidFill>
                      <a:srgbClr val="000000"/>
                    </a:solidFill>
                  </a:rPr>
                  <a:t>Maîtrise foncière et immobiliers dédiés</a:t>
                </a:r>
                <a:endParaRPr lang="en-GB" b="1" noProof="1">
                  <a:solidFill>
                    <a:schemeClr val="bg2"/>
                  </a:solidFill>
                  <a:cs typeface="Arial" charset="0"/>
                </a:endParaRPr>
              </a:p>
            </p:txBody>
          </p:sp>
          <p:cxnSp>
            <p:nvCxnSpPr>
              <p:cNvPr id="43" name="Gerade Verbindung 27">
                <a:extLst>
                  <a:ext uri="{FF2B5EF4-FFF2-40B4-BE49-F238E27FC236}">
                    <a16:creationId xmlns:a16="http://schemas.microsoft.com/office/drawing/2014/main" id="{AC98F758-1720-4F87-A35A-92613B888B5F}"/>
                  </a:ext>
                </a:extLst>
              </p:cNvPr>
              <p:cNvCxnSpPr/>
              <p:nvPr/>
            </p:nvCxnSpPr>
            <p:spPr bwMode="gray">
              <a:xfrm>
                <a:off x="5886450" y="5096145"/>
                <a:ext cx="3004724" cy="0"/>
              </a:xfrm>
              <a:prstGeom prst="line">
                <a:avLst/>
              </a:prstGeom>
              <a:noFill/>
              <a:ln w="9525">
                <a:solidFill>
                  <a:schemeClr val="accent5"/>
                </a:solidFill>
                <a:prstDash val="solid"/>
                <a:round/>
                <a:headEnd/>
                <a:tailEnd/>
              </a:ln>
              <a:effectLst/>
            </p:spPr>
          </p:cxnSp>
        </p:grpSp>
        <p:grpSp>
          <p:nvGrpSpPr>
            <p:cNvPr id="29" name="Group 26">
              <a:extLst>
                <a:ext uri="{FF2B5EF4-FFF2-40B4-BE49-F238E27FC236}">
                  <a16:creationId xmlns:a16="http://schemas.microsoft.com/office/drawing/2014/main" id="{410F8FA1-58AA-41DA-AE4F-00C9392EFDC9}"/>
                </a:ext>
              </a:extLst>
            </p:cNvPr>
            <p:cNvGrpSpPr/>
            <p:nvPr/>
          </p:nvGrpSpPr>
          <p:grpSpPr>
            <a:xfrm>
              <a:off x="372729" y="1702565"/>
              <a:ext cx="3195804" cy="1790596"/>
              <a:chOff x="146544" y="1941931"/>
              <a:chExt cx="3195804" cy="1790596"/>
            </a:xfrm>
          </p:grpSpPr>
          <p:sp>
            <p:nvSpPr>
              <p:cNvPr id="38" name="Text Box 52" descr="© INSCALE GmbH, 26.05.2010&#10;http://www.presentationload.com/">
                <a:extLst>
                  <a:ext uri="{FF2B5EF4-FFF2-40B4-BE49-F238E27FC236}">
                    <a16:creationId xmlns:a16="http://schemas.microsoft.com/office/drawing/2014/main" id="{F523381C-35D8-4C79-8FC5-124CABDD7CC2}"/>
                  </a:ext>
                </a:extLst>
              </p:cNvPr>
              <p:cNvSpPr txBox="1">
                <a:spLocks noChangeArrowheads="1"/>
              </p:cNvSpPr>
              <p:nvPr/>
            </p:nvSpPr>
            <p:spPr bwMode="gray">
              <a:xfrm>
                <a:off x="156070" y="2557154"/>
                <a:ext cx="2489900" cy="1175373"/>
              </a:xfrm>
              <a:prstGeom prst="rect">
                <a:avLst/>
              </a:prstGeom>
              <a:noFill/>
              <a:ln w="9525">
                <a:noFill/>
                <a:miter lim="800000"/>
                <a:headEnd/>
                <a:tailEnd/>
              </a:ln>
            </p:spPr>
            <p:txBody>
              <a:bodyPr lIns="0" tIns="72000" rIns="0" bIns="0">
                <a:noAutofit/>
              </a:bodyPr>
              <a:lstStyle/>
              <a:p>
                <a:pPr defTabSz="801688">
                  <a:spcBef>
                    <a:spcPct val="20000"/>
                  </a:spcBef>
                </a:pPr>
                <a:r>
                  <a:rPr lang="fr-FR" sz="1400" dirty="0">
                    <a:solidFill>
                      <a:srgbClr val="000000"/>
                    </a:solidFill>
                  </a:rPr>
                  <a:t>Sur les territoires et au contact de toutes nos cibles</a:t>
                </a:r>
                <a:endParaRPr lang="en-GB" sz="1400" noProof="1">
                  <a:cs typeface="Arial" charset="0"/>
                </a:endParaRPr>
              </a:p>
            </p:txBody>
          </p:sp>
          <p:sp>
            <p:nvSpPr>
              <p:cNvPr id="39" name="Text Box 118" descr="© INSCALE GmbH, 26.05.2010&#10;http://www.presentationload.com/">
                <a:extLst>
                  <a:ext uri="{FF2B5EF4-FFF2-40B4-BE49-F238E27FC236}">
                    <a16:creationId xmlns:a16="http://schemas.microsoft.com/office/drawing/2014/main" id="{54F8ED35-3C5E-427F-9B9E-4E8C6164975E}"/>
                  </a:ext>
                </a:extLst>
              </p:cNvPr>
              <p:cNvSpPr txBox="1">
                <a:spLocks noChangeArrowheads="1"/>
              </p:cNvSpPr>
              <p:nvPr/>
            </p:nvSpPr>
            <p:spPr bwMode="gray">
              <a:xfrm>
                <a:off x="146546" y="1941931"/>
                <a:ext cx="2554266" cy="626701"/>
              </a:xfrm>
              <a:prstGeom prst="rect">
                <a:avLst/>
              </a:prstGeom>
              <a:noFill/>
              <a:ln w="9525">
                <a:noFill/>
                <a:miter lim="800000"/>
                <a:headEnd/>
                <a:tailEnd/>
              </a:ln>
            </p:spPr>
            <p:txBody>
              <a:bodyPr wrap="square" lIns="0" tIns="0" rIns="0" bIns="72000" anchor="b" anchorCtr="0">
                <a:spAutoFit/>
              </a:bodyPr>
              <a:lstStyle/>
              <a:p>
                <a:pPr fontAlgn="base">
                  <a:defRPr/>
                </a:pPr>
                <a:r>
                  <a:rPr lang="fr-FR" b="1" dirty="0">
                    <a:solidFill>
                      <a:srgbClr val="000000"/>
                    </a:solidFill>
                  </a:rPr>
                  <a:t>Action économique territoriale</a:t>
                </a:r>
                <a:endParaRPr lang="fr-FR" dirty="0">
                  <a:solidFill>
                    <a:srgbClr val="000000"/>
                  </a:solidFill>
                </a:endParaRPr>
              </a:p>
            </p:txBody>
          </p:sp>
          <p:sp>
            <p:nvSpPr>
              <p:cNvPr id="40" name="Line 51" descr="© INSCALE GmbH, 26.05.2010&#10;http://www.presentationload.com/">
                <a:extLst>
                  <a:ext uri="{FF2B5EF4-FFF2-40B4-BE49-F238E27FC236}">
                    <a16:creationId xmlns:a16="http://schemas.microsoft.com/office/drawing/2014/main" id="{1534349C-E21A-4A8F-B735-A6BE1997313C}"/>
                  </a:ext>
                </a:extLst>
              </p:cNvPr>
              <p:cNvSpPr>
                <a:spLocks noChangeShapeType="1"/>
              </p:cNvSpPr>
              <p:nvPr/>
            </p:nvSpPr>
            <p:spPr bwMode="gray">
              <a:xfrm>
                <a:off x="146544" y="2569634"/>
                <a:ext cx="3195804" cy="28072"/>
              </a:xfrm>
              <a:prstGeom prst="line">
                <a:avLst/>
              </a:prstGeom>
              <a:noFill/>
              <a:ln w="9525">
                <a:solidFill>
                  <a:schemeClr val="accent5"/>
                </a:solidFill>
                <a:prstDash val="solid"/>
                <a:round/>
                <a:headEnd/>
                <a:tailEnd/>
              </a:ln>
            </p:spPr>
            <p:txBody>
              <a:bodyPr/>
              <a:lstStyle/>
              <a:p>
                <a:endParaRPr lang="en-GB" noProof="1"/>
              </a:p>
            </p:txBody>
          </p:sp>
        </p:grpSp>
        <p:grpSp>
          <p:nvGrpSpPr>
            <p:cNvPr id="30" name="Group 23">
              <a:extLst>
                <a:ext uri="{FF2B5EF4-FFF2-40B4-BE49-F238E27FC236}">
                  <a16:creationId xmlns:a16="http://schemas.microsoft.com/office/drawing/2014/main" id="{E47984C5-68CC-49F9-AE8C-078F8A02A95C}"/>
                </a:ext>
              </a:extLst>
            </p:cNvPr>
            <p:cNvGrpSpPr/>
            <p:nvPr/>
          </p:nvGrpSpPr>
          <p:grpSpPr>
            <a:xfrm>
              <a:off x="379990" y="3885921"/>
              <a:ext cx="2418440" cy="1991351"/>
              <a:chOff x="153805" y="4125287"/>
              <a:chExt cx="2418440" cy="1991351"/>
            </a:xfrm>
          </p:grpSpPr>
          <p:sp>
            <p:nvSpPr>
              <p:cNvPr id="35" name="Text Box 52" descr="© INSCALE GmbH, 26.05.2010&#10;http://www.presentationload.com/">
                <a:extLst>
                  <a:ext uri="{FF2B5EF4-FFF2-40B4-BE49-F238E27FC236}">
                    <a16:creationId xmlns:a16="http://schemas.microsoft.com/office/drawing/2014/main" id="{A33DCA82-8CB8-4AF1-A0DF-B0C5CF97EEB8}"/>
                  </a:ext>
                </a:extLst>
              </p:cNvPr>
              <p:cNvSpPr txBox="1">
                <a:spLocks noChangeArrowheads="1"/>
              </p:cNvSpPr>
              <p:nvPr/>
            </p:nvSpPr>
            <p:spPr bwMode="gray">
              <a:xfrm>
                <a:off x="163330" y="5096145"/>
                <a:ext cx="2221590" cy="1020493"/>
              </a:xfrm>
              <a:prstGeom prst="rect">
                <a:avLst/>
              </a:prstGeom>
              <a:noFill/>
              <a:ln w="9525">
                <a:noFill/>
                <a:miter lim="800000"/>
                <a:headEnd/>
                <a:tailEnd/>
              </a:ln>
            </p:spPr>
            <p:txBody>
              <a:bodyPr lIns="0" tIns="72000" rIns="0" bIns="0">
                <a:noAutofit/>
              </a:bodyPr>
              <a:lstStyle/>
              <a:p>
                <a:pPr fontAlgn="base">
                  <a:defRPr/>
                </a:pPr>
                <a:r>
                  <a:rPr lang="fr-FR" sz="1400" dirty="0">
                    <a:solidFill>
                      <a:srgbClr val="000000"/>
                    </a:solidFill>
                  </a:rPr>
                  <a:t>Pour soutenir le passage à l’action</a:t>
                </a:r>
              </a:p>
            </p:txBody>
          </p:sp>
          <p:sp>
            <p:nvSpPr>
              <p:cNvPr id="36" name="Text Box 118" descr="© INSCALE GmbH, 26.05.2010&#10;http://www.presentationload.com/">
                <a:extLst>
                  <a:ext uri="{FF2B5EF4-FFF2-40B4-BE49-F238E27FC236}">
                    <a16:creationId xmlns:a16="http://schemas.microsoft.com/office/drawing/2014/main" id="{F877DFB0-DA3F-4ED6-B149-D27A36073077}"/>
                  </a:ext>
                </a:extLst>
              </p:cNvPr>
              <p:cNvSpPr txBox="1">
                <a:spLocks noChangeArrowheads="1"/>
              </p:cNvSpPr>
              <p:nvPr/>
            </p:nvSpPr>
            <p:spPr bwMode="gray">
              <a:xfrm>
                <a:off x="153805" y="4125287"/>
                <a:ext cx="2418440" cy="972609"/>
              </a:xfrm>
              <a:prstGeom prst="rect">
                <a:avLst/>
              </a:prstGeom>
              <a:noFill/>
              <a:ln w="9525">
                <a:noFill/>
                <a:miter lim="800000"/>
                <a:headEnd/>
                <a:tailEnd/>
              </a:ln>
            </p:spPr>
            <p:txBody>
              <a:bodyPr wrap="square" lIns="0" tIns="0" rIns="0" bIns="72000" anchor="b" anchorCtr="0">
                <a:spAutoFit/>
              </a:bodyPr>
              <a:lstStyle/>
              <a:p>
                <a:pPr defTabSz="801688">
                  <a:spcBef>
                    <a:spcPct val="20000"/>
                  </a:spcBef>
                </a:pPr>
                <a:r>
                  <a:rPr lang="fr-FR" dirty="0">
                    <a:solidFill>
                      <a:srgbClr val="000000"/>
                    </a:solidFill>
                  </a:rPr>
                  <a:t>Accompagnement et montée en puissance </a:t>
                </a:r>
                <a:r>
                  <a:rPr lang="fr-FR" b="1" dirty="0">
                    <a:solidFill>
                      <a:srgbClr val="000000"/>
                    </a:solidFill>
                  </a:rPr>
                  <a:t>des aides directes</a:t>
                </a:r>
                <a:endParaRPr lang="en-GB" noProof="1">
                  <a:solidFill>
                    <a:schemeClr val="bg2"/>
                  </a:solidFill>
                  <a:cs typeface="Arial" charset="0"/>
                </a:endParaRPr>
              </a:p>
            </p:txBody>
          </p:sp>
          <p:cxnSp>
            <p:nvCxnSpPr>
              <p:cNvPr id="37" name="Gerade Verbindung 35">
                <a:extLst>
                  <a:ext uri="{FF2B5EF4-FFF2-40B4-BE49-F238E27FC236}">
                    <a16:creationId xmlns:a16="http://schemas.microsoft.com/office/drawing/2014/main" id="{63A51A4A-2565-4AC9-8972-AD3585CC23D8}"/>
                  </a:ext>
                </a:extLst>
              </p:cNvPr>
              <p:cNvCxnSpPr/>
              <p:nvPr/>
            </p:nvCxnSpPr>
            <p:spPr bwMode="gray">
              <a:xfrm>
                <a:off x="153805" y="5096145"/>
                <a:ext cx="2418440" cy="0"/>
              </a:xfrm>
              <a:prstGeom prst="line">
                <a:avLst/>
              </a:prstGeom>
              <a:noFill/>
              <a:ln w="9525">
                <a:solidFill>
                  <a:schemeClr val="accent5"/>
                </a:solidFill>
                <a:prstDash val="solid"/>
                <a:round/>
                <a:headEnd/>
                <a:tailEnd/>
              </a:ln>
            </p:spPr>
          </p:cxnSp>
        </p:grpSp>
        <p:grpSp>
          <p:nvGrpSpPr>
            <p:cNvPr id="31" name="Group 25">
              <a:extLst>
                <a:ext uri="{FF2B5EF4-FFF2-40B4-BE49-F238E27FC236}">
                  <a16:creationId xmlns:a16="http://schemas.microsoft.com/office/drawing/2014/main" id="{5FA6996B-717C-4D3D-BCC6-94B5E7A7A32D}"/>
                </a:ext>
              </a:extLst>
            </p:cNvPr>
            <p:cNvGrpSpPr/>
            <p:nvPr/>
          </p:nvGrpSpPr>
          <p:grpSpPr>
            <a:xfrm>
              <a:off x="6413234" y="1687625"/>
              <a:ext cx="2704126" cy="1588240"/>
              <a:chOff x="6187049" y="1926991"/>
              <a:chExt cx="2704126" cy="1588240"/>
            </a:xfrm>
          </p:grpSpPr>
          <p:sp>
            <p:nvSpPr>
              <p:cNvPr id="32" name="Text Box 53" descr="© INSCALE GmbH, 26.05.2010&#10;http://www.presentationload.com/">
                <a:extLst>
                  <a:ext uri="{FF2B5EF4-FFF2-40B4-BE49-F238E27FC236}">
                    <a16:creationId xmlns:a16="http://schemas.microsoft.com/office/drawing/2014/main" id="{EF32E317-8237-4B46-A42E-03CC32094FE6}"/>
                  </a:ext>
                </a:extLst>
              </p:cNvPr>
              <p:cNvSpPr txBox="1">
                <a:spLocks noChangeArrowheads="1"/>
              </p:cNvSpPr>
              <p:nvPr/>
            </p:nvSpPr>
            <p:spPr bwMode="gray">
              <a:xfrm>
                <a:off x="6684963" y="2542022"/>
                <a:ext cx="2206211" cy="973209"/>
              </a:xfrm>
              <a:prstGeom prst="rect">
                <a:avLst/>
              </a:prstGeom>
              <a:noFill/>
              <a:ln w="9525">
                <a:noFill/>
                <a:miter lim="800000"/>
                <a:headEnd/>
                <a:tailEnd/>
              </a:ln>
            </p:spPr>
            <p:txBody>
              <a:bodyPr lIns="0" tIns="72000" rIns="0" bIns="0">
                <a:noAutofit/>
              </a:bodyPr>
              <a:lstStyle/>
              <a:p>
                <a:pPr algn="r" defTabSz="801688">
                  <a:spcBef>
                    <a:spcPct val="20000"/>
                  </a:spcBef>
                </a:pPr>
                <a:r>
                  <a:rPr lang="fr-FR" sz="1400" dirty="0">
                    <a:solidFill>
                      <a:srgbClr val="000000"/>
                    </a:solidFill>
                  </a:rPr>
                  <a:t>Pour massifier notre impact</a:t>
                </a:r>
                <a:endParaRPr lang="en-GB" sz="1400" noProof="1">
                  <a:cs typeface="Arial" charset="0"/>
                </a:endParaRPr>
              </a:p>
            </p:txBody>
          </p:sp>
          <p:sp>
            <p:nvSpPr>
              <p:cNvPr id="33" name="Text Box 91" descr="© INSCALE GmbH, 26.05.2010&#10;http://www.presentationload.com/">
                <a:extLst>
                  <a:ext uri="{FF2B5EF4-FFF2-40B4-BE49-F238E27FC236}">
                    <a16:creationId xmlns:a16="http://schemas.microsoft.com/office/drawing/2014/main" id="{3C4C0CCF-BDC0-4994-BE96-F37486D6F131}"/>
                  </a:ext>
                </a:extLst>
              </p:cNvPr>
              <p:cNvSpPr txBox="1">
                <a:spLocks noChangeArrowheads="1"/>
              </p:cNvSpPr>
              <p:nvPr/>
            </p:nvSpPr>
            <p:spPr bwMode="gray">
              <a:xfrm>
                <a:off x="6445567" y="1926991"/>
                <a:ext cx="2445608" cy="626700"/>
              </a:xfrm>
              <a:prstGeom prst="rect">
                <a:avLst/>
              </a:prstGeom>
              <a:noFill/>
              <a:ln w="9525">
                <a:noFill/>
                <a:miter lim="800000"/>
                <a:headEnd/>
                <a:tailEnd/>
              </a:ln>
            </p:spPr>
            <p:txBody>
              <a:bodyPr wrap="square" lIns="0" tIns="0" rIns="0" bIns="72000" anchor="b" anchorCtr="0">
                <a:spAutoFit/>
              </a:bodyPr>
              <a:lstStyle/>
              <a:p>
                <a:pPr algn="r" defTabSz="801688">
                  <a:spcBef>
                    <a:spcPct val="20000"/>
                  </a:spcBef>
                </a:pPr>
                <a:r>
                  <a:rPr lang="fr-FR" b="1" dirty="0">
                    <a:solidFill>
                      <a:srgbClr val="000000"/>
                    </a:solidFill>
                  </a:rPr>
                  <a:t>Animation collective des entreprises</a:t>
                </a:r>
                <a:endParaRPr lang="en-GB" noProof="1">
                  <a:solidFill>
                    <a:schemeClr val="bg2"/>
                  </a:solidFill>
                  <a:cs typeface="Arial" charset="0"/>
                </a:endParaRPr>
              </a:p>
            </p:txBody>
          </p:sp>
          <p:sp>
            <p:nvSpPr>
              <p:cNvPr id="34" name="Line 51" descr="© INSCALE GmbH, 26.05.2010&#10;http://www.presentationload.com/">
                <a:extLst>
                  <a:ext uri="{FF2B5EF4-FFF2-40B4-BE49-F238E27FC236}">
                    <a16:creationId xmlns:a16="http://schemas.microsoft.com/office/drawing/2014/main" id="{3C828CF4-C8B4-4C4E-9F06-2648069A4D47}"/>
                  </a:ext>
                </a:extLst>
              </p:cNvPr>
              <p:cNvSpPr>
                <a:spLocks noChangeShapeType="1"/>
              </p:cNvSpPr>
              <p:nvPr/>
            </p:nvSpPr>
            <p:spPr bwMode="gray">
              <a:xfrm flipV="1">
                <a:off x="6187049" y="2554492"/>
                <a:ext cx="2704125" cy="43215"/>
              </a:xfrm>
              <a:prstGeom prst="line">
                <a:avLst/>
              </a:prstGeom>
              <a:noFill/>
              <a:ln w="9525">
                <a:solidFill>
                  <a:schemeClr val="accent5"/>
                </a:solidFill>
                <a:prstDash val="solid"/>
                <a:round/>
                <a:headEnd/>
                <a:tailEnd/>
              </a:ln>
            </p:spPr>
            <p:txBody>
              <a:bodyPr/>
              <a:lstStyle/>
              <a:p>
                <a:endParaRPr lang="en-GB" noProof="1"/>
              </a:p>
            </p:txBody>
          </p:sp>
        </p:grpSp>
      </p:grpSp>
      <p:pic>
        <p:nvPicPr>
          <p:cNvPr id="50" name="Image 49">
            <a:extLst>
              <a:ext uri="{FF2B5EF4-FFF2-40B4-BE49-F238E27FC236}">
                <a16:creationId xmlns:a16="http://schemas.microsoft.com/office/drawing/2014/main" id="{4A92F9D8-83BC-479C-806A-F4D50D77A364}"/>
              </a:ext>
            </a:extLst>
          </p:cNvPr>
          <p:cNvPicPr>
            <a:picLocks noChangeAspect="1"/>
          </p:cNvPicPr>
          <p:nvPr/>
        </p:nvPicPr>
        <p:blipFill>
          <a:blip r:embed="rId8"/>
          <a:stretch>
            <a:fillRect/>
          </a:stretch>
        </p:blipFill>
        <p:spPr>
          <a:xfrm>
            <a:off x="164600" y="1663352"/>
            <a:ext cx="1748685" cy="2242377"/>
          </a:xfrm>
          <a:prstGeom prst="rect">
            <a:avLst/>
          </a:prstGeom>
        </p:spPr>
      </p:pic>
      <p:pic>
        <p:nvPicPr>
          <p:cNvPr id="4" name="Image 3">
            <a:extLst>
              <a:ext uri="{FF2B5EF4-FFF2-40B4-BE49-F238E27FC236}">
                <a16:creationId xmlns:a16="http://schemas.microsoft.com/office/drawing/2014/main" id="{30D833D5-636A-4402-A476-DD1F9D066088}"/>
              </a:ext>
            </a:extLst>
          </p:cNvPr>
          <p:cNvPicPr>
            <a:picLocks noChangeAspect="1"/>
          </p:cNvPicPr>
          <p:nvPr/>
        </p:nvPicPr>
        <p:blipFill>
          <a:blip r:embed="rId9"/>
          <a:stretch>
            <a:fillRect/>
          </a:stretch>
        </p:blipFill>
        <p:spPr>
          <a:xfrm>
            <a:off x="10498740" y="2518699"/>
            <a:ext cx="1504950" cy="600075"/>
          </a:xfrm>
          <a:prstGeom prst="rect">
            <a:avLst/>
          </a:prstGeom>
        </p:spPr>
      </p:pic>
      <p:pic>
        <p:nvPicPr>
          <p:cNvPr id="5" name="Image 4">
            <a:extLst>
              <a:ext uri="{FF2B5EF4-FFF2-40B4-BE49-F238E27FC236}">
                <a16:creationId xmlns:a16="http://schemas.microsoft.com/office/drawing/2014/main" id="{AE4FE6F1-1E3A-47A8-A2ED-EC3F9D0C8298}"/>
              </a:ext>
            </a:extLst>
          </p:cNvPr>
          <p:cNvPicPr>
            <a:picLocks noChangeAspect="1"/>
          </p:cNvPicPr>
          <p:nvPr/>
        </p:nvPicPr>
        <p:blipFill>
          <a:blip r:embed="rId10"/>
          <a:stretch>
            <a:fillRect/>
          </a:stretch>
        </p:blipFill>
        <p:spPr>
          <a:xfrm>
            <a:off x="10288402" y="4719059"/>
            <a:ext cx="1783612" cy="1208827"/>
          </a:xfrm>
          <a:prstGeom prst="rect">
            <a:avLst/>
          </a:prstGeom>
        </p:spPr>
      </p:pic>
      <p:pic>
        <p:nvPicPr>
          <p:cNvPr id="2" name="Image 1">
            <a:extLst>
              <a:ext uri="{FF2B5EF4-FFF2-40B4-BE49-F238E27FC236}">
                <a16:creationId xmlns:a16="http://schemas.microsoft.com/office/drawing/2014/main" id="{F2690C57-576E-4D61-B5A2-0FCCC75D43DA}"/>
              </a:ext>
            </a:extLst>
          </p:cNvPr>
          <p:cNvPicPr>
            <a:picLocks noChangeAspect="1"/>
          </p:cNvPicPr>
          <p:nvPr/>
        </p:nvPicPr>
        <p:blipFill>
          <a:blip r:embed="rId11"/>
          <a:stretch>
            <a:fillRect/>
          </a:stretch>
        </p:blipFill>
        <p:spPr>
          <a:xfrm>
            <a:off x="152037" y="4559935"/>
            <a:ext cx="1667232" cy="1096182"/>
          </a:xfrm>
          <a:prstGeom prst="rect">
            <a:avLst/>
          </a:prstGeom>
        </p:spPr>
      </p:pic>
    </p:spTree>
    <p:extLst>
      <p:ext uri="{BB962C8B-B14F-4D97-AF65-F5344CB8AC3E}">
        <p14:creationId xmlns:p14="http://schemas.microsoft.com/office/powerpoint/2010/main" val="193814982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3">
            <a:extLst>
              <a:ext uri="{FF2B5EF4-FFF2-40B4-BE49-F238E27FC236}">
                <a16:creationId xmlns:a16="http://schemas.microsoft.com/office/drawing/2014/main" id="{759D1D7B-BDAC-4138-81CB-135C93DABBC3}"/>
              </a:ext>
            </a:extLst>
          </p:cNvPr>
          <p:cNvSpPr>
            <a:spLocks noGrp="1"/>
          </p:cNvSpPr>
          <p:nvPr>
            <p:ph type="body" sz="quarter" idx="14"/>
          </p:nvPr>
        </p:nvSpPr>
        <p:spPr/>
        <p:txBody>
          <a:bodyPr/>
          <a:lstStyle/>
          <a:p>
            <a:endParaRPr lang="fr-FR"/>
          </a:p>
        </p:txBody>
      </p:sp>
      <p:sp>
        <p:nvSpPr>
          <p:cNvPr id="6" name="Rectangle 5">
            <a:extLst>
              <a:ext uri="{FF2B5EF4-FFF2-40B4-BE49-F238E27FC236}">
                <a16:creationId xmlns:a16="http://schemas.microsoft.com/office/drawing/2014/main" id="{3A33CAC8-2753-42E8-881A-A4C1D1F0FDC1}"/>
              </a:ext>
            </a:extLst>
          </p:cNvPr>
          <p:cNvSpPr/>
          <p:nvPr/>
        </p:nvSpPr>
        <p:spPr>
          <a:xfrm>
            <a:off x="0" y="1"/>
            <a:ext cx="12192000" cy="1370199"/>
          </a:xfrm>
          <a:prstGeom prst="rect">
            <a:avLst/>
          </a:prstGeom>
          <a:solidFill>
            <a:srgbClr val="E4D0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914377" eaLnBrk="0" fontAlgn="base" hangingPunct="0">
              <a:spcBef>
                <a:spcPct val="0"/>
              </a:spcBef>
              <a:spcAft>
                <a:spcPct val="0"/>
              </a:spcAft>
            </a:pPr>
            <a:endParaRPr lang="fr-FR" dirty="0">
              <a:solidFill>
                <a:srgbClr val="FFFFFF"/>
              </a:solidFill>
              <a:latin typeface="Arial"/>
              <a:cs typeface="Arial"/>
            </a:endParaRPr>
          </a:p>
        </p:txBody>
      </p:sp>
      <p:sp>
        <p:nvSpPr>
          <p:cNvPr id="7" name="Rectangle 6">
            <a:extLst>
              <a:ext uri="{FF2B5EF4-FFF2-40B4-BE49-F238E27FC236}">
                <a16:creationId xmlns:a16="http://schemas.microsoft.com/office/drawing/2014/main" id="{F2655185-C66A-4D30-BD99-F78D409EC688}"/>
              </a:ext>
            </a:extLst>
          </p:cNvPr>
          <p:cNvSpPr/>
          <p:nvPr/>
        </p:nvSpPr>
        <p:spPr>
          <a:xfrm>
            <a:off x="-2" y="1332080"/>
            <a:ext cx="12192001" cy="186411"/>
          </a:xfrm>
          <a:prstGeom prst="rect">
            <a:avLst/>
          </a:prstGeom>
          <a:solidFill>
            <a:srgbClr val="FF00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914377" eaLnBrk="0" fontAlgn="base" hangingPunct="0">
              <a:spcBef>
                <a:spcPct val="0"/>
              </a:spcBef>
              <a:spcAft>
                <a:spcPct val="0"/>
              </a:spcAft>
            </a:pPr>
            <a:endParaRPr lang="fr-FR">
              <a:solidFill>
                <a:srgbClr val="FFFFFF"/>
              </a:solidFill>
              <a:latin typeface="Arial"/>
              <a:cs typeface="Arial"/>
            </a:endParaRPr>
          </a:p>
        </p:txBody>
      </p:sp>
      <p:grpSp>
        <p:nvGrpSpPr>
          <p:cNvPr id="11" name="Groupe 10">
            <a:extLst>
              <a:ext uri="{FF2B5EF4-FFF2-40B4-BE49-F238E27FC236}">
                <a16:creationId xmlns:a16="http://schemas.microsoft.com/office/drawing/2014/main" id="{8B7D95A7-0261-4462-A7ED-7B47659FB224}"/>
              </a:ext>
            </a:extLst>
          </p:cNvPr>
          <p:cNvGrpSpPr/>
          <p:nvPr/>
        </p:nvGrpSpPr>
        <p:grpSpPr bwMode="gray">
          <a:xfrm>
            <a:off x="1356912" y="1850171"/>
            <a:ext cx="9478176" cy="4781472"/>
            <a:chOff x="-80051" y="2134708"/>
            <a:chExt cx="8269263" cy="4214921"/>
          </a:xfrm>
        </p:grpSpPr>
        <p:grpSp>
          <p:nvGrpSpPr>
            <p:cNvPr id="12" name="Group 19">
              <a:extLst>
                <a:ext uri="{FF2B5EF4-FFF2-40B4-BE49-F238E27FC236}">
                  <a16:creationId xmlns:a16="http://schemas.microsoft.com/office/drawing/2014/main" id="{0ECB9797-C1B2-47AF-86FD-93E92B90D7D2}"/>
                </a:ext>
              </a:extLst>
            </p:cNvPr>
            <p:cNvGrpSpPr/>
            <p:nvPr/>
          </p:nvGrpSpPr>
          <p:grpSpPr bwMode="gray">
            <a:xfrm>
              <a:off x="767891" y="2134708"/>
              <a:ext cx="1800000" cy="2044959"/>
              <a:chOff x="361338" y="2828412"/>
              <a:chExt cx="1800000" cy="2044959"/>
            </a:xfrm>
          </p:grpSpPr>
          <p:sp>
            <p:nvSpPr>
              <p:cNvPr id="29" name="Oval 20">
                <a:extLst>
                  <a:ext uri="{FF2B5EF4-FFF2-40B4-BE49-F238E27FC236}">
                    <a16:creationId xmlns:a16="http://schemas.microsoft.com/office/drawing/2014/main" id="{7B105132-1628-44BB-AC76-72628EC5BFE5}"/>
                  </a:ext>
                </a:extLst>
              </p:cNvPr>
              <p:cNvSpPr/>
              <p:nvPr/>
            </p:nvSpPr>
            <p:spPr bwMode="gray">
              <a:xfrm rot="5400000">
                <a:off x="361338" y="2828412"/>
                <a:ext cx="1800000" cy="18000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bg2"/>
                  </a:solidFill>
                </a:endParaRPr>
              </a:p>
            </p:txBody>
          </p:sp>
          <p:sp>
            <p:nvSpPr>
              <p:cNvPr id="30" name="Isosceles Triangle 21">
                <a:extLst>
                  <a:ext uri="{FF2B5EF4-FFF2-40B4-BE49-F238E27FC236}">
                    <a16:creationId xmlns:a16="http://schemas.microsoft.com/office/drawing/2014/main" id="{4BB934D5-7027-457A-BCBE-7E415E001922}"/>
                  </a:ext>
                </a:extLst>
              </p:cNvPr>
              <p:cNvSpPr/>
              <p:nvPr/>
            </p:nvSpPr>
            <p:spPr bwMode="gray">
              <a:xfrm rot="10800000">
                <a:off x="892847" y="4545825"/>
                <a:ext cx="736980" cy="327546"/>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bg2"/>
                  </a:solidFill>
                </a:endParaRPr>
              </a:p>
            </p:txBody>
          </p:sp>
          <p:sp>
            <p:nvSpPr>
              <p:cNvPr id="31" name="Oval 22">
                <a:extLst>
                  <a:ext uri="{FF2B5EF4-FFF2-40B4-BE49-F238E27FC236}">
                    <a16:creationId xmlns:a16="http://schemas.microsoft.com/office/drawing/2014/main" id="{655166D6-508C-46B0-BAA6-DBA1743F6430}"/>
                  </a:ext>
                </a:extLst>
              </p:cNvPr>
              <p:cNvSpPr/>
              <p:nvPr/>
            </p:nvSpPr>
            <p:spPr bwMode="gray">
              <a:xfrm>
                <a:off x="451338" y="2918412"/>
                <a:ext cx="1620000" cy="162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solidFill>
                    <a:schemeClr val="bg2"/>
                  </a:solidFill>
                </a:endParaRPr>
              </a:p>
            </p:txBody>
          </p:sp>
        </p:grpSp>
        <p:grpSp>
          <p:nvGrpSpPr>
            <p:cNvPr id="13" name="Group 23">
              <a:extLst>
                <a:ext uri="{FF2B5EF4-FFF2-40B4-BE49-F238E27FC236}">
                  <a16:creationId xmlns:a16="http://schemas.microsoft.com/office/drawing/2014/main" id="{4D88A773-78A6-473F-A3EE-8B93BD53369C}"/>
                </a:ext>
              </a:extLst>
            </p:cNvPr>
            <p:cNvGrpSpPr/>
            <p:nvPr/>
          </p:nvGrpSpPr>
          <p:grpSpPr bwMode="gray">
            <a:xfrm>
              <a:off x="5338493" y="2134708"/>
              <a:ext cx="1800000" cy="2044959"/>
              <a:chOff x="2687360" y="2828412"/>
              <a:chExt cx="1800000" cy="2044959"/>
            </a:xfrm>
          </p:grpSpPr>
          <p:sp>
            <p:nvSpPr>
              <p:cNvPr id="26" name="Oval 24">
                <a:extLst>
                  <a:ext uri="{FF2B5EF4-FFF2-40B4-BE49-F238E27FC236}">
                    <a16:creationId xmlns:a16="http://schemas.microsoft.com/office/drawing/2014/main" id="{1EF1F184-50FF-4753-8889-89FD339CC7A1}"/>
                  </a:ext>
                </a:extLst>
              </p:cNvPr>
              <p:cNvSpPr/>
              <p:nvPr/>
            </p:nvSpPr>
            <p:spPr bwMode="gray">
              <a:xfrm rot="5400000">
                <a:off x="2687360" y="2828412"/>
                <a:ext cx="1800000" cy="180000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bg2"/>
                  </a:solidFill>
                </a:endParaRPr>
              </a:p>
            </p:txBody>
          </p:sp>
          <p:sp>
            <p:nvSpPr>
              <p:cNvPr id="27" name="Isosceles Triangle 25">
                <a:extLst>
                  <a:ext uri="{FF2B5EF4-FFF2-40B4-BE49-F238E27FC236}">
                    <a16:creationId xmlns:a16="http://schemas.microsoft.com/office/drawing/2014/main" id="{CFD0C150-B095-447F-AE2C-A29951A320F4}"/>
                  </a:ext>
                </a:extLst>
              </p:cNvPr>
              <p:cNvSpPr/>
              <p:nvPr/>
            </p:nvSpPr>
            <p:spPr bwMode="gray">
              <a:xfrm rot="10800000">
                <a:off x="3218868" y="4545825"/>
                <a:ext cx="736980" cy="327546"/>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bg2"/>
                  </a:solidFill>
                </a:endParaRPr>
              </a:p>
            </p:txBody>
          </p:sp>
          <p:sp>
            <p:nvSpPr>
              <p:cNvPr id="28" name="Oval 26">
                <a:extLst>
                  <a:ext uri="{FF2B5EF4-FFF2-40B4-BE49-F238E27FC236}">
                    <a16:creationId xmlns:a16="http://schemas.microsoft.com/office/drawing/2014/main" id="{557887F2-365C-413B-8BE7-28561F2C8F14}"/>
                  </a:ext>
                </a:extLst>
              </p:cNvPr>
              <p:cNvSpPr/>
              <p:nvPr/>
            </p:nvSpPr>
            <p:spPr bwMode="gray">
              <a:xfrm>
                <a:off x="2756371" y="2918412"/>
                <a:ext cx="1620000" cy="162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3200" b="1" dirty="0">
                  <a:solidFill>
                    <a:schemeClr val="accent2"/>
                  </a:solidFill>
                </a:endParaRPr>
              </a:p>
            </p:txBody>
          </p:sp>
        </p:grpSp>
        <p:sp>
          <p:nvSpPr>
            <p:cNvPr id="15" name="Content Placeholder 1">
              <a:extLst>
                <a:ext uri="{FF2B5EF4-FFF2-40B4-BE49-F238E27FC236}">
                  <a16:creationId xmlns:a16="http://schemas.microsoft.com/office/drawing/2014/main" id="{2EFAD409-03C6-41A3-8D21-6380CD9DB234}"/>
                </a:ext>
              </a:extLst>
            </p:cNvPr>
            <p:cNvSpPr txBox="1">
              <a:spLocks/>
            </p:cNvSpPr>
            <p:nvPr/>
          </p:nvSpPr>
          <p:spPr bwMode="gray">
            <a:xfrm>
              <a:off x="-80051" y="4332903"/>
              <a:ext cx="3967918" cy="2016726"/>
            </a:xfrm>
            <a:prstGeom prst="rect">
              <a:avLst/>
            </a:prstGeom>
          </p:spPr>
          <p:txBody>
            <a:bodyPr wrap="square">
              <a:spAutoFit/>
            </a:bodyPr>
            <a:lstStyle>
              <a:lvl1pPr marL="0" indent="0" algn="l" defTabSz="914400" rtl="0" eaLnBrk="1" latinLnBrk="0" hangingPunct="1">
                <a:spcBef>
                  <a:spcPts val="0"/>
                </a:spcBef>
                <a:spcAft>
                  <a:spcPts val="500"/>
                </a:spcAft>
                <a:buFont typeface="Arial" panose="020B0604020202020204" pitchFamily="34" charset="0"/>
                <a:buNone/>
                <a:defRPr sz="2000" kern="1200" baseline="0">
                  <a:solidFill>
                    <a:schemeClr val="tx2"/>
                  </a:solidFill>
                  <a:latin typeface="+mn-lt"/>
                  <a:ea typeface="+mn-ea"/>
                  <a:cs typeface="+mn-cs"/>
                </a:defRPr>
              </a:lvl1pPr>
              <a:lvl2pPr marL="0" indent="0" algn="l" defTabSz="914400" rtl="0" eaLnBrk="1" latinLnBrk="0" hangingPunct="1">
                <a:spcBef>
                  <a:spcPts val="500"/>
                </a:spcBef>
                <a:buClr>
                  <a:schemeClr val="tx2"/>
                </a:buClr>
                <a:buSzPct val="105000"/>
                <a:buFontTx/>
                <a:buNone/>
                <a:defRPr sz="1800" kern="1200">
                  <a:solidFill>
                    <a:srgbClr val="6D6D6D"/>
                  </a:solidFill>
                  <a:latin typeface="+mn-lt"/>
                  <a:ea typeface="+mn-ea"/>
                  <a:cs typeface="+mn-cs"/>
                </a:defRPr>
              </a:lvl2pPr>
              <a:lvl3pPr marL="180000" indent="-180000" algn="l" defTabSz="914400" rtl="0" eaLnBrk="1" latinLnBrk="0" hangingPunct="1">
                <a:spcBef>
                  <a:spcPts val="500"/>
                </a:spcBef>
                <a:buClr>
                  <a:schemeClr val="tx2"/>
                </a:buClr>
                <a:buFont typeface="Calibri" panose="020F0502020204030204" pitchFamily="34" charset="0"/>
                <a:buChar char="›"/>
                <a:defRPr sz="1600" kern="1200">
                  <a:solidFill>
                    <a:srgbClr val="6D6D6D"/>
                  </a:solidFill>
                  <a:latin typeface="+mn-lt"/>
                  <a:ea typeface="+mn-ea"/>
                  <a:cs typeface="+mn-cs"/>
                </a:defRPr>
              </a:lvl3pPr>
              <a:lvl4pPr marL="367200" indent="-187200" algn="l" defTabSz="914400" rtl="0" eaLnBrk="1" latinLnBrk="0" hangingPunct="1">
                <a:spcBef>
                  <a:spcPts val="500"/>
                </a:spcBef>
                <a:buFont typeface="Symbol" panose="05050102010706020507" pitchFamily="18" charset="2"/>
                <a:buChar char="-"/>
                <a:defRPr sz="1600" kern="1200">
                  <a:solidFill>
                    <a:srgbClr val="6D6D6D"/>
                  </a:solidFill>
                  <a:latin typeface="+mn-lt"/>
                  <a:ea typeface="+mn-ea"/>
                  <a:cs typeface="+mn-cs"/>
                </a:defRPr>
              </a:lvl4pPr>
              <a:lvl5pPr marL="576000" indent="-187200" algn="l" defTabSz="914400" rtl="0" eaLnBrk="1" latinLnBrk="0" hangingPunct="1">
                <a:spcBef>
                  <a:spcPts val="500"/>
                </a:spcBef>
                <a:buClr>
                  <a:schemeClr val="tx1"/>
                </a:buClr>
                <a:buFont typeface="Symbol" panose="05050102010706020507" pitchFamily="18" charset="2"/>
                <a:buChar char="-"/>
                <a:defRPr sz="1400" kern="1200">
                  <a:solidFill>
                    <a:srgbClr val="6D6D6D"/>
                  </a:solidFill>
                  <a:latin typeface="+mn-lt"/>
                  <a:ea typeface="+mn-ea"/>
                  <a:cs typeface="+mn-cs"/>
                </a:defRPr>
              </a:lvl5pPr>
              <a:lvl6pPr marL="766763" indent="-185738" algn="l" defTabSz="914400" rtl="0" eaLnBrk="1" latinLnBrk="0" hangingPunct="1">
                <a:spcBef>
                  <a:spcPts val="500"/>
                </a:spcBef>
                <a:buClr>
                  <a:schemeClr val="tx2"/>
                </a:buClr>
                <a:buFont typeface="Calibri" panose="020F0502020204030204" pitchFamily="34" charset="0"/>
                <a:buChar char="»"/>
                <a:defRPr sz="1400" kern="1200">
                  <a:solidFill>
                    <a:srgbClr val="6D6D6D"/>
                  </a:solidFill>
                  <a:latin typeface="+mn-lt"/>
                  <a:ea typeface="+mn-ea"/>
                  <a:cs typeface="+mn-cs"/>
                </a:defRPr>
              </a:lvl6pPr>
              <a:lvl7pPr marL="766800" indent="-187200" algn="l" defTabSz="914400" rtl="0" eaLnBrk="1" latinLnBrk="0" hangingPunct="1">
                <a:spcBef>
                  <a:spcPts val="500"/>
                </a:spcBef>
                <a:buClr>
                  <a:schemeClr val="tx2"/>
                </a:buClr>
                <a:buFont typeface="Calibri" panose="020F0502020204030204" pitchFamily="34" charset="0"/>
                <a:buChar char="»"/>
                <a:defRPr sz="1400" kern="1200" baseline="0">
                  <a:solidFill>
                    <a:srgbClr val="6D6D6D"/>
                  </a:solidFill>
                  <a:latin typeface="+mn-lt"/>
                  <a:ea typeface="+mn-ea"/>
                  <a:cs typeface="+mn-cs"/>
                </a:defRPr>
              </a:lvl7pPr>
              <a:lvl8pPr marL="766800" indent="-187200" algn="l" defTabSz="914400" rtl="0" eaLnBrk="1" latinLnBrk="0" hangingPunct="1">
                <a:spcBef>
                  <a:spcPts val="500"/>
                </a:spcBef>
                <a:buClr>
                  <a:schemeClr val="tx2"/>
                </a:buClr>
                <a:buFont typeface="Calibri" panose="020F0502020204030204" pitchFamily="34" charset="0"/>
                <a:buChar char="»"/>
                <a:defRPr sz="1400" kern="1200" baseline="0">
                  <a:solidFill>
                    <a:srgbClr val="6D6D6D"/>
                  </a:solidFill>
                  <a:latin typeface="+mn-lt"/>
                  <a:ea typeface="+mn-ea"/>
                  <a:cs typeface="+mn-cs"/>
                </a:defRPr>
              </a:lvl8pPr>
              <a:lvl9pPr marL="766800" indent="-187200" algn="l" defTabSz="914400" rtl="0" eaLnBrk="1" latinLnBrk="0" hangingPunct="1">
                <a:spcBef>
                  <a:spcPts val="500"/>
                </a:spcBef>
                <a:buClr>
                  <a:schemeClr val="tx2"/>
                </a:buClr>
                <a:buFont typeface="Calibri" panose="020F0502020204030204" pitchFamily="34" charset="0"/>
                <a:buChar char="»"/>
                <a:defRPr sz="1400" kern="1200" baseline="0">
                  <a:solidFill>
                    <a:srgbClr val="6D6D6D"/>
                  </a:solidFill>
                  <a:latin typeface="+mn-lt"/>
                  <a:ea typeface="+mn-ea"/>
                  <a:cs typeface="+mn-cs"/>
                </a:defRPr>
              </a:lvl9pPr>
            </a:lstStyle>
            <a:p>
              <a:pPr lvl="2"/>
              <a:r>
                <a:rPr lang="fr-FR" sz="1800" dirty="0">
                  <a:solidFill>
                    <a:schemeClr val="tx1"/>
                  </a:solidFill>
                </a:rPr>
                <a:t>2 500 entreprises rencontrées / an</a:t>
              </a:r>
            </a:p>
            <a:p>
              <a:pPr lvl="2"/>
              <a:r>
                <a:rPr lang="fr-FR" sz="1800" dirty="0">
                  <a:solidFill>
                    <a:schemeClr val="tx1"/>
                  </a:solidFill>
                </a:rPr>
                <a:t>+ 1000 utilisateurs de KELIMPACT</a:t>
              </a:r>
            </a:p>
            <a:p>
              <a:pPr lvl="2"/>
              <a:r>
                <a:rPr lang="fr-FR" sz="1800" dirty="0">
                  <a:solidFill>
                    <a:schemeClr val="tx1"/>
                  </a:solidFill>
                </a:rPr>
                <a:t>150 industriels signataires du Manifeste industrie, 40 signataires du Pacte pour l’Impact </a:t>
              </a:r>
            </a:p>
            <a:p>
              <a:pPr lvl="2"/>
              <a:r>
                <a:rPr lang="fr-FR" sz="1800" dirty="0">
                  <a:solidFill>
                    <a:schemeClr val="tx1"/>
                  </a:solidFill>
                </a:rPr>
                <a:t>Mise à dispositions de guides/ressources</a:t>
              </a:r>
            </a:p>
            <a:p>
              <a:pPr lvl="2"/>
              <a:endParaRPr lang="fr-FR" sz="1800" dirty="0">
                <a:solidFill>
                  <a:schemeClr val="tx1"/>
                </a:solidFill>
              </a:endParaRPr>
            </a:p>
          </p:txBody>
        </p:sp>
        <p:sp>
          <p:nvSpPr>
            <p:cNvPr id="16" name="Content Placeholder 1">
              <a:extLst>
                <a:ext uri="{FF2B5EF4-FFF2-40B4-BE49-F238E27FC236}">
                  <a16:creationId xmlns:a16="http://schemas.microsoft.com/office/drawing/2014/main" id="{5344DD00-72C3-4B55-BE05-F92E02F47C00}"/>
                </a:ext>
              </a:extLst>
            </p:cNvPr>
            <p:cNvSpPr txBox="1">
              <a:spLocks/>
            </p:cNvSpPr>
            <p:nvPr/>
          </p:nvSpPr>
          <p:spPr bwMode="gray">
            <a:xfrm>
              <a:off x="4089627" y="4422168"/>
              <a:ext cx="4099585" cy="1716026"/>
            </a:xfrm>
            <a:prstGeom prst="rect">
              <a:avLst/>
            </a:prstGeom>
          </p:spPr>
          <p:txBody>
            <a:bodyPr wrap="square">
              <a:spAutoFit/>
            </a:bodyPr>
            <a:lstStyle>
              <a:lvl1pPr marL="0" indent="0" algn="l" defTabSz="914400" rtl="0" eaLnBrk="1" latinLnBrk="0" hangingPunct="1">
                <a:spcBef>
                  <a:spcPts val="0"/>
                </a:spcBef>
                <a:spcAft>
                  <a:spcPts val="500"/>
                </a:spcAft>
                <a:buFont typeface="Arial" panose="020B0604020202020204" pitchFamily="34" charset="0"/>
                <a:buNone/>
                <a:defRPr sz="2000" kern="1200" baseline="0">
                  <a:solidFill>
                    <a:schemeClr val="tx2"/>
                  </a:solidFill>
                  <a:latin typeface="+mn-lt"/>
                  <a:ea typeface="+mn-ea"/>
                  <a:cs typeface="+mn-cs"/>
                </a:defRPr>
              </a:lvl1pPr>
              <a:lvl2pPr marL="0" indent="0" algn="l" defTabSz="914400" rtl="0" eaLnBrk="1" latinLnBrk="0" hangingPunct="1">
                <a:spcBef>
                  <a:spcPts val="500"/>
                </a:spcBef>
                <a:buClr>
                  <a:schemeClr val="tx2"/>
                </a:buClr>
                <a:buSzPct val="105000"/>
                <a:buFontTx/>
                <a:buNone/>
                <a:defRPr sz="1800" kern="1200">
                  <a:solidFill>
                    <a:srgbClr val="6D6D6D"/>
                  </a:solidFill>
                  <a:latin typeface="+mn-lt"/>
                  <a:ea typeface="+mn-ea"/>
                  <a:cs typeface="+mn-cs"/>
                </a:defRPr>
              </a:lvl2pPr>
              <a:lvl3pPr marL="180000" indent="-180000" algn="l" defTabSz="914400" rtl="0" eaLnBrk="1" latinLnBrk="0" hangingPunct="1">
                <a:spcBef>
                  <a:spcPts val="500"/>
                </a:spcBef>
                <a:buClr>
                  <a:schemeClr val="tx2"/>
                </a:buClr>
                <a:buFont typeface="Calibri" panose="020F0502020204030204" pitchFamily="34" charset="0"/>
                <a:buChar char="›"/>
                <a:defRPr sz="1600" kern="1200">
                  <a:solidFill>
                    <a:srgbClr val="6D6D6D"/>
                  </a:solidFill>
                  <a:latin typeface="+mn-lt"/>
                  <a:ea typeface="+mn-ea"/>
                  <a:cs typeface="+mn-cs"/>
                </a:defRPr>
              </a:lvl3pPr>
              <a:lvl4pPr marL="367200" indent="-187200" algn="l" defTabSz="914400" rtl="0" eaLnBrk="1" latinLnBrk="0" hangingPunct="1">
                <a:spcBef>
                  <a:spcPts val="500"/>
                </a:spcBef>
                <a:buFont typeface="Symbol" panose="05050102010706020507" pitchFamily="18" charset="2"/>
                <a:buChar char="-"/>
                <a:defRPr sz="1600" kern="1200">
                  <a:solidFill>
                    <a:srgbClr val="6D6D6D"/>
                  </a:solidFill>
                  <a:latin typeface="+mn-lt"/>
                  <a:ea typeface="+mn-ea"/>
                  <a:cs typeface="+mn-cs"/>
                </a:defRPr>
              </a:lvl4pPr>
              <a:lvl5pPr marL="576000" indent="-187200" algn="l" defTabSz="914400" rtl="0" eaLnBrk="1" latinLnBrk="0" hangingPunct="1">
                <a:spcBef>
                  <a:spcPts val="500"/>
                </a:spcBef>
                <a:buClr>
                  <a:schemeClr val="tx1"/>
                </a:buClr>
                <a:buFont typeface="Symbol" panose="05050102010706020507" pitchFamily="18" charset="2"/>
                <a:buChar char="-"/>
                <a:defRPr sz="1400" kern="1200">
                  <a:solidFill>
                    <a:srgbClr val="6D6D6D"/>
                  </a:solidFill>
                  <a:latin typeface="+mn-lt"/>
                  <a:ea typeface="+mn-ea"/>
                  <a:cs typeface="+mn-cs"/>
                </a:defRPr>
              </a:lvl5pPr>
              <a:lvl6pPr marL="766763" indent="-185738" algn="l" defTabSz="914400" rtl="0" eaLnBrk="1" latinLnBrk="0" hangingPunct="1">
                <a:spcBef>
                  <a:spcPts val="500"/>
                </a:spcBef>
                <a:buClr>
                  <a:schemeClr val="tx2"/>
                </a:buClr>
                <a:buFont typeface="Calibri" panose="020F0502020204030204" pitchFamily="34" charset="0"/>
                <a:buChar char="»"/>
                <a:defRPr sz="1400" kern="1200">
                  <a:solidFill>
                    <a:srgbClr val="6D6D6D"/>
                  </a:solidFill>
                  <a:latin typeface="+mn-lt"/>
                  <a:ea typeface="+mn-ea"/>
                  <a:cs typeface="+mn-cs"/>
                </a:defRPr>
              </a:lvl6pPr>
              <a:lvl7pPr marL="766800" indent="-187200" algn="l" defTabSz="914400" rtl="0" eaLnBrk="1" latinLnBrk="0" hangingPunct="1">
                <a:spcBef>
                  <a:spcPts val="500"/>
                </a:spcBef>
                <a:buClr>
                  <a:schemeClr val="tx2"/>
                </a:buClr>
                <a:buFont typeface="Calibri" panose="020F0502020204030204" pitchFamily="34" charset="0"/>
                <a:buChar char="»"/>
                <a:defRPr sz="1400" kern="1200" baseline="0">
                  <a:solidFill>
                    <a:srgbClr val="6D6D6D"/>
                  </a:solidFill>
                  <a:latin typeface="+mn-lt"/>
                  <a:ea typeface="+mn-ea"/>
                  <a:cs typeface="+mn-cs"/>
                </a:defRPr>
              </a:lvl7pPr>
              <a:lvl8pPr marL="766800" indent="-187200" algn="l" defTabSz="914400" rtl="0" eaLnBrk="1" latinLnBrk="0" hangingPunct="1">
                <a:spcBef>
                  <a:spcPts val="500"/>
                </a:spcBef>
                <a:buClr>
                  <a:schemeClr val="tx2"/>
                </a:buClr>
                <a:buFont typeface="Calibri" panose="020F0502020204030204" pitchFamily="34" charset="0"/>
                <a:buChar char="»"/>
                <a:defRPr sz="1400" kern="1200" baseline="0">
                  <a:solidFill>
                    <a:srgbClr val="6D6D6D"/>
                  </a:solidFill>
                  <a:latin typeface="+mn-lt"/>
                  <a:ea typeface="+mn-ea"/>
                  <a:cs typeface="+mn-cs"/>
                </a:defRPr>
              </a:lvl8pPr>
              <a:lvl9pPr marL="766800" indent="-187200" algn="l" defTabSz="914400" rtl="0" eaLnBrk="1" latinLnBrk="0" hangingPunct="1">
                <a:spcBef>
                  <a:spcPts val="500"/>
                </a:spcBef>
                <a:buClr>
                  <a:schemeClr val="tx2"/>
                </a:buClr>
                <a:buFont typeface="Calibri" panose="020F0502020204030204" pitchFamily="34" charset="0"/>
                <a:buChar char="»"/>
                <a:defRPr sz="1400" kern="1200" baseline="0">
                  <a:solidFill>
                    <a:srgbClr val="6D6D6D"/>
                  </a:solidFill>
                  <a:latin typeface="+mn-lt"/>
                  <a:ea typeface="+mn-ea"/>
                  <a:cs typeface="+mn-cs"/>
                </a:defRPr>
              </a:lvl9pPr>
            </a:lstStyle>
            <a:p>
              <a:pPr lvl="2"/>
              <a:r>
                <a:rPr lang="fr-FR" sz="1800" dirty="0">
                  <a:solidFill>
                    <a:schemeClr val="tx1"/>
                  </a:solidFill>
                </a:rPr>
                <a:t>20M€ d’aides directes engagées depuis 2020</a:t>
              </a:r>
            </a:p>
            <a:p>
              <a:pPr lvl="3"/>
              <a:r>
                <a:rPr lang="fr-FR" sz="1800" dirty="0">
                  <a:solidFill>
                    <a:schemeClr val="tx1"/>
                  </a:solidFill>
                </a:rPr>
                <a:t>Financements des démarches de transition : près de 2M€ en 2 ans </a:t>
              </a:r>
            </a:p>
            <a:p>
              <a:pPr lvl="3"/>
              <a:r>
                <a:rPr lang="fr-FR" sz="1800" dirty="0">
                  <a:solidFill>
                    <a:schemeClr val="tx1"/>
                  </a:solidFill>
                </a:rPr>
                <a:t>Fonds d’amorçage industriel métropolitain</a:t>
              </a:r>
            </a:p>
            <a:p>
              <a:pPr lvl="2"/>
              <a:r>
                <a:rPr lang="fr-FR" sz="1800" dirty="0">
                  <a:solidFill>
                    <a:schemeClr val="tx1"/>
                  </a:solidFill>
                </a:rPr>
                <a:t>Soutien et développement de programmes autour de la décarbonation et la circularité</a:t>
              </a:r>
            </a:p>
          </p:txBody>
        </p:sp>
      </p:grpSp>
      <p:sp>
        <p:nvSpPr>
          <p:cNvPr id="32" name="Rectangle 31">
            <a:extLst>
              <a:ext uri="{FF2B5EF4-FFF2-40B4-BE49-F238E27FC236}">
                <a16:creationId xmlns:a16="http://schemas.microsoft.com/office/drawing/2014/main" id="{4C7D0CA9-29F7-43D1-98A2-0664612B17B8}"/>
              </a:ext>
            </a:extLst>
          </p:cNvPr>
          <p:cNvSpPr/>
          <p:nvPr/>
        </p:nvSpPr>
        <p:spPr>
          <a:xfrm>
            <a:off x="2524056" y="2421580"/>
            <a:ext cx="1668500" cy="923330"/>
          </a:xfrm>
          <a:prstGeom prst="rect">
            <a:avLst/>
          </a:prstGeom>
        </p:spPr>
        <p:txBody>
          <a:bodyPr wrap="square">
            <a:spAutoFit/>
          </a:bodyPr>
          <a:lstStyle/>
          <a:p>
            <a:pPr algn="ctr"/>
            <a:r>
              <a:rPr lang="fr-FR" dirty="0"/>
              <a:t>Sensibilisation aux enjeux de transition</a:t>
            </a:r>
            <a:endParaRPr lang="en-US" b="1" dirty="0">
              <a:solidFill>
                <a:schemeClr val="bg2"/>
              </a:solidFill>
            </a:endParaRPr>
          </a:p>
        </p:txBody>
      </p:sp>
      <p:sp>
        <p:nvSpPr>
          <p:cNvPr id="36" name="Rectangle 35">
            <a:extLst>
              <a:ext uri="{FF2B5EF4-FFF2-40B4-BE49-F238E27FC236}">
                <a16:creationId xmlns:a16="http://schemas.microsoft.com/office/drawing/2014/main" id="{36CFF238-0D12-4D7F-9A11-0944D2989C44}"/>
              </a:ext>
            </a:extLst>
          </p:cNvPr>
          <p:cNvSpPr/>
          <p:nvPr/>
        </p:nvSpPr>
        <p:spPr>
          <a:xfrm>
            <a:off x="6665560" y="2517419"/>
            <a:ext cx="2863452" cy="646331"/>
          </a:xfrm>
          <a:prstGeom prst="rect">
            <a:avLst/>
          </a:prstGeom>
        </p:spPr>
        <p:txBody>
          <a:bodyPr wrap="square">
            <a:spAutoFit/>
          </a:bodyPr>
          <a:lstStyle/>
          <a:p>
            <a:pPr lvl="2" algn="ctr"/>
            <a:r>
              <a:rPr lang="fr-FR" dirty="0"/>
              <a:t>Accélération de la transformation </a:t>
            </a:r>
          </a:p>
        </p:txBody>
      </p:sp>
      <p:sp>
        <p:nvSpPr>
          <p:cNvPr id="37" name="Titre 1">
            <a:extLst>
              <a:ext uri="{FF2B5EF4-FFF2-40B4-BE49-F238E27FC236}">
                <a16:creationId xmlns:a16="http://schemas.microsoft.com/office/drawing/2014/main" id="{7154C6F6-D95C-446F-9E27-409F445663C3}"/>
              </a:ext>
            </a:extLst>
          </p:cNvPr>
          <p:cNvSpPr txBox="1">
            <a:spLocks/>
          </p:cNvSpPr>
          <p:nvPr/>
        </p:nvSpPr>
        <p:spPr>
          <a:xfrm>
            <a:off x="908323" y="328028"/>
            <a:ext cx="11283677" cy="851143"/>
          </a:xfrm>
          <a:prstGeom prst="rect">
            <a:avLst/>
          </a:prstGeom>
        </p:spPr>
        <p:txBody>
          <a:bodyPr/>
          <a:lstStyle>
            <a:lvl1pPr algn="ctr" rtl="0" eaLnBrk="1" fontAlgn="base" hangingPunct="1">
              <a:spcBef>
                <a:spcPct val="0"/>
              </a:spcBef>
              <a:spcAft>
                <a:spcPct val="0"/>
              </a:spcAft>
              <a:defRPr sz="3300">
                <a:solidFill>
                  <a:schemeClr val="tx2"/>
                </a:solidFill>
                <a:latin typeface="+mj-lt"/>
                <a:ea typeface="+mj-ea"/>
                <a:cs typeface="+mj-cs"/>
              </a:defRPr>
            </a:lvl1pPr>
            <a:lvl2pPr algn="ctr" rtl="0" eaLnBrk="1" fontAlgn="base" hangingPunct="1">
              <a:spcBef>
                <a:spcPct val="0"/>
              </a:spcBef>
              <a:spcAft>
                <a:spcPct val="0"/>
              </a:spcAft>
              <a:defRPr sz="3300">
                <a:solidFill>
                  <a:schemeClr val="tx2"/>
                </a:solidFill>
                <a:latin typeface="Arial" charset="0"/>
                <a:cs typeface="Arial" charset="0"/>
              </a:defRPr>
            </a:lvl2pPr>
            <a:lvl3pPr algn="ctr" rtl="0" eaLnBrk="1" fontAlgn="base" hangingPunct="1">
              <a:spcBef>
                <a:spcPct val="0"/>
              </a:spcBef>
              <a:spcAft>
                <a:spcPct val="0"/>
              </a:spcAft>
              <a:defRPr sz="3300">
                <a:solidFill>
                  <a:schemeClr val="tx2"/>
                </a:solidFill>
                <a:latin typeface="Arial" charset="0"/>
                <a:cs typeface="Arial" charset="0"/>
              </a:defRPr>
            </a:lvl3pPr>
            <a:lvl4pPr algn="ctr" rtl="0" eaLnBrk="1" fontAlgn="base" hangingPunct="1">
              <a:spcBef>
                <a:spcPct val="0"/>
              </a:spcBef>
              <a:spcAft>
                <a:spcPct val="0"/>
              </a:spcAft>
              <a:defRPr sz="3300">
                <a:solidFill>
                  <a:schemeClr val="tx2"/>
                </a:solidFill>
                <a:latin typeface="Arial" charset="0"/>
                <a:cs typeface="Arial" charset="0"/>
              </a:defRPr>
            </a:lvl4pPr>
            <a:lvl5pPr algn="ctr" rtl="0" eaLnBrk="1" fontAlgn="base" hangingPunct="1">
              <a:spcBef>
                <a:spcPct val="0"/>
              </a:spcBef>
              <a:spcAft>
                <a:spcPct val="0"/>
              </a:spcAft>
              <a:defRPr sz="3300">
                <a:solidFill>
                  <a:schemeClr val="tx2"/>
                </a:solidFill>
                <a:latin typeface="Arial" charset="0"/>
                <a:cs typeface="Arial" charset="0"/>
              </a:defRPr>
            </a:lvl5pPr>
            <a:lvl6pPr marL="342900" algn="ctr" rtl="0" eaLnBrk="1" fontAlgn="base" hangingPunct="1">
              <a:spcBef>
                <a:spcPct val="0"/>
              </a:spcBef>
              <a:spcAft>
                <a:spcPct val="0"/>
              </a:spcAft>
              <a:defRPr sz="3300">
                <a:solidFill>
                  <a:schemeClr val="tx2"/>
                </a:solidFill>
                <a:latin typeface="Arial" charset="0"/>
                <a:cs typeface="Arial" charset="0"/>
              </a:defRPr>
            </a:lvl6pPr>
            <a:lvl7pPr marL="685800" algn="ctr" rtl="0" eaLnBrk="1" fontAlgn="base" hangingPunct="1">
              <a:spcBef>
                <a:spcPct val="0"/>
              </a:spcBef>
              <a:spcAft>
                <a:spcPct val="0"/>
              </a:spcAft>
              <a:defRPr sz="3300">
                <a:solidFill>
                  <a:schemeClr val="tx2"/>
                </a:solidFill>
                <a:latin typeface="Arial" charset="0"/>
                <a:cs typeface="Arial" charset="0"/>
              </a:defRPr>
            </a:lvl7pPr>
            <a:lvl8pPr marL="1028700" algn="ctr" rtl="0" eaLnBrk="1" fontAlgn="base" hangingPunct="1">
              <a:spcBef>
                <a:spcPct val="0"/>
              </a:spcBef>
              <a:spcAft>
                <a:spcPct val="0"/>
              </a:spcAft>
              <a:defRPr sz="3300">
                <a:solidFill>
                  <a:schemeClr val="tx2"/>
                </a:solidFill>
                <a:latin typeface="Arial" charset="0"/>
                <a:cs typeface="Arial" charset="0"/>
              </a:defRPr>
            </a:lvl8pPr>
            <a:lvl9pPr marL="1371600" algn="ctr" rtl="0" eaLnBrk="1" fontAlgn="base" hangingPunct="1">
              <a:spcBef>
                <a:spcPct val="0"/>
              </a:spcBef>
              <a:spcAft>
                <a:spcPct val="0"/>
              </a:spcAft>
              <a:defRPr sz="3300">
                <a:solidFill>
                  <a:schemeClr val="tx2"/>
                </a:solidFill>
                <a:latin typeface="Arial" charset="0"/>
                <a:cs typeface="Arial" charset="0"/>
              </a:defRPr>
            </a:lvl9pPr>
          </a:lstStyle>
          <a:p>
            <a:pPr algn="l" defTabSz="1219170"/>
            <a:r>
              <a:rPr lang="fr-FR" sz="3733" b="1" kern="0" cap="all" dirty="0">
                <a:solidFill>
                  <a:srgbClr val="FFFFFF"/>
                </a:solidFill>
                <a:latin typeface="Arial Black" pitchFamily="34" charset="0"/>
                <a:cs typeface="Arial"/>
              </a:rPr>
              <a:t>Chiffres clés</a:t>
            </a:r>
          </a:p>
        </p:txBody>
      </p:sp>
    </p:spTree>
    <p:extLst>
      <p:ext uri="{BB962C8B-B14F-4D97-AF65-F5344CB8AC3E}">
        <p14:creationId xmlns:p14="http://schemas.microsoft.com/office/powerpoint/2010/main" val="10814830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Image 14" descr="Une image contenant extérieur, ciel, terrain, trottoir&#10;&#10;Description générée automatiquement">
            <a:extLst>
              <a:ext uri="{FF2B5EF4-FFF2-40B4-BE49-F238E27FC236}">
                <a16:creationId xmlns:a16="http://schemas.microsoft.com/office/drawing/2014/main" id="{9BEC5DAD-EFE2-4D8C-BC5C-D22F83734D4A}"/>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513"/>
          <a:stretch/>
        </p:blipFill>
        <p:spPr>
          <a:xfrm flipH="1">
            <a:off x="64688" y="-1"/>
            <a:ext cx="12191208" cy="5369002"/>
          </a:xfrm>
          <a:prstGeom prst="rect">
            <a:avLst/>
          </a:prstGeom>
        </p:spPr>
      </p:pic>
      <p:sp>
        <p:nvSpPr>
          <p:cNvPr id="16" name="Rectangle 15">
            <a:extLst>
              <a:ext uri="{FF2B5EF4-FFF2-40B4-BE49-F238E27FC236}">
                <a16:creationId xmlns:a16="http://schemas.microsoft.com/office/drawing/2014/main" id="{CA02F96C-E8D1-9EFA-10ED-C1198D700EF3}"/>
              </a:ext>
            </a:extLst>
          </p:cNvPr>
          <p:cNvSpPr/>
          <p:nvPr/>
        </p:nvSpPr>
        <p:spPr>
          <a:xfrm>
            <a:off x="397" y="1867605"/>
            <a:ext cx="12191207" cy="3571711"/>
          </a:xfrm>
          <a:prstGeom prst="rect">
            <a:avLst/>
          </a:prstGeom>
          <a:gradFill flip="none" rotWithShape="1">
            <a:gsLst>
              <a:gs pos="0">
                <a:schemeClr val="tx1"/>
              </a:gs>
              <a:gs pos="100000">
                <a:schemeClr val="tx1">
                  <a:alpha val="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00" dirty="0">
              <a:solidFill>
                <a:srgbClr val="0070C0"/>
              </a:solidFill>
            </a:endParaRPr>
          </a:p>
        </p:txBody>
      </p:sp>
      <p:grpSp>
        <p:nvGrpSpPr>
          <p:cNvPr id="11" name="Groupe 10">
            <a:extLst>
              <a:ext uri="{FF2B5EF4-FFF2-40B4-BE49-F238E27FC236}">
                <a16:creationId xmlns:a16="http://schemas.microsoft.com/office/drawing/2014/main" id="{0F383EC9-EF06-39F6-2963-19BF4497E9FB}"/>
              </a:ext>
            </a:extLst>
          </p:cNvPr>
          <p:cNvGrpSpPr/>
          <p:nvPr/>
        </p:nvGrpSpPr>
        <p:grpSpPr>
          <a:xfrm>
            <a:off x="53336" y="5953010"/>
            <a:ext cx="2582927" cy="904990"/>
            <a:chOff x="6189044" y="11173899"/>
            <a:chExt cx="5165853" cy="1809980"/>
          </a:xfrm>
        </p:grpSpPr>
        <p:sp>
          <p:nvSpPr>
            <p:cNvPr id="9" name="Rectangle 8">
              <a:extLst>
                <a:ext uri="{FF2B5EF4-FFF2-40B4-BE49-F238E27FC236}">
                  <a16:creationId xmlns:a16="http://schemas.microsoft.com/office/drawing/2014/main" id="{EA9E93AE-24BA-AB1C-A7DA-9A1EABC1B679}"/>
                </a:ext>
              </a:extLst>
            </p:cNvPr>
            <p:cNvSpPr/>
            <p:nvPr/>
          </p:nvSpPr>
          <p:spPr>
            <a:xfrm>
              <a:off x="6275672" y="11251933"/>
              <a:ext cx="3291840" cy="66955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00"/>
            </a:p>
          </p:txBody>
        </p:sp>
        <p:sp>
          <p:nvSpPr>
            <p:cNvPr id="10" name="Rectangle 9">
              <a:extLst>
                <a:ext uri="{FF2B5EF4-FFF2-40B4-BE49-F238E27FC236}">
                  <a16:creationId xmlns:a16="http://schemas.microsoft.com/office/drawing/2014/main" id="{E3CFEACD-7F62-BB60-ABBE-C835D2E8FFBA}"/>
                </a:ext>
              </a:extLst>
            </p:cNvPr>
            <p:cNvSpPr/>
            <p:nvPr/>
          </p:nvSpPr>
          <p:spPr>
            <a:xfrm>
              <a:off x="9805156" y="12159152"/>
              <a:ext cx="1389025" cy="66955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00"/>
            </a:p>
          </p:txBody>
        </p:sp>
        <p:pic>
          <p:nvPicPr>
            <p:cNvPr id="8" name="Graphique 7">
              <a:extLst>
                <a:ext uri="{FF2B5EF4-FFF2-40B4-BE49-F238E27FC236}">
                  <a16:creationId xmlns:a16="http://schemas.microsoft.com/office/drawing/2014/main" id="{95A9565D-9AFB-2044-0093-F6D43C6B329F}"/>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6189044" y="11173899"/>
              <a:ext cx="5165853" cy="1809980"/>
            </a:xfrm>
            <a:prstGeom prst="rect">
              <a:avLst/>
            </a:prstGeom>
          </p:spPr>
        </p:pic>
      </p:grpSp>
      <p:sp>
        <p:nvSpPr>
          <p:cNvPr id="13" name="object 2">
            <a:extLst>
              <a:ext uri="{FF2B5EF4-FFF2-40B4-BE49-F238E27FC236}">
                <a16:creationId xmlns:a16="http://schemas.microsoft.com/office/drawing/2014/main" id="{A211DB27-E702-4A3A-4759-BD08E71C18B6}"/>
              </a:ext>
            </a:extLst>
          </p:cNvPr>
          <p:cNvSpPr txBox="1">
            <a:spLocks/>
          </p:cNvSpPr>
          <p:nvPr/>
        </p:nvSpPr>
        <p:spPr>
          <a:xfrm>
            <a:off x="1821957" y="3111795"/>
            <a:ext cx="9191665" cy="410413"/>
          </a:xfrm>
          <a:prstGeom prst="rect">
            <a:avLst/>
          </a:prstGeom>
        </p:spPr>
        <p:txBody>
          <a:bodyPr vert="horz" wrap="square" lIns="0" tIns="40430" rIns="0" bIns="0" rtlCol="0" anchor="ctr">
            <a:spAutoFit/>
          </a:bodyPr>
          <a:lstStyle>
            <a:lvl1pPr algn="l" defTabSz="457200" rtl="0" eaLnBrk="0" fontAlgn="base" hangingPunct="0">
              <a:spcBef>
                <a:spcPct val="0"/>
              </a:spcBef>
              <a:spcAft>
                <a:spcPct val="0"/>
              </a:spcAft>
              <a:defRPr sz="1100" kern="1200">
                <a:solidFill>
                  <a:schemeClr val="tx1"/>
                </a:solidFill>
                <a:latin typeface="Univers LT Std 57 Cn" panose="020B0506020202050204" pitchFamily="34" charset="0"/>
                <a:ea typeface="+mj-ea"/>
                <a:cs typeface="+mj-cs"/>
              </a:defRPr>
            </a:lvl1pPr>
            <a:lvl2pPr algn="l" defTabSz="457200" rtl="0" eaLnBrk="0" fontAlgn="base" hangingPunct="0">
              <a:spcBef>
                <a:spcPct val="0"/>
              </a:spcBef>
              <a:spcAft>
                <a:spcPct val="0"/>
              </a:spcAft>
              <a:defRPr sz="1100">
                <a:solidFill>
                  <a:schemeClr val="tx1"/>
                </a:solidFill>
                <a:latin typeface="Univers LT Std 57 Cn" panose="020B0506020202050204" pitchFamily="34" charset="0"/>
                <a:cs typeface="Arial" panose="020B0604020202020204" pitchFamily="34" charset="0"/>
              </a:defRPr>
            </a:lvl2pPr>
            <a:lvl3pPr algn="l" defTabSz="457200" rtl="0" eaLnBrk="0" fontAlgn="base" hangingPunct="0">
              <a:spcBef>
                <a:spcPct val="0"/>
              </a:spcBef>
              <a:spcAft>
                <a:spcPct val="0"/>
              </a:spcAft>
              <a:defRPr sz="1100">
                <a:solidFill>
                  <a:schemeClr val="tx1"/>
                </a:solidFill>
                <a:latin typeface="Univers LT Std 57 Cn" panose="020B0506020202050204" pitchFamily="34" charset="0"/>
                <a:cs typeface="Arial" panose="020B0604020202020204" pitchFamily="34" charset="0"/>
              </a:defRPr>
            </a:lvl3pPr>
            <a:lvl4pPr algn="l" defTabSz="457200" rtl="0" eaLnBrk="0" fontAlgn="base" hangingPunct="0">
              <a:spcBef>
                <a:spcPct val="0"/>
              </a:spcBef>
              <a:spcAft>
                <a:spcPct val="0"/>
              </a:spcAft>
              <a:defRPr sz="1100">
                <a:solidFill>
                  <a:schemeClr val="tx1"/>
                </a:solidFill>
                <a:latin typeface="Univers LT Std 57 Cn" panose="020B0506020202050204" pitchFamily="34" charset="0"/>
                <a:cs typeface="Arial" panose="020B0604020202020204" pitchFamily="34" charset="0"/>
              </a:defRPr>
            </a:lvl4pPr>
            <a:lvl5pPr algn="l" defTabSz="457200" rtl="0" eaLnBrk="0" fontAlgn="base" hangingPunct="0">
              <a:spcBef>
                <a:spcPct val="0"/>
              </a:spcBef>
              <a:spcAft>
                <a:spcPct val="0"/>
              </a:spcAft>
              <a:defRPr sz="1100">
                <a:solidFill>
                  <a:schemeClr val="tx1"/>
                </a:solidFill>
                <a:latin typeface="Univers LT Std 57 Cn" panose="020B0506020202050204" pitchFamily="34" charset="0"/>
                <a:cs typeface="Arial" panose="020B0604020202020204" pitchFamily="34" charset="0"/>
              </a:defRPr>
            </a:lvl5pPr>
            <a:lvl6pPr marL="457200" algn="l" defTabSz="457200" rtl="0" fontAlgn="base">
              <a:spcBef>
                <a:spcPct val="0"/>
              </a:spcBef>
              <a:spcAft>
                <a:spcPct val="0"/>
              </a:spcAft>
              <a:defRPr sz="1200">
                <a:solidFill>
                  <a:schemeClr val="tx1"/>
                </a:solidFill>
                <a:latin typeface="Arial" panose="020B0604020202020204" pitchFamily="34" charset="0"/>
                <a:cs typeface="Arial" panose="020B0604020202020204" pitchFamily="34" charset="0"/>
              </a:defRPr>
            </a:lvl6pPr>
            <a:lvl7pPr marL="914400" algn="l" defTabSz="457200" rtl="0" fontAlgn="base">
              <a:spcBef>
                <a:spcPct val="0"/>
              </a:spcBef>
              <a:spcAft>
                <a:spcPct val="0"/>
              </a:spcAft>
              <a:defRPr sz="1200">
                <a:solidFill>
                  <a:schemeClr val="tx1"/>
                </a:solidFill>
                <a:latin typeface="Arial" panose="020B0604020202020204" pitchFamily="34" charset="0"/>
                <a:cs typeface="Arial" panose="020B0604020202020204" pitchFamily="34" charset="0"/>
              </a:defRPr>
            </a:lvl7pPr>
            <a:lvl8pPr marL="1371600" algn="l" defTabSz="457200" rtl="0" fontAlgn="base">
              <a:spcBef>
                <a:spcPct val="0"/>
              </a:spcBef>
              <a:spcAft>
                <a:spcPct val="0"/>
              </a:spcAft>
              <a:defRPr sz="1200">
                <a:solidFill>
                  <a:schemeClr val="tx1"/>
                </a:solidFill>
                <a:latin typeface="Arial" panose="020B0604020202020204" pitchFamily="34" charset="0"/>
                <a:cs typeface="Arial" panose="020B0604020202020204" pitchFamily="34" charset="0"/>
              </a:defRPr>
            </a:lvl8pPr>
            <a:lvl9pPr marL="1828800" algn="l" defTabSz="457200" rtl="0" fontAlgn="base">
              <a:spcBef>
                <a:spcPct val="0"/>
              </a:spcBef>
              <a:spcAft>
                <a:spcPct val="0"/>
              </a:spcAft>
              <a:defRPr sz="1200">
                <a:solidFill>
                  <a:schemeClr val="tx1"/>
                </a:solidFill>
                <a:latin typeface="Arial" panose="020B0604020202020204" pitchFamily="34" charset="0"/>
                <a:cs typeface="Arial" panose="020B0604020202020204" pitchFamily="34" charset="0"/>
              </a:defRPr>
            </a:lvl9pPr>
          </a:lstStyle>
          <a:p>
            <a:pPr marL="7701" marR="3082">
              <a:lnSpc>
                <a:spcPts val="3000"/>
              </a:lnSpc>
              <a:spcBef>
                <a:spcPts val="318"/>
              </a:spcBef>
            </a:pPr>
            <a:r>
              <a:rPr lang="fr-FR" sz="2400" spc="-6" dirty="0">
                <a:solidFill>
                  <a:schemeClr val="bg1"/>
                </a:solidFill>
                <a:latin typeface="Arial Black"/>
                <a:cs typeface="Arial Black"/>
              </a:rPr>
              <a:t>UNE VRAIE PLACE TERTIAIRE DE RANG EUROPÉEN </a:t>
            </a:r>
          </a:p>
        </p:txBody>
      </p:sp>
      <p:sp>
        <p:nvSpPr>
          <p:cNvPr id="5" name="Rectangle 4">
            <a:extLst>
              <a:ext uri="{FF2B5EF4-FFF2-40B4-BE49-F238E27FC236}">
                <a16:creationId xmlns:a16="http://schemas.microsoft.com/office/drawing/2014/main" id="{30D772E5-CE0B-504C-05E4-9ADDDBFFEBB0}"/>
              </a:ext>
            </a:extLst>
          </p:cNvPr>
          <p:cNvSpPr/>
          <p:nvPr/>
        </p:nvSpPr>
        <p:spPr>
          <a:xfrm>
            <a:off x="397" y="0"/>
            <a:ext cx="105878" cy="6858000"/>
          </a:xfrm>
          <a:prstGeom prst="rect">
            <a:avLst/>
          </a:prstGeom>
          <a:solidFill>
            <a:srgbClr val="E400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00"/>
          </a:p>
        </p:txBody>
      </p:sp>
    </p:spTree>
    <p:extLst>
      <p:ext uri="{BB962C8B-B14F-4D97-AF65-F5344CB8AC3E}">
        <p14:creationId xmlns:p14="http://schemas.microsoft.com/office/powerpoint/2010/main" val="40456562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 5">
            <a:extLst>
              <a:ext uri="{FF2B5EF4-FFF2-40B4-BE49-F238E27FC236}">
                <a16:creationId xmlns:a16="http://schemas.microsoft.com/office/drawing/2014/main" id="{954C9B25-F029-4509-AA2C-8FB1EB11B22A}"/>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9387705" y="6916"/>
            <a:ext cx="2803899" cy="6858000"/>
          </a:xfrm>
          <a:prstGeom prst="rect">
            <a:avLst/>
          </a:prstGeom>
        </p:spPr>
      </p:pic>
      <p:sp>
        <p:nvSpPr>
          <p:cNvPr id="96" name="Rectangle 95">
            <a:extLst>
              <a:ext uri="{FF2B5EF4-FFF2-40B4-BE49-F238E27FC236}">
                <a16:creationId xmlns:a16="http://schemas.microsoft.com/office/drawing/2014/main" id="{DBF52FF8-01F2-08D1-8CD0-66D989FB71A7}"/>
              </a:ext>
            </a:extLst>
          </p:cNvPr>
          <p:cNvSpPr/>
          <p:nvPr/>
        </p:nvSpPr>
        <p:spPr>
          <a:xfrm>
            <a:off x="5307530" y="20379"/>
            <a:ext cx="2153326" cy="68580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sz="900"/>
          </a:p>
        </p:txBody>
      </p:sp>
      <p:sp>
        <p:nvSpPr>
          <p:cNvPr id="21" name="Rectangle 20">
            <a:extLst>
              <a:ext uri="{FF2B5EF4-FFF2-40B4-BE49-F238E27FC236}">
                <a16:creationId xmlns:a16="http://schemas.microsoft.com/office/drawing/2014/main" id="{43AC99FD-C9E0-CDDC-8598-FB27375E3F9C}"/>
              </a:ext>
            </a:extLst>
          </p:cNvPr>
          <p:cNvSpPr/>
          <p:nvPr/>
        </p:nvSpPr>
        <p:spPr>
          <a:xfrm>
            <a:off x="397" y="0"/>
            <a:ext cx="105878" cy="6858000"/>
          </a:xfrm>
          <a:prstGeom prst="rect">
            <a:avLst/>
          </a:prstGeom>
          <a:solidFill>
            <a:srgbClr val="E400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00"/>
          </a:p>
        </p:txBody>
      </p:sp>
      <p:sp>
        <p:nvSpPr>
          <p:cNvPr id="11" name="object 8">
            <a:extLst>
              <a:ext uri="{FF2B5EF4-FFF2-40B4-BE49-F238E27FC236}">
                <a16:creationId xmlns:a16="http://schemas.microsoft.com/office/drawing/2014/main" id="{E18BE47D-B103-C5C4-2B0C-ABC6E3EEED56}"/>
              </a:ext>
            </a:extLst>
          </p:cNvPr>
          <p:cNvSpPr txBox="1">
            <a:spLocks/>
          </p:cNvSpPr>
          <p:nvPr/>
        </p:nvSpPr>
        <p:spPr>
          <a:xfrm>
            <a:off x="515074" y="333676"/>
            <a:ext cx="7276856" cy="1019356"/>
          </a:xfrm>
          <a:prstGeom prst="rect">
            <a:avLst/>
          </a:prstGeom>
        </p:spPr>
        <p:txBody>
          <a:bodyPr vert="horz" wrap="square" lIns="0" tIns="3658" rIns="0" bIns="0" rtlCol="0" anchor="ctr">
            <a:spAutoFit/>
          </a:bodyPr>
          <a:lstStyle>
            <a:lvl1pPr algn="l" defTabSz="1828709" rtl="0" eaLnBrk="1" latinLnBrk="0" hangingPunct="1">
              <a:lnSpc>
                <a:spcPct val="90000"/>
              </a:lnSpc>
              <a:spcBef>
                <a:spcPct val="0"/>
              </a:spcBef>
              <a:buNone/>
              <a:defRPr sz="8800" kern="1200">
                <a:solidFill>
                  <a:schemeClr val="tx1"/>
                </a:solidFill>
                <a:latin typeface="+mj-lt"/>
                <a:ea typeface="+mj-ea"/>
                <a:cs typeface="+mj-cs"/>
              </a:defRPr>
            </a:lvl1pPr>
          </a:lstStyle>
          <a:p>
            <a:pPr marL="3851">
              <a:lnSpc>
                <a:spcPct val="100000"/>
              </a:lnSpc>
              <a:spcBef>
                <a:spcPts val="29"/>
              </a:spcBef>
              <a:tabLst>
                <a:tab pos="1528050" algn="l"/>
              </a:tabLst>
            </a:pPr>
            <a:r>
              <a:rPr lang="fr-FR" sz="2200" spc="-2" dirty="0">
                <a:solidFill>
                  <a:srgbClr val="E4002B"/>
                </a:solidFill>
                <a:latin typeface="Arial Black" panose="020B0A04020102020204" pitchFamily="34" charset="0"/>
              </a:rPr>
              <a:t>UN TERRITOIRE RÉSILIENT</a:t>
            </a:r>
            <a:endParaRPr lang="fr-FR" sz="2200" spc="-2" dirty="0">
              <a:latin typeface="Arial Black" panose="020B0A04020102020204" pitchFamily="34" charset="0"/>
            </a:endParaRPr>
          </a:p>
          <a:p>
            <a:pPr marL="3851">
              <a:lnSpc>
                <a:spcPct val="100000"/>
              </a:lnSpc>
              <a:spcBef>
                <a:spcPts val="29"/>
              </a:spcBef>
              <a:tabLst>
                <a:tab pos="1528050" algn="l"/>
              </a:tabLst>
            </a:pPr>
            <a:r>
              <a:rPr lang="fr-FR" sz="2200" spc="-2" dirty="0">
                <a:latin typeface="Arial Black" panose="020B0A04020102020204" pitchFamily="34" charset="0"/>
              </a:rPr>
              <a:t>      DANS UN CONTEXTE</a:t>
            </a:r>
            <a:br>
              <a:rPr lang="fr-FR" sz="2200" spc="-2" dirty="0">
                <a:latin typeface="Arial Black" panose="020B0A04020102020204" pitchFamily="34" charset="0"/>
              </a:rPr>
            </a:br>
            <a:r>
              <a:rPr lang="fr-FR" sz="2200" spc="-2" dirty="0">
                <a:latin typeface="Arial Black" panose="020B0A04020102020204" pitchFamily="34" charset="0"/>
              </a:rPr>
              <a:t>      GLOBAL INSTABLE</a:t>
            </a:r>
          </a:p>
        </p:txBody>
      </p:sp>
      <p:sp>
        <p:nvSpPr>
          <p:cNvPr id="18" name="ZoneTexte 17">
            <a:extLst>
              <a:ext uri="{FF2B5EF4-FFF2-40B4-BE49-F238E27FC236}">
                <a16:creationId xmlns:a16="http://schemas.microsoft.com/office/drawing/2014/main" id="{F6796C46-BC64-FD15-DD68-FE9D69BD5CA0}"/>
              </a:ext>
            </a:extLst>
          </p:cNvPr>
          <p:cNvSpPr txBox="1"/>
          <p:nvPr/>
        </p:nvSpPr>
        <p:spPr>
          <a:xfrm>
            <a:off x="479270" y="1584322"/>
            <a:ext cx="4401344" cy="646331"/>
          </a:xfrm>
          <a:prstGeom prst="rect">
            <a:avLst/>
          </a:prstGeom>
          <a:noFill/>
          <a:ln>
            <a:noFill/>
          </a:ln>
        </p:spPr>
        <p:txBody>
          <a:bodyPr wrap="square" rtlCol="0">
            <a:spAutoFit/>
          </a:bodyPr>
          <a:lstStyle/>
          <a:p>
            <a:r>
              <a:rPr lang="fr-FR" b="1" dirty="0">
                <a:latin typeface="Arial" panose="020B0604020202020204" pitchFamily="34" charset="0"/>
                <a:cs typeface="Arial" panose="020B0604020202020204" pitchFamily="34" charset="0"/>
              </a:rPr>
              <a:t>CHIFFRES CLÉS,</a:t>
            </a:r>
            <a:br>
              <a:rPr lang="fr-FR" b="1" dirty="0">
                <a:latin typeface="Arial" panose="020B0604020202020204" pitchFamily="34" charset="0"/>
                <a:cs typeface="Arial" panose="020B0604020202020204" pitchFamily="34" charset="0"/>
              </a:rPr>
            </a:br>
            <a:r>
              <a:rPr lang="fr-FR" b="1" dirty="0">
                <a:solidFill>
                  <a:srgbClr val="E4002B"/>
                </a:solidFill>
                <a:latin typeface="Arial" panose="020B0604020202020204" pitchFamily="34" charset="0"/>
                <a:cs typeface="Arial" panose="020B0604020202020204" pitchFamily="34" charset="0"/>
              </a:rPr>
              <a:t>ÉTABLISSEMENTS &amp; EMPLOIS</a:t>
            </a:r>
          </a:p>
        </p:txBody>
      </p:sp>
      <p:sp>
        <p:nvSpPr>
          <p:cNvPr id="22" name="ZoneTexte 21">
            <a:extLst>
              <a:ext uri="{FF2B5EF4-FFF2-40B4-BE49-F238E27FC236}">
                <a16:creationId xmlns:a16="http://schemas.microsoft.com/office/drawing/2014/main" id="{9630D5F9-2502-26E8-99D5-3E8F62078E25}"/>
              </a:ext>
            </a:extLst>
          </p:cNvPr>
          <p:cNvSpPr txBox="1"/>
          <p:nvPr/>
        </p:nvSpPr>
        <p:spPr>
          <a:xfrm>
            <a:off x="745516" y="2867712"/>
            <a:ext cx="2929007" cy="307777"/>
          </a:xfrm>
          <a:prstGeom prst="rect">
            <a:avLst/>
          </a:prstGeom>
          <a:noFill/>
          <a:ln>
            <a:solidFill>
              <a:schemeClr val="tx1"/>
            </a:solidFill>
          </a:ln>
        </p:spPr>
        <p:txBody>
          <a:bodyPr wrap="none" rtlCol="0">
            <a:spAutoFit/>
          </a:bodyPr>
          <a:lstStyle/>
          <a:p>
            <a:r>
              <a:rPr lang="fr-FR" sz="1400" b="1" dirty="0">
                <a:latin typeface="Arial" panose="020B0604020202020204" pitchFamily="34" charset="0"/>
                <a:cs typeface="Arial" panose="020B0604020202020204" pitchFamily="34" charset="0"/>
              </a:rPr>
              <a:t>établissements</a:t>
            </a:r>
            <a:r>
              <a:rPr lang="fr-FR" sz="1400" dirty="0">
                <a:latin typeface="Arial" panose="020B0604020202020204" pitchFamily="34" charset="0"/>
                <a:cs typeface="Arial" panose="020B0604020202020204" pitchFamily="34" charset="0"/>
              </a:rPr>
              <a:t> (publics et privés)</a:t>
            </a:r>
          </a:p>
        </p:txBody>
      </p:sp>
      <p:sp>
        <p:nvSpPr>
          <p:cNvPr id="20" name="ZoneTexte 19">
            <a:extLst>
              <a:ext uri="{FF2B5EF4-FFF2-40B4-BE49-F238E27FC236}">
                <a16:creationId xmlns:a16="http://schemas.microsoft.com/office/drawing/2014/main" id="{6BAD928B-79CB-6311-2635-F54BEFF32FB8}"/>
              </a:ext>
            </a:extLst>
          </p:cNvPr>
          <p:cNvSpPr txBox="1"/>
          <p:nvPr/>
        </p:nvSpPr>
        <p:spPr>
          <a:xfrm>
            <a:off x="525831" y="2499348"/>
            <a:ext cx="1249354" cy="400110"/>
          </a:xfrm>
          <a:prstGeom prst="rect">
            <a:avLst/>
          </a:prstGeom>
          <a:solidFill>
            <a:srgbClr val="E4002B"/>
          </a:solidFill>
          <a:ln>
            <a:noFill/>
          </a:ln>
        </p:spPr>
        <p:txBody>
          <a:bodyPr wrap="square" rtlCol="0">
            <a:spAutoFit/>
          </a:bodyPr>
          <a:lstStyle/>
          <a:p>
            <a:r>
              <a:rPr lang="fr-FR" sz="2000" b="1" dirty="0">
                <a:solidFill>
                  <a:schemeClr val="bg1"/>
                </a:solidFill>
                <a:latin typeface="Arial" panose="020B0604020202020204" pitchFamily="34" charset="0"/>
                <a:cs typeface="Arial" panose="020B0604020202020204" pitchFamily="34" charset="0"/>
              </a:rPr>
              <a:t>176 300</a:t>
            </a:r>
          </a:p>
        </p:txBody>
      </p:sp>
      <p:sp>
        <p:nvSpPr>
          <p:cNvPr id="24" name="ZoneTexte 23">
            <a:extLst>
              <a:ext uri="{FF2B5EF4-FFF2-40B4-BE49-F238E27FC236}">
                <a16:creationId xmlns:a16="http://schemas.microsoft.com/office/drawing/2014/main" id="{AABAD8ED-832C-1DFB-F329-BAC3AD9EBE38}"/>
              </a:ext>
            </a:extLst>
          </p:cNvPr>
          <p:cNvSpPr txBox="1"/>
          <p:nvPr/>
        </p:nvSpPr>
        <p:spPr>
          <a:xfrm>
            <a:off x="967139" y="3689208"/>
            <a:ext cx="2202847" cy="307777"/>
          </a:xfrm>
          <a:prstGeom prst="rect">
            <a:avLst/>
          </a:prstGeom>
          <a:noFill/>
          <a:ln>
            <a:solidFill>
              <a:schemeClr val="tx1"/>
            </a:solidFill>
          </a:ln>
        </p:spPr>
        <p:txBody>
          <a:bodyPr wrap="none" rtlCol="0">
            <a:spAutoFit/>
          </a:bodyPr>
          <a:lstStyle/>
          <a:p>
            <a:r>
              <a:rPr lang="fr-FR" sz="1400" b="1" dirty="0">
                <a:latin typeface="Arial" panose="020B0604020202020204" pitchFamily="34" charset="0"/>
                <a:cs typeface="Arial" panose="020B0604020202020204" pitchFamily="34" charset="0"/>
              </a:rPr>
              <a:t>emplois</a:t>
            </a:r>
            <a:r>
              <a:rPr lang="fr-FR" sz="1400" dirty="0">
                <a:latin typeface="Arial" panose="020B0604020202020204" pitchFamily="34" charset="0"/>
                <a:cs typeface="Arial" panose="020B0604020202020204" pitchFamily="34" charset="0"/>
              </a:rPr>
              <a:t> (dont 2/3 privés)</a:t>
            </a:r>
          </a:p>
        </p:txBody>
      </p:sp>
      <p:sp>
        <p:nvSpPr>
          <p:cNvPr id="25" name="ZoneTexte 24">
            <a:extLst>
              <a:ext uri="{FF2B5EF4-FFF2-40B4-BE49-F238E27FC236}">
                <a16:creationId xmlns:a16="http://schemas.microsoft.com/office/drawing/2014/main" id="{693B1D30-C0C5-0EFE-16E6-E7252887DECF}"/>
              </a:ext>
            </a:extLst>
          </p:cNvPr>
          <p:cNvSpPr txBox="1"/>
          <p:nvPr/>
        </p:nvSpPr>
        <p:spPr>
          <a:xfrm>
            <a:off x="747454" y="3311877"/>
            <a:ext cx="1239105" cy="400110"/>
          </a:xfrm>
          <a:prstGeom prst="rect">
            <a:avLst/>
          </a:prstGeom>
          <a:solidFill>
            <a:schemeClr val="tx1"/>
          </a:solidFill>
          <a:ln>
            <a:noFill/>
          </a:ln>
        </p:spPr>
        <p:txBody>
          <a:bodyPr wrap="square" rtlCol="0">
            <a:spAutoFit/>
          </a:bodyPr>
          <a:lstStyle/>
          <a:p>
            <a:r>
              <a:rPr lang="fr-FR" sz="2000" b="1" dirty="0">
                <a:solidFill>
                  <a:schemeClr val="bg1"/>
                </a:solidFill>
                <a:latin typeface="Arial" panose="020B0604020202020204" pitchFamily="34" charset="0"/>
                <a:cs typeface="Arial" panose="020B0604020202020204" pitchFamily="34" charset="0"/>
              </a:rPr>
              <a:t>863 000</a:t>
            </a:r>
          </a:p>
        </p:txBody>
      </p:sp>
      <p:sp>
        <p:nvSpPr>
          <p:cNvPr id="28" name="ZoneTexte 27">
            <a:extLst>
              <a:ext uri="{FF2B5EF4-FFF2-40B4-BE49-F238E27FC236}">
                <a16:creationId xmlns:a16="http://schemas.microsoft.com/office/drawing/2014/main" id="{497D9D12-537C-3C7E-7B59-AFC54C5D6163}"/>
              </a:ext>
            </a:extLst>
          </p:cNvPr>
          <p:cNvSpPr txBox="1"/>
          <p:nvPr/>
        </p:nvSpPr>
        <p:spPr>
          <a:xfrm>
            <a:off x="1172869" y="4487905"/>
            <a:ext cx="2154757" cy="477054"/>
          </a:xfrm>
          <a:prstGeom prst="rect">
            <a:avLst/>
          </a:prstGeom>
          <a:noFill/>
          <a:ln>
            <a:solidFill>
              <a:schemeClr val="tx1"/>
            </a:solidFill>
          </a:ln>
        </p:spPr>
        <p:txBody>
          <a:bodyPr wrap="none" rtlCol="0">
            <a:spAutoFit/>
          </a:bodyPr>
          <a:lstStyle/>
          <a:p>
            <a:r>
              <a:rPr lang="fr-FR" sz="1400" b="1" dirty="0">
                <a:latin typeface="Arial" panose="020B0604020202020204" pitchFamily="34" charset="0"/>
                <a:cs typeface="Arial" panose="020B0604020202020204" pitchFamily="34" charset="0"/>
              </a:rPr>
              <a:t>emplois salariés privés</a:t>
            </a:r>
            <a:br>
              <a:rPr lang="fr-FR" sz="1400" b="1" dirty="0">
                <a:latin typeface="Arial" panose="020B0604020202020204" pitchFamily="34" charset="0"/>
                <a:cs typeface="Arial" panose="020B0604020202020204" pitchFamily="34" charset="0"/>
              </a:rPr>
            </a:br>
            <a:r>
              <a:rPr lang="fr-FR" sz="1100" dirty="0">
                <a:latin typeface="Arial" panose="020B0604020202020204" pitchFamily="34" charset="0"/>
                <a:cs typeface="Arial" panose="020B0604020202020204" pitchFamily="34" charset="0"/>
              </a:rPr>
              <a:t>entre 2021 et 2022</a:t>
            </a:r>
            <a:endParaRPr lang="fr-FR" sz="1400" dirty="0">
              <a:latin typeface="Arial" panose="020B0604020202020204" pitchFamily="34" charset="0"/>
              <a:cs typeface="Arial" panose="020B0604020202020204" pitchFamily="34" charset="0"/>
            </a:endParaRPr>
          </a:p>
        </p:txBody>
      </p:sp>
      <p:sp>
        <p:nvSpPr>
          <p:cNvPr id="29" name="ZoneTexte 28">
            <a:extLst>
              <a:ext uri="{FF2B5EF4-FFF2-40B4-BE49-F238E27FC236}">
                <a16:creationId xmlns:a16="http://schemas.microsoft.com/office/drawing/2014/main" id="{DBACB632-7D31-C8B5-FE70-7F781DDA0D3C}"/>
              </a:ext>
            </a:extLst>
          </p:cNvPr>
          <p:cNvSpPr txBox="1"/>
          <p:nvPr/>
        </p:nvSpPr>
        <p:spPr>
          <a:xfrm>
            <a:off x="967139" y="4122843"/>
            <a:ext cx="1301042" cy="400110"/>
          </a:xfrm>
          <a:prstGeom prst="rect">
            <a:avLst/>
          </a:prstGeom>
          <a:solidFill>
            <a:srgbClr val="E4002B"/>
          </a:solidFill>
          <a:ln>
            <a:noFill/>
          </a:ln>
        </p:spPr>
        <p:txBody>
          <a:bodyPr wrap="square" rtlCol="0">
            <a:spAutoFit/>
          </a:bodyPr>
          <a:lstStyle/>
          <a:p>
            <a:r>
              <a:rPr lang="fr-FR" sz="2000" b="1" dirty="0">
                <a:solidFill>
                  <a:schemeClr val="bg1"/>
                </a:solidFill>
                <a:latin typeface="Arial" panose="020B0604020202020204" pitchFamily="34" charset="0"/>
                <a:cs typeface="Arial" panose="020B0604020202020204" pitchFamily="34" charset="0"/>
              </a:rPr>
              <a:t>+ 19 300 </a:t>
            </a:r>
          </a:p>
        </p:txBody>
      </p:sp>
      <p:sp>
        <p:nvSpPr>
          <p:cNvPr id="31" name="ZoneTexte 30">
            <a:extLst>
              <a:ext uri="{FF2B5EF4-FFF2-40B4-BE49-F238E27FC236}">
                <a16:creationId xmlns:a16="http://schemas.microsoft.com/office/drawing/2014/main" id="{71C41D35-9535-9342-8FC7-C37C629933B0}"/>
              </a:ext>
            </a:extLst>
          </p:cNvPr>
          <p:cNvSpPr txBox="1"/>
          <p:nvPr/>
        </p:nvSpPr>
        <p:spPr>
          <a:xfrm>
            <a:off x="1389679" y="5475125"/>
            <a:ext cx="2346957" cy="307777"/>
          </a:xfrm>
          <a:prstGeom prst="rect">
            <a:avLst/>
          </a:prstGeom>
          <a:noFill/>
          <a:ln>
            <a:solidFill>
              <a:schemeClr val="tx1"/>
            </a:solidFill>
          </a:ln>
        </p:spPr>
        <p:txBody>
          <a:bodyPr wrap="square" rtlCol="0">
            <a:spAutoFit/>
          </a:bodyPr>
          <a:lstStyle/>
          <a:p>
            <a:r>
              <a:rPr lang="fr-FR" sz="1400" b="1" dirty="0">
                <a:latin typeface="Arial" panose="020B0604020202020204" pitchFamily="34" charset="0"/>
                <a:cs typeface="Arial" panose="020B0604020202020204" pitchFamily="34" charset="0"/>
              </a:rPr>
              <a:t>créations d’entreprises</a:t>
            </a:r>
            <a:endParaRPr lang="fr-FR" sz="1400" dirty="0">
              <a:latin typeface="Arial" panose="020B0604020202020204" pitchFamily="34" charset="0"/>
              <a:cs typeface="Arial" panose="020B0604020202020204" pitchFamily="34" charset="0"/>
            </a:endParaRPr>
          </a:p>
        </p:txBody>
      </p:sp>
      <p:sp>
        <p:nvSpPr>
          <p:cNvPr id="41" name="ZoneTexte 40">
            <a:extLst>
              <a:ext uri="{FF2B5EF4-FFF2-40B4-BE49-F238E27FC236}">
                <a16:creationId xmlns:a16="http://schemas.microsoft.com/office/drawing/2014/main" id="{B17607D5-3F43-AA18-BC7D-C3C929A4C390}"/>
              </a:ext>
            </a:extLst>
          </p:cNvPr>
          <p:cNvSpPr txBox="1"/>
          <p:nvPr/>
        </p:nvSpPr>
        <p:spPr>
          <a:xfrm>
            <a:off x="1169994" y="5116188"/>
            <a:ext cx="1074767" cy="400110"/>
          </a:xfrm>
          <a:prstGeom prst="rect">
            <a:avLst/>
          </a:prstGeom>
          <a:solidFill>
            <a:schemeClr val="tx1"/>
          </a:solidFill>
          <a:ln>
            <a:noFill/>
          </a:ln>
        </p:spPr>
        <p:txBody>
          <a:bodyPr wrap="square" rtlCol="0">
            <a:spAutoFit/>
          </a:bodyPr>
          <a:lstStyle/>
          <a:p>
            <a:r>
              <a:rPr lang="fr-FR" sz="2000" b="1" dirty="0">
                <a:solidFill>
                  <a:schemeClr val="bg1"/>
                </a:solidFill>
                <a:latin typeface="Arial" panose="020B0604020202020204" pitchFamily="34" charset="0"/>
                <a:cs typeface="Arial" panose="020B0604020202020204" pitchFamily="34" charset="0"/>
              </a:rPr>
              <a:t>31 000</a:t>
            </a:r>
          </a:p>
        </p:txBody>
      </p:sp>
      <p:grpSp>
        <p:nvGrpSpPr>
          <p:cNvPr id="80" name="Groupe 79">
            <a:extLst>
              <a:ext uri="{FF2B5EF4-FFF2-40B4-BE49-F238E27FC236}">
                <a16:creationId xmlns:a16="http://schemas.microsoft.com/office/drawing/2014/main" id="{4374647D-AB70-B7B6-4A55-063524614BD8}"/>
              </a:ext>
            </a:extLst>
          </p:cNvPr>
          <p:cNvGrpSpPr/>
          <p:nvPr/>
        </p:nvGrpSpPr>
        <p:grpSpPr>
          <a:xfrm>
            <a:off x="7648454" y="2041230"/>
            <a:ext cx="1646605" cy="3905170"/>
            <a:chOff x="16330458" y="4332632"/>
            <a:chExt cx="3293209" cy="7810330"/>
          </a:xfrm>
        </p:grpSpPr>
        <p:sp>
          <p:nvSpPr>
            <p:cNvPr id="71" name="ZoneTexte 70">
              <a:extLst>
                <a:ext uri="{FF2B5EF4-FFF2-40B4-BE49-F238E27FC236}">
                  <a16:creationId xmlns:a16="http://schemas.microsoft.com/office/drawing/2014/main" id="{91C2DCC7-46DB-9494-6903-D54BA0B0EC08}"/>
                </a:ext>
              </a:extLst>
            </p:cNvPr>
            <p:cNvSpPr txBox="1"/>
            <p:nvPr/>
          </p:nvSpPr>
          <p:spPr>
            <a:xfrm>
              <a:off x="16330458" y="5208010"/>
              <a:ext cx="1917833" cy="615554"/>
            </a:xfrm>
            <a:prstGeom prst="rect">
              <a:avLst/>
            </a:prstGeom>
            <a:solidFill>
              <a:schemeClr val="tx1"/>
            </a:solidFill>
            <a:ln>
              <a:noFill/>
            </a:ln>
          </p:spPr>
          <p:txBody>
            <a:bodyPr wrap="none" rtlCol="0">
              <a:spAutoFit/>
            </a:bodyPr>
            <a:lstStyle/>
            <a:p>
              <a:r>
                <a:rPr lang="fr-FR" sz="1400" b="1" dirty="0">
                  <a:solidFill>
                    <a:schemeClr val="bg1"/>
                  </a:solidFill>
                  <a:latin typeface="Arial" panose="020B0604020202020204" pitchFamily="34" charset="0"/>
                  <a:cs typeface="Arial" panose="020B0604020202020204" pitchFamily="34" charset="0"/>
                </a:rPr>
                <a:t>Mobilités</a:t>
              </a:r>
            </a:p>
          </p:txBody>
        </p:sp>
        <p:sp>
          <p:nvSpPr>
            <p:cNvPr id="72" name="ZoneTexte 71">
              <a:extLst>
                <a:ext uri="{FF2B5EF4-FFF2-40B4-BE49-F238E27FC236}">
                  <a16:creationId xmlns:a16="http://schemas.microsoft.com/office/drawing/2014/main" id="{A2A35D16-A396-188F-42BD-BAEE93EEF7B4}"/>
                </a:ext>
              </a:extLst>
            </p:cNvPr>
            <p:cNvSpPr txBox="1"/>
            <p:nvPr/>
          </p:nvSpPr>
          <p:spPr>
            <a:xfrm>
              <a:off x="16330458" y="5994448"/>
              <a:ext cx="3293209" cy="615554"/>
            </a:xfrm>
            <a:prstGeom prst="rect">
              <a:avLst/>
            </a:prstGeom>
            <a:solidFill>
              <a:schemeClr val="tx1"/>
            </a:solidFill>
            <a:ln>
              <a:noFill/>
            </a:ln>
          </p:spPr>
          <p:txBody>
            <a:bodyPr wrap="none" rtlCol="0">
              <a:spAutoFit/>
            </a:bodyPr>
            <a:lstStyle/>
            <a:p>
              <a:r>
                <a:rPr lang="fr-FR" sz="1400" b="1" dirty="0">
                  <a:solidFill>
                    <a:schemeClr val="bg1"/>
                  </a:solidFill>
                  <a:latin typeface="Arial" panose="020B0604020202020204" pitchFamily="34" charset="0"/>
                  <a:cs typeface="Arial" panose="020B0604020202020204" pitchFamily="34" charset="0"/>
                </a:rPr>
                <a:t>Bâtiment durable</a:t>
              </a:r>
            </a:p>
          </p:txBody>
        </p:sp>
        <p:sp>
          <p:nvSpPr>
            <p:cNvPr id="73" name="ZoneTexte 72">
              <a:extLst>
                <a:ext uri="{FF2B5EF4-FFF2-40B4-BE49-F238E27FC236}">
                  <a16:creationId xmlns:a16="http://schemas.microsoft.com/office/drawing/2014/main" id="{21B4E073-F2A5-3C84-5B15-72C6269FF1EE}"/>
                </a:ext>
              </a:extLst>
            </p:cNvPr>
            <p:cNvSpPr txBox="1"/>
            <p:nvPr/>
          </p:nvSpPr>
          <p:spPr>
            <a:xfrm>
              <a:off x="16330458" y="6780886"/>
              <a:ext cx="2241639" cy="615554"/>
            </a:xfrm>
            <a:prstGeom prst="rect">
              <a:avLst/>
            </a:prstGeom>
            <a:solidFill>
              <a:schemeClr val="tx1"/>
            </a:solidFill>
            <a:ln>
              <a:noFill/>
            </a:ln>
          </p:spPr>
          <p:txBody>
            <a:bodyPr wrap="none" rtlCol="0">
              <a:spAutoFit/>
            </a:bodyPr>
            <a:lstStyle/>
            <a:p>
              <a:r>
                <a:rPr lang="fr-FR" sz="1400" b="1" dirty="0">
                  <a:solidFill>
                    <a:schemeClr val="bg1"/>
                  </a:solidFill>
                  <a:latin typeface="Arial" panose="020B0604020202020204" pitchFamily="34" charset="0"/>
                  <a:cs typeface="Arial" panose="020B0604020202020204" pitchFamily="34" charset="0"/>
                </a:rPr>
                <a:t>Numérique</a:t>
              </a:r>
            </a:p>
          </p:txBody>
        </p:sp>
        <p:sp>
          <p:nvSpPr>
            <p:cNvPr id="74" name="ZoneTexte 73">
              <a:extLst>
                <a:ext uri="{FF2B5EF4-FFF2-40B4-BE49-F238E27FC236}">
                  <a16:creationId xmlns:a16="http://schemas.microsoft.com/office/drawing/2014/main" id="{A968D2D8-BAF2-C050-CB0D-FFC03D9965D2}"/>
                </a:ext>
              </a:extLst>
            </p:cNvPr>
            <p:cNvSpPr txBox="1"/>
            <p:nvPr/>
          </p:nvSpPr>
          <p:spPr>
            <a:xfrm>
              <a:off x="16330458" y="7567324"/>
              <a:ext cx="1474378" cy="615554"/>
            </a:xfrm>
            <a:prstGeom prst="rect">
              <a:avLst/>
            </a:prstGeom>
            <a:solidFill>
              <a:schemeClr val="tx1"/>
            </a:solidFill>
            <a:ln>
              <a:noFill/>
            </a:ln>
          </p:spPr>
          <p:txBody>
            <a:bodyPr wrap="none" rtlCol="0">
              <a:spAutoFit/>
            </a:bodyPr>
            <a:lstStyle/>
            <a:p>
              <a:r>
                <a:rPr lang="fr-FR" sz="1400" b="1" dirty="0">
                  <a:solidFill>
                    <a:schemeClr val="bg1"/>
                  </a:solidFill>
                  <a:latin typeface="Arial" panose="020B0604020202020204" pitchFamily="34" charset="0"/>
                  <a:cs typeface="Arial" panose="020B0604020202020204" pitchFamily="34" charset="0"/>
                </a:rPr>
                <a:t>Textile</a:t>
              </a:r>
            </a:p>
          </p:txBody>
        </p:sp>
        <p:sp>
          <p:nvSpPr>
            <p:cNvPr id="75" name="ZoneTexte 74">
              <a:extLst>
                <a:ext uri="{FF2B5EF4-FFF2-40B4-BE49-F238E27FC236}">
                  <a16:creationId xmlns:a16="http://schemas.microsoft.com/office/drawing/2014/main" id="{01AA240F-3E87-81DF-0FE6-5B5A3416A825}"/>
                </a:ext>
              </a:extLst>
            </p:cNvPr>
            <p:cNvSpPr txBox="1"/>
            <p:nvPr/>
          </p:nvSpPr>
          <p:spPr>
            <a:xfrm>
              <a:off x="16330458" y="8353762"/>
              <a:ext cx="2693687" cy="615554"/>
            </a:xfrm>
            <a:prstGeom prst="rect">
              <a:avLst/>
            </a:prstGeom>
            <a:solidFill>
              <a:schemeClr val="tx1"/>
            </a:solidFill>
            <a:ln>
              <a:noFill/>
            </a:ln>
          </p:spPr>
          <p:txBody>
            <a:bodyPr wrap="none" rtlCol="0">
              <a:spAutoFit/>
            </a:bodyPr>
            <a:lstStyle/>
            <a:p>
              <a:r>
                <a:rPr lang="fr-FR" sz="1400" b="1" dirty="0">
                  <a:solidFill>
                    <a:schemeClr val="bg1"/>
                  </a:solidFill>
                  <a:latin typeface="Arial" panose="020B0604020202020204" pitchFamily="34" charset="0"/>
                  <a:cs typeface="Arial" panose="020B0604020202020204" pitchFamily="34" charset="0"/>
                </a:rPr>
                <a:t>Santé globale</a:t>
              </a:r>
            </a:p>
          </p:txBody>
        </p:sp>
        <p:sp>
          <p:nvSpPr>
            <p:cNvPr id="76" name="ZoneTexte 75">
              <a:extLst>
                <a:ext uri="{FF2B5EF4-FFF2-40B4-BE49-F238E27FC236}">
                  <a16:creationId xmlns:a16="http://schemas.microsoft.com/office/drawing/2014/main" id="{85EBED84-AE71-2D59-4584-43E8F2470EEE}"/>
                </a:ext>
              </a:extLst>
            </p:cNvPr>
            <p:cNvSpPr txBox="1"/>
            <p:nvPr/>
          </p:nvSpPr>
          <p:spPr>
            <a:xfrm>
              <a:off x="16330458" y="9140200"/>
              <a:ext cx="2536591" cy="615554"/>
            </a:xfrm>
            <a:prstGeom prst="rect">
              <a:avLst/>
            </a:prstGeom>
            <a:solidFill>
              <a:schemeClr val="tx1"/>
            </a:solidFill>
            <a:ln>
              <a:noFill/>
            </a:ln>
          </p:spPr>
          <p:txBody>
            <a:bodyPr wrap="none" rtlCol="0">
              <a:spAutoFit/>
            </a:bodyPr>
            <a:lstStyle/>
            <a:p>
              <a:r>
                <a:rPr lang="fr-FR" sz="1400" b="1" dirty="0">
                  <a:solidFill>
                    <a:schemeClr val="bg1"/>
                  </a:solidFill>
                  <a:latin typeface="Arial" panose="020B0604020202020204" pitchFamily="34" charset="0"/>
                  <a:cs typeface="Arial" panose="020B0604020202020204" pitchFamily="34" charset="0"/>
                </a:rPr>
                <a:t>Alimentation</a:t>
              </a:r>
            </a:p>
          </p:txBody>
        </p:sp>
        <p:sp>
          <p:nvSpPr>
            <p:cNvPr id="77" name="ZoneTexte 76">
              <a:extLst>
                <a:ext uri="{FF2B5EF4-FFF2-40B4-BE49-F238E27FC236}">
                  <a16:creationId xmlns:a16="http://schemas.microsoft.com/office/drawing/2014/main" id="{0A77784E-1A52-5D9E-8975-F2A22A8CEDDD}"/>
                </a:ext>
              </a:extLst>
            </p:cNvPr>
            <p:cNvSpPr txBox="1"/>
            <p:nvPr/>
          </p:nvSpPr>
          <p:spPr>
            <a:xfrm>
              <a:off x="16330460" y="9926638"/>
              <a:ext cx="2974757" cy="1477328"/>
            </a:xfrm>
            <a:prstGeom prst="rect">
              <a:avLst/>
            </a:prstGeom>
            <a:solidFill>
              <a:schemeClr val="tx1"/>
            </a:solidFill>
            <a:ln>
              <a:noFill/>
            </a:ln>
          </p:spPr>
          <p:txBody>
            <a:bodyPr wrap="square" rtlCol="0">
              <a:spAutoFit/>
            </a:bodyPr>
            <a:lstStyle/>
            <a:p>
              <a:r>
                <a:rPr lang="fr-FR" sz="1400" b="1" dirty="0">
                  <a:solidFill>
                    <a:schemeClr val="bg1"/>
                  </a:solidFill>
                  <a:latin typeface="Arial" panose="020B0604020202020204" pitchFamily="34" charset="0"/>
                  <a:cs typeface="Arial" panose="020B0604020202020204" pitchFamily="34" charset="0"/>
                </a:rPr>
                <a:t>Énergie, chimie,</a:t>
              </a:r>
              <a:br>
                <a:rPr lang="fr-FR" sz="1400" b="1" dirty="0">
                  <a:solidFill>
                    <a:schemeClr val="bg1"/>
                  </a:solidFill>
                  <a:latin typeface="Arial" panose="020B0604020202020204" pitchFamily="34" charset="0"/>
                  <a:cs typeface="Arial" panose="020B0604020202020204" pitchFamily="34" charset="0"/>
                </a:rPr>
              </a:br>
              <a:r>
                <a:rPr lang="fr-FR" sz="1400" b="1" dirty="0">
                  <a:solidFill>
                    <a:schemeClr val="bg1"/>
                  </a:solidFill>
                  <a:latin typeface="Arial" panose="020B0604020202020204" pitchFamily="34" charset="0"/>
                  <a:cs typeface="Arial" panose="020B0604020202020204" pitchFamily="34" charset="0"/>
                </a:rPr>
                <a:t>environnement</a:t>
              </a:r>
            </a:p>
          </p:txBody>
        </p:sp>
        <p:sp>
          <p:nvSpPr>
            <p:cNvPr id="78" name="Flèche : chevron 19">
              <a:extLst>
                <a:ext uri="{FF2B5EF4-FFF2-40B4-BE49-F238E27FC236}">
                  <a16:creationId xmlns:a16="http://schemas.microsoft.com/office/drawing/2014/main" id="{D558C385-DF5B-6D3B-43D4-768991517984}"/>
                </a:ext>
              </a:extLst>
            </p:cNvPr>
            <p:cNvSpPr/>
            <p:nvPr/>
          </p:nvSpPr>
          <p:spPr>
            <a:xfrm rot="5400000">
              <a:off x="16607951" y="4136179"/>
              <a:ext cx="417254" cy="810160"/>
            </a:xfrm>
            <a:prstGeom prst="chevron">
              <a:avLst/>
            </a:prstGeom>
            <a:solidFill>
              <a:srgbClr val="E4002B"/>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25718" tIns="12859" rIns="25718" bIns="12859" numCol="1" spcCol="0" rtlCol="0" fromWordArt="0" anchor="ctr" anchorCtr="0" forceAA="0" compatLnSpc="1">
              <a:prstTxWarp prst="textNoShape">
                <a:avLst/>
              </a:prstTxWarp>
              <a:noAutofit/>
            </a:bodyPr>
            <a:lstStyle/>
            <a:p>
              <a:pPr algn="ctr"/>
              <a:endParaRPr lang="fr-FR" sz="675" dirty="0">
                <a:solidFill>
                  <a:schemeClr val="tx1"/>
                </a:solidFill>
                <a:latin typeface="Arial Black" panose="020B0A04020102020204" pitchFamily="34" charset="0"/>
              </a:endParaRPr>
            </a:p>
          </p:txBody>
        </p:sp>
        <p:sp>
          <p:nvSpPr>
            <p:cNvPr id="79" name="Flèche : chevron 19">
              <a:extLst>
                <a:ext uri="{FF2B5EF4-FFF2-40B4-BE49-F238E27FC236}">
                  <a16:creationId xmlns:a16="http://schemas.microsoft.com/office/drawing/2014/main" id="{8A133A3F-6436-4221-CBD9-653022D5739A}"/>
                </a:ext>
              </a:extLst>
            </p:cNvPr>
            <p:cNvSpPr/>
            <p:nvPr/>
          </p:nvSpPr>
          <p:spPr>
            <a:xfrm rot="16200000">
              <a:off x="16581334" y="11529256"/>
              <a:ext cx="417253" cy="810160"/>
            </a:xfrm>
            <a:prstGeom prst="chevron">
              <a:avLst/>
            </a:prstGeom>
            <a:solidFill>
              <a:srgbClr val="E4002B"/>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25718" tIns="12859" rIns="25718" bIns="12859" numCol="1" spcCol="0" rtlCol="0" fromWordArt="0" anchor="ctr" anchorCtr="0" forceAA="0" compatLnSpc="1">
              <a:prstTxWarp prst="textNoShape">
                <a:avLst/>
              </a:prstTxWarp>
              <a:noAutofit/>
            </a:bodyPr>
            <a:lstStyle/>
            <a:p>
              <a:pPr algn="ctr"/>
              <a:endParaRPr lang="fr-FR" sz="675">
                <a:solidFill>
                  <a:schemeClr val="tx1"/>
                </a:solidFill>
                <a:latin typeface="Arial Black" panose="020B0A04020102020204" pitchFamily="34" charset="0"/>
              </a:endParaRPr>
            </a:p>
          </p:txBody>
        </p:sp>
      </p:grpSp>
      <p:grpSp>
        <p:nvGrpSpPr>
          <p:cNvPr id="91" name="Groupe 90">
            <a:extLst>
              <a:ext uri="{FF2B5EF4-FFF2-40B4-BE49-F238E27FC236}">
                <a16:creationId xmlns:a16="http://schemas.microsoft.com/office/drawing/2014/main" id="{ACE418DC-B0CA-6183-79DD-B1EF44994A92}"/>
              </a:ext>
            </a:extLst>
          </p:cNvPr>
          <p:cNvGrpSpPr/>
          <p:nvPr/>
        </p:nvGrpSpPr>
        <p:grpSpPr>
          <a:xfrm>
            <a:off x="5433701" y="3313798"/>
            <a:ext cx="2469303" cy="1385099"/>
            <a:chOff x="11629883" y="6567487"/>
            <a:chExt cx="4938605" cy="2770196"/>
          </a:xfrm>
        </p:grpSpPr>
        <p:sp>
          <p:nvSpPr>
            <p:cNvPr id="58" name="Graphique 46">
              <a:extLst>
                <a:ext uri="{FF2B5EF4-FFF2-40B4-BE49-F238E27FC236}">
                  <a16:creationId xmlns:a16="http://schemas.microsoft.com/office/drawing/2014/main" id="{F5690AEB-64FF-763F-9650-B6A00670B3A4}"/>
                </a:ext>
              </a:extLst>
            </p:cNvPr>
            <p:cNvSpPr/>
            <p:nvPr/>
          </p:nvSpPr>
          <p:spPr>
            <a:xfrm>
              <a:off x="11762703" y="6567487"/>
              <a:ext cx="944883" cy="946300"/>
            </a:xfrm>
            <a:custGeom>
              <a:avLst/>
              <a:gdLst>
                <a:gd name="connsiteX0" fmla="*/ 1075539 w 1159168"/>
                <a:gd name="connsiteY0" fmla="*/ 709708 h 1160906"/>
                <a:gd name="connsiteX1" fmla="*/ 1071062 w 1159168"/>
                <a:gd name="connsiteY1" fmla="*/ 709803 h 1160906"/>
                <a:gd name="connsiteX2" fmla="*/ 1060014 w 1159168"/>
                <a:gd name="connsiteY2" fmla="*/ 706755 h 1160906"/>
                <a:gd name="connsiteX3" fmla="*/ 1058870 w 1159168"/>
                <a:gd name="connsiteY3" fmla="*/ 703517 h 1160906"/>
                <a:gd name="connsiteX4" fmla="*/ 1142214 w 1159168"/>
                <a:gd name="connsiteY4" fmla="*/ 620173 h 1160906"/>
                <a:gd name="connsiteX5" fmla="*/ 1159169 w 1159168"/>
                <a:gd name="connsiteY5" fmla="*/ 579215 h 1160906"/>
                <a:gd name="connsiteX6" fmla="*/ 1142214 w 1159168"/>
                <a:gd name="connsiteY6" fmla="*/ 538258 h 1160906"/>
                <a:gd name="connsiteX7" fmla="*/ 1048679 w 1159168"/>
                <a:gd name="connsiteY7" fmla="*/ 444722 h 1160906"/>
                <a:gd name="connsiteX8" fmla="*/ 1041630 w 1159168"/>
                <a:gd name="connsiteY8" fmla="*/ 443865 h 1160906"/>
                <a:gd name="connsiteX9" fmla="*/ 1032582 w 1159168"/>
                <a:gd name="connsiteY9" fmla="*/ 443294 h 1160906"/>
                <a:gd name="connsiteX10" fmla="*/ 983051 w 1159168"/>
                <a:gd name="connsiteY10" fmla="*/ 495872 h 1160906"/>
                <a:gd name="connsiteX11" fmla="*/ 983242 w 1159168"/>
                <a:gd name="connsiteY11" fmla="*/ 500634 h 1160906"/>
                <a:gd name="connsiteX12" fmla="*/ 964192 w 1159168"/>
                <a:gd name="connsiteY12" fmla="*/ 533591 h 1160906"/>
                <a:gd name="connsiteX13" fmla="*/ 926759 w 1159168"/>
                <a:gd name="connsiteY13" fmla="*/ 533210 h 1160906"/>
                <a:gd name="connsiteX14" fmla="*/ 908566 w 1159168"/>
                <a:gd name="connsiteY14" fmla="*/ 505206 h 1160906"/>
                <a:gd name="connsiteX15" fmla="*/ 919329 w 1159168"/>
                <a:gd name="connsiteY15" fmla="*/ 474345 h 1160906"/>
                <a:gd name="connsiteX16" fmla="*/ 946285 w 1159168"/>
                <a:gd name="connsiteY16" fmla="*/ 463391 h 1160906"/>
                <a:gd name="connsiteX17" fmla="*/ 950571 w 1159168"/>
                <a:gd name="connsiteY17" fmla="*/ 463582 h 1160906"/>
                <a:gd name="connsiteX18" fmla="*/ 991719 w 1159168"/>
                <a:gd name="connsiteY18" fmla="*/ 446913 h 1160906"/>
                <a:gd name="connsiteX19" fmla="*/ 1002673 w 1159168"/>
                <a:gd name="connsiteY19" fmla="*/ 405003 h 1160906"/>
                <a:gd name="connsiteX20" fmla="*/ 1001816 w 1159168"/>
                <a:gd name="connsiteY20" fmla="*/ 397955 h 1160906"/>
                <a:gd name="connsiteX21" fmla="*/ 867323 w 1159168"/>
                <a:gd name="connsiteY21" fmla="*/ 263462 h 1160906"/>
                <a:gd name="connsiteX22" fmla="*/ 867037 w 1159168"/>
                <a:gd name="connsiteY22" fmla="*/ 263747 h 1160906"/>
                <a:gd name="connsiteX23" fmla="*/ 772073 w 1159168"/>
                <a:gd name="connsiteY23" fmla="*/ 168783 h 1160906"/>
                <a:gd name="connsiteX24" fmla="*/ 773120 w 1159168"/>
                <a:gd name="connsiteY24" fmla="*/ 165640 h 1160906"/>
                <a:gd name="connsiteX25" fmla="*/ 783122 w 1159168"/>
                <a:gd name="connsiteY25" fmla="*/ 163068 h 1160906"/>
                <a:gd name="connsiteX26" fmla="*/ 784550 w 1159168"/>
                <a:gd name="connsiteY26" fmla="*/ 163068 h 1160906"/>
                <a:gd name="connsiteX27" fmla="*/ 784550 w 1159168"/>
                <a:gd name="connsiteY27" fmla="*/ 163068 h 1160906"/>
                <a:gd name="connsiteX28" fmla="*/ 788170 w 1159168"/>
                <a:gd name="connsiteY28" fmla="*/ 163163 h 1160906"/>
                <a:gd name="connsiteX29" fmla="*/ 851130 w 1159168"/>
                <a:gd name="connsiteY29" fmla="*/ 131636 h 1160906"/>
                <a:gd name="connsiteX30" fmla="*/ 850273 w 1159168"/>
                <a:gd name="connsiteY30" fmla="*/ 35814 h 1160906"/>
                <a:gd name="connsiteX31" fmla="*/ 787884 w 1159168"/>
                <a:gd name="connsiteY31" fmla="*/ 5334 h 1160906"/>
                <a:gd name="connsiteX32" fmla="*/ 732068 w 1159168"/>
                <a:gd name="connsiteY32" fmla="*/ 28480 h 1160906"/>
                <a:gd name="connsiteX33" fmla="*/ 709017 w 1159168"/>
                <a:gd name="connsiteY33" fmla="*/ 86011 h 1160906"/>
                <a:gd name="connsiteX34" fmla="*/ 709112 w 1159168"/>
                <a:gd name="connsiteY34" fmla="*/ 87821 h 1160906"/>
                <a:gd name="connsiteX35" fmla="*/ 709208 w 1159168"/>
                <a:gd name="connsiteY35" fmla="*/ 89440 h 1160906"/>
                <a:gd name="connsiteX36" fmla="*/ 703493 w 1159168"/>
                <a:gd name="connsiteY36" fmla="*/ 100203 h 1160906"/>
                <a:gd name="connsiteX37" fmla="*/ 620054 w 1159168"/>
                <a:gd name="connsiteY37" fmla="*/ 16955 h 1160906"/>
                <a:gd name="connsiteX38" fmla="*/ 579096 w 1159168"/>
                <a:gd name="connsiteY38" fmla="*/ 0 h 1160906"/>
                <a:gd name="connsiteX39" fmla="*/ 538139 w 1159168"/>
                <a:gd name="connsiteY39" fmla="*/ 16955 h 1160906"/>
                <a:gd name="connsiteX40" fmla="*/ 444698 w 1159168"/>
                <a:gd name="connsiteY40" fmla="*/ 110395 h 1160906"/>
                <a:gd name="connsiteX41" fmla="*/ 443841 w 1159168"/>
                <a:gd name="connsiteY41" fmla="*/ 117443 h 1160906"/>
                <a:gd name="connsiteX42" fmla="*/ 454795 w 1159168"/>
                <a:gd name="connsiteY42" fmla="*/ 159449 h 1160906"/>
                <a:gd name="connsiteX43" fmla="*/ 496229 w 1159168"/>
                <a:gd name="connsiteY43" fmla="*/ 176117 h 1160906"/>
                <a:gd name="connsiteX44" fmla="*/ 500324 w 1159168"/>
                <a:gd name="connsiteY44" fmla="*/ 175927 h 1160906"/>
                <a:gd name="connsiteX45" fmla="*/ 530709 w 1159168"/>
                <a:gd name="connsiteY45" fmla="*/ 191072 h 1160906"/>
                <a:gd name="connsiteX46" fmla="*/ 530328 w 1159168"/>
                <a:gd name="connsiteY46" fmla="*/ 236315 h 1160906"/>
                <a:gd name="connsiteX47" fmla="*/ 500610 w 1159168"/>
                <a:gd name="connsiteY47" fmla="*/ 250889 h 1160906"/>
                <a:gd name="connsiteX48" fmla="*/ 474131 w 1159168"/>
                <a:gd name="connsiteY48" fmla="*/ 239935 h 1160906"/>
                <a:gd name="connsiteX49" fmla="*/ 463177 w 1159168"/>
                <a:gd name="connsiteY49" fmla="*/ 213169 h 1160906"/>
                <a:gd name="connsiteX50" fmla="*/ 463367 w 1159168"/>
                <a:gd name="connsiteY50" fmla="*/ 207455 h 1160906"/>
                <a:gd name="connsiteX51" fmla="*/ 413837 w 1159168"/>
                <a:gd name="connsiteY51" fmla="*/ 156019 h 1160906"/>
                <a:gd name="connsiteX52" fmla="*/ 404789 w 1159168"/>
                <a:gd name="connsiteY52" fmla="*/ 156591 h 1160906"/>
                <a:gd name="connsiteX53" fmla="*/ 397740 w 1159168"/>
                <a:gd name="connsiteY53" fmla="*/ 157448 h 1160906"/>
                <a:gd name="connsiteX54" fmla="*/ 263247 w 1159168"/>
                <a:gd name="connsiteY54" fmla="*/ 291941 h 1160906"/>
                <a:gd name="connsiteX55" fmla="*/ 264676 w 1159168"/>
                <a:gd name="connsiteY55" fmla="*/ 293370 h 1160906"/>
                <a:gd name="connsiteX56" fmla="*/ 168759 w 1159168"/>
                <a:gd name="connsiteY56" fmla="*/ 389192 h 1160906"/>
                <a:gd name="connsiteX57" fmla="*/ 162568 w 1159168"/>
                <a:gd name="connsiteY57" fmla="*/ 376714 h 1160906"/>
                <a:gd name="connsiteX58" fmla="*/ 123325 w 1159168"/>
                <a:gd name="connsiteY58" fmla="*/ 304324 h 1160906"/>
                <a:gd name="connsiteX59" fmla="*/ 42077 w 1159168"/>
                <a:gd name="connsiteY59" fmla="*/ 305562 h 1160906"/>
                <a:gd name="connsiteX60" fmla="*/ 5310 w 1159168"/>
                <a:gd name="connsiteY60" fmla="*/ 364046 h 1160906"/>
                <a:gd name="connsiteX61" fmla="*/ 27980 w 1159168"/>
                <a:gd name="connsiteY61" fmla="*/ 428530 h 1160906"/>
                <a:gd name="connsiteX62" fmla="*/ 88749 w 1159168"/>
                <a:gd name="connsiteY62" fmla="*/ 451485 h 1160906"/>
                <a:gd name="connsiteX63" fmla="*/ 89511 w 1159168"/>
                <a:gd name="connsiteY63" fmla="*/ 451485 h 1160906"/>
                <a:gd name="connsiteX64" fmla="*/ 99131 w 1159168"/>
                <a:gd name="connsiteY64" fmla="*/ 454533 h 1160906"/>
                <a:gd name="connsiteX65" fmla="*/ 100179 w 1159168"/>
                <a:gd name="connsiteY65" fmla="*/ 457772 h 1160906"/>
                <a:gd name="connsiteX66" fmla="*/ 16931 w 1159168"/>
                <a:gd name="connsiteY66" fmla="*/ 541020 h 1160906"/>
                <a:gd name="connsiteX67" fmla="*/ 16931 w 1159168"/>
                <a:gd name="connsiteY67" fmla="*/ 622935 h 1160906"/>
                <a:gd name="connsiteX68" fmla="*/ 110466 w 1159168"/>
                <a:gd name="connsiteY68" fmla="*/ 716471 h 1160906"/>
                <a:gd name="connsiteX69" fmla="*/ 117515 w 1159168"/>
                <a:gd name="connsiteY69" fmla="*/ 717328 h 1160906"/>
                <a:gd name="connsiteX70" fmla="*/ 126563 w 1159168"/>
                <a:gd name="connsiteY70" fmla="*/ 717899 h 1160906"/>
                <a:gd name="connsiteX71" fmla="*/ 176093 w 1159168"/>
                <a:gd name="connsiteY71" fmla="*/ 665702 h 1160906"/>
                <a:gd name="connsiteX72" fmla="*/ 175903 w 1159168"/>
                <a:gd name="connsiteY72" fmla="*/ 660654 h 1160906"/>
                <a:gd name="connsiteX73" fmla="*/ 186857 w 1159168"/>
                <a:gd name="connsiteY73" fmla="*/ 633889 h 1160906"/>
                <a:gd name="connsiteX74" fmla="*/ 213336 w 1159168"/>
                <a:gd name="connsiteY74" fmla="*/ 622935 h 1160906"/>
                <a:gd name="connsiteX75" fmla="*/ 243054 w 1159168"/>
                <a:gd name="connsiteY75" fmla="*/ 637508 h 1160906"/>
                <a:gd name="connsiteX76" fmla="*/ 243435 w 1159168"/>
                <a:gd name="connsiteY76" fmla="*/ 682752 h 1160906"/>
                <a:gd name="connsiteX77" fmla="*/ 212860 w 1159168"/>
                <a:gd name="connsiteY77" fmla="*/ 697897 h 1160906"/>
                <a:gd name="connsiteX78" fmla="*/ 208859 w 1159168"/>
                <a:gd name="connsiteY78" fmla="*/ 697706 h 1160906"/>
                <a:gd name="connsiteX79" fmla="*/ 167426 w 1159168"/>
                <a:gd name="connsiteY79" fmla="*/ 714375 h 1160906"/>
                <a:gd name="connsiteX80" fmla="*/ 156472 w 1159168"/>
                <a:gd name="connsiteY80" fmla="*/ 756380 h 1160906"/>
                <a:gd name="connsiteX81" fmla="*/ 157329 w 1159168"/>
                <a:gd name="connsiteY81" fmla="*/ 763429 h 1160906"/>
                <a:gd name="connsiteX82" fmla="*/ 291727 w 1159168"/>
                <a:gd name="connsiteY82" fmla="*/ 897827 h 1160906"/>
                <a:gd name="connsiteX83" fmla="*/ 292584 w 1159168"/>
                <a:gd name="connsiteY83" fmla="*/ 896969 h 1160906"/>
                <a:gd name="connsiteX84" fmla="*/ 387548 w 1159168"/>
                <a:gd name="connsiteY84" fmla="*/ 991934 h 1160906"/>
                <a:gd name="connsiteX85" fmla="*/ 386405 w 1159168"/>
                <a:gd name="connsiteY85" fmla="*/ 995172 h 1160906"/>
                <a:gd name="connsiteX86" fmla="*/ 375071 w 1159168"/>
                <a:gd name="connsiteY86" fmla="*/ 998220 h 1160906"/>
                <a:gd name="connsiteX87" fmla="*/ 302681 w 1159168"/>
                <a:gd name="connsiteY87" fmla="*/ 1037463 h 1160906"/>
                <a:gd name="connsiteX88" fmla="*/ 303919 w 1159168"/>
                <a:gd name="connsiteY88" fmla="*/ 1118711 h 1160906"/>
                <a:gd name="connsiteX89" fmla="*/ 371070 w 1159168"/>
                <a:gd name="connsiteY89" fmla="*/ 1155954 h 1160906"/>
                <a:gd name="connsiteX90" fmla="*/ 426887 w 1159168"/>
                <a:gd name="connsiteY90" fmla="*/ 1132808 h 1160906"/>
                <a:gd name="connsiteX91" fmla="*/ 449842 w 1159168"/>
                <a:gd name="connsiteY91" fmla="*/ 1072039 h 1160906"/>
                <a:gd name="connsiteX92" fmla="*/ 449842 w 1159168"/>
                <a:gd name="connsiteY92" fmla="*/ 1071277 h 1160906"/>
                <a:gd name="connsiteX93" fmla="*/ 456033 w 1159168"/>
                <a:gd name="connsiteY93" fmla="*/ 1060609 h 1160906"/>
                <a:gd name="connsiteX94" fmla="*/ 539377 w 1159168"/>
                <a:gd name="connsiteY94" fmla="*/ 1143953 h 1160906"/>
                <a:gd name="connsiteX95" fmla="*/ 580334 w 1159168"/>
                <a:gd name="connsiteY95" fmla="*/ 1160907 h 1160906"/>
                <a:gd name="connsiteX96" fmla="*/ 621292 w 1159168"/>
                <a:gd name="connsiteY96" fmla="*/ 1143953 h 1160906"/>
                <a:gd name="connsiteX97" fmla="*/ 714827 w 1159168"/>
                <a:gd name="connsiteY97" fmla="*/ 1050417 h 1160906"/>
                <a:gd name="connsiteX98" fmla="*/ 715685 w 1159168"/>
                <a:gd name="connsiteY98" fmla="*/ 1043369 h 1160906"/>
                <a:gd name="connsiteX99" fmla="*/ 705017 w 1159168"/>
                <a:gd name="connsiteY99" fmla="*/ 1001744 h 1160906"/>
                <a:gd name="connsiteX100" fmla="*/ 663964 w 1159168"/>
                <a:gd name="connsiteY100" fmla="*/ 984790 h 1160906"/>
                <a:gd name="connsiteX101" fmla="*/ 658725 w 1159168"/>
                <a:gd name="connsiteY101" fmla="*/ 984980 h 1160906"/>
                <a:gd name="connsiteX102" fmla="*/ 632246 w 1159168"/>
                <a:gd name="connsiteY102" fmla="*/ 974027 h 1160906"/>
                <a:gd name="connsiteX103" fmla="*/ 621387 w 1159168"/>
                <a:gd name="connsiteY103" fmla="*/ 945261 h 1160906"/>
                <a:gd name="connsiteX104" fmla="*/ 635865 w 1159168"/>
                <a:gd name="connsiteY104" fmla="*/ 917829 h 1160906"/>
                <a:gd name="connsiteX105" fmla="*/ 681109 w 1159168"/>
                <a:gd name="connsiteY105" fmla="*/ 917448 h 1160906"/>
                <a:gd name="connsiteX106" fmla="*/ 696254 w 1159168"/>
                <a:gd name="connsiteY106" fmla="*/ 947833 h 1160906"/>
                <a:gd name="connsiteX107" fmla="*/ 696063 w 1159168"/>
                <a:gd name="connsiteY107" fmla="*/ 951643 h 1160906"/>
                <a:gd name="connsiteX108" fmla="*/ 710636 w 1159168"/>
                <a:gd name="connsiteY108" fmla="*/ 991553 h 1160906"/>
                <a:gd name="connsiteX109" fmla="*/ 754642 w 1159168"/>
                <a:gd name="connsiteY109" fmla="*/ 1004411 h 1160906"/>
                <a:gd name="connsiteX110" fmla="*/ 761690 w 1159168"/>
                <a:gd name="connsiteY110" fmla="*/ 1003554 h 1160906"/>
                <a:gd name="connsiteX111" fmla="*/ 896088 w 1159168"/>
                <a:gd name="connsiteY111" fmla="*/ 869156 h 1160906"/>
                <a:gd name="connsiteX112" fmla="*/ 894659 w 1159168"/>
                <a:gd name="connsiteY112" fmla="*/ 867728 h 1160906"/>
                <a:gd name="connsiteX113" fmla="*/ 990005 w 1159168"/>
                <a:gd name="connsiteY113" fmla="*/ 772382 h 1160906"/>
                <a:gd name="connsiteX114" fmla="*/ 996196 w 1159168"/>
                <a:gd name="connsiteY114" fmla="*/ 783050 h 1160906"/>
                <a:gd name="connsiteX115" fmla="*/ 996196 w 1159168"/>
                <a:gd name="connsiteY115" fmla="*/ 783812 h 1160906"/>
                <a:gd name="connsiteX116" fmla="*/ 1019151 w 1159168"/>
                <a:gd name="connsiteY116" fmla="*/ 844582 h 1160906"/>
                <a:gd name="connsiteX117" fmla="*/ 1074968 w 1159168"/>
                <a:gd name="connsiteY117" fmla="*/ 867728 h 1160906"/>
                <a:gd name="connsiteX118" fmla="*/ 1142119 w 1159168"/>
                <a:gd name="connsiteY118" fmla="*/ 830390 h 1160906"/>
                <a:gd name="connsiteX119" fmla="*/ 1143357 w 1159168"/>
                <a:gd name="connsiteY119" fmla="*/ 749141 h 1160906"/>
                <a:gd name="connsiteX120" fmla="*/ 1075539 w 1159168"/>
                <a:gd name="connsiteY120" fmla="*/ 709708 h 1160906"/>
                <a:gd name="connsiteX121" fmla="*/ 416314 w 1159168"/>
                <a:gd name="connsiteY121" fmla="*/ 197453 h 1160906"/>
                <a:gd name="connsiteX122" fmla="*/ 422029 w 1159168"/>
                <a:gd name="connsiteY122" fmla="*/ 207455 h 1160906"/>
                <a:gd name="connsiteX123" fmla="*/ 421934 w 1159168"/>
                <a:gd name="connsiteY123" fmla="*/ 210407 h 1160906"/>
                <a:gd name="connsiteX124" fmla="*/ 421838 w 1159168"/>
                <a:gd name="connsiteY124" fmla="*/ 211836 h 1160906"/>
                <a:gd name="connsiteX125" fmla="*/ 444889 w 1159168"/>
                <a:gd name="connsiteY125" fmla="*/ 269272 h 1160906"/>
                <a:gd name="connsiteX126" fmla="*/ 500705 w 1159168"/>
                <a:gd name="connsiteY126" fmla="*/ 292418 h 1160906"/>
                <a:gd name="connsiteX127" fmla="*/ 562999 w 1159168"/>
                <a:gd name="connsiteY127" fmla="*/ 261938 h 1160906"/>
                <a:gd name="connsiteX128" fmla="*/ 563761 w 1159168"/>
                <a:gd name="connsiteY128" fmla="*/ 166116 h 1160906"/>
                <a:gd name="connsiteX129" fmla="*/ 499277 w 1159168"/>
                <a:gd name="connsiteY129" fmla="*/ 134588 h 1160906"/>
                <a:gd name="connsiteX130" fmla="*/ 499277 w 1159168"/>
                <a:gd name="connsiteY130" fmla="*/ 134588 h 1160906"/>
                <a:gd name="connsiteX131" fmla="*/ 496229 w 1159168"/>
                <a:gd name="connsiteY131" fmla="*/ 134779 h 1160906"/>
                <a:gd name="connsiteX132" fmla="*/ 485846 w 1159168"/>
                <a:gd name="connsiteY132" fmla="*/ 132112 h 1160906"/>
                <a:gd name="connsiteX133" fmla="*/ 484799 w 1159168"/>
                <a:gd name="connsiteY133" fmla="*/ 128969 h 1160906"/>
                <a:gd name="connsiteX134" fmla="*/ 567476 w 1159168"/>
                <a:gd name="connsiteY134" fmla="*/ 46292 h 1160906"/>
                <a:gd name="connsiteX135" fmla="*/ 590812 w 1159168"/>
                <a:gd name="connsiteY135" fmla="*/ 46292 h 1160906"/>
                <a:gd name="connsiteX136" fmla="*/ 684919 w 1159168"/>
                <a:gd name="connsiteY136" fmla="*/ 140399 h 1160906"/>
                <a:gd name="connsiteX137" fmla="*/ 691967 w 1159168"/>
                <a:gd name="connsiteY137" fmla="*/ 141256 h 1160906"/>
                <a:gd name="connsiteX138" fmla="*/ 701111 w 1159168"/>
                <a:gd name="connsiteY138" fmla="*/ 141827 h 1160906"/>
                <a:gd name="connsiteX139" fmla="*/ 750641 w 1159168"/>
                <a:gd name="connsiteY139" fmla="*/ 89916 h 1160906"/>
                <a:gd name="connsiteX140" fmla="*/ 750451 w 1159168"/>
                <a:gd name="connsiteY140" fmla="*/ 84296 h 1160906"/>
                <a:gd name="connsiteX141" fmla="*/ 761405 w 1159168"/>
                <a:gd name="connsiteY141" fmla="*/ 57817 h 1160906"/>
                <a:gd name="connsiteX142" fmla="*/ 787884 w 1159168"/>
                <a:gd name="connsiteY142" fmla="*/ 46863 h 1160906"/>
                <a:gd name="connsiteX143" fmla="*/ 817697 w 1159168"/>
                <a:gd name="connsiteY143" fmla="*/ 61532 h 1160906"/>
                <a:gd name="connsiteX144" fmla="*/ 818174 w 1159168"/>
                <a:gd name="connsiteY144" fmla="*/ 106775 h 1160906"/>
                <a:gd name="connsiteX145" fmla="*/ 787789 w 1159168"/>
                <a:gd name="connsiteY145" fmla="*/ 121920 h 1160906"/>
                <a:gd name="connsiteX146" fmla="*/ 742069 w 1159168"/>
                <a:gd name="connsiteY146" fmla="*/ 138398 h 1160906"/>
                <a:gd name="connsiteX147" fmla="*/ 731115 w 1159168"/>
                <a:gd name="connsiteY147" fmla="*/ 180404 h 1160906"/>
                <a:gd name="connsiteX148" fmla="*/ 731972 w 1159168"/>
                <a:gd name="connsiteY148" fmla="*/ 187452 h 1160906"/>
                <a:gd name="connsiteX149" fmla="*/ 837700 w 1159168"/>
                <a:gd name="connsiteY149" fmla="*/ 293180 h 1160906"/>
                <a:gd name="connsiteX150" fmla="*/ 796838 w 1159168"/>
                <a:gd name="connsiteY150" fmla="*/ 334042 h 1160906"/>
                <a:gd name="connsiteX151" fmla="*/ 743307 w 1159168"/>
                <a:gd name="connsiteY151" fmla="*/ 387572 h 1160906"/>
                <a:gd name="connsiteX152" fmla="*/ 740069 w 1159168"/>
                <a:gd name="connsiteY152" fmla="*/ 386429 h 1160906"/>
                <a:gd name="connsiteX153" fmla="*/ 737592 w 1159168"/>
                <a:gd name="connsiteY153" fmla="*/ 376523 h 1160906"/>
                <a:gd name="connsiteX154" fmla="*/ 737783 w 1159168"/>
                <a:gd name="connsiteY154" fmla="*/ 373094 h 1160906"/>
                <a:gd name="connsiteX155" fmla="*/ 714637 w 1159168"/>
                <a:gd name="connsiteY155" fmla="*/ 315849 h 1160906"/>
                <a:gd name="connsiteX156" fmla="*/ 658820 w 1159168"/>
                <a:gd name="connsiteY156" fmla="*/ 292703 h 1160906"/>
                <a:gd name="connsiteX157" fmla="*/ 610719 w 1159168"/>
                <a:gd name="connsiteY157" fmla="*/ 309182 h 1160906"/>
                <a:gd name="connsiteX158" fmla="*/ 610148 w 1159168"/>
                <a:gd name="connsiteY158" fmla="*/ 309563 h 1160906"/>
                <a:gd name="connsiteX159" fmla="*/ 605290 w 1159168"/>
                <a:gd name="connsiteY159" fmla="*/ 313849 h 1160906"/>
                <a:gd name="connsiteX160" fmla="*/ 603956 w 1159168"/>
                <a:gd name="connsiteY160" fmla="*/ 314992 h 1160906"/>
                <a:gd name="connsiteX161" fmla="*/ 597479 w 1159168"/>
                <a:gd name="connsiteY161" fmla="*/ 322040 h 1160906"/>
                <a:gd name="connsiteX162" fmla="*/ 596146 w 1159168"/>
                <a:gd name="connsiteY162" fmla="*/ 323850 h 1160906"/>
                <a:gd name="connsiteX163" fmla="*/ 592050 w 1159168"/>
                <a:gd name="connsiteY163" fmla="*/ 329660 h 1160906"/>
                <a:gd name="connsiteX164" fmla="*/ 591193 w 1159168"/>
                <a:gd name="connsiteY164" fmla="*/ 330899 h 1160906"/>
                <a:gd name="connsiteX165" fmla="*/ 590145 w 1159168"/>
                <a:gd name="connsiteY165" fmla="*/ 332804 h 1160906"/>
                <a:gd name="connsiteX166" fmla="*/ 587383 w 1159168"/>
                <a:gd name="connsiteY166" fmla="*/ 338042 h 1160906"/>
                <a:gd name="connsiteX167" fmla="*/ 585668 w 1159168"/>
                <a:gd name="connsiteY167" fmla="*/ 341662 h 1160906"/>
                <a:gd name="connsiteX168" fmla="*/ 583097 w 1159168"/>
                <a:gd name="connsiteY168" fmla="*/ 348996 h 1160906"/>
                <a:gd name="connsiteX169" fmla="*/ 582620 w 1159168"/>
                <a:gd name="connsiteY169" fmla="*/ 350425 h 1160906"/>
                <a:gd name="connsiteX170" fmla="*/ 580525 w 1159168"/>
                <a:gd name="connsiteY170" fmla="*/ 360331 h 1160906"/>
                <a:gd name="connsiteX171" fmla="*/ 580430 w 1159168"/>
                <a:gd name="connsiteY171" fmla="*/ 361188 h 1160906"/>
                <a:gd name="connsiteX172" fmla="*/ 579763 w 1159168"/>
                <a:gd name="connsiteY172" fmla="*/ 367284 h 1160906"/>
                <a:gd name="connsiteX173" fmla="*/ 579763 w 1159168"/>
                <a:gd name="connsiteY173" fmla="*/ 370713 h 1160906"/>
                <a:gd name="connsiteX174" fmla="*/ 579763 w 1159168"/>
                <a:gd name="connsiteY174" fmla="*/ 371380 h 1160906"/>
                <a:gd name="connsiteX175" fmla="*/ 602718 w 1159168"/>
                <a:gd name="connsiteY175" fmla="*/ 427863 h 1160906"/>
                <a:gd name="connsiteX176" fmla="*/ 648248 w 1159168"/>
                <a:gd name="connsiteY176" fmla="*/ 449961 h 1160906"/>
                <a:gd name="connsiteX177" fmla="*/ 648533 w 1159168"/>
                <a:gd name="connsiteY177" fmla="*/ 449961 h 1160906"/>
                <a:gd name="connsiteX178" fmla="*/ 658249 w 1159168"/>
                <a:gd name="connsiteY178" fmla="*/ 450914 h 1160906"/>
                <a:gd name="connsiteX179" fmla="*/ 661964 w 1159168"/>
                <a:gd name="connsiteY179" fmla="*/ 450818 h 1160906"/>
                <a:gd name="connsiteX180" fmla="*/ 663583 w 1159168"/>
                <a:gd name="connsiteY180" fmla="*/ 450723 h 1160906"/>
                <a:gd name="connsiteX181" fmla="*/ 673298 w 1159168"/>
                <a:gd name="connsiteY181" fmla="*/ 453390 h 1160906"/>
                <a:gd name="connsiteX182" fmla="*/ 674346 w 1159168"/>
                <a:gd name="connsiteY182" fmla="*/ 456438 h 1160906"/>
                <a:gd name="connsiteX183" fmla="*/ 620816 w 1159168"/>
                <a:gd name="connsiteY183" fmla="*/ 509969 h 1160906"/>
                <a:gd name="connsiteX184" fmla="*/ 580144 w 1159168"/>
                <a:gd name="connsiteY184" fmla="*/ 550640 h 1160906"/>
                <a:gd name="connsiteX185" fmla="*/ 474416 w 1159168"/>
                <a:gd name="connsiteY185" fmla="*/ 444913 h 1160906"/>
                <a:gd name="connsiteX186" fmla="*/ 467368 w 1159168"/>
                <a:gd name="connsiteY186" fmla="*/ 444056 h 1160906"/>
                <a:gd name="connsiteX187" fmla="*/ 458319 w 1159168"/>
                <a:gd name="connsiteY187" fmla="*/ 443484 h 1160906"/>
                <a:gd name="connsiteX188" fmla="*/ 408313 w 1159168"/>
                <a:gd name="connsiteY188" fmla="*/ 497015 h 1160906"/>
                <a:gd name="connsiteX189" fmla="*/ 408408 w 1159168"/>
                <a:gd name="connsiteY189" fmla="*/ 499777 h 1160906"/>
                <a:gd name="connsiteX190" fmla="*/ 389453 w 1159168"/>
                <a:gd name="connsiteY190" fmla="*/ 534257 h 1160906"/>
                <a:gd name="connsiteX191" fmla="*/ 351544 w 1159168"/>
                <a:gd name="connsiteY191" fmla="*/ 533686 h 1160906"/>
                <a:gd name="connsiteX192" fmla="*/ 336875 w 1159168"/>
                <a:gd name="connsiteY192" fmla="*/ 516636 h 1160906"/>
                <a:gd name="connsiteX193" fmla="*/ 335447 w 1159168"/>
                <a:gd name="connsiteY193" fmla="*/ 513302 h 1160906"/>
                <a:gd name="connsiteX194" fmla="*/ 334970 w 1159168"/>
                <a:gd name="connsiteY194" fmla="*/ 511112 h 1160906"/>
                <a:gd name="connsiteX195" fmla="*/ 338685 w 1159168"/>
                <a:gd name="connsiteY195" fmla="*/ 484251 h 1160906"/>
                <a:gd name="connsiteX196" fmla="*/ 371737 w 1159168"/>
                <a:gd name="connsiteY196" fmla="*/ 465201 h 1160906"/>
                <a:gd name="connsiteX197" fmla="*/ 417457 w 1159168"/>
                <a:gd name="connsiteY197" fmla="*/ 448723 h 1160906"/>
                <a:gd name="connsiteX198" fmla="*/ 428887 w 1159168"/>
                <a:gd name="connsiteY198" fmla="*/ 413957 h 1160906"/>
                <a:gd name="connsiteX199" fmla="*/ 428411 w 1159168"/>
                <a:gd name="connsiteY199" fmla="*/ 405098 h 1160906"/>
                <a:gd name="connsiteX200" fmla="*/ 427553 w 1159168"/>
                <a:gd name="connsiteY200" fmla="*/ 398050 h 1160906"/>
                <a:gd name="connsiteX201" fmla="*/ 321826 w 1159168"/>
                <a:gd name="connsiteY201" fmla="*/ 292227 h 1160906"/>
                <a:gd name="connsiteX202" fmla="*/ 416314 w 1159168"/>
                <a:gd name="connsiteY202" fmla="*/ 197453 h 1160906"/>
                <a:gd name="connsiteX203" fmla="*/ 198572 w 1159168"/>
                <a:gd name="connsiteY203" fmla="*/ 741902 h 1160906"/>
                <a:gd name="connsiteX204" fmla="*/ 208002 w 1159168"/>
                <a:gd name="connsiteY204" fmla="*/ 739235 h 1160906"/>
                <a:gd name="connsiteX205" fmla="*/ 213050 w 1159168"/>
                <a:gd name="connsiteY205" fmla="*/ 739521 h 1160906"/>
                <a:gd name="connsiteX206" fmla="*/ 276487 w 1159168"/>
                <a:gd name="connsiteY206" fmla="*/ 707993 h 1160906"/>
                <a:gd name="connsiteX207" fmla="*/ 275725 w 1159168"/>
                <a:gd name="connsiteY207" fmla="*/ 612172 h 1160906"/>
                <a:gd name="connsiteX208" fmla="*/ 213431 w 1159168"/>
                <a:gd name="connsiteY208" fmla="*/ 581692 h 1160906"/>
                <a:gd name="connsiteX209" fmla="*/ 157615 w 1159168"/>
                <a:gd name="connsiteY209" fmla="*/ 604838 h 1160906"/>
                <a:gd name="connsiteX210" fmla="*/ 134564 w 1159168"/>
                <a:gd name="connsiteY210" fmla="*/ 662273 h 1160906"/>
                <a:gd name="connsiteX211" fmla="*/ 134660 w 1159168"/>
                <a:gd name="connsiteY211" fmla="*/ 663702 h 1160906"/>
                <a:gd name="connsiteX212" fmla="*/ 134755 w 1159168"/>
                <a:gd name="connsiteY212" fmla="*/ 665798 h 1160906"/>
                <a:gd name="connsiteX213" fmla="*/ 129040 w 1159168"/>
                <a:gd name="connsiteY213" fmla="*/ 676561 h 1160906"/>
                <a:gd name="connsiteX214" fmla="*/ 46268 w 1159168"/>
                <a:gd name="connsiteY214" fmla="*/ 593789 h 1160906"/>
                <a:gd name="connsiteX215" fmla="*/ 41410 w 1159168"/>
                <a:gd name="connsiteY215" fmla="*/ 581978 h 1160906"/>
                <a:gd name="connsiteX216" fmla="*/ 46268 w 1159168"/>
                <a:gd name="connsiteY216" fmla="*/ 570357 h 1160906"/>
                <a:gd name="connsiteX217" fmla="*/ 140279 w 1159168"/>
                <a:gd name="connsiteY217" fmla="*/ 476250 h 1160906"/>
                <a:gd name="connsiteX218" fmla="*/ 141137 w 1159168"/>
                <a:gd name="connsiteY218" fmla="*/ 469201 h 1160906"/>
                <a:gd name="connsiteX219" fmla="*/ 130659 w 1159168"/>
                <a:gd name="connsiteY219" fmla="*/ 427673 h 1160906"/>
                <a:gd name="connsiteX220" fmla="*/ 90083 w 1159168"/>
                <a:gd name="connsiteY220" fmla="*/ 410051 h 1160906"/>
                <a:gd name="connsiteX221" fmla="*/ 89225 w 1159168"/>
                <a:gd name="connsiteY221" fmla="*/ 409956 h 1160906"/>
                <a:gd name="connsiteX222" fmla="*/ 86368 w 1159168"/>
                <a:gd name="connsiteY222" fmla="*/ 410147 h 1160906"/>
                <a:gd name="connsiteX223" fmla="*/ 57221 w 1159168"/>
                <a:gd name="connsiteY223" fmla="*/ 399288 h 1160906"/>
                <a:gd name="connsiteX224" fmla="*/ 46458 w 1159168"/>
                <a:gd name="connsiteY224" fmla="*/ 368618 h 1160906"/>
                <a:gd name="connsiteX225" fmla="*/ 64270 w 1159168"/>
                <a:gd name="connsiteY225" fmla="*/ 340519 h 1160906"/>
                <a:gd name="connsiteX226" fmla="*/ 102179 w 1159168"/>
                <a:gd name="connsiteY226" fmla="*/ 339947 h 1160906"/>
                <a:gd name="connsiteX227" fmla="*/ 121229 w 1159168"/>
                <a:gd name="connsiteY227" fmla="*/ 373190 h 1160906"/>
                <a:gd name="connsiteX228" fmla="*/ 121039 w 1159168"/>
                <a:gd name="connsiteY228" fmla="*/ 377381 h 1160906"/>
                <a:gd name="connsiteX229" fmla="*/ 171140 w 1159168"/>
                <a:gd name="connsiteY229" fmla="*/ 430625 h 1160906"/>
                <a:gd name="connsiteX230" fmla="*/ 180189 w 1159168"/>
                <a:gd name="connsiteY230" fmla="*/ 430054 h 1160906"/>
                <a:gd name="connsiteX231" fmla="*/ 187238 w 1159168"/>
                <a:gd name="connsiteY231" fmla="*/ 429197 h 1160906"/>
                <a:gd name="connsiteX232" fmla="*/ 292965 w 1159168"/>
                <a:gd name="connsiteY232" fmla="*/ 323469 h 1160906"/>
                <a:gd name="connsiteX233" fmla="*/ 387072 w 1159168"/>
                <a:gd name="connsiteY233" fmla="*/ 417576 h 1160906"/>
                <a:gd name="connsiteX234" fmla="*/ 386310 w 1159168"/>
                <a:gd name="connsiteY234" fmla="*/ 419386 h 1160906"/>
                <a:gd name="connsiteX235" fmla="*/ 376690 w 1159168"/>
                <a:gd name="connsiteY235" fmla="*/ 422434 h 1160906"/>
                <a:gd name="connsiteX236" fmla="*/ 375928 w 1159168"/>
                <a:gd name="connsiteY236" fmla="*/ 422434 h 1160906"/>
                <a:gd name="connsiteX237" fmla="*/ 315158 w 1159168"/>
                <a:gd name="connsiteY237" fmla="*/ 445389 h 1160906"/>
                <a:gd name="connsiteX238" fmla="*/ 292489 w 1159168"/>
                <a:gd name="connsiteY238" fmla="*/ 509873 h 1160906"/>
                <a:gd name="connsiteX239" fmla="*/ 294870 w 1159168"/>
                <a:gd name="connsiteY239" fmla="*/ 521875 h 1160906"/>
                <a:gd name="connsiteX240" fmla="*/ 296013 w 1159168"/>
                <a:gd name="connsiteY240" fmla="*/ 525780 h 1160906"/>
                <a:gd name="connsiteX241" fmla="*/ 297156 w 1159168"/>
                <a:gd name="connsiteY241" fmla="*/ 529019 h 1160906"/>
                <a:gd name="connsiteX242" fmla="*/ 303728 w 1159168"/>
                <a:gd name="connsiteY242" fmla="*/ 543116 h 1160906"/>
                <a:gd name="connsiteX243" fmla="*/ 371356 w 1159168"/>
                <a:gd name="connsiteY243" fmla="*/ 581216 h 1160906"/>
                <a:gd name="connsiteX244" fmla="*/ 427172 w 1159168"/>
                <a:gd name="connsiteY244" fmla="*/ 558070 h 1160906"/>
                <a:gd name="connsiteX245" fmla="*/ 450318 w 1159168"/>
                <a:gd name="connsiteY245" fmla="*/ 500825 h 1160906"/>
                <a:gd name="connsiteX246" fmla="*/ 450128 w 1159168"/>
                <a:gd name="connsiteY246" fmla="*/ 497776 h 1160906"/>
                <a:gd name="connsiteX247" fmla="*/ 452604 w 1159168"/>
                <a:gd name="connsiteY247" fmla="*/ 487490 h 1160906"/>
                <a:gd name="connsiteX248" fmla="*/ 455843 w 1159168"/>
                <a:gd name="connsiteY248" fmla="*/ 486347 h 1160906"/>
                <a:gd name="connsiteX249" fmla="*/ 549950 w 1159168"/>
                <a:gd name="connsiteY249" fmla="*/ 580454 h 1160906"/>
                <a:gd name="connsiteX250" fmla="*/ 549950 w 1159168"/>
                <a:gd name="connsiteY250" fmla="*/ 580454 h 1160906"/>
                <a:gd name="connsiteX251" fmla="*/ 550140 w 1159168"/>
                <a:gd name="connsiteY251" fmla="*/ 580644 h 1160906"/>
                <a:gd name="connsiteX252" fmla="*/ 444889 w 1159168"/>
                <a:gd name="connsiteY252" fmla="*/ 686276 h 1160906"/>
                <a:gd name="connsiteX253" fmla="*/ 444603 w 1159168"/>
                <a:gd name="connsiteY253" fmla="*/ 686562 h 1160906"/>
                <a:gd name="connsiteX254" fmla="*/ 443746 w 1159168"/>
                <a:gd name="connsiteY254" fmla="*/ 693611 h 1160906"/>
                <a:gd name="connsiteX255" fmla="*/ 454700 w 1159168"/>
                <a:gd name="connsiteY255" fmla="*/ 735616 h 1160906"/>
                <a:gd name="connsiteX256" fmla="*/ 495752 w 1159168"/>
                <a:gd name="connsiteY256" fmla="*/ 752189 h 1160906"/>
                <a:gd name="connsiteX257" fmla="*/ 500896 w 1159168"/>
                <a:gd name="connsiteY257" fmla="*/ 751999 h 1160906"/>
                <a:gd name="connsiteX258" fmla="*/ 530900 w 1159168"/>
                <a:gd name="connsiteY258" fmla="*/ 767144 h 1160906"/>
                <a:gd name="connsiteX259" fmla="*/ 534519 w 1159168"/>
                <a:gd name="connsiteY259" fmla="*/ 805529 h 1160906"/>
                <a:gd name="connsiteX260" fmla="*/ 533281 w 1159168"/>
                <a:gd name="connsiteY260" fmla="*/ 808006 h 1160906"/>
                <a:gd name="connsiteX261" fmla="*/ 531376 w 1159168"/>
                <a:gd name="connsiteY261" fmla="*/ 810959 h 1160906"/>
                <a:gd name="connsiteX262" fmla="*/ 528804 w 1159168"/>
                <a:gd name="connsiteY262" fmla="*/ 814007 h 1160906"/>
                <a:gd name="connsiteX263" fmla="*/ 525566 w 1159168"/>
                <a:gd name="connsiteY263" fmla="*/ 817245 h 1160906"/>
                <a:gd name="connsiteX264" fmla="*/ 521946 w 1159168"/>
                <a:gd name="connsiteY264" fmla="*/ 820103 h 1160906"/>
                <a:gd name="connsiteX265" fmla="*/ 518708 w 1159168"/>
                <a:gd name="connsiteY265" fmla="*/ 822103 h 1160906"/>
                <a:gd name="connsiteX266" fmla="*/ 512516 w 1159168"/>
                <a:gd name="connsiteY266" fmla="*/ 824770 h 1160906"/>
                <a:gd name="connsiteX267" fmla="*/ 510421 w 1159168"/>
                <a:gd name="connsiteY267" fmla="*/ 825532 h 1160906"/>
                <a:gd name="connsiteX268" fmla="*/ 482513 w 1159168"/>
                <a:gd name="connsiteY268" fmla="*/ 822008 h 1160906"/>
                <a:gd name="connsiteX269" fmla="*/ 463463 w 1159168"/>
                <a:gd name="connsiteY269" fmla="*/ 789051 h 1160906"/>
                <a:gd name="connsiteX270" fmla="*/ 463653 w 1159168"/>
                <a:gd name="connsiteY270" fmla="*/ 784288 h 1160906"/>
                <a:gd name="connsiteX271" fmla="*/ 414123 w 1159168"/>
                <a:gd name="connsiteY271" fmla="*/ 731711 h 1160906"/>
                <a:gd name="connsiteX272" fmla="*/ 405074 w 1159168"/>
                <a:gd name="connsiteY272" fmla="*/ 732282 h 1160906"/>
                <a:gd name="connsiteX273" fmla="*/ 398026 w 1159168"/>
                <a:gd name="connsiteY273" fmla="*/ 733139 h 1160906"/>
                <a:gd name="connsiteX274" fmla="*/ 291822 w 1159168"/>
                <a:gd name="connsiteY274" fmla="*/ 839343 h 1160906"/>
                <a:gd name="connsiteX275" fmla="*/ 197429 w 1159168"/>
                <a:gd name="connsiteY275" fmla="*/ 744950 h 1160906"/>
                <a:gd name="connsiteX276" fmla="*/ 198572 w 1159168"/>
                <a:gd name="connsiteY276" fmla="*/ 741902 h 1160906"/>
                <a:gd name="connsiteX277" fmla="*/ 743498 w 1159168"/>
                <a:gd name="connsiteY277" fmla="*/ 963263 h 1160906"/>
                <a:gd name="connsiteX278" fmla="*/ 740259 w 1159168"/>
                <a:gd name="connsiteY278" fmla="*/ 962120 h 1160906"/>
                <a:gd name="connsiteX279" fmla="*/ 737687 w 1159168"/>
                <a:gd name="connsiteY279" fmla="*/ 952690 h 1160906"/>
                <a:gd name="connsiteX280" fmla="*/ 737878 w 1159168"/>
                <a:gd name="connsiteY280" fmla="*/ 948785 h 1160906"/>
                <a:gd name="connsiteX281" fmla="*/ 706350 w 1159168"/>
                <a:gd name="connsiteY281" fmla="*/ 884206 h 1160906"/>
                <a:gd name="connsiteX282" fmla="*/ 610529 w 1159168"/>
                <a:gd name="connsiteY282" fmla="*/ 884968 h 1160906"/>
                <a:gd name="connsiteX283" fmla="*/ 580144 w 1159168"/>
                <a:gd name="connsiteY283" fmla="*/ 942499 h 1160906"/>
                <a:gd name="connsiteX284" fmla="*/ 603099 w 1159168"/>
                <a:gd name="connsiteY284" fmla="*/ 1003078 h 1160906"/>
                <a:gd name="connsiteX285" fmla="*/ 658916 w 1159168"/>
                <a:gd name="connsiteY285" fmla="*/ 1026128 h 1160906"/>
                <a:gd name="connsiteX286" fmla="*/ 661964 w 1159168"/>
                <a:gd name="connsiteY286" fmla="*/ 1026033 h 1160906"/>
                <a:gd name="connsiteX287" fmla="*/ 664155 w 1159168"/>
                <a:gd name="connsiteY287" fmla="*/ 1025938 h 1160906"/>
                <a:gd name="connsiteX288" fmla="*/ 673870 w 1159168"/>
                <a:gd name="connsiteY288" fmla="*/ 1028605 h 1160906"/>
                <a:gd name="connsiteX289" fmla="*/ 674918 w 1159168"/>
                <a:gd name="connsiteY289" fmla="*/ 1031748 h 1160906"/>
                <a:gd name="connsiteX290" fmla="*/ 592145 w 1159168"/>
                <a:gd name="connsiteY290" fmla="*/ 1114520 h 1160906"/>
                <a:gd name="connsiteX291" fmla="*/ 568809 w 1159168"/>
                <a:gd name="connsiteY291" fmla="*/ 1114520 h 1160906"/>
                <a:gd name="connsiteX292" fmla="*/ 474702 w 1159168"/>
                <a:gd name="connsiteY292" fmla="*/ 1020413 h 1160906"/>
                <a:gd name="connsiteX293" fmla="*/ 467654 w 1159168"/>
                <a:gd name="connsiteY293" fmla="*/ 1019556 h 1160906"/>
                <a:gd name="connsiteX294" fmla="*/ 458605 w 1159168"/>
                <a:gd name="connsiteY294" fmla="*/ 1018985 h 1160906"/>
                <a:gd name="connsiteX295" fmla="*/ 408503 w 1159168"/>
                <a:gd name="connsiteY295" fmla="*/ 1070610 h 1160906"/>
                <a:gd name="connsiteX296" fmla="*/ 408408 w 1159168"/>
                <a:gd name="connsiteY296" fmla="*/ 1071372 h 1160906"/>
                <a:gd name="connsiteX297" fmla="*/ 408599 w 1159168"/>
                <a:gd name="connsiteY297" fmla="*/ 1074230 h 1160906"/>
                <a:gd name="connsiteX298" fmla="*/ 397740 w 1159168"/>
                <a:gd name="connsiteY298" fmla="*/ 1103376 h 1160906"/>
                <a:gd name="connsiteX299" fmla="*/ 371261 w 1159168"/>
                <a:gd name="connsiteY299" fmla="*/ 1114330 h 1160906"/>
                <a:gd name="connsiteX300" fmla="*/ 339066 w 1159168"/>
                <a:gd name="connsiteY300" fmla="*/ 1096232 h 1160906"/>
                <a:gd name="connsiteX301" fmla="*/ 338495 w 1159168"/>
                <a:gd name="connsiteY301" fmla="*/ 1058323 h 1160906"/>
                <a:gd name="connsiteX302" fmla="*/ 371070 w 1159168"/>
                <a:gd name="connsiteY302" fmla="*/ 1039368 h 1160906"/>
                <a:gd name="connsiteX303" fmla="*/ 372118 w 1159168"/>
                <a:gd name="connsiteY303" fmla="*/ 1039368 h 1160906"/>
                <a:gd name="connsiteX304" fmla="*/ 376023 w 1159168"/>
                <a:gd name="connsiteY304" fmla="*/ 1039559 h 1160906"/>
                <a:gd name="connsiteX305" fmla="*/ 417838 w 1159168"/>
                <a:gd name="connsiteY305" fmla="*/ 1022318 h 1160906"/>
                <a:gd name="connsiteX306" fmla="*/ 428696 w 1159168"/>
                <a:gd name="connsiteY306" fmla="*/ 980408 h 1160906"/>
                <a:gd name="connsiteX307" fmla="*/ 427839 w 1159168"/>
                <a:gd name="connsiteY307" fmla="*/ 973360 h 1160906"/>
                <a:gd name="connsiteX308" fmla="*/ 322112 w 1159168"/>
                <a:gd name="connsiteY308" fmla="*/ 867632 h 1160906"/>
                <a:gd name="connsiteX309" fmla="*/ 354116 w 1159168"/>
                <a:gd name="connsiteY309" fmla="*/ 835628 h 1160906"/>
                <a:gd name="connsiteX310" fmla="*/ 416314 w 1159168"/>
                <a:gd name="connsiteY310" fmla="*/ 773430 h 1160906"/>
                <a:gd name="connsiteX311" fmla="*/ 422029 w 1159168"/>
                <a:gd name="connsiteY311" fmla="*/ 783812 h 1160906"/>
                <a:gd name="connsiteX312" fmla="*/ 422029 w 1159168"/>
                <a:gd name="connsiteY312" fmla="*/ 785622 h 1160906"/>
                <a:gd name="connsiteX313" fmla="*/ 421838 w 1159168"/>
                <a:gd name="connsiteY313" fmla="*/ 787718 h 1160906"/>
                <a:gd name="connsiteX314" fmla="*/ 444889 w 1159168"/>
                <a:gd name="connsiteY314" fmla="*/ 845249 h 1160906"/>
                <a:gd name="connsiteX315" fmla="*/ 479941 w 1159168"/>
                <a:gd name="connsiteY315" fmla="*/ 865251 h 1160906"/>
                <a:gd name="connsiteX316" fmla="*/ 480989 w 1159168"/>
                <a:gd name="connsiteY316" fmla="*/ 865537 h 1160906"/>
                <a:gd name="connsiteX317" fmla="*/ 490418 w 1159168"/>
                <a:gd name="connsiteY317" fmla="*/ 867347 h 1160906"/>
                <a:gd name="connsiteX318" fmla="*/ 492609 w 1159168"/>
                <a:gd name="connsiteY318" fmla="*/ 867537 h 1160906"/>
                <a:gd name="connsiteX319" fmla="*/ 500705 w 1159168"/>
                <a:gd name="connsiteY319" fmla="*/ 868299 h 1160906"/>
                <a:gd name="connsiteX320" fmla="*/ 531566 w 1159168"/>
                <a:gd name="connsiteY320" fmla="*/ 861917 h 1160906"/>
                <a:gd name="connsiteX321" fmla="*/ 533090 w 1159168"/>
                <a:gd name="connsiteY321" fmla="*/ 861251 h 1160906"/>
                <a:gd name="connsiteX322" fmla="*/ 540901 w 1159168"/>
                <a:gd name="connsiteY322" fmla="*/ 857250 h 1160906"/>
                <a:gd name="connsiteX323" fmla="*/ 541853 w 1159168"/>
                <a:gd name="connsiteY323" fmla="*/ 856774 h 1160906"/>
                <a:gd name="connsiteX324" fmla="*/ 542139 w 1159168"/>
                <a:gd name="connsiteY324" fmla="*/ 856583 h 1160906"/>
                <a:gd name="connsiteX325" fmla="*/ 548807 w 1159168"/>
                <a:gd name="connsiteY325" fmla="*/ 851916 h 1160906"/>
                <a:gd name="connsiteX326" fmla="*/ 549473 w 1159168"/>
                <a:gd name="connsiteY326" fmla="*/ 851440 h 1160906"/>
                <a:gd name="connsiteX327" fmla="*/ 554712 w 1159168"/>
                <a:gd name="connsiteY327" fmla="*/ 846868 h 1160906"/>
                <a:gd name="connsiteX328" fmla="*/ 556427 w 1159168"/>
                <a:gd name="connsiteY328" fmla="*/ 845344 h 1160906"/>
                <a:gd name="connsiteX329" fmla="*/ 559760 w 1159168"/>
                <a:gd name="connsiteY329" fmla="*/ 841724 h 1160906"/>
                <a:gd name="connsiteX330" fmla="*/ 562618 w 1159168"/>
                <a:gd name="connsiteY330" fmla="*/ 838486 h 1160906"/>
                <a:gd name="connsiteX331" fmla="*/ 563094 w 1159168"/>
                <a:gd name="connsiteY331" fmla="*/ 838010 h 1160906"/>
                <a:gd name="connsiteX332" fmla="*/ 563761 w 1159168"/>
                <a:gd name="connsiteY332" fmla="*/ 836962 h 1160906"/>
                <a:gd name="connsiteX333" fmla="*/ 569857 w 1159168"/>
                <a:gd name="connsiteY333" fmla="*/ 827723 h 1160906"/>
                <a:gd name="connsiteX334" fmla="*/ 570428 w 1159168"/>
                <a:gd name="connsiteY334" fmla="*/ 826770 h 1160906"/>
                <a:gd name="connsiteX335" fmla="*/ 579477 w 1159168"/>
                <a:gd name="connsiteY335" fmla="*/ 798576 h 1160906"/>
                <a:gd name="connsiteX336" fmla="*/ 556903 w 1159168"/>
                <a:gd name="connsiteY336" fmla="*/ 733615 h 1160906"/>
                <a:gd name="connsiteX337" fmla="*/ 551950 w 1159168"/>
                <a:gd name="connsiteY337" fmla="*/ 729615 h 1160906"/>
                <a:gd name="connsiteX338" fmla="*/ 550235 w 1159168"/>
                <a:gd name="connsiteY338" fmla="*/ 728186 h 1160906"/>
                <a:gd name="connsiteX339" fmla="*/ 538615 w 1159168"/>
                <a:gd name="connsiteY339" fmla="*/ 720471 h 1160906"/>
                <a:gd name="connsiteX340" fmla="*/ 534995 w 1159168"/>
                <a:gd name="connsiteY340" fmla="*/ 718566 h 1160906"/>
                <a:gd name="connsiteX341" fmla="*/ 528328 w 1159168"/>
                <a:gd name="connsiteY341" fmla="*/ 715709 h 1160906"/>
                <a:gd name="connsiteX342" fmla="*/ 518517 w 1159168"/>
                <a:gd name="connsiteY342" fmla="*/ 712851 h 1160906"/>
                <a:gd name="connsiteX343" fmla="*/ 512421 w 1159168"/>
                <a:gd name="connsiteY343" fmla="*/ 711803 h 1160906"/>
                <a:gd name="connsiteX344" fmla="*/ 505373 w 1159168"/>
                <a:gd name="connsiteY344" fmla="*/ 711137 h 1160906"/>
                <a:gd name="connsiteX345" fmla="*/ 499753 w 1159168"/>
                <a:gd name="connsiteY345" fmla="*/ 710660 h 1160906"/>
                <a:gd name="connsiteX346" fmla="*/ 499753 w 1159168"/>
                <a:gd name="connsiteY346" fmla="*/ 710660 h 1160906"/>
                <a:gd name="connsiteX347" fmla="*/ 496419 w 1159168"/>
                <a:gd name="connsiteY347" fmla="*/ 710851 h 1160906"/>
                <a:gd name="connsiteX348" fmla="*/ 486323 w 1159168"/>
                <a:gd name="connsiteY348" fmla="*/ 708279 h 1160906"/>
                <a:gd name="connsiteX349" fmla="*/ 485275 w 1159168"/>
                <a:gd name="connsiteY349" fmla="*/ 705231 h 1160906"/>
                <a:gd name="connsiteX350" fmla="*/ 538805 w 1159168"/>
                <a:gd name="connsiteY350" fmla="*/ 651701 h 1160906"/>
                <a:gd name="connsiteX351" fmla="*/ 579668 w 1159168"/>
                <a:gd name="connsiteY351" fmla="*/ 610838 h 1160906"/>
                <a:gd name="connsiteX352" fmla="*/ 685395 w 1159168"/>
                <a:gd name="connsiteY352" fmla="*/ 716566 h 1160906"/>
                <a:gd name="connsiteX353" fmla="*/ 692444 w 1159168"/>
                <a:gd name="connsiteY353" fmla="*/ 717423 h 1160906"/>
                <a:gd name="connsiteX354" fmla="*/ 701492 w 1159168"/>
                <a:gd name="connsiteY354" fmla="*/ 717995 h 1160906"/>
                <a:gd name="connsiteX355" fmla="*/ 751022 w 1159168"/>
                <a:gd name="connsiteY355" fmla="*/ 665417 h 1160906"/>
                <a:gd name="connsiteX356" fmla="*/ 750832 w 1159168"/>
                <a:gd name="connsiteY356" fmla="*/ 660559 h 1160906"/>
                <a:gd name="connsiteX357" fmla="*/ 765977 w 1159168"/>
                <a:gd name="connsiteY357" fmla="*/ 630365 h 1160906"/>
                <a:gd name="connsiteX358" fmla="*/ 811220 w 1159168"/>
                <a:gd name="connsiteY358" fmla="*/ 630841 h 1160906"/>
                <a:gd name="connsiteX359" fmla="*/ 821412 w 1159168"/>
                <a:gd name="connsiteY359" fmla="*/ 642938 h 1160906"/>
                <a:gd name="connsiteX360" fmla="*/ 825222 w 1159168"/>
                <a:gd name="connsiteY360" fmla="*/ 657130 h 1160906"/>
                <a:gd name="connsiteX361" fmla="*/ 814364 w 1159168"/>
                <a:gd name="connsiteY361" fmla="*/ 685895 h 1160906"/>
                <a:gd name="connsiteX362" fmla="*/ 787408 w 1159168"/>
                <a:gd name="connsiteY362" fmla="*/ 696849 h 1160906"/>
                <a:gd name="connsiteX363" fmla="*/ 781788 w 1159168"/>
                <a:gd name="connsiteY363" fmla="*/ 696659 h 1160906"/>
                <a:gd name="connsiteX364" fmla="*/ 741593 w 1159168"/>
                <a:gd name="connsiteY364" fmla="*/ 713613 h 1160906"/>
                <a:gd name="connsiteX365" fmla="*/ 730925 w 1159168"/>
                <a:gd name="connsiteY365" fmla="*/ 755237 h 1160906"/>
                <a:gd name="connsiteX366" fmla="*/ 731591 w 1159168"/>
                <a:gd name="connsiteY366" fmla="*/ 762000 h 1160906"/>
                <a:gd name="connsiteX367" fmla="*/ 731972 w 1159168"/>
                <a:gd name="connsiteY367" fmla="*/ 762381 h 1160906"/>
                <a:gd name="connsiteX368" fmla="*/ 732068 w 1159168"/>
                <a:gd name="connsiteY368" fmla="*/ 763143 h 1160906"/>
                <a:gd name="connsiteX369" fmla="*/ 837795 w 1159168"/>
                <a:gd name="connsiteY369" fmla="*/ 868871 h 1160906"/>
                <a:gd name="connsiteX370" fmla="*/ 743498 w 1159168"/>
                <a:gd name="connsiteY370" fmla="*/ 963263 h 1160906"/>
                <a:gd name="connsiteX371" fmla="*/ 1107448 w 1159168"/>
                <a:gd name="connsiteY371" fmla="*/ 808101 h 1160906"/>
                <a:gd name="connsiteX372" fmla="*/ 1075253 w 1159168"/>
                <a:gd name="connsiteY372" fmla="*/ 826199 h 1160906"/>
                <a:gd name="connsiteX373" fmla="*/ 1048774 w 1159168"/>
                <a:gd name="connsiteY373" fmla="*/ 815245 h 1160906"/>
                <a:gd name="connsiteX374" fmla="*/ 1037915 w 1159168"/>
                <a:gd name="connsiteY374" fmla="*/ 785051 h 1160906"/>
                <a:gd name="connsiteX375" fmla="*/ 1038011 w 1159168"/>
                <a:gd name="connsiteY375" fmla="*/ 783717 h 1160906"/>
                <a:gd name="connsiteX376" fmla="*/ 1038011 w 1159168"/>
                <a:gd name="connsiteY376" fmla="*/ 782384 h 1160906"/>
                <a:gd name="connsiteX377" fmla="*/ 987909 w 1159168"/>
                <a:gd name="connsiteY377" fmla="*/ 730758 h 1160906"/>
                <a:gd name="connsiteX378" fmla="*/ 978860 w 1159168"/>
                <a:gd name="connsiteY378" fmla="*/ 731330 h 1160906"/>
                <a:gd name="connsiteX379" fmla="*/ 971812 w 1159168"/>
                <a:gd name="connsiteY379" fmla="*/ 732187 h 1160906"/>
                <a:gd name="connsiteX380" fmla="*/ 866084 w 1159168"/>
                <a:gd name="connsiteY380" fmla="*/ 837914 h 1160906"/>
                <a:gd name="connsiteX381" fmla="*/ 772263 w 1159168"/>
                <a:gd name="connsiteY381" fmla="*/ 744093 h 1160906"/>
                <a:gd name="connsiteX382" fmla="*/ 773120 w 1159168"/>
                <a:gd name="connsiteY382" fmla="*/ 741521 h 1160906"/>
                <a:gd name="connsiteX383" fmla="*/ 782455 w 1159168"/>
                <a:gd name="connsiteY383" fmla="*/ 738854 h 1160906"/>
                <a:gd name="connsiteX384" fmla="*/ 784265 w 1159168"/>
                <a:gd name="connsiteY384" fmla="*/ 738854 h 1160906"/>
                <a:gd name="connsiteX385" fmla="*/ 788170 w 1159168"/>
                <a:gd name="connsiteY385" fmla="*/ 739045 h 1160906"/>
                <a:gd name="connsiteX386" fmla="*/ 843796 w 1159168"/>
                <a:gd name="connsiteY386" fmla="*/ 715994 h 1160906"/>
                <a:gd name="connsiteX387" fmla="*/ 866751 w 1159168"/>
                <a:gd name="connsiteY387" fmla="*/ 655415 h 1160906"/>
                <a:gd name="connsiteX388" fmla="*/ 860846 w 1159168"/>
                <a:gd name="connsiteY388" fmla="*/ 630079 h 1160906"/>
                <a:gd name="connsiteX389" fmla="*/ 835890 w 1159168"/>
                <a:gd name="connsiteY389" fmla="*/ 596646 h 1160906"/>
                <a:gd name="connsiteX390" fmla="*/ 740069 w 1159168"/>
                <a:gd name="connsiteY390" fmla="*/ 595884 h 1160906"/>
                <a:gd name="connsiteX391" fmla="*/ 708541 w 1159168"/>
                <a:gd name="connsiteY391" fmla="*/ 660463 h 1160906"/>
                <a:gd name="connsiteX392" fmla="*/ 708732 w 1159168"/>
                <a:gd name="connsiteY392" fmla="*/ 663321 h 1160906"/>
                <a:gd name="connsiteX393" fmla="*/ 706160 w 1159168"/>
                <a:gd name="connsiteY393" fmla="*/ 673799 h 1160906"/>
                <a:gd name="connsiteX394" fmla="*/ 702921 w 1159168"/>
                <a:gd name="connsiteY394" fmla="*/ 674942 h 1160906"/>
                <a:gd name="connsiteX395" fmla="*/ 608814 w 1159168"/>
                <a:gd name="connsiteY395" fmla="*/ 580835 h 1160906"/>
                <a:gd name="connsiteX396" fmla="*/ 608814 w 1159168"/>
                <a:gd name="connsiteY396" fmla="*/ 580835 h 1160906"/>
                <a:gd name="connsiteX397" fmla="*/ 608624 w 1159168"/>
                <a:gd name="connsiteY397" fmla="*/ 580644 h 1160906"/>
                <a:gd name="connsiteX398" fmla="*/ 714351 w 1159168"/>
                <a:gd name="connsiteY398" fmla="*/ 474917 h 1160906"/>
                <a:gd name="connsiteX399" fmla="*/ 714351 w 1159168"/>
                <a:gd name="connsiteY399" fmla="*/ 474917 h 1160906"/>
                <a:gd name="connsiteX400" fmla="*/ 714637 w 1159168"/>
                <a:gd name="connsiteY400" fmla="*/ 474631 h 1160906"/>
                <a:gd name="connsiteX401" fmla="*/ 715494 w 1159168"/>
                <a:gd name="connsiteY401" fmla="*/ 467582 h 1160906"/>
                <a:gd name="connsiteX402" fmla="*/ 704540 w 1159168"/>
                <a:gd name="connsiteY402" fmla="*/ 425577 h 1160906"/>
                <a:gd name="connsiteX403" fmla="*/ 663488 w 1159168"/>
                <a:gd name="connsiteY403" fmla="*/ 409004 h 1160906"/>
                <a:gd name="connsiteX404" fmla="*/ 658344 w 1159168"/>
                <a:gd name="connsiteY404" fmla="*/ 409194 h 1160906"/>
                <a:gd name="connsiteX405" fmla="*/ 658630 w 1159168"/>
                <a:gd name="connsiteY405" fmla="*/ 409194 h 1160906"/>
                <a:gd name="connsiteX406" fmla="*/ 625864 w 1159168"/>
                <a:gd name="connsiteY406" fmla="*/ 390144 h 1160906"/>
                <a:gd name="connsiteX407" fmla="*/ 622340 w 1159168"/>
                <a:gd name="connsiteY407" fmla="*/ 381572 h 1160906"/>
                <a:gd name="connsiteX408" fmla="*/ 622149 w 1159168"/>
                <a:gd name="connsiteY408" fmla="*/ 380810 h 1160906"/>
                <a:gd name="connsiteX409" fmla="*/ 621101 w 1159168"/>
                <a:gd name="connsiteY409" fmla="*/ 372047 h 1160906"/>
                <a:gd name="connsiteX410" fmla="*/ 621101 w 1159168"/>
                <a:gd name="connsiteY410" fmla="*/ 371285 h 1160906"/>
                <a:gd name="connsiteX411" fmla="*/ 626055 w 1159168"/>
                <a:gd name="connsiteY411" fmla="*/ 353473 h 1160906"/>
                <a:gd name="connsiteX412" fmla="*/ 627388 w 1159168"/>
                <a:gd name="connsiteY412" fmla="*/ 351473 h 1160906"/>
                <a:gd name="connsiteX413" fmla="*/ 631484 w 1159168"/>
                <a:gd name="connsiteY413" fmla="*/ 346329 h 1160906"/>
                <a:gd name="connsiteX414" fmla="*/ 634055 w 1159168"/>
                <a:gd name="connsiteY414" fmla="*/ 343853 h 1160906"/>
                <a:gd name="connsiteX415" fmla="*/ 638437 w 1159168"/>
                <a:gd name="connsiteY415" fmla="*/ 340519 h 1160906"/>
                <a:gd name="connsiteX416" fmla="*/ 680823 w 1159168"/>
                <a:gd name="connsiteY416" fmla="*/ 341948 h 1160906"/>
                <a:gd name="connsiteX417" fmla="*/ 695968 w 1159168"/>
                <a:gd name="connsiteY417" fmla="*/ 372142 h 1160906"/>
                <a:gd name="connsiteX418" fmla="*/ 695777 w 1159168"/>
                <a:gd name="connsiteY418" fmla="*/ 377000 h 1160906"/>
                <a:gd name="connsiteX419" fmla="*/ 703112 w 1159168"/>
                <a:gd name="connsiteY419" fmla="*/ 406622 h 1160906"/>
                <a:gd name="connsiteX420" fmla="*/ 725019 w 1159168"/>
                <a:gd name="connsiteY420" fmla="*/ 425387 h 1160906"/>
                <a:gd name="connsiteX421" fmla="*/ 727686 w 1159168"/>
                <a:gd name="connsiteY421" fmla="*/ 426434 h 1160906"/>
                <a:gd name="connsiteX422" fmla="*/ 736925 w 1159168"/>
                <a:gd name="connsiteY422" fmla="*/ 428625 h 1160906"/>
                <a:gd name="connsiteX423" fmla="*/ 740450 w 1159168"/>
                <a:gd name="connsiteY423" fmla="*/ 429006 h 1160906"/>
                <a:gd name="connsiteX424" fmla="*/ 745307 w 1159168"/>
                <a:gd name="connsiteY424" fmla="*/ 429578 h 1160906"/>
                <a:gd name="connsiteX425" fmla="*/ 754356 w 1159168"/>
                <a:gd name="connsiteY425" fmla="*/ 429006 h 1160906"/>
                <a:gd name="connsiteX426" fmla="*/ 761405 w 1159168"/>
                <a:gd name="connsiteY426" fmla="*/ 428149 h 1160906"/>
                <a:gd name="connsiteX427" fmla="*/ 761690 w 1159168"/>
                <a:gd name="connsiteY427" fmla="*/ 427863 h 1160906"/>
                <a:gd name="connsiteX428" fmla="*/ 867132 w 1159168"/>
                <a:gd name="connsiteY428" fmla="*/ 322421 h 1160906"/>
                <a:gd name="connsiteX429" fmla="*/ 961525 w 1159168"/>
                <a:gd name="connsiteY429" fmla="*/ 416814 h 1160906"/>
                <a:gd name="connsiteX430" fmla="*/ 960477 w 1159168"/>
                <a:gd name="connsiteY430" fmla="*/ 419957 h 1160906"/>
                <a:gd name="connsiteX431" fmla="*/ 950381 w 1159168"/>
                <a:gd name="connsiteY431" fmla="*/ 422529 h 1160906"/>
                <a:gd name="connsiteX432" fmla="*/ 945999 w 1159168"/>
                <a:gd name="connsiteY432" fmla="*/ 422339 h 1160906"/>
                <a:gd name="connsiteX433" fmla="*/ 889897 w 1159168"/>
                <a:gd name="connsiteY433" fmla="*/ 445484 h 1160906"/>
                <a:gd name="connsiteX434" fmla="*/ 867323 w 1159168"/>
                <a:gd name="connsiteY434" fmla="*/ 510445 h 1160906"/>
                <a:gd name="connsiteX435" fmla="*/ 904946 w 1159168"/>
                <a:gd name="connsiteY435" fmla="*/ 568928 h 1160906"/>
                <a:gd name="connsiteX436" fmla="*/ 985242 w 1159168"/>
                <a:gd name="connsiteY436" fmla="*/ 569690 h 1160906"/>
                <a:gd name="connsiteX437" fmla="*/ 1024580 w 1159168"/>
                <a:gd name="connsiteY437" fmla="*/ 499682 h 1160906"/>
                <a:gd name="connsiteX438" fmla="*/ 1024485 w 1159168"/>
                <a:gd name="connsiteY438" fmla="*/ 498062 h 1160906"/>
                <a:gd name="connsiteX439" fmla="*/ 1024390 w 1159168"/>
                <a:gd name="connsiteY439" fmla="*/ 496348 h 1160906"/>
                <a:gd name="connsiteX440" fmla="*/ 1030010 w 1159168"/>
                <a:gd name="connsiteY440" fmla="*/ 485299 h 1160906"/>
                <a:gd name="connsiteX441" fmla="*/ 1112782 w 1159168"/>
                <a:gd name="connsiteY441" fmla="*/ 568071 h 1160906"/>
                <a:gd name="connsiteX442" fmla="*/ 1117640 w 1159168"/>
                <a:gd name="connsiteY442" fmla="*/ 579692 h 1160906"/>
                <a:gd name="connsiteX443" fmla="*/ 1112782 w 1159168"/>
                <a:gd name="connsiteY443" fmla="*/ 591312 h 1160906"/>
                <a:gd name="connsiteX444" fmla="*/ 1018675 w 1159168"/>
                <a:gd name="connsiteY444" fmla="*/ 685419 h 1160906"/>
                <a:gd name="connsiteX445" fmla="*/ 1017818 w 1159168"/>
                <a:gd name="connsiteY445" fmla="*/ 692468 h 1160906"/>
                <a:gd name="connsiteX446" fmla="*/ 1028676 w 1159168"/>
                <a:gd name="connsiteY446" fmla="*/ 734378 h 1160906"/>
                <a:gd name="connsiteX447" fmla="*/ 1070777 w 1159168"/>
                <a:gd name="connsiteY447" fmla="*/ 751618 h 1160906"/>
                <a:gd name="connsiteX448" fmla="*/ 1073539 w 1159168"/>
                <a:gd name="connsiteY448" fmla="*/ 751523 h 1160906"/>
                <a:gd name="connsiteX449" fmla="*/ 1075539 w 1159168"/>
                <a:gd name="connsiteY449" fmla="*/ 751427 h 1160906"/>
                <a:gd name="connsiteX450" fmla="*/ 1108115 w 1159168"/>
                <a:gd name="connsiteY450" fmla="*/ 770477 h 1160906"/>
                <a:gd name="connsiteX451" fmla="*/ 1107448 w 1159168"/>
                <a:gd name="connsiteY451" fmla="*/ 808101 h 1160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Lst>
              <a:rect l="l" t="t" r="r" b="b"/>
              <a:pathLst>
                <a:path w="1159168" h="1160906">
                  <a:moveTo>
                    <a:pt x="1075539" y="709708"/>
                  </a:moveTo>
                  <a:cubicBezTo>
                    <a:pt x="1074110" y="709708"/>
                    <a:pt x="1072777" y="709708"/>
                    <a:pt x="1071062" y="709803"/>
                  </a:cubicBezTo>
                  <a:cubicBezTo>
                    <a:pt x="1065443" y="709708"/>
                    <a:pt x="1061252" y="708184"/>
                    <a:pt x="1060014" y="706755"/>
                  </a:cubicBezTo>
                  <a:cubicBezTo>
                    <a:pt x="1059537" y="706184"/>
                    <a:pt x="1059156" y="705136"/>
                    <a:pt x="1058870" y="703517"/>
                  </a:cubicBezTo>
                  <a:lnTo>
                    <a:pt x="1142214" y="620173"/>
                  </a:lnTo>
                  <a:cubicBezTo>
                    <a:pt x="1153168" y="609219"/>
                    <a:pt x="1159169" y="594646"/>
                    <a:pt x="1159169" y="579215"/>
                  </a:cubicBezTo>
                  <a:cubicBezTo>
                    <a:pt x="1159169" y="563785"/>
                    <a:pt x="1153168" y="549212"/>
                    <a:pt x="1142214" y="538258"/>
                  </a:cubicBezTo>
                  <a:lnTo>
                    <a:pt x="1048679" y="444722"/>
                  </a:lnTo>
                  <a:lnTo>
                    <a:pt x="1041630" y="443865"/>
                  </a:lnTo>
                  <a:cubicBezTo>
                    <a:pt x="1038392" y="443484"/>
                    <a:pt x="1035344" y="443294"/>
                    <a:pt x="1032582" y="443294"/>
                  </a:cubicBezTo>
                  <a:cubicBezTo>
                    <a:pt x="1002959" y="443294"/>
                    <a:pt x="983051" y="464439"/>
                    <a:pt x="983051" y="495872"/>
                  </a:cubicBezTo>
                  <a:cubicBezTo>
                    <a:pt x="983051" y="497967"/>
                    <a:pt x="983147" y="499586"/>
                    <a:pt x="983242" y="500634"/>
                  </a:cubicBezTo>
                  <a:cubicBezTo>
                    <a:pt x="983337" y="514160"/>
                    <a:pt x="976193" y="526447"/>
                    <a:pt x="964192" y="533591"/>
                  </a:cubicBezTo>
                  <a:cubicBezTo>
                    <a:pt x="953143" y="540163"/>
                    <a:pt x="937808" y="539972"/>
                    <a:pt x="926759" y="533210"/>
                  </a:cubicBezTo>
                  <a:cubicBezTo>
                    <a:pt x="916376" y="526828"/>
                    <a:pt x="909899" y="516922"/>
                    <a:pt x="908566" y="505206"/>
                  </a:cubicBezTo>
                  <a:cubicBezTo>
                    <a:pt x="907232" y="493681"/>
                    <a:pt x="911138" y="482441"/>
                    <a:pt x="919329" y="474345"/>
                  </a:cubicBezTo>
                  <a:cubicBezTo>
                    <a:pt x="926378" y="467297"/>
                    <a:pt x="935712" y="463487"/>
                    <a:pt x="946285" y="463391"/>
                  </a:cubicBezTo>
                  <a:cubicBezTo>
                    <a:pt x="947142" y="463487"/>
                    <a:pt x="948571" y="463487"/>
                    <a:pt x="950571" y="463582"/>
                  </a:cubicBezTo>
                  <a:cubicBezTo>
                    <a:pt x="960477" y="463582"/>
                    <a:pt x="978956" y="461391"/>
                    <a:pt x="991719" y="446913"/>
                  </a:cubicBezTo>
                  <a:cubicBezTo>
                    <a:pt x="998196" y="439579"/>
                    <a:pt x="1005340" y="426339"/>
                    <a:pt x="1002673" y="405003"/>
                  </a:cubicBezTo>
                  <a:lnTo>
                    <a:pt x="1001816" y="397955"/>
                  </a:lnTo>
                  <a:lnTo>
                    <a:pt x="867323" y="263462"/>
                  </a:lnTo>
                  <a:lnTo>
                    <a:pt x="867037" y="263747"/>
                  </a:lnTo>
                  <a:lnTo>
                    <a:pt x="772073" y="168783"/>
                  </a:lnTo>
                  <a:cubicBezTo>
                    <a:pt x="772263" y="167164"/>
                    <a:pt x="772644" y="166116"/>
                    <a:pt x="773120" y="165640"/>
                  </a:cubicBezTo>
                  <a:cubicBezTo>
                    <a:pt x="774263" y="164402"/>
                    <a:pt x="778073" y="163068"/>
                    <a:pt x="783122" y="163068"/>
                  </a:cubicBezTo>
                  <a:cubicBezTo>
                    <a:pt x="783979" y="163068"/>
                    <a:pt x="784550" y="163068"/>
                    <a:pt x="784550" y="163068"/>
                  </a:cubicBezTo>
                  <a:lnTo>
                    <a:pt x="784550" y="163068"/>
                  </a:lnTo>
                  <a:lnTo>
                    <a:pt x="788170" y="163163"/>
                  </a:lnTo>
                  <a:cubicBezTo>
                    <a:pt x="813030" y="163163"/>
                    <a:pt x="835890" y="151638"/>
                    <a:pt x="851130" y="131636"/>
                  </a:cubicBezTo>
                  <a:cubicBezTo>
                    <a:pt x="872276" y="103727"/>
                    <a:pt x="871895" y="63437"/>
                    <a:pt x="850273" y="35814"/>
                  </a:cubicBezTo>
                  <a:cubicBezTo>
                    <a:pt x="835033" y="16383"/>
                    <a:pt x="812363" y="5334"/>
                    <a:pt x="787884" y="5334"/>
                  </a:cubicBezTo>
                  <a:cubicBezTo>
                    <a:pt x="766834" y="5334"/>
                    <a:pt x="747022" y="13526"/>
                    <a:pt x="732068" y="28480"/>
                  </a:cubicBezTo>
                  <a:cubicBezTo>
                    <a:pt x="716637" y="43910"/>
                    <a:pt x="708446" y="64294"/>
                    <a:pt x="709017" y="86011"/>
                  </a:cubicBezTo>
                  <a:lnTo>
                    <a:pt x="709112" y="87821"/>
                  </a:lnTo>
                  <a:cubicBezTo>
                    <a:pt x="709112" y="88106"/>
                    <a:pt x="709208" y="88868"/>
                    <a:pt x="709208" y="89440"/>
                  </a:cubicBezTo>
                  <a:cubicBezTo>
                    <a:pt x="709017" y="98203"/>
                    <a:pt x="706731" y="99917"/>
                    <a:pt x="703493" y="100203"/>
                  </a:cubicBezTo>
                  <a:lnTo>
                    <a:pt x="620054" y="16955"/>
                  </a:lnTo>
                  <a:cubicBezTo>
                    <a:pt x="609100" y="6001"/>
                    <a:pt x="594622" y="0"/>
                    <a:pt x="579096" y="0"/>
                  </a:cubicBezTo>
                  <a:cubicBezTo>
                    <a:pt x="563666" y="0"/>
                    <a:pt x="549092" y="6001"/>
                    <a:pt x="538139" y="16955"/>
                  </a:cubicBezTo>
                  <a:lnTo>
                    <a:pt x="444698" y="110395"/>
                  </a:lnTo>
                  <a:lnTo>
                    <a:pt x="443841" y="117443"/>
                  </a:lnTo>
                  <a:cubicBezTo>
                    <a:pt x="441174" y="138875"/>
                    <a:pt x="448318" y="152114"/>
                    <a:pt x="454795" y="159449"/>
                  </a:cubicBezTo>
                  <a:cubicBezTo>
                    <a:pt x="467558" y="173927"/>
                    <a:pt x="486227" y="176117"/>
                    <a:pt x="496229" y="176117"/>
                  </a:cubicBezTo>
                  <a:lnTo>
                    <a:pt x="500324" y="175927"/>
                  </a:lnTo>
                  <a:cubicBezTo>
                    <a:pt x="512421" y="175927"/>
                    <a:pt x="523470" y="181451"/>
                    <a:pt x="530709" y="191072"/>
                  </a:cubicBezTo>
                  <a:cubicBezTo>
                    <a:pt x="540520" y="204026"/>
                    <a:pt x="540329" y="223456"/>
                    <a:pt x="530328" y="236315"/>
                  </a:cubicBezTo>
                  <a:cubicBezTo>
                    <a:pt x="523089" y="245555"/>
                    <a:pt x="512231" y="250889"/>
                    <a:pt x="500610" y="250889"/>
                  </a:cubicBezTo>
                  <a:cubicBezTo>
                    <a:pt x="490609" y="250889"/>
                    <a:pt x="481179" y="246983"/>
                    <a:pt x="474131" y="239935"/>
                  </a:cubicBezTo>
                  <a:cubicBezTo>
                    <a:pt x="466987" y="232791"/>
                    <a:pt x="463082" y="223266"/>
                    <a:pt x="463177" y="213169"/>
                  </a:cubicBezTo>
                  <a:cubicBezTo>
                    <a:pt x="463272" y="212122"/>
                    <a:pt x="463367" y="210217"/>
                    <a:pt x="463367" y="207455"/>
                  </a:cubicBezTo>
                  <a:cubicBezTo>
                    <a:pt x="462701" y="176213"/>
                    <a:pt x="443270" y="156019"/>
                    <a:pt x="413837" y="156019"/>
                  </a:cubicBezTo>
                  <a:cubicBezTo>
                    <a:pt x="410980" y="156019"/>
                    <a:pt x="408027" y="156210"/>
                    <a:pt x="404789" y="156591"/>
                  </a:cubicBezTo>
                  <a:lnTo>
                    <a:pt x="397740" y="157448"/>
                  </a:lnTo>
                  <a:lnTo>
                    <a:pt x="263247" y="291941"/>
                  </a:lnTo>
                  <a:lnTo>
                    <a:pt x="264676" y="293370"/>
                  </a:lnTo>
                  <a:lnTo>
                    <a:pt x="168759" y="389192"/>
                  </a:lnTo>
                  <a:cubicBezTo>
                    <a:pt x="165616" y="388811"/>
                    <a:pt x="162663" y="386715"/>
                    <a:pt x="162568" y="376714"/>
                  </a:cubicBezTo>
                  <a:cubicBezTo>
                    <a:pt x="164092" y="347377"/>
                    <a:pt x="149138" y="319659"/>
                    <a:pt x="123325" y="304324"/>
                  </a:cubicBezTo>
                  <a:cubicBezTo>
                    <a:pt x="98941" y="289846"/>
                    <a:pt x="66080" y="290322"/>
                    <a:pt x="42077" y="305562"/>
                  </a:cubicBezTo>
                  <a:cubicBezTo>
                    <a:pt x="21312" y="318707"/>
                    <a:pt x="7882" y="340043"/>
                    <a:pt x="5310" y="364046"/>
                  </a:cubicBezTo>
                  <a:cubicBezTo>
                    <a:pt x="2643" y="387953"/>
                    <a:pt x="10930" y="411480"/>
                    <a:pt x="27980" y="428530"/>
                  </a:cubicBezTo>
                  <a:cubicBezTo>
                    <a:pt x="44077" y="444627"/>
                    <a:pt x="65889" y="452914"/>
                    <a:pt x="88749" y="451485"/>
                  </a:cubicBezTo>
                  <a:cubicBezTo>
                    <a:pt x="89035" y="451485"/>
                    <a:pt x="89225" y="451485"/>
                    <a:pt x="89511" y="451485"/>
                  </a:cubicBezTo>
                  <a:cubicBezTo>
                    <a:pt x="94559" y="451771"/>
                    <a:pt x="97988" y="453295"/>
                    <a:pt x="99131" y="454533"/>
                  </a:cubicBezTo>
                  <a:cubicBezTo>
                    <a:pt x="99608" y="455105"/>
                    <a:pt x="99989" y="456152"/>
                    <a:pt x="100179" y="457772"/>
                  </a:cubicBezTo>
                  <a:lnTo>
                    <a:pt x="16931" y="541020"/>
                  </a:lnTo>
                  <a:cubicBezTo>
                    <a:pt x="-5644" y="563594"/>
                    <a:pt x="-5644" y="600361"/>
                    <a:pt x="16931" y="622935"/>
                  </a:cubicBezTo>
                  <a:lnTo>
                    <a:pt x="110466" y="716471"/>
                  </a:lnTo>
                  <a:lnTo>
                    <a:pt x="117515" y="717328"/>
                  </a:lnTo>
                  <a:cubicBezTo>
                    <a:pt x="120753" y="717709"/>
                    <a:pt x="123706" y="717899"/>
                    <a:pt x="126563" y="717899"/>
                  </a:cubicBezTo>
                  <a:cubicBezTo>
                    <a:pt x="155996" y="717899"/>
                    <a:pt x="175522" y="697706"/>
                    <a:pt x="176093" y="665702"/>
                  </a:cubicBezTo>
                  <a:cubicBezTo>
                    <a:pt x="176093" y="663416"/>
                    <a:pt x="175903" y="661702"/>
                    <a:pt x="175903" y="660654"/>
                  </a:cubicBezTo>
                  <a:cubicBezTo>
                    <a:pt x="175808" y="650558"/>
                    <a:pt x="179713" y="641033"/>
                    <a:pt x="186857" y="633889"/>
                  </a:cubicBezTo>
                  <a:cubicBezTo>
                    <a:pt x="193905" y="626840"/>
                    <a:pt x="203335" y="622935"/>
                    <a:pt x="213336" y="622935"/>
                  </a:cubicBezTo>
                  <a:cubicBezTo>
                    <a:pt x="224957" y="622935"/>
                    <a:pt x="235815" y="628269"/>
                    <a:pt x="243054" y="637508"/>
                  </a:cubicBezTo>
                  <a:cubicBezTo>
                    <a:pt x="253055" y="650367"/>
                    <a:pt x="253246" y="669798"/>
                    <a:pt x="243435" y="682752"/>
                  </a:cubicBezTo>
                  <a:cubicBezTo>
                    <a:pt x="236196" y="692277"/>
                    <a:pt x="225338" y="697802"/>
                    <a:pt x="212860" y="697897"/>
                  </a:cubicBezTo>
                  <a:lnTo>
                    <a:pt x="208859" y="697706"/>
                  </a:lnTo>
                  <a:cubicBezTo>
                    <a:pt x="198858" y="697706"/>
                    <a:pt x="180189" y="699897"/>
                    <a:pt x="167426" y="714375"/>
                  </a:cubicBezTo>
                  <a:cubicBezTo>
                    <a:pt x="160949" y="721709"/>
                    <a:pt x="153805" y="734949"/>
                    <a:pt x="156472" y="756380"/>
                  </a:cubicBezTo>
                  <a:lnTo>
                    <a:pt x="157329" y="763429"/>
                  </a:lnTo>
                  <a:lnTo>
                    <a:pt x="291727" y="897827"/>
                  </a:lnTo>
                  <a:lnTo>
                    <a:pt x="292584" y="896969"/>
                  </a:lnTo>
                  <a:lnTo>
                    <a:pt x="387548" y="991934"/>
                  </a:lnTo>
                  <a:cubicBezTo>
                    <a:pt x="387358" y="993553"/>
                    <a:pt x="386882" y="994601"/>
                    <a:pt x="386405" y="995172"/>
                  </a:cubicBezTo>
                  <a:cubicBezTo>
                    <a:pt x="385167" y="996601"/>
                    <a:pt x="380976" y="998125"/>
                    <a:pt x="375071" y="998220"/>
                  </a:cubicBezTo>
                  <a:cubicBezTo>
                    <a:pt x="345638" y="996601"/>
                    <a:pt x="318016" y="1011555"/>
                    <a:pt x="302681" y="1037463"/>
                  </a:cubicBezTo>
                  <a:cubicBezTo>
                    <a:pt x="287917" y="1062323"/>
                    <a:pt x="288393" y="1094232"/>
                    <a:pt x="303919" y="1118711"/>
                  </a:cubicBezTo>
                  <a:cubicBezTo>
                    <a:pt x="318778" y="1142048"/>
                    <a:pt x="343829" y="1155954"/>
                    <a:pt x="371070" y="1155954"/>
                  </a:cubicBezTo>
                  <a:cubicBezTo>
                    <a:pt x="392120" y="1155954"/>
                    <a:pt x="411932" y="1147763"/>
                    <a:pt x="426887" y="1132808"/>
                  </a:cubicBezTo>
                  <a:cubicBezTo>
                    <a:pt x="442889" y="1116806"/>
                    <a:pt x="451271" y="1094613"/>
                    <a:pt x="449842" y="1072039"/>
                  </a:cubicBezTo>
                  <a:cubicBezTo>
                    <a:pt x="449842" y="1071753"/>
                    <a:pt x="449842" y="1071467"/>
                    <a:pt x="449842" y="1071277"/>
                  </a:cubicBezTo>
                  <a:cubicBezTo>
                    <a:pt x="450318" y="1062704"/>
                    <a:pt x="452890" y="1060895"/>
                    <a:pt x="456033" y="1060609"/>
                  </a:cubicBezTo>
                  <a:lnTo>
                    <a:pt x="539377" y="1143953"/>
                  </a:lnTo>
                  <a:cubicBezTo>
                    <a:pt x="550331" y="1154906"/>
                    <a:pt x="564904" y="1160907"/>
                    <a:pt x="580334" y="1160907"/>
                  </a:cubicBezTo>
                  <a:cubicBezTo>
                    <a:pt x="595765" y="1160907"/>
                    <a:pt x="610338" y="1154906"/>
                    <a:pt x="621292" y="1143953"/>
                  </a:cubicBezTo>
                  <a:lnTo>
                    <a:pt x="714827" y="1050417"/>
                  </a:lnTo>
                  <a:lnTo>
                    <a:pt x="715685" y="1043369"/>
                  </a:lnTo>
                  <a:cubicBezTo>
                    <a:pt x="718352" y="1022223"/>
                    <a:pt x="711303" y="1009079"/>
                    <a:pt x="705017" y="1001744"/>
                  </a:cubicBezTo>
                  <a:cubicBezTo>
                    <a:pt x="695873" y="991172"/>
                    <a:pt x="681585" y="985076"/>
                    <a:pt x="663964" y="984790"/>
                  </a:cubicBezTo>
                  <a:cubicBezTo>
                    <a:pt x="660344" y="984885"/>
                    <a:pt x="658154" y="985076"/>
                    <a:pt x="658725" y="984980"/>
                  </a:cubicBezTo>
                  <a:cubicBezTo>
                    <a:pt x="648724" y="984980"/>
                    <a:pt x="639294" y="981075"/>
                    <a:pt x="632246" y="974027"/>
                  </a:cubicBezTo>
                  <a:cubicBezTo>
                    <a:pt x="624626" y="966407"/>
                    <a:pt x="620720" y="955929"/>
                    <a:pt x="621387" y="945261"/>
                  </a:cubicBezTo>
                  <a:cubicBezTo>
                    <a:pt x="622054" y="934403"/>
                    <a:pt x="627197" y="924687"/>
                    <a:pt x="635865" y="917829"/>
                  </a:cubicBezTo>
                  <a:cubicBezTo>
                    <a:pt x="648343" y="908018"/>
                    <a:pt x="668536" y="907828"/>
                    <a:pt x="681109" y="917448"/>
                  </a:cubicBezTo>
                  <a:cubicBezTo>
                    <a:pt x="690729" y="924782"/>
                    <a:pt x="696254" y="935831"/>
                    <a:pt x="696254" y="947833"/>
                  </a:cubicBezTo>
                  <a:cubicBezTo>
                    <a:pt x="696158" y="948595"/>
                    <a:pt x="696158" y="949833"/>
                    <a:pt x="696063" y="951643"/>
                  </a:cubicBezTo>
                  <a:cubicBezTo>
                    <a:pt x="695968" y="960977"/>
                    <a:pt x="697873" y="978599"/>
                    <a:pt x="710636" y="991553"/>
                  </a:cubicBezTo>
                  <a:cubicBezTo>
                    <a:pt x="717685" y="998696"/>
                    <a:pt x="731115" y="1007364"/>
                    <a:pt x="754642" y="1004411"/>
                  </a:cubicBezTo>
                  <a:lnTo>
                    <a:pt x="761690" y="1003554"/>
                  </a:lnTo>
                  <a:lnTo>
                    <a:pt x="896088" y="869156"/>
                  </a:lnTo>
                  <a:lnTo>
                    <a:pt x="894659" y="867728"/>
                  </a:lnTo>
                  <a:lnTo>
                    <a:pt x="990005" y="772382"/>
                  </a:lnTo>
                  <a:cubicBezTo>
                    <a:pt x="993148" y="772763"/>
                    <a:pt x="995720" y="774478"/>
                    <a:pt x="996196" y="783050"/>
                  </a:cubicBezTo>
                  <a:cubicBezTo>
                    <a:pt x="996196" y="783336"/>
                    <a:pt x="996196" y="783622"/>
                    <a:pt x="996196" y="783812"/>
                  </a:cubicBezTo>
                  <a:cubicBezTo>
                    <a:pt x="994767" y="806387"/>
                    <a:pt x="1003054" y="828580"/>
                    <a:pt x="1019151" y="844582"/>
                  </a:cubicBezTo>
                  <a:cubicBezTo>
                    <a:pt x="1034010" y="859441"/>
                    <a:pt x="1053822" y="867728"/>
                    <a:pt x="1074968" y="867728"/>
                  </a:cubicBezTo>
                  <a:cubicBezTo>
                    <a:pt x="1102209" y="867728"/>
                    <a:pt x="1127355" y="853821"/>
                    <a:pt x="1142119" y="830390"/>
                  </a:cubicBezTo>
                  <a:cubicBezTo>
                    <a:pt x="1157645" y="805910"/>
                    <a:pt x="1158121" y="774097"/>
                    <a:pt x="1143357" y="749141"/>
                  </a:cubicBezTo>
                  <a:cubicBezTo>
                    <a:pt x="1129165" y="724472"/>
                    <a:pt x="1103638" y="709708"/>
                    <a:pt x="1075539" y="709708"/>
                  </a:cubicBezTo>
                  <a:close/>
                  <a:moveTo>
                    <a:pt x="416314" y="197453"/>
                  </a:moveTo>
                  <a:cubicBezTo>
                    <a:pt x="419552" y="197739"/>
                    <a:pt x="421838" y="199358"/>
                    <a:pt x="422029" y="207455"/>
                  </a:cubicBezTo>
                  <a:cubicBezTo>
                    <a:pt x="422029" y="209074"/>
                    <a:pt x="421934" y="210217"/>
                    <a:pt x="421934" y="210407"/>
                  </a:cubicBezTo>
                  <a:lnTo>
                    <a:pt x="421838" y="211836"/>
                  </a:lnTo>
                  <a:cubicBezTo>
                    <a:pt x="421362" y="233553"/>
                    <a:pt x="429554" y="253937"/>
                    <a:pt x="444889" y="269272"/>
                  </a:cubicBezTo>
                  <a:cubicBezTo>
                    <a:pt x="459748" y="284131"/>
                    <a:pt x="479560" y="292418"/>
                    <a:pt x="500705" y="292418"/>
                  </a:cubicBezTo>
                  <a:cubicBezTo>
                    <a:pt x="525185" y="292418"/>
                    <a:pt x="547854" y="281273"/>
                    <a:pt x="562999" y="261938"/>
                  </a:cubicBezTo>
                  <a:cubicBezTo>
                    <a:pt x="584621" y="234315"/>
                    <a:pt x="584906" y="194024"/>
                    <a:pt x="563761" y="166116"/>
                  </a:cubicBezTo>
                  <a:cubicBezTo>
                    <a:pt x="548616" y="146114"/>
                    <a:pt x="525470" y="134588"/>
                    <a:pt x="499277" y="134588"/>
                  </a:cubicBezTo>
                  <a:lnTo>
                    <a:pt x="499277" y="134588"/>
                  </a:lnTo>
                  <a:lnTo>
                    <a:pt x="496229" y="134779"/>
                  </a:lnTo>
                  <a:cubicBezTo>
                    <a:pt x="490990" y="134779"/>
                    <a:pt x="486989" y="133445"/>
                    <a:pt x="485846" y="132112"/>
                  </a:cubicBezTo>
                  <a:cubicBezTo>
                    <a:pt x="485465" y="131636"/>
                    <a:pt x="484989" y="130588"/>
                    <a:pt x="484799" y="128969"/>
                  </a:cubicBezTo>
                  <a:lnTo>
                    <a:pt x="567476" y="46292"/>
                  </a:lnTo>
                  <a:cubicBezTo>
                    <a:pt x="573667" y="40100"/>
                    <a:pt x="584525" y="40100"/>
                    <a:pt x="590812" y="46292"/>
                  </a:cubicBezTo>
                  <a:lnTo>
                    <a:pt x="684919" y="140399"/>
                  </a:lnTo>
                  <a:lnTo>
                    <a:pt x="691967" y="141256"/>
                  </a:lnTo>
                  <a:cubicBezTo>
                    <a:pt x="695206" y="141637"/>
                    <a:pt x="698254" y="141827"/>
                    <a:pt x="701111" y="141827"/>
                  </a:cubicBezTo>
                  <a:cubicBezTo>
                    <a:pt x="730544" y="141827"/>
                    <a:pt x="749975" y="121634"/>
                    <a:pt x="750641" y="89916"/>
                  </a:cubicBezTo>
                  <a:cubicBezTo>
                    <a:pt x="750641" y="87440"/>
                    <a:pt x="750546" y="85534"/>
                    <a:pt x="750451" y="84296"/>
                  </a:cubicBezTo>
                  <a:cubicBezTo>
                    <a:pt x="750356" y="74295"/>
                    <a:pt x="754261" y="64961"/>
                    <a:pt x="761405" y="57817"/>
                  </a:cubicBezTo>
                  <a:cubicBezTo>
                    <a:pt x="768453" y="50768"/>
                    <a:pt x="777883" y="46863"/>
                    <a:pt x="787884" y="46863"/>
                  </a:cubicBezTo>
                  <a:cubicBezTo>
                    <a:pt x="799505" y="46863"/>
                    <a:pt x="810363" y="52197"/>
                    <a:pt x="817697" y="61532"/>
                  </a:cubicBezTo>
                  <a:cubicBezTo>
                    <a:pt x="827794" y="74390"/>
                    <a:pt x="827984" y="93821"/>
                    <a:pt x="818174" y="106775"/>
                  </a:cubicBezTo>
                  <a:cubicBezTo>
                    <a:pt x="810935" y="116300"/>
                    <a:pt x="800267" y="121825"/>
                    <a:pt x="787789" y="121920"/>
                  </a:cubicBezTo>
                  <a:cubicBezTo>
                    <a:pt x="781693" y="121444"/>
                    <a:pt x="757499" y="120968"/>
                    <a:pt x="742069" y="138398"/>
                  </a:cubicBezTo>
                  <a:cubicBezTo>
                    <a:pt x="735592" y="145733"/>
                    <a:pt x="728448" y="158972"/>
                    <a:pt x="731115" y="180404"/>
                  </a:cubicBezTo>
                  <a:lnTo>
                    <a:pt x="731972" y="187452"/>
                  </a:lnTo>
                  <a:lnTo>
                    <a:pt x="837700" y="293180"/>
                  </a:lnTo>
                  <a:lnTo>
                    <a:pt x="796838" y="334042"/>
                  </a:lnTo>
                  <a:lnTo>
                    <a:pt x="743307" y="387572"/>
                  </a:lnTo>
                  <a:cubicBezTo>
                    <a:pt x="742069" y="387382"/>
                    <a:pt x="740735" y="387096"/>
                    <a:pt x="740069" y="386429"/>
                  </a:cubicBezTo>
                  <a:cubicBezTo>
                    <a:pt x="738830" y="385096"/>
                    <a:pt x="737497" y="381191"/>
                    <a:pt x="737592" y="376523"/>
                  </a:cubicBezTo>
                  <a:lnTo>
                    <a:pt x="737783" y="373094"/>
                  </a:lnTo>
                  <a:cubicBezTo>
                    <a:pt x="738068" y="351377"/>
                    <a:pt x="729877" y="331089"/>
                    <a:pt x="714637" y="315849"/>
                  </a:cubicBezTo>
                  <a:cubicBezTo>
                    <a:pt x="699778" y="300990"/>
                    <a:pt x="679871" y="292703"/>
                    <a:pt x="658820" y="292703"/>
                  </a:cubicBezTo>
                  <a:cubicBezTo>
                    <a:pt x="641104" y="292703"/>
                    <a:pt x="624340" y="298609"/>
                    <a:pt x="610719" y="309182"/>
                  </a:cubicBezTo>
                  <a:cubicBezTo>
                    <a:pt x="610529" y="309372"/>
                    <a:pt x="610338" y="309372"/>
                    <a:pt x="610148" y="309563"/>
                  </a:cubicBezTo>
                  <a:cubicBezTo>
                    <a:pt x="608433" y="310896"/>
                    <a:pt x="606814" y="312325"/>
                    <a:pt x="605290" y="313849"/>
                  </a:cubicBezTo>
                  <a:cubicBezTo>
                    <a:pt x="604909" y="314230"/>
                    <a:pt x="604433" y="314611"/>
                    <a:pt x="603956" y="314992"/>
                  </a:cubicBezTo>
                  <a:cubicBezTo>
                    <a:pt x="601670" y="317183"/>
                    <a:pt x="599480" y="319564"/>
                    <a:pt x="597479" y="322040"/>
                  </a:cubicBezTo>
                  <a:cubicBezTo>
                    <a:pt x="597003" y="322612"/>
                    <a:pt x="596622" y="323279"/>
                    <a:pt x="596146" y="323850"/>
                  </a:cubicBezTo>
                  <a:cubicBezTo>
                    <a:pt x="594717" y="325755"/>
                    <a:pt x="593288" y="327660"/>
                    <a:pt x="592050" y="329660"/>
                  </a:cubicBezTo>
                  <a:cubicBezTo>
                    <a:pt x="591764" y="330137"/>
                    <a:pt x="591479" y="330518"/>
                    <a:pt x="591193" y="330899"/>
                  </a:cubicBezTo>
                  <a:cubicBezTo>
                    <a:pt x="590812" y="331565"/>
                    <a:pt x="590526" y="332232"/>
                    <a:pt x="590145" y="332804"/>
                  </a:cubicBezTo>
                  <a:cubicBezTo>
                    <a:pt x="589193" y="334518"/>
                    <a:pt x="588240" y="336233"/>
                    <a:pt x="587383" y="338042"/>
                  </a:cubicBezTo>
                  <a:cubicBezTo>
                    <a:pt x="586811" y="339281"/>
                    <a:pt x="586240" y="340424"/>
                    <a:pt x="585668" y="341662"/>
                  </a:cubicBezTo>
                  <a:cubicBezTo>
                    <a:pt x="584716" y="344043"/>
                    <a:pt x="583763" y="346520"/>
                    <a:pt x="583097" y="348996"/>
                  </a:cubicBezTo>
                  <a:cubicBezTo>
                    <a:pt x="582906" y="349472"/>
                    <a:pt x="582716" y="349949"/>
                    <a:pt x="582620" y="350425"/>
                  </a:cubicBezTo>
                  <a:cubicBezTo>
                    <a:pt x="581668" y="353663"/>
                    <a:pt x="581001" y="356902"/>
                    <a:pt x="580525" y="360331"/>
                  </a:cubicBezTo>
                  <a:cubicBezTo>
                    <a:pt x="580525" y="360617"/>
                    <a:pt x="580430" y="360902"/>
                    <a:pt x="580430" y="361188"/>
                  </a:cubicBezTo>
                  <a:cubicBezTo>
                    <a:pt x="580144" y="363188"/>
                    <a:pt x="579858" y="365284"/>
                    <a:pt x="579763" y="367284"/>
                  </a:cubicBezTo>
                  <a:cubicBezTo>
                    <a:pt x="579668" y="368427"/>
                    <a:pt x="579763" y="369570"/>
                    <a:pt x="579763" y="370713"/>
                  </a:cubicBezTo>
                  <a:cubicBezTo>
                    <a:pt x="579763" y="370904"/>
                    <a:pt x="579763" y="371189"/>
                    <a:pt x="579763" y="371380"/>
                  </a:cubicBezTo>
                  <a:cubicBezTo>
                    <a:pt x="579572" y="392430"/>
                    <a:pt x="587764" y="412814"/>
                    <a:pt x="602718" y="427863"/>
                  </a:cubicBezTo>
                  <a:cubicBezTo>
                    <a:pt x="615196" y="440341"/>
                    <a:pt x="631103" y="447770"/>
                    <a:pt x="648248" y="449961"/>
                  </a:cubicBezTo>
                  <a:cubicBezTo>
                    <a:pt x="648343" y="449961"/>
                    <a:pt x="648438" y="449961"/>
                    <a:pt x="648533" y="449961"/>
                  </a:cubicBezTo>
                  <a:cubicBezTo>
                    <a:pt x="651772" y="450342"/>
                    <a:pt x="655010" y="450914"/>
                    <a:pt x="658249" y="450914"/>
                  </a:cubicBezTo>
                  <a:lnTo>
                    <a:pt x="661964" y="450818"/>
                  </a:lnTo>
                  <a:cubicBezTo>
                    <a:pt x="662249" y="450818"/>
                    <a:pt x="663011" y="450723"/>
                    <a:pt x="663583" y="450723"/>
                  </a:cubicBezTo>
                  <a:cubicBezTo>
                    <a:pt x="668536" y="450818"/>
                    <a:pt x="672251" y="452152"/>
                    <a:pt x="673298" y="453390"/>
                  </a:cubicBezTo>
                  <a:cubicBezTo>
                    <a:pt x="673680" y="453866"/>
                    <a:pt x="674156" y="454914"/>
                    <a:pt x="674346" y="456438"/>
                  </a:cubicBezTo>
                  <a:lnTo>
                    <a:pt x="620816" y="509969"/>
                  </a:lnTo>
                  <a:lnTo>
                    <a:pt x="580144" y="550640"/>
                  </a:lnTo>
                  <a:lnTo>
                    <a:pt x="474416" y="444913"/>
                  </a:lnTo>
                  <a:lnTo>
                    <a:pt x="467368" y="444056"/>
                  </a:lnTo>
                  <a:cubicBezTo>
                    <a:pt x="464129" y="443675"/>
                    <a:pt x="461081" y="443484"/>
                    <a:pt x="458319" y="443484"/>
                  </a:cubicBezTo>
                  <a:cubicBezTo>
                    <a:pt x="428696" y="443484"/>
                    <a:pt x="408599" y="464915"/>
                    <a:pt x="408313" y="497015"/>
                  </a:cubicBezTo>
                  <a:cubicBezTo>
                    <a:pt x="408313" y="498443"/>
                    <a:pt x="408408" y="499682"/>
                    <a:pt x="408408" y="499777"/>
                  </a:cubicBezTo>
                  <a:cubicBezTo>
                    <a:pt x="409170" y="513874"/>
                    <a:pt x="402026" y="526828"/>
                    <a:pt x="389453" y="534257"/>
                  </a:cubicBezTo>
                  <a:cubicBezTo>
                    <a:pt x="378214" y="540925"/>
                    <a:pt x="362593" y="540639"/>
                    <a:pt x="351544" y="533686"/>
                  </a:cubicBezTo>
                  <a:cubicBezTo>
                    <a:pt x="344781" y="529400"/>
                    <a:pt x="339923" y="523494"/>
                    <a:pt x="336875" y="516636"/>
                  </a:cubicBezTo>
                  <a:cubicBezTo>
                    <a:pt x="336399" y="515493"/>
                    <a:pt x="335828" y="514445"/>
                    <a:pt x="335447" y="513302"/>
                  </a:cubicBezTo>
                  <a:cubicBezTo>
                    <a:pt x="335256" y="512636"/>
                    <a:pt x="335161" y="511778"/>
                    <a:pt x="334970" y="511112"/>
                  </a:cubicBezTo>
                  <a:cubicBezTo>
                    <a:pt x="332875" y="502063"/>
                    <a:pt x="334018" y="492252"/>
                    <a:pt x="338685" y="484251"/>
                  </a:cubicBezTo>
                  <a:cubicBezTo>
                    <a:pt x="345829" y="472250"/>
                    <a:pt x="357545" y="465296"/>
                    <a:pt x="371737" y="465201"/>
                  </a:cubicBezTo>
                  <a:cubicBezTo>
                    <a:pt x="377833" y="465677"/>
                    <a:pt x="402026" y="466154"/>
                    <a:pt x="417457" y="448723"/>
                  </a:cubicBezTo>
                  <a:cubicBezTo>
                    <a:pt x="423172" y="442246"/>
                    <a:pt x="429363" y="431197"/>
                    <a:pt x="428887" y="413957"/>
                  </a:cubicBezTo>
                  <a:cubicBezTo>
                    <a:pt x="428887" y="411099"/>
                    <a:pt x="428792" y="408242"/>
                    <a:pt x="428411" y="405098"/>
                  </a:cubicBezTo>
                  <a:lnTo>
                    <a:pt x="427553" y="398050"/>
                  </a:lnTo>
                  <a:lnTo>
                    <a:pt x="321826" y="292227"/>
                  </a:lnTo>
                  <a:lnTo>
                    <a:pt x="416314" y="197453"/>
                  </a:lnTo>
                  <a:close/>
                  <a:moveTo>
                    <a:pt x="198572" y="741902"/>
                  </a:moveTo>
                  <a:cubicBezTo>
                    <a:pt x="199715" y="740569"/>
                    <a:pt x="203716" y="739235"/>
                    <a:pt x="208002" y="739235"/>
                  </a:cubicBezTo>
                  <a:lnTo>
                    <a:pt x="213050" y="739521"/>
                  </a:lnTo>
                  <a:cubicBezTo>
                    <a:pt x="238196" y="739521"/>
                    <a:pt x="261247" y="727996"/>
                    <a:pt x="276487" y="707993"/>
                  </a:cubicBezTo>
                  <a:cubicBezTo>
                    <a:pt x="297632" y="680085"/>
                    <a:pt x="297251" y="639794"/>
                    <a:pt x="275725" y="612172"/>
                  </a:cubicBezTo>
                  <a:cubicBezTo>
                    <a:pt x="260580" y="592836"/>
                    <a:pt x="237815" y="581692"/>
                    <a:pt x="213431" y="581692"/>
                  </a:cubicBezTo>
                  <a:cubicBezTo>
                    <a:pt x="192381" y="581692"/>
                    <a:pt x="172569" y="589883"/>
                    <a:pt x="157615" y="604838"/>
                  </a:cubicBezTo>
                  <a:cubicBezTo>
                    <a:pt x="142280" y="620173"/>
                    <a:pt x="134088" y="640556"/>
                    <a:pt x="134564" y="662273"/>
                  </a:cubicBezTo>
                  <a:lnTo>
                    <a:pt x="134660" y="663702"/>
                  </a:lnTo>
                  <a:cubicBezTo>
                    <a:pt x="134660" y="663988"/>
                    <a:pt x="134755" y="665036"/>
                    <a:pt x="134755" y="665798"/>
                  </a:cubicBezTo>
                  <a:cubicBezTo>
                    <a:pt x="134564" y="674561"/>
                    <a:pt x="132278" y="676275"/>
                    <a:pt x="129040" y="676561"/>
                  </a:cubicBezTo>
                  <a:lnTo>
                    <a:pt x="46268" y="593789"/>
                  </a:lnTo>
                  <a:cubicBezTo>
                    <a:pt x="43124" y="590550"/>
                    <a:pt x="41410" y="586359"/>
                    <a:pt x="41410" y="581978"/>
                  </a:cubicBezTo>
                  <a:cubicBezTo>
                    <a:pt x="41410" y="577596"/>
                    <a:pt x="43124" y="573405"/>
                    <a:pt x="46268" y="570357"/>
                  </a:cubicBezTo>
                  <a:lnTo>
                    <a:pt x="140279" y="476250"/>
                  </a:lnTo>
                  <a:lnTo>
                    <a:pt x="141137" y="469201"/>
                  </a:lnTo>
                  <a:cubicBezTo>
                    <a:pt x="143804" y="448247"/>
                    <a:pt x="136850" y="435102"/>
                    <a:pt x="130659" y="427673"/>
                  </a:cubicBezTo>
                  <a:cubicBezTo>
                    <a:pt x="121515" y="416909"/>
                    <a:pt x="107132" y="410623"/>
                    <a:pt x="90083" y="410051"/>
                  </a:cubicBezTo>
                  <a:lnTo>
                    <a:pt x="89225" y="409956"/>
                  </a:lnTo>
                  <a:lnTo>
                    <a:pt x="86368" y="410147"/>
                  </a:lnTo>
                  <a:cubicBezTo>
                    <a:pt x="75414" y="411004"/>
                    <a:pt x="64937" y="407003"/>
                    <a:pt x="57221" y="399288"/>
                  </a:cubicBezTo>
                  <a:cubicBezTo>
                    <a:pt x="49125" y="391192"/>
                    <a:pt x="45220" y="380048"/>
                    <a:pt x="46458" y="368618"/>
                  </a:cubicBezTo>
                  <a:cubicBezTo>
                    <a:pt x="47696" y="356997"/>
                    <a:pt x="54078" y="347091"/>
                    <a:pt x="64270" y="340519"/>
                  </a:cubicBezTo>
                  <a:cubicBezTo>
                    <a:pt x="75319" y="333470"/>
                    <a:pt x="90940" y="333280"/>
                    <a:pt x="102179" y="339947"/>
                  </a:cubicBezTo>
                  <a:cubicBezTo>
                    <a:pt x="114752" y="347472"/>
                    <a:pt x="121896" y="360331"/>
                    <a:pt x="121229" y="373190"/>
                  </a:cubicBezTo>
                  <a:cubicBezTo>
                    <a:pt x="121134" y="374333"/>
                    <a:pt x="121039" y="375666"/>
                    <a:pt x="121039" y="377381"/>
                  </a:cubicBezTo>
                  <a:cubicBezTo>
                    <a:pt x="121420" y="409766"/>
                    <a:pt x="141041" y="430625"/>
                    <a:pt x="171140" y="430625"/>
                  </a:cubicBezTo>
                  <a:cubicBezTo>
                    <a:pt x="173998" y="430625"/>
                    <a:pt x="176951" y="430435"/>
                    <a:pt x="180189" y="430054"/>
                  </a:cubicBezTo>
                  <a:lnTo>
                    <a:pt x="187238" y="429197"/>
                  </a:lnTo>
                  <a:lnTo>
                    <a:pt x="292965" y="323469"/>
                  </a:lnTo>
                  <a:lnTo>
                    <a:pt x="387072" y="417576"/>
                  </a:lnTo>
                  <a:cubicBezTo>
                    <a:pt x="386882" y="418433"/>
                    <a:pt x="386596" y="419100"/>
                    <a:pt x="386310" y="419386"/>
                  </a:cubicBezTo>
                  <a:cubicBezTo>
                    <a:pt x="385262" y="420624"/>
                    <a:pt x="381833" y="422148"/>
                    <a:pt x="376690" y="422434"/>
                  </a:cubicBezTo>
                  <a:cubicBezTo>
                    <a:pt x="376404" y="422434"/>
                    <a:pt x="376214" y="422434"/>
                    <a:pt x="375928" y="422434"/>
                  </a:cubicBezTo>
                  <a:cubicBezTo>
                    <a:pt x="353258" y="420910"/>
                    <a:pt x="331256" y="429292"/>
                    <a:pt x="315158" y="445389"/>
                  </a:cubicBezTo>
                  <a:cubicBezTo>
                    <a:pt x="298109" y="462439"/>
                    <a:pt x="289917" y="485870"/>
                    <a:pt x="292489" y="509873"/>
                  </a:cubicBezTo>
                  <a:cubicBezTo>
                    <a:pt x="292965" y="513969"/>
                    <a:pt x="293822" y="517970"/>
                    <a:pt x="294870" y="521875"/>
                  </a:cubicBezTo>
                  <a:cubicBezTo>
                    <a:pt x="295251" y="523208"/>
                    <a:pt x="295632" y="524447"/>
                    <a:pt x="296013" y="525780"/>
                  </a:cubicBezTo>
                  <a:cubicBezTo>
                    <a:pt x="296394" y="526828"/>
                    <a:pt x="296775" y="527971"/>
                    <a:pt x="297156" y="529019"/>
                  </a:cubicBezTo>
                  <a:cubicBezTo>
                    <a:pt x="298966" y="533876"/>
                    <a:pt x="300966" y="538639"/>
                    <a:pt x="303728" y="543116"/>
                  </a:cubicBezTo>
                  <a:cubicBezTo>
                    <a:pt x="318492" y="567023"/>
                    <a:pt x="343733" y="581216"/>
                    <a:pt x="371356" y="581216"/>
                  </a:cubicBezTo>
                  <a:cubicBezTo>
                    <a:pt x="392406" y="581216"/>
                    <a:pt x="412218" y="573024"/>
                    <a:pt x="427172" y="558070"/>
                  </a:cubicBezTo>
                  <a:cubicBezTo>
                    <a:pt x="442412" y="542830"/>
                    <a:pt x="450604" y="522542"/>
                    <a:pt x="450318" y="500825"/>
                  </a:cubicBezTo>
                  <a:lnTo>
                    <a:pt x="450128" y="497776"/>
                  </a:lnTo>
                  <a:cubicBezTo>
                    <a:pt x="450032" y="492728"/>
                    <a:pt x="451366" y="488823"/>
                    <a:pt x="452604" y="487490"/>
                  </a:cubicBezTo>
                  <a:cubicBezTo>
                    <a:pt x="453271" y="486823"/>
                    <a:pt x="454604" y="486537"/>
                    <a:pt x="455843" y="486347"/>
                  </a:cubicBezTo>
                  <a:lnTo>
                    <a:pt x="549950" y="580454"/>
                  </a:lnTo>
                  <a:lnTo>
                    <a:pt x="549950" y="580454"/>
                  </a:lnTo>
                  <a:lnTo>
                    <a:pt x="550140" y="580644"/>
                  </a:lnTo>
                  <a:lnTo>
                    <a:pt x="444889" y="686276"/>
                  </a:lnTo>
                  <a:lnTo>
                    <a:pt x="444603" y="686562"/>
                  </a:lnTo>
                  <a:lnTo>
                    <a:pt x="443746" y="693611"/>
                  </a:lnTo>
                  <a:cubicBezTo>
                    <a:pt x="441079" y="715042"/>
                    <a:pt x="448223" y="728282"/>
                    <a:pt x="454700" y="735616"/>
                  </a:cubicBezTo>
                  <a:cubicBezTo>
                    <a:pt x="467463" y="750094"/>
                    <a:pt x="485846" y="752189"/>
                    <a:pt x="495752" y="752189"/>
                  </a:cubicBezTo>
                  <a:cubicBezTo>
                    <a:pt x="499467" y="752189"/>
                    <a:pt x="501753" y="751904"/>
                    <a:pt x="500896" y="751999"/>
                  </a:cubicBezTo>
                  <a:cubicBezTo>
                    <a:pt x="512612" y="751999"/>
                    <a:pt x="523565" y="757523"/>
                    <a:pt x="530900" y="767144"/>
                  </a:cubicBezTo>
                  <a:cubicBezTo>
                    <a:pt x="539091" y="778002"/>
                    <a:pt x="540234" y="793337"/>
                    <a:pt x="534519" y="805529"/>
                  </a:cubicBezTo>
                  <a:cubicBezTo>
                    <a:pt x="534138" y="806387"/>
                    <a:pt x="533757" y="807244"/>
                    <a:pt x="533281" y="808006"/>
                  </a:cubicBezTo>
                  <a:cubicBezTo>
                    <a:pt x="532709" y="809054"/>
                    <a:pt x="532043" y="810006"/>
                    <a:pt x="531376" y="810959"/>
                  </a:cubicBezTo>
                  <a:cubicBezTo>
                    <a:pt x="530614" y="812006"/>
                    <a:pt x="529757" y="813054"/>
                    <a:pt x="528804" y="814007"/>
                  </a:cubicBezTo>
                  <a:cubicBezTo>
                    <a:pt x="527756" y="815150"/>
                    <a:pt x="526709" y="816293"/>
                    <a:pt x="525566" y="817245"/>
                  </a:cubicBezTo>
                  <a:cubicBezTo>
                    <a:pt x="524423" y="818293"/>
                    <a:pt x="523184" y="819150"/>
                    <a:pt x="521946" y="820103"/>
                  </a:cubicBezTo>
                  <a:cubicBezTo>
                    <a:pt x="520898" y="820865"/>
                    <a:pt x="519851" y="821531"/>
                    <a:pt x="518708" y="822103"/>
                  </a:cubicBezTo>
                  <a:cubicBezTo>
                    <a:pt x="516803" y="823151"/>
                    <a:pt x="514707" y="824008"/>
                    <a:pt x="512516" y="824770"/>
                  </a:cubicBezTo>
                  <a:cubicBezTo>
                    <a:pt x="511850" y="824960"/>
                    <a:pt x="511183" y="825341"/>
                    <a:pt x="510421" y="825532"/>
                  </a:cubicBezTo>
                  <a:cubicBezTo>
                    <a:pt x="501086" y="827913"/>
                    <a:pt x="490609" y="826865"/>
                    <a:pt x="482513" y="822008"/>
                  </a:cubicBezTo>
                  <a:cubicBezTo>
                    <a:pt x="470416" y="814864"/>
                    <a:pt x="463367" y="802577"/>
                    <a:pt x="463463" y="789051"/>
                  </a:cubicBezTo>
                  <a:cubicBezTo>
                    <a:pt x="463558" y="788003"/>
                    <a:pt x="463653" y="786384"/>
                    <a:pt x="463653" y="784288"/>
                  </a:cubicBezTo>
                  <a:cubicBezTo>
                    <a:pt x="463653" y="752856"/>
                    <a:pt x="443746" y="731711"/>
                    <a:pt x="414123" y="731711"/>
                  </a:cubicBezTo>
                  <a:cubicBezTo>
                    <a:pt x="411266" y="731711"/>
                    <a:pt x="408313" y="731901"/>
                    <a:pt x="405074" y="732282"/>
                  </a:cubicBezTo>
                  <a:lnTo>
                    <a:pt x="398026" y="733139"/>
                  </a:lnTo>
                  <a:lnTo>
                    <a:pt x="291822" y="839343"/>
                  </a:lnTo>
                  <a:lnTo>
                    <a:pt x="197429" y="744950"/>
                  </a:lnTo>
                  <a:cubicBezTo>
                    <a:pt x="197715" y="743331"/>
                    <a:pt x="198096" y="742379"/>
                    <a:pt x="198572" y="741902"/>
                  </a:cubicBezTo>
                  <a:close/>
                  <a:moveTo>
                    <a:pt x="743498" y="963263"/>
                  </a:moveTo>
                  <a:cubicBezTo>
                    <a:pt x="742259" y="963073"/>
                    <a:pt x="740926" y="962787"/>
                    <a:pt x="740259" y="962120"/>
                  </a:cubicBezTo>
                  <a:cubicBezTo>
                    <a:pt x="738926" y="960787"/>
                    <a:pt x="737687" y="956786"/>
                    <a:pt x="737687" y="952690"/>
                  </a:cubicBezTo>
                  <a:lnTo>
                    <a:pt x="737878" y="948785"/>
                  </a:lnTo>
                  <a:cubicBezTo>
                    <a:pt x="738259" y="923163"/>
                    <a:pt x="726734" y="899636"/>
                    <a:pt x="706350" y="884206"/>
                  </a:cubicBezTo>
                  <a:cubicBezTo>
                    <a:pt x="679204" y="863632"/>
                    <a:pt x="637389" y="864013"/>
                    <a:pt x="610529" y="884968"/>
                  </a:cubicBezTo>
                  <a:cubicBezTo>
                    <a:pt x="592622" y="898970"/>
                    <a:pt x="581573" y="919925"/>
                    <a:pt x="580144" y="942499"/>
                  </a:cubicBezTo>
                  <a:cubicBezTo>
                    <a:pt x="578810" y="965073"/>
                    <a:pt x="587192" y="987171"/>
                    <a:pt x="603099" y="1003078"/>
                  </a:cubicBezTo>
                  <a:cubicBezTo>
                    <a:pt x="617958" y="1017937"/>
                    <a:pt x="637770" y="1026128"/>
                    <a:pt x="658916" y="1026128"/>
                  </a:cubicBezTo>
                  <a:lnTo>
                    <a:pt x="661964" y="1026033"/>
                  </a:lnTo>
                  <a:cubicBezTo>
                    <a:pt x="662154" y="1026033"/>
                    <a:pt x="663297" y="1025938"/>
                    <a:pt x="664155" y="1025938"/>
                  </a:cubicBezTo>
                  <a:cubicBezTo>
                    <a:pt x="669107" y="1026033"/>
                    <a:pt x="672822" y="1027367"/>
                    <a:pt x="673870" y="1028605"/>
                  </a:cubicBezTo>
                  <a:cubicBezTo>
                    <a:pt x="674251" y="1029081"/>
                    <a:pt x="674727" y="1030129"/>
                    <a:pt x="674918" y="1031748"/>
                  </a:cubicBezTo>
                  <a:lnTo>
                    <a:pt x="592145" y="1114520"/>
                  </a:lnTo>
                  <a:cubicBezTo>
                    <a:pt x="585954" y="1120712"/>
                    <a:pt x="575096" y="1120712"/>
                    <a:pt x="568809" y="1114520"/>
                  </a:cubicBezTo>
                  <a:lnTo>
                    <a:pt x="474702" y="1020413"/>
                  </a:lnTo>
                  <a:lnTo>
                    <a:pt x="467654" y="1019556"/>
                  </a:lnTo>
                  <a:cubicBezTo>
                    <a:pt x="464415" y="1019175"/>
                    <a:pt x="461462" y="1018985"/>
                    <a:pt x="458605" y="1018985"/>
                  </a:cubicBezTo>
                  <a:cubicBezTo>
                    <a:pt x="429268" y="1018985"/>
                    <a:pt x="409646" y="1039273"/>
                    <a:pt x="408503" y="1070610"/>
                  </a:cubicBezTo>
                  <a:lnTo>
                    <a:pt x="408408" y="1071372"/>
                  </a:lnTo>
                  <a:lnTo>
                    <a:pt x="408599" y="1074230"/>
                  </a:lnTo>
                  <a:cubicBezTo>
                    <a:pt x="409361" y="1085088"/>
                    <a:pt x="405455" y="1095661"/>
                    <a:pt x="397740" y="1103376"/>
                  </a:cubicBezTo>
                  <a:cubicBezTo>
                    <a:pt x="390692" y="1110425"/>
                    <a:pt x="381262" y="1114330"/>
                    <a:pt x="371261" y="1114330"/>
                  </a:cubicBezTo>
                  <a:cubicBezTo>
                    <a:pt x="358116" y="1114330"/>
                    <a:pt x="346400" y="1107758"/>
                    <a:pt x="339066" y="1096232"/>
                  </a:cubicBezTo>
                  <a:cubicBezTo>
                    <a:pt x="331922" y="1084993"/>
                    <a:pt x="331637" y="1069753"/>
                    <a:pt x="338495" y="1058323"/>
                  </a:cubicBezTo>
                  <a:cubicBezTo>
                    <a:pt x="345543" y="1046417"/>
                    <a:pt x="357735" y="1039368"/>
                    <a:pt x="371070" y="1039368"/>
                  </a:cubicBezTo>
                  <a:lnTo>
                    <a:pt x="372118" y="1039368"/>
                  </a:lnTo>
                  <a:cubicBezTo>
                    <a:pt x="373166" y="1039463"/>
                    <a:pt x="374404" y="1039654"/>
                    <a:pt x="376023" y="1039559"/>
                  </a:cubicBezTo>
                  <a:cubicBezTo>
                    <a:pt x="386120" y="1039463"/>
                    <a:pt x="404979" y="1037082"/>
                    <a:pt x="417838" y="1022318"/>
                  </a:cubicBezTo>
                  <a:cubicBezTo>
                    <a:pt x="424315" y="1014889"/>
                    <a:pt x="431363" y="1001649"/>
                    <a:pt x="428696" y="980408"/>
                  </a:cubicBezTo>
                  <a:lnTo>
                    <a:pt x="427839" y="973360"/>
                  </a:lnTo>
                  <a:lnTo>
                    <a:pt x="322112" y="867632"/>
                  </a:lnTo>
                  <a:lnTo>
                    <a:pt x="354116" y="835628"/>
                  </a:lnTo>
                  <a:lnTo>
                    <a:pt x="416314" y="773430"/>
                  </a:lnTo>
                  <a:cubicBezTo>
                    <a:pt x="419552" y="773716"/>
                    <a:pt x="421838" y="775335"/>
                    <a:pt x="422029" y="783812"/>
                  </a:cubicBezTo>
                  <a:cubicBezTo>
                    <a:pt x="422029" y="784860"/>
                    <a:pt x="422029" y="785622"/>
                    <a:pt x="422029" y="785622"/>
                  </a:cubicBezTo>
                  <a:lnTo>
                    <a:pt x="421838" y="787718"/>
                  </a:lnTo>
                  <a:cubicBezTo>
                    <a:pt x="421362" y="809435"/>
                    <a:pt x="429554" y="829818"/>
                    <a:pt x="444889" y="845249"/>
                  </a:cubicBezTo>
                  <a:cubicBezTo>
                    <a:pt x="454700" y="855059"/>
                    <a:pt x="466892" y="861727"/>
                    <a:pt x="479941" y="865251"/>
                  </a:cubicBezTo>
                  <a:cubicBezTo>
                    <a:pt x="480322" y="865346"/>
                    <a:pt x="480703" y="865442"/>
                    <a:pt x="480989" y="865537"/>
                  </a:cubicBezTo>
                  <a:cubicBezTo>
                    <a:pt x="484037" y="866299"/>
                    <a:pt x="487180" y="866870"/>
                    <a:pt x="490418" y="867347"/>
                  </a:cubicBezTo>
                  <a:cubicBezTo>
                    <a:pt x="491180" y="867442"/>
                    <a:pt x="491847" y="867442"/>
                    <a:pt x="492609" y="867537"/>
                  </a:cubicBezTo>
                  <a:cubicBezTo>
                    <a:pt x="495276" y="867823"/>
                    <a:pt x="497943" y="868299"/>
                    <a:pt x="500705" y="868299"/>
                  </a:cubicBezTo>
                  <a:cubicBezTo>
                    <a:pt x="511469" y="868299"/>
                    <a:pt x="521946" y="866013"/>
                    <a:pt x="531566" y="861917"/>
                  </a:cubicBezTo>
                  <a:cubicBezTo>
                    <a:pt x="532043" y="861727"/>
                    <a:pt x="532614" y="861536"/>
                    <a:pt x="533090" y="861251"/>
                  </a:cubicBezTo>
                  <a:cubicBezTo>
                    <a:pt x="535757" y="860012"/>
                    <a:pt x="538329" y="858679"/>
                    <a:pt x="540901" y="857250"/>
                  </a:cubicBezTo>
                  <a:cubicBezTo>
                    <a:pt x="541187" y="857060"/>
                    <a:pt x="541568" y="856964"/>
                    <a:pt x="541853" y="856774"/>
                  </a:cubicBezTo>
                  <a:cubicBezTo>
                    <a:pt x="541949" y="856679"/>
                    <a:pt x="542044" y="856679"/>
                    <a:pt x="542139" y="856583"/>
                  </a:cubicBezTo>
                  <a:cubicBezTo>
                    <a:pt x="544425" y="855155"/>
                    <a:pt x="546616" y="853631"/>
                    <a:pt x="548807" y="851916"/>
                  </a:cubicBezTo>
                  <a:cubicBezTo>
                    <a:pt x="548997" y="851726"/>
                    <a:pt x="549283" y="851630"/>
                    <a:pt x="549473" y="851440"/>
                  </a:cubicBezTo>
                  <a:cubicBezTo>
                    <a:pt x="551283" y="850011"/>
                    <a:pt x="552998" y="848392"/>
                    <a:pt x="554712" y="846868"/>
                  </a:cubicBezTo>
                  <a:cubicBezTo>
                    <a:pt x="555284" y="846296"/>
                    <a:pt x="555855" y="845820"/>
                    <a:pt x="556427" y="845344"/>
                  </a:cubicBezTo>
                  <a:cubicBezTo>
                    <a:pt x="557570" y="844201"/>
                    <a:pt x="558713" y="842963"/>
                    <a:pt x="559760" y="841724"/>
                  </a:cubicBezTo>
                  <a:cubicBezTo>
                    <a:pt x="560713" y="840677"/>
                    <a:pt x="561761" y="839629"/>
                    <a:pt x="562618" y="838486"/>
                  </a:cubicBezTo>
                  <a:cubicBezTo>
                    <a:pt x="562713" y="838295"/>
                    <a:pt x="562904" y="838200"/>
                    <a:pt x="563094" y="838010"/>
                  </a:cubicBezTo>
                  <a:cubicBezTo>
                    <a:pt x="563380" y="837629"/>
                    <a:pt x="563570" y="837248"/>
                    <a:pt x="563761" y="836962"/>
                  </a:cubicBezTo>
                  <a:cubicBezTo>
                    <a:pt x="566047" y="834009"/>
                    <a:pt x="568047" y="830961"/>
                    <a:pt x="569857" y="827723"/>
                  </a:cubicBezTo>
                  <a:cubicBezTo>
                    <a:pt x="570047" y="827437"/>
                    <a:pt x="570238" y="827056"/>
                    <a:pt x="570428" y="826770"/>
                  </a:cubicBezTo>
                  <a:cubicBezTo>
                    <a:pt x="575096" y="818102"/>
                    <a:pt x="578239" y="808577"/>
                    <a:pt x="579477" y="798576"/>
                  </a:cubicBezTo>
                  <a:cubicBezTo>
                    <a:pt x="582335" y="774478"/>
                    <a:pt x="574048" y="750761"/>
                    <a:pt x="556903" y="733615"/>
                  </a:cubicBezTo>
                  <a:cubicBezTo>
                    <a:pt x="555379" y="732092"/>
                    <a:pt x="553569" y="730949"/>
                    <a:pt x="551950" y="729615"/>
                  </a:cubicBezTo>
                  <a:cubicBezTo>
                    <a:pt x="551378" y="729139"/>
                    <a:pt x="550807" y="728663"/>
                    <a:pt x="550235" y="728186"/>
                  </a:cubicBezTo>
                  <a:cubicBezTo>
                    <a:pt x="546616" y="725234"/>
                    <a:pt x="542711" y="722662"/>
                    <a:pt x="538615" y="720471"/>
                  </a:cubicBezTo>
                  <a:cubicBezTo>
                    <a:pt x="537377" y="719804"/>
                    <a:pt x="536234" y="719138"/>
                    <a:pt x="534995" y="718566"/>
                  </a:cubicBezTo>
                  <a:cubicBezTo>
                    <a:pt x="532805" y="717518"/>
                    <a:pt x="530614" y="716566"/>
                    <a:pt x="528328" y="715709"/>
                  </a:cubicBezTo>
                  <a:cubicBezTo>
                    <a:pt x="525089" y="714565"/>
                    <a:pt x="521851" y="713613"/>
                    <a:pt x="518517" y="712851"/>
                  </a:cubicBezTo>
                  <a:cubicBezTo>
                    <a:pt x="516517" y="712375"/>
                    <a:pt x="514517" y="712089"/>
                    <a:pt x="512421" y="711803"/>
                  </a:cubicBezTo>
                  <a:cubicBezTo>
                    <a:pt x="510135" y="711422"/>
                    <a:pt x="507754" y="711232"/>
                    <a:pt x="505373" y="711137"/>
                  </a:cubicBezTo>
                  <a:cubicBezTo>
                    <a:pt x="503468" y="711041"/>
                    <a:pt x="501658" y="710660"/>
                    <a:pt x="499753" y="710660"/>
                  </a:cubicBezTo>
                  <a:cubicBezTo>
                    <a:pt x="499753" y="710660"/>
                    <a:pt x="499753" y="710660"/>
                    <a:pt x="499753" y="710660"/>
                  </a:cubicBezTo>
                  <a:lnTo>
                    <a:pt x="496419" y="710851"/>
                  </a:lnTo>
                  <a:cubicBezTo>
                    <a:pt x="491371" y="710851"/>
                    <a:pt x="487466" y="709517"/>
                    <a:pt x="486323" y="708279"/>
                  </a:cubicBezTo>
                  <a:cubicBezTo>
                    <a:pt x="485942" y="707803"/>
                    <a:pt x="485465" y="706755"/>
                    <a:pt x="485275" y="705231"/>
                  </a:cubicBezTo>
                  <a:lnTo>
                    <a:pt x="538805" y="651701"/>
                  </a:lnTo>
                  <a:lnTo>
                    <a:pt x="579668" y="610838"/>
                  </a:lnTo>
                  <a:lnTo>
                    <a:pt x="685395" y="716566"/>
                  </a:lnTo>
                  <a:lnTo>
                    <a:pt x="692444" y="717423"/>
                  </a:lnTo>
                  <a:cubicBezTo>
                    <a:pt x="695682" y="717804"/>
                    <a:pt x="698730" y="717995"/>
                    <a:pt x="701492" y="717995"/>
                  </a:cubicBezTo>
                  <a:cubicBezTo>
                    <a:pt x="731115" y="717995"/>
                    <a:pt x="751022" y="696849"/>
                    <a:pt x="751022" y="665417"/>
                  </a:cubicBezTo>
                  <a:cubicBezTo>
                    <a:pt x="751022" y="663321"/>
                    <a:pt x="750927" y="661607"/>
                    <a:pt x="750832" y="660559"/>
                  </a:cubicBezTo>
                  <a:cubicBezTo>
                    <a:pt x="750737" y="648748"/>
                    <a:pt x="756261" y="637699"/>
                    <a:pt x="765977" y="630365"/>
                  </a:cubicBezTo>
                  <a:cubicBezTo>
                    <a:pt x="778550" y="620744"/>
                    <a:pt x="798743" y="621030"/>
                    <a:pt x="811220" y="630841"/>
                  </a:cubicBezTo>
                  <a:cubicBezTo>
                    <a:pt x="815507" y="634270"/>
                    <a:pt x="818936" y="638365"/>
                    <a:pt x="821412" y="642938"/>
                  </a:cubicBezTo>
                  <a:cubicBezTo>
                    <a:pt x="823603" y="647319"/>
                    <a:pt x="824936" y="652082"/>
                    <a:pt x="825222" y="657130"/>
                  </a:cubicBezTo>
                  <a:cubicBezTo>
                    <a:pt x="825889" y="667893"/>
                    <a:pt x="821888" y="678371"/>
                    <a:pt x="814364" y="685895"/>
                  </a:cubicBezTo>
                  <a:cubicBezTo>
                    <a:pt x="807410" y="692849"/>
                    <a:pt x="798076" y="696754"/>
                    <a:pt x="787408" y="696849"/>
                  </a:cubicBezTo>
                  <a:cubicBezTo>
                    <a:pt x="786360" y="696754"/>
                    <a:pt x="784455" y="696659"/>
                    <a:pt x="781788" y="696659"/>
                  </a:cubicBezTo>
                  <a:cubicBezTo>
                    <a:pt x="765024" y="697040"/>
                    <a:pt x="750737" y="703040"/>
                    <a:pt x="741593" y="713613"/>
                  </a:cubicBezTo>
                  <a:cubicBezTo>
                    <a:pt x="735306" y="720947"/>
                    <a:pt x="728258" y="734092"/>
                    <a:pt x="730925" y="755237"/>
                  </a:cubicBezTo>
                  <a:lnTo>
                    <a:pt x="731591" y="762000"/>
                  </a:lnTo>
                  <a:lnTo>
                    <a:pt x="731972" y="762381"/>
                  </a:lnTo>
                  <a:lnTo>
                    <a:pt x="732068" y="763143"/>
                  </a:lnTo>
                  <a:lnTo>
                    <a:pt x="837795" y="868871"/>
                  </a:lnTo>
                  <a:lnTo>
                    <a:pt x="743498" y="963263"/>
                  </a:lnTo>
                  <a:close/>
                  <a:moveTo>
                    <a:pt x="1107448" y="808101"/>
                  </a:moveTo>
                  <a:cubicBezTo>
                    <a:pt x="1100114" y="819626"/>
                    <a:pt x="1088398" y="826199"/>
                    <a:pt x="1075253" y="826199"/>
                  </a:cubicBezTo>
                  <a:cubicBezTo>
                    <a:pt x="1065252" y="826199"/>
                    <a:pt x="1055822" y="822293"/>
                    <a:pt x="1048774" y="815245"/>
                  </a:cubicBezTo>
                  <a:cubicBezTo>
                    <a:pt x="1041059" y="807530"/>
                    <a:pt x="1037153" y="796957"/>
                    <a:pt x="1037915" y="785051"/>
                  </a:cubicBezTo>
                  <a:lnTo>
                    <a:pt x="1038011" y="783717"/>
                  </a:lnTo>
                  <a:lnTo>
                    <a:pt x="1038011" y="782384"/>
                  </a:lnTo>
                  <a:cubicBezTo>
                    <a:pt x="1036868" y="750951"/>
                    <a:pt x="1017246" y="730758"/>
                    <a:pt x="987909" y="730758"/>
                  </a:cubicBezTo>
                  <a:cubicBezTo>
                    <a:pt x="985052" y="730758"/>
                    <a:pt x="982099" y="730949"/>
                    <a:pt x="978860" y="731330"/>
                  </a:cubicBezTo>
                  <a:lnTo>
                    <a:pt x="971812" y="732187"/>
                  </a:lnTo>
                  <a:lnTo>
                    <a:pt x="866084" y="837914"/>
                  </a:lnTo>
                  <a:lnTo>
                    <a:pt x="772263" y="744093"/>
                  </a:lnTo>
                  <a:cubicBezTo>
                    <a:pt x="772454" y="742855"/>
                    <a:pt x="772835" y="741902"/>
                    <a:pt x="773120" y="741521"/>
                  </a:cubicBezTo>
                  <a:cubicBezTo>
                    <a:pt x="774168" y="740283"/>
                    <a:pt x="777883" y="738950"/>
                    <a:pt x="782455" y="738854"/>
                  </a:cubicBezTo>
                  <a:cubicBezTo>
                    <a:pt x="783503" y="738854"/>
                    <a:pt x="784265" y="738854"/>
                    <a:pt x="784265" y="738854"/>
                  </a:cubicBezTo>
                  <a:lnTo>
                    <a:pt x="788170" y="739045"/>
                  </a:lnTo>
                  <a:cubicBezTo>
                    <a:pt x="809125" y="739045"/>
                    <a:pt x="828937" y="730853"/>
                    <a:pt x="843796" y="715994"/>
                  </a:cubicBezTo>
                  <a:cubicBezTo>
                    <a:pt x="859703" y="700088"/>
                    <a:pt x="868085" y="677990"/>
                    <a:pt x="866751" y="655415"/>
                  </a:cubicBezTo>
                  <a:cubicBezTo>
                    <a:pt x="866180" y="646652"/>
                    <a:pt x="864180" y="638080"/>
                    <a:pt x="860846" y="630079"/>
                  </a:cubicBezTo>
                  <a:cubicBezTo>
                    <a:pt x="855702" y="617030"/>
                    <a:pt x="847130" y="605504"/>
                    <a:pt x="835890" y="596646"/>
                  </a:cubicBezTo>
                  <a:cubicBezTo>
                    <a:pt x="809030" y="575691"/>
                    <a:pt x="767215" y="575310"/>
                    <a:pt x="740069" y="595884"/>
                  </a:cubicBezTo>
                  <a:cubicBezTo>
                    <a:pt x="719685" y="611315"/>
                    <a:pt x="708160" y="634841"/>
                    <a:pt x="708541" y="660463"/>
                  </a:cubicBezTo>
                  <a:lnTo>
                    <a:pt x="708732" y="663321"/>
                  </a:lnTo>
                  <a:cubicBezTo>
                    <a:pt x="708732" y="668465"/>
                    <a:pt x="707493" y="672465"/>
                    <a:pt x="706160" y="673799"/>
                  </a:cubicBezTo>
                  <a:cubicBezTo>
                    <a:pt x="705493" y="674465"/>
                    <a:pt x="704159" y="674751"/>
                    <a:pt x="702921" y="674942"/>
                  </a:cubicBezTo>
                  <a:lnTo>
                    <a:pt x="608814" y="580835"/>
                  </a:lnTo>
                  <a:lnTo>
                    <a:pt x="608814" y="580835"/>
                  </a:lnTo>
                  <a:lnTo>
                    <a:pt x="608624" y="580644"/>
                  </a:lnTo>
                  <a:lnTo>
                    <a:pt x="714351" y="474917"/>
                  </a:lnTo>
                  <a:lnTo>
                    <a:pt x="714351" y="474917"/>
                  </a:lnTo>
                  <a:lnTo>
                    <a:pt x="714637" y="474631"/>
                  </a:lnTo>
                  <a:lnTo>
                    <a:pt x="715494" y="467582"/>
                  </a:lnTo>
                  <a:cubicBezTo>
                    <a:pt x="718161" y="446151"/>
                    <a:pt x="711017" y="433007"/>
                    <a:pt x="704540" y="425577"/>
                  </a:cubicBezTo>
                  <a:cubicBezTo>
                    <a:pt x="691777" y="411099"/>
                    <a:pt x="673394" y="409004"/>
                    <a:pt x="663488" y="409004"/>
                  </a:cubicBezTo>
                  <a:cubicBezTo>
                    <a:pt x="660440" y="409004"/>
                    <a:pt x="658344" y="409194"/>
                    <a:pt x="658344" y="409194"/>
                  </a:cubicBezTo>
                  <a:cubicBezTo>
                    <a:pt x="658344" y="409194"/>
                    <a:pt x="658439" y="409194"/>
                    <a:pt x="658630" y="409194"/>
                  </a:cubicBezTo>
                  <a:cubicBezTo>
                    <a:pt x="645009" y="409194"/>
                    <a:pt x="633103" y="402241"/>
                    <a:pt x="625864" y="390144"/>
                  </a:cubicBezTo>
                  <a:cubicBezTo>
                    <a:pt x="624245" y="387477"/>
                    <a:pt x="623102" y="384524"/>
                    <a:pt x="622340" y="381572"/>
                  </a:cubicBezTo>
                  <a:cubicBezTo>
                    <a:pt x="622244" y="381286"/>
                    <a:pt x="622149" y="381000"/>
                    <a:pt x="622149" y="380810"/>
                  </a:cubicBezTo>
                  <a:cubicBezTo>
                    <a:pt x="621482" y="377952"/>
                    <a:pt x="621101" y="374999"/>
                    <a:pt x="621101" y="372047"/>
                  </a:cubicBezTo>
                  <a:cubicBezTo>
                    <a:pt x="621101" y="371761"/>
                    <a:pt x="621101" y="371570"/>
                    <a:pt x="621101" y="371285"/>
                  </a:cubicBezTo>
                  <a:cubicBezTo>
                    <a:pt x="621197" y="365093"/>
                    <a:pt x="622911" y="358902"/>
                    <a:pt x="626055" y="353473"/>
                  </a:cubicBezTo>
                  <a:cubicBezTo>
                    <a:pt x="626435" y="352806"/>
                    <a:pt x="627007" y="352139"/>
                    <a:pt x="627388" y="351473"/>
                  </a:cubicBezTo>
                  <a:cubicBezTo>
                    <a:pt x="628626" y="349568"/>
                    <a:pt x="630055" y="347853"/>
                    <a:pt x="631484" y="346329"/>
                  </a:cubicBezTo>
                  <a:cubicBezTo>
                    <a:pt x="632246" y="345472"/>
                    <a:pt x="633103" y="344710"/>
                    <a:pt x="634055" y="343853"/>
                  </a:cubicBezTo>
                  <a:cubicBezTo>
                    <a:pt x="635484" y="342614"/>
                    <a:pt x="636913" y="341471"/>
                    <a:pt x="638437" y="340519"/>
                  </a:cubicBezTo>
                  <a:cubicBezTo>
                    <a:pt x="651010" y="332708"/>
                    <a:pt x="669107" y="332994"/>
                    <a:pt x="680823" y="341948"/>
                  </a:cubicBezTo>
                  <a:cubicBezTo>
                    <a:pt x="690539" y="349282"/>
                    <a:pt x="696063" y="360331"/>
                    <a:pt x="695968" y="372142"/>
                  </a:cubicBezTo>
                  <a:cubicBezTo>
                    <a:pt x="695873" y="373190"/>
                    <a:pt x="695777" y="374809"/>
                    <a:pt x="695777" y="377000"/>
                  </a:cubicBezTo>
                  <a:cubicBezTo>
                    <a:pt x="695777" y="384715"/>
                    <a:pt x="697016" y="396050"/>
                    <a:pt x="703112" y="406622"/>
                  </a:cubicBezTo>
                  <a:cubicBezTo>
                    <a:pt x="708255" y="415481"/>
                    <a:pt x="715875" y="421576"/>
                    <a:pt x="725019" y="425387"/>
                  </a:cubicBezTo>
                  <a:cubicBezTo>
                    <a:pt x="725876" y="425768"/>
                    <a:pt x="726734" y="426053"/>
                    <a:pt x="727686" y="426434"/>
                  </a:cubicBezTo>
                  <a:cubicBezTo>
                    <a:pt x="730639" y="427482"/>
                    <a:pt x="733687" y="428149"/>
                    <a:pt x="736925" y="428625"/>
                  </a:cubicBezTo>
                  <a:cubicBezTo>
                    <a:pt x="738068" y="428816"/>
                    <a:pt x="739211" y="428911"/>
                    <a:pt x="740450" y="429006"/>
                  </a:cubicBezTo>
                  <a:cubicBezTo>
                    <a:pt x="742069" y="429101"/>
                    <a:pt x="743593" y="429578"/>
                    <a:pt x="745307" y="429578"/>
                  </a:cubicBezTo>
                  <a:cubicBezTo>
                    <a:pt x="748165" y="429578"/>
                    <a:pt x="751118" y="429387"/>
                    <a:pt x="754356" y="429006"/>
                  </a:cubicBezTo>
                  <a:lnTo>
                    <a:pt x="761405" y="428149"/>
                  </a:lnTo>
                  <a:lnTo>
                    <a:pt x="761690" y="427863"/>
                  </a:lnTo>
                  <a:lnTo>
                    <a:pt x="867132" y="322421"/>
                  </a:lnTo>
                  <a:lnTo>
                    <a:pt x="961525" y="416814"/>
                  </a:lnTo>
                  <a:cubicBezTo>
                    <a:pt x="961334" y="418433"/>
                    <a:pt x="960953" y="419386"/>
                    <a:pt x="960477" y="419957"/>
                  </a:cubicBezTo>
                  <a:cubicBezTo>
                    <a:pt x="959334" y="421196"/>
                    <a:pt x="955429" y="422529"/>
                    <a:pt x="950381" y="422529"/>
                  </a:cubicBezTo>
                  <a:lnTo>
                    <a:pt x="945999" y="422339"/>
                  </a:lnTo>
                  <a:cubicBezTo>
                    <a:pt x="924758" y="422339"/>
                    <a:pt x="904756" y="430530"/>
                    <a:pt x="889897" y="445484"/>
                  </a:cubicBezTo>
                  <a:cubicBezTo>
                    <a:pt x="872752" y="462629"/>
                    <a:pt x="864465" y="486347"/>
                    <a:pt x="867323" y="510445"/>
                  </a:cubicBezTo>
                  <a:cubicBezTo>
                    <a:pt x="870180" y="534638"/>
                    <a:pt x="883801" y="555879"/>
                    <a:pt x="904946" y="568928"/>
                  </a:cubicBezTo>
                  <a:cubicBezTo>
                    <a:pt x="928759" y="583692"/>
                    <a:pt x="961144" y="583978"/>
                    <a:pt x="985242" y="569690"/>
                  </a:cubicBezTo>
                  <a:cubicBezTo>
                    <a:pt x="1010483" y="554736"/>
                    <a:pt x="1025247" y="528542"/>
                    <a:pt x="1024580" y="499682"/>
                  </a:cubicBezTo>
                  <a:lnTo>
                    <a:pt x="1024485" y="498062"/>
                  </a:lnTo>
                  <a:cubicBezTo>
                    <a:pt x="1024485" y="497776"/>
                    <a:pt x="1024390" y="497205"/>
                    <a:pt x="1024390" y="496348"/>
                  </a:cubicBezTo>
                  <a:cubicBezTo>
                    <a:pt x="1024390" y="487394"/>
                    <a:pt x="1026866" y="485680"/>
                    <a:pt x="1030010" y="485299"/>
                  </a:cubicBezTo>
                  <a:lnTo>
                    <a:pt x="1112782" y="568071"/>
                  </a:lnTo>
                  <a:cubicBezTo>
                    <a:pt x="1115925" y="571214"/>
                    <a:pt x="1117640" y="575310"/>
                    <a:pt x="1117640" y="579692"/>
                  </a:cubicBezTo>
                  <a:cubicBezTo>
                    <a:pt x="1117640" y="584073"/>
                    <a:pt x="1115925" y="588264"/>
                    <a:pt x="1112782" y="591312"/>
                  </a:cubicBezTo>
                  <a:lnTo>
                    <a:pt x="1018675" y="685419"/>
                  </a:lnTo>
                  <a:lnTo>
                    <a:pt x="1017818" y="692468"/>
                  </a:lnTo>
                  <a:cubicBezTo>
                    <a:pt x="1015151" y="713708"/>
                    <a:pt x="1022199" y="726948"/>
                    <a:pt x="1028676" y="734378"/>
                  </a:cubicBezTo>
                  <a:cubicBezTo>
                    <a:pt x="1041535" y="749141"/>
                    <a:pt x="1060395" y="751523"/>
                    <a:pt x="1070777" y="751618"/>
                  </a:cubicBezTo>
                  <a:cubicBezTo>
                    <a:pt x="1072301" y="751618"/>
                    <a:pt x="1073634" y="751523"/>
                    <a:pt x="1073539" y="751523"/>
                  </a:cubicBezTo>
                  <a:lnTo>
                    <a:pt x="1075539" y="751427"/>
                  </a:lnTo>
                  <a:cubicBezTo>
                    <a:pt x="1088874" y="751427"/>
                    <a:pt x="1101066" y="758571"/>
                    <a:pt x="1108115" y="770477"/>
                  </a:cubicBezTo>
                  <a:cubicBezTo>
                    <a:pt x="1114878" y="781622"/>
                    <a:pt x="1114592" y="796862"/>
                    <a:pt x="1107448" y="808101"/>
                  </a:cubicBezTo>
                  <a:close/>
                </a:path>
              </a:pathLst>
            </a:custGeom>
            <a:solidFill>
              <a:schemeClr val="tx1"/>
            </a:solidFill>
            <a:ln w="9525" cap="flat">
              <a:noFill/>
              <a:prstDash val="solid"/>
              <a:miter/>
            </a:ln>
          </p:spPr>
          <p:txBody>
            <a:bodyPr rtlCol="0" anchor="ctr"/>
            <a:lstStyle/>
            <a:p>
              <a:endParaRPr lang="fr-FR" sz="900" dirty="0"/>
            </a:p>
          </p:txBody>
        </p:sp>
        <p:sp>
          <p:nvSpPr>
            <p:cNvPr id="89" name="ZoneTexte 88">
              <a:extLst>
                <a:ext uri="{FF2B5EF4-FFF2-40B4-BE49-F238E27FC236}">
                  <a16:creationId xmlns:a16="http://schemas.microsoft.com/office/drawing/2014/main" id="{C5B44922-BE3D-1938-59B5-9306F701D23F}"/>
                </a:ext>
              </a:extLst>
            </p:cNvPr>
            <p:cNvSpPr txBox="1"/>
            <p:nvPr/>
          </p:nvSpPr>
          <p:spPr>
            <a:xfrm>
              <a:off x="11629883" y="7552580"/>
              <a:ext cx="4938605" cy="1785103"/>
            </a:xfrm>
            <a:prstGeom prst="rect">
              <a:avLst/>
            </a:prstGeom>
            <a:noFill/>
          </p:spPr>
          <p:txBody>
            <a:bodyPr wrap="square">
              <a:spAutoFit/>
            </a:bodyPr>
            <a:lstStyle/>
            <a:p>
              <a:r>
                <a:rPr lang="fr-FR" sz="1400" b="1" dirty="0">
                  <a:solidFill>
                    <a:srgbClr val="E4002B"/>
                  </a:solidFill>
                  <a:latin typeface="Arial" panose="020B0604020202020204" pitchFamily="34" charset="0"/>
                  <a:cs typeface="Arial" panose="020B0604020202020204" pitchFamily="34" charset="0"/>
                </a:rPr>
                <a:t>Diversité de taille </a:t>
              </a:r>
            </a:p>
            <a:p>
              <a:r>
                <a:rPr lang="fr-FR" sz="1400" b="1" dirty="0">
                  <a:solidFill>
                    <a:srgbClr val="E4002B"/>
                  </a:solidFill>
                  <a:latin typeface="Arial" panose="020B0604020202020204" pitchFamily="34" charset="0"/>
                  <a:cs typeface="Arial" panose="020B0604020202020204" pitchFamily="34" charset="0"/>
                </a:rPr>
                <a:t>du tissu économique</a:t>
              </a:r>
            </a:p>
            <a:p>
              <a:r>
                <a:rPr lang="fr-FR" sz="1200" b="1" dirty="0">
                  <a:latin typeface="Arial" panose="020B0604020202020204" pitchFamily="34" charset="0"/>
                  <a:cs typeface="Arial" panose="020B0604020202020204" pitchFamily="34" charset="0"/>
                </a:rPr>
                <a:t>6 070 </a:t>
              </a:r>
              <a:r>
                <a:rPr lang="fr-FR" sz="1200" dirty="0">
                  <a:latin typeface="Arial" panose="020B0604020202020204" pitchFamily="34" charset="0"/>
                  <a:cs typeface="Arial" panose="020B0604020202020204" pitchFamily="34" charset="0"/>
                </a:rPr>
                <a:t>PME</a:t>
              </a:r>
            </a:p>
            <a:p>
              <a:r>
                <a:rPr lang="fr-FR" sz="1200" b="1" dirty="0">
                  <a:latin typeface="Arial" panose="020B0604020202020204" pitchFamily="34" charset="0"/>
                  <a:cs typeface="Arial" panose="020B0604020202020204" pitchFamily="34" charset="0"/>
                </a:rPr>
                <a:t>215 </a:t>
              </a:r>
              <a:r>
                <a:rPr lang="fr-FR" sz="1200" dirty="0">
                  <a:latin typeface="Arial" panose="020B0604020202020204" pitchFamily="34" charset="0"/>
                  <a:cs typeface="Arial" panose="020B0604020202020204" pitchFamily="34" charset="0"/>
                </a:rPr>
                <a:t>ETI</a:t>
              </a:r>
            </a:p>
          </p:txBody>
        </p:sp>
      </p:grpSp>
      <p:grpSp>
        <p:nvGrpSpPr>
          <p:cNvPr id="37" name="Groupe 36">
            <a:extLst>
              <a:ext uri="{FF2B5EF4-FFF2-40B4-BE49-F238E27FC236}">
                <a16:creationId xmlns:a16="http://schemas.microsoft.com/office/drawing/2014/main" id="{742FCF15-37FC-0B62-FFBD-FE5D1225557B}"/>
              </a:ext>
            </a:extLst>
          </p:cNvPr>
          <p:cNvGrpSpPr/>
          <p:nvPr/>
        </p:nvGrpSpPr>
        <p:grpSpPr>
          <a:xfrm>
            <a:off x="5433701" y="1766513"/>
            <a:ext cx="2095440" cy="1407469"/>
            <a:chOff x="10897070" y="4147263"/>
            <a:chExt cx="4190880" cy="2814938"/>
          </a:xfrm>
        </p:grpSpPr>
        <p:sp>
          <p:nvSpPr>
            <p:cNvPr id="87" name="ZoneTexte 86">
              <a:extLst>
                <a:ext uri="{FF2B5EF4-FFF2-40B4-BE49-F238E27FC236}">
                  <a16:creationId xmlns:a16="http://schemas.microsoft.com/office/drawing/2014/main" id="{A79E19D7-DFB5-A0BC-2119-2716C2B6835A}"/>
                </a:ext>
              </a:extLst>
            </p:cNvPr>
            <p:cNvSpPr txBox="1"/>
            <p:nvPr/>
          </p:nvSpPr>
          <p:spPr>
            <a:xfrm>
              <a:off x="10897070" y="5177097"/>
              <a:ext cx="4190880" cy="1785104"/>
            </a:xfrm>
            <a:prstGeom prst="rect">
              <a:avLst/>
            </a:prstGeom>
            <a:noFill/>
          </p:spPr>
          <p:txBody>
            <a:bodyPr wrap="square">
              <a:spAutoFit/>
            </a:bodyPr>
            <a:lstStyle/>
            <a:p>
              <a:r>
                <a:rPr lang="fr-FR" sz="1400" b="1" dirty="0">
                  <a:solidFill>
                    <a:srgbClr val="E4002B"/>
                  </a:solidFill>
                  <a:latin typeface="Arial" panose="020B0604020202020204" pitchFamily="34" charset="0"/>
                  <a:cs typeface="Arial" panose="020B0604020202020204" pitchFamily="34" charset="0"/>
                </a:rPr>
                <a:t>Puissance industrielle diversifiée</a:t>
              </a:r>
            </a:p>
            <a:p>
              <a:r>
                <a:rPr lang="fr-FR" sz="1200" b="1" dirty="0">
                  <a:latin typeface="Arial" panose="020B0604020202020204" pitchFamily="34" charset="0"/>
                  <a:cs typeface="Arial" panose="020B0604020202020204" pitchFamily="34" charset="0"/>
                </a:rPr>
                <a:t>80 000 </a:t>
              </a:r>
              <a:r>
                <a:rPr lang="fr-FR" sz="1200" dirty="0">
                  <a:latin typeface="Arial" panose="020B0604020202020204" pitchFamily="34" charset="0"/>
                  <a:cs typeface="Arial" panose="020B0604020202020204" pitchFamily="34" charset="0"/>
                </a:rPr>
                <a:t>emplois</a:t>
              </a:r>
            </a:p>
            <a:p>
              <a:r>
                <a:rPr lang="fr-FR" sz="1200" b="1" dirty="0">
                  <a:latin typeface="Arial" panose="020B0604020202020204" pitchFamily="34" charset="0"/>
                  <a:cs typeface="Arial" panose="020B0604020202020204" pitchFamily="34" charset="0"/>
                </a:rPr>
                <a:t>8 000 </a:t>
              </a:r>
              <a:r>
                <a:rPr lang="fr-FR" sz="1200" dirty="0">
                  <a:latin typeface="Arial" panose="020B0604020202020204" pitchFamily="34" charset="0"/>
                  <a:cs typeface="Arial" panose="020B0604020202020204" pitchFamily="34" charset="0"/>
                </a:rPr>
                <a:t>établissements</a:t>
              </a:r>
            </a:p>
          </p:txBody>
        </p:sp>
        <p:grpSp>
          <p:nvGrpSpPr>
            <p:cNvPr id="4" name="Graphique 2">
              <a:extLst>
                <a:ext uri="{FF2B5EF4-FFF2-40B4-BE49-F238E27FC236}">
                  <a16:creationId xmlns:a16="http://schemas.microsoft.com/office/drawing/2014/main" id="{1FDD956F-8B3E-C663-2713-A49E3594796C}"/>
                </a:ext>
              </a:extLst>
            </p:cNvPr>
            <p:cNvGrpSpPr/>
            <p:nvPr/>
          </p:nvGrpSpPr>
          <p:grpSpPr>
            <a:xfrm>
              <a:off x="10983122" y="4147263"/>
              <a:ext cx="1122438" cy="865212"/>
              <a:chOff x="9056320" y="7101639"/>
              <a:chExt cx="457200" cy="352425"/>
            </a:xfrm>
            <a:solidFill>
              <a:srgbClr val="201602"/>
            </a:solidFill>
          </p:grpSpPr>
          <p:sp>
            <p:nvSpPr>
              <p:cNvPr id="9" name="Forme libre : forme 8">
                <a:extLst>
                  <a:ext uri="{FF2B5EF4-FFF2-40B4-BE49-F238E27FC236}">
                    <a16:creationId xmlns:a16="http://schemas.microsoft.com/office/drawing/2014/main" id="{0E726939-0100-9D5C-2A64-5EFC0B1D4A79}"/>
                  </a:ext>
                </a:extLst>
              </p:cNvPr>
              <p:cNvSpPr/>
              <p:nvPr/>
            </p:nvSpPr>
            <p:spPr>
              <a:xfrm>
                <a:off x="9370645" y="7149264"/>
                <a:ext cx="133350" cy="19050"/>
              </a:xfrm>
              <a:custGeom>
                <a:avLst/>
                <a:gdLst>
                  <a:gd name="connsiteX0" fmla="*/ 0 w 133350"/>
                  <a:gd name="connsiteY0" fmla="*/ 0 h 19050"/>
                  <a:gd name="connsiteX1" fmla="*/ 133350 w 133350"/>
                  <a:gd name="connsiteY1" fmla="*/ 0 h 19050"/>
                  <a:gd name="connsiteX2" fmla="*/ 133350 w 133350"/>
                  <a:gd name="connsiteY2" fmla="*/ 19050 h 19050"/>
                  <a:gd name="connsiteX3" fmla="*/ 0 w 1333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33350" h="19050">
                    <a:moveTo>
                      <a:pt x="0" y="0"/>
                    </a:moveTo>
                    <a:lnTo>
                      <a:pt x="133350" y="0"/>
                    </a:lnTo>
                    <a:lnTo>
                      <a:pt x="133350" y="19050"/>
                    </a:lnTo>
                    <a:lnTo>
                      <a:pt x="0" y="19050"/>
                    </a:lnTo>
                    <a:close/>
                  </a:path>
                </a:pathLst>
              </a:custGeom>
              <a:solidFill>
                <a:srgbClr val="201602"/>
              </a:solidFill>
              <a:ln w="9525" cap="flat">
                <a:noFill/>
                <a:prstDash val="solid"/>
                <a:miter/>
              </a:ln>
            </p:spPr>
            <p:txBody>
              <a:bodyPr rtlCol="0" anchor="ctr"/>
              <a:lstStyle/>
              <a:p>
                <a:endParaRPr lang="fr-FR" sz="900"/>
              </a:p>
            </p:txBody>
          </p:sp>
          <p:sp>
            <p:nvSpPr>
              <p:cNvPr id="10" name="Forme libre : forme 9">
                <a:extLst>
                  <a:ext uri="{FF2B5EF4-FFF2-40B4-BE49-F238E27FC236}">
                    <a16:creationId xmlns:a16="http://schemas.microsoft.com/office/drawing/2014/main" id="{C8AE1621-7ED7-3945-8BAF-299CB7AD5BAF}"/>
                  </a:ext>
                </a:extLst>
              </p:cNvPr>
              <p:cNvSpPr/>
              <p:nvPr/>
            </p:nvSpPr>
            <p:spPr>
              <a:xfrm>
                <a:off x="9303970" y="7282614"/>
                <a:ext cx="19050" cy="38100"/>
              </a:xfrm>
              <a:custGeom>
                <a:avLst/>
                <a:gdLst>
                  <a:gd name="connsiteX0" fmla="*/ 0 w 19050"/>
                  <a:gd name="connsiteY0" fmla="*/ 0 h 38100"/>
                  <a:gd name="connsiteX1" fmla="*/ 19050 w 19050"/>
                  <a:gd name="connsiteY1" fmla="*/ 0 h 38100"/>
                  <a:gd name="connsiteX2" fmla="*/ 19050 w 19050"/>
                  <a:gd name="connsiteY2" fmla="*/ 38100 h 38100"/>
                  <a:gd name="connsiteX3" fmla="*/ 0 w 19050"/>
                  <a:gd name="connsiteY3" fmla="*/ 38100 h 38100"/>
                </a:gdLst>
                <a:ahLst/>
                <a:cxnLst>
                  <a:cxn ang="0">
                    <a:pos x="connsiteX0" y="connsiteY0"/>
                  </a:cxn>
                  <a:cxn ang="0">
                    <a:pos x="connsiteX1" y="connsiteY1"/>
                  </a:cxn>
                  <a:cxn ang="0">
                    <a:pos x="connsiteX2" y="connsiteY2"/>
                  </a:cxn>
                  <a:cxn ang="0">
                    <a:pos x="connsiteX3" y="connsiteY3"/>
                  </a:cxn>
                </a:cxnLst>
                <a:rect l="l" t="t" r="r" b="b"/>
                <a:pathLst>
                  <a:path w="19050" h="38100">
                    <a:moveTo>
                      <a:pt x="0" y="0"/>
                    </a:moveTo>
                    <a:lnTo>
                      <a:pt x="19050" y="0"/>
                    </a:lnTo>
                    <a:lnTo>
                      <a:pt x="19050" y="38100"/>
                    </a:lnTo>
                    <a:lnTo>
                      <a:pt x="0" y="38100"/>
                    </a:lnTo>
                    <a:close/>
                  </a:path>
                </a:pathLst>
              </a:custGeom>
              <a:solidFill>
                <a:srgbClr val="201602"/>
              </a:solidFill>
              <a:ln w="9525" cap="flat">
                <a:noFill/>
                <a:prstDash val="solid"/>
                <a:miter/>
              </a:ln>
            </p:spPr>
            <p:txBody>
              <a:bodyPr rtlCol="0" anchor="ctr"/>
              <a:lstStyle/>
              <a:p>
                <a:endParaRPr lang="fr-FR" sz="900"/>
              </a:p>
            </p:txBody>
          </p:sp>
          <p:sp>
            <p:nvSpPr>
              <p:cNvPr id="12" name="Forme libre : forme 11">
                <a:extLst>
                  <a:ext uri="{FF2B5EF4-FFF2-40B4-BE49-F238E27FC236}">
                    <a16:creationId xmlns:a16="http://schemas.microsoft.com/office/drawing/2014/main" id="{6A31E56A-3B2E-330C-A5DA-18CEE6703A47}"/>
                  </a:ext>
                </a:extLst>
              </p:cNvPr>
              <p:cNvSpPr/>
              <p:nvPr/>
            </p:nvSpPr>
            <p:spPr>
              <a:xfrm>
                <a:off x="9342070" y="7282614"/>
                <a:ext cx="19050" cy="38100"/>
              </a:xfrm>
              <a:custGeom>
                <a:avLst/>
                <a:gdLst>
                  <a:gd name="connsiteX0" fmla="*/ 0 w 19050"/>
                  <a:gd name="connsiteY0" fmla="*/ 0 h 38100"/>
                  <a:gd name="connsiteX1" fmla="*/ 19050 w 19050"/>
                  <a:gd name="connsiteY1" fmla="*/ 0 h 38100"/>
                  <a:gd name="connsiteX2" fmla="*/ 19050 w 19050"/>
                  <a:gd name="connsiteY2" fmla="*/ 38100 h 38100"/>
                  <a:gd name="connsiteX3" fmla="*/ 0 w 19050"/>
                  <a:gd name="connsiteY3" fmla="*/ 38100 h 38100"/>
                </a:gdLst>
                <a:ahLst/>
                <a:cxnLst>
                  <a:cxn ang="0">
                    <a:pos x="connsiteX0" y="connsiteY0"/>
                  </a:cxn>
                  <a:cxn ang="0">
                    <a:pos x="connsiteX1" y="connsiteY1"/>
                  </a:cxn>
                  <a:cxn ang="0">
                    <a:pos x="connsiteX2" y="connsiteY2"/>
                  </a:cxn>
                  <a:cxn ang="0">
                    <a:pos x="connsiteX3" y="connsiteY3"/>
                  </a:cxn>
                </a:cxnLst>
                <a:rect l="l" t="t" r="r" b="b"/>
                <a:pathLst>
                  <a:path w="19050" h="38100">
                    <a:moveTo>
                      <a:pt x="0" y="0"/>
                    </a:moveTo>
                    <a:lnTo>
                      <a:pt x="19050" y="0"/>
                    </a:lnTo>
                    <a:lnTo>
                      <a:pt x="19050" y="38100"/>
                    </a:lnTo>
                    <a:lnTo>
                      <a:pt x="0" y="38100"/>
                    </a:lnTo>
                    <a:close/>
                  </a:path>
                </a:pathLst>
              </a:custGeom>
              <a:solidFill>
                <a:srgbClr val="201602"/>
              </a:solidFill>
              <a:ln w="9525" cap="flat">
                <a:noFill/>
                <a:prstDash val="solid"/>
                <a:miter/>
              </a:ln>
            </p:spPr>
            <p:txBody>
              <a:bodyPr rtlCol="0" anchor="ctr"/>
              <a:lstStyle/>
              <a:p>
                <a:endParaRPr lang="fr-FR" sz="900"/>
              </a:p>
            </p:txBody>
          </p:sp>
          <p:sp>
            <p:nvSpPr>
              <p:cNvPr id="13" name="Forme libre : forme 12">
                <a:extLst>
                  <a:ext uri="{FF2B5EF4-FFF2-40B4-BE49-F238E27FC236}">
                    <a16:creationId xmlns:a16="http://schemas.microsoft.com/office/drawing/2014/main" id="{5E6A8629-F9CE-D804-39E9-0E328B7299BF}"/>
                  </a:ext>
                </a:extLst>
              </p:cNvPr>
              <p:cNvSpPr/>
              <p:nvPr/>
            </p:nvSpPr>
            <p:spPr>
              <a:xfrm>
                <a:off x="9380170" y="7282614"/>
                <a:ext cx="19050" cy="38100"/>
              </a:xfrm>
              <a:custGeom>
                <a:avLst/>
                <a:gdLst>
                  <a:gd name="connsiteX0" fmla="*/ 0 w 19050"/>
                  <a:gd name="connsiteY0" fmla="*/ 0 h 38100"/>
                  <a:gd name="connsiteX1" fmla="*/ 19050 w 19050"/>
                  <a:gd name="connsiteY1" fmla="*/ 0 h 38100"/>
                  <a:gd name="connsiteX2" fmla="*/ 19050 w 19050"/>
                  <a:gd name="connsiteY2" fmla="*/ 38100 h 38100"/>
                  <a:gd name="connsiteX3" fmla="*/ 0 w 19050"/>
                  <a:gd name="connsiteY3" fmla="*/ 38100 h 38100"/>
                </a:gdLst>
                <a:ahLst/>
                <a:cxnLst>
                  <a:cxn ang="0">
                    <a:pos x="connsiteX0" y="connsiteY0"/>
                  </a:cxn>
                  <a:cxn ang="0">
                    <a:pos x="connsiteX1" y="connsiteY1"/>
                  </a:cxn>
                  <a:cxn ang="0">
                    <a:pos x="connsiteX2" y="connsiteY2"/>
                  </a:cxn>
                  <a:cxn ang="0">
                    <a:pos x="connsiteX3" y="connsiteY3"/>
                  </a:cxn>
                </a:cxnLst>
                <a:rect l="l" t="t" r="r" b="b"/>
                <a:pathLst>
                  <a:path w="19050" h="38100">
                    <a:moveTo>
                      <a:pt x="0" y="0"/>
                    </a:moveTo>
                    <a:lnTo>
                      <a:pt x="19050" y="0"/>
                    </a:lnTo>
                    <a:lnTo>
                      <a:pt x="19050" y="38100"/>
                    </a:lnTo>
                    <a:lnTo>
                      <a:pt x="0" y="38100"/>
                    </a:lnTo>
                    <a:close/>
                  </a:path>
                </a:pathLst>
              </a:custGeom>
              <a:solidFill>
                <a:srgbClr val="201602"/>
              </a:solidFill>
              <a:ln w="9525" cap="flat">
                <a:noFill/>
                <a:prstDash val="solid"/>
                <a:miter/>
              </a:ln>
            </p:spPr>
            <p:txBody>
              <a:bodyPr rtlCol="0" anchor="ctr"/>
              <a:lstStyle/>
              <a:p>
                <a:endParaRPr lang="fr-FR" sz="900"/>
              </a:p>
            </p:txBody>
          </p:sp>
          <p:sp>
            <p:nvSpPr>
              <p:cNvPr id="14" name="Forme libre : forme 13">
                <a:extLst>
                  <a:ext uri="{FF2B5EF4-FFF2-40B4-BE49-F238E27FC236}">
                    <a16:creationId xmlns:a16="http://schemas.microsoft.com/office/drawing/2014/main" id="{A0B84174-7CED-F496-0B85-5A6EE20D4CEF}"/>
                  </a:ext>
                </a:extLst>
              </p:cNvPr>
              <p:cNvSpPr/>
              <p:nvPr/>
            </p:nvSpPr>
            <p:spPr>
              <a:xfrm>
                <a:off x="9303970" y="7339764"/>
                <a:ext cx="19050" cy="38100"/>
              </a:xfrm>
              <a:custGeom>
                <a:avLst/>
                <a:gdLst>
                  <a:gd name="connsiteX0" fmla="*/ 0 w 19050"/>
                  <a:gd name="connsiteY0" fmla="*/ 0 h 38100"/>
                  <a:gd name="connsiteX1" fmla="*/ 19050 w 19050"/>
                  <a:gd name="connsiteY1" fmla="*/ 0 h 38100"/>
                  <a:gd name="connsiteX2" fmla="*/ 19050 w 19050"/>
                  <a:gd name="connsiteY2" fmla="*/ 38100 h 38100"/>
                  <a:gd name="connsiteX3" fmla="*/ 0 w 19050"/>
                  <a:gd name="connsiteY3" fmla="*/ 38100 h 38100"/>
                </a:gdLst>
                <a:ahLst/>
                <a:cxnLst>
                  <a:cxn ang="0">
                    <a:pos x="connsiteX0" y="connsiteY0"/>
                  </a:cxn>
                  <a:cxn ang="0">
                    <a:pos x="connsiteX1" y="connsiteY1"/>
                  </a:cxn>
                  <a:cxn ang="0">
                    <a:pos x="connsiteX2" y="connsiteY2"/>
                  </a:cxn>
                  <a:cxn ang="0">
                    <a:pos x="connsiteX3" y="connsiteY3"/>
                  </a:cxn>
                </a:cxnLst>
                <a:rect l="l" t="t" r="r" b="b"/>
                <a:pathLst>
                  <a:path w="19050" h="38100">
                    <a:moveTo>
                      <a:pt x="0" y="0"/>
                    </a:moveTo>
                    <a:lnTo>
                      <a:pt x="19050" y="0"/>
                    </a:lnTo>
                    <a:lnTo>
                      <a:pt x="19050" y="38100"/>
                    </a:lnTo>
                    <a:lnTo>
                      <a:pt x="0" y="38100"/>
                    </a:lnTo>
                    <a:close/>
                  </a:path>
                </a:pathLst>
              </a:custGeom>
              <a:solidFill>
                <a:srgbClr val="201602"/>
              </a:solidFill>
              <a:ln w="9525" cap="flat">
                <a:noFill/>
                <a:prstDash val="solid"/>
                <a:miter/>
              </a:ln>
            </p:spPr>
            <p:txBody>
              <a:bodyPr rtlCol="0" anchor="ctr"/>
              <a:lstStyle/>
              <a:p>
                <a:endParaRPr lang="fr-FR" sz="900"/>
              </a:p>
            </p:txBody>
          </p:sp>
          <p:sp>
            <p:nvSpPr>
              <p:cNvPr id="15" name="Forme libre : forme 14">
                <a:extLst>
                  <a:ext uri="{FF2B5EF4-FFF2-40B4-BE49-F238E27FC236}">
                    <a16:creationId xmlns:a16="http://schemas.microsoft.com/office/drawing/2014/main" id="{297520AC-2D5B-82B9-F1A4-79FD4ED0D264}"/>
                  </a:ext>
                </a:extLst>
              </p:cNvPr>
              <p:cNvSpPr/>
              <p:nvPr/>
            </p:nvSpPr>
            <p:spPr>
              <a:xfrm>
                <a:off x="9342070" y="7339764"/>
                <a:ext cx="19050" cy="38100"/>
              </a:xfrm>
              <a:custGeom>
                <a:avLst/>
                <a:gdLst>
                  <a:gd name="connsiteX0" fmla="*/ 0 w 19050"/>
                  <a:gd name="connsiteY0" fmla="*/ 0 h 38100"/>
                  <a:gd name="connsiteX1" fmla="*/ 19050 w 19050"/>
                  <a:gd name="connsiteY1" fmla="*/ 0 h 38100"/>
                  <a:gd name="connsiteX2" fmla="*/ 19050 w 19050"/>
                  <a:gd name="connsiteY2" fmla="*/ 38100 h 38100"/>
                  <a:gd name="connsiteX3" fmla="*/ 0 w 19050"/>
                  <a:gd name="connsiteY3" fmla="*/ 38100 h 38100"/>
                </a:gdLst>
                <a:ahLst/>
                <a:cxnLst>
                  <a:cxn ang="0">
                    <a:pos x="connsiteX0" y="connsiteY0"/>
                  </a:cxn>
                  <a:cxn ang="0">
                    <a:pos x="connsiteX1" y="connsiteY1"/>
                  </a:cxn>
                  <a:cxn ang="0">
                    <a:pos x="connsiteX2" y="connsiteY2"/>
                  </a:cxn>
                  <a:cxn ang="0">
                    <a:pos x="connsiteX3" y="connsiteY3"/>
                  </a:cxn>
                </a:cxnLst>
                <a:rect l="l" t="t" r="r" b="b"/>
                <a:pathLst>
                  <a:path w="19050" h="38100">
                    <a:moveTo>
                      <a:pt x="0" y="0"/>
                    </a:moveTo>
                    <a:lnTo>
                      <a:pt x="19050" y="0"/>
                    </a:lnTo>
                    <a:lnTo>
                      <a:pt x="19050" y="38100"/>
                    </a:lnTo>
                    <a:lnTo>
                      <a:pt x="0" y="38100"/>
                    </a:lnTo>
                    <a:close/>
                  </a:path>
                </a:pathLst>
              </a:custGeom>
              <a:solidFill>
                <a:srgbClr val="201602"/>
              </a:solidFill>
              <a:ln w="9525" cap="flat">
                <a:noFill/>
                <a:prstDash val="solid"/>
                <a:miter/>
              </a:ln>
            </p:spPr>
            <p:txBody>
              <a:bodyPr rtlCol="0" anchor="ctr"/>
              <a:lstStyle/>
              <a:p>
                <a:endParaRPr lang="fr-FR" sz="900"/>
              </a:p>
            </p:txBody>
          </p:sp>
          <p:sp>
            <p:nvSpPr>
              <p:cNvPr id="16" name="Forme libre : forme 15">
                <a:extLst>
                  <a:ext uri="{FF2B5EF4-FFF2-40B4-BE49-F238E27FC236}">
                    <a16:creationId xmlns:a16="http://schemas.microsoft.com/office/drawing/2014/main" id="{59F34B00-7C09-9E04-78EC-EAA25C8BB392}"/>
                  </a:ext>
                </a:extLst>
              </p:cNvPr>
              <p:cNvSpPr/>
              <p:nvPr/>
            </p:nvSpPr>
            <p:spPr>
              <a:xfrm>
                <a:off x="9380170" y="7339764"/>
                <a:ext cx="19050" cy="38100"/>
              </a:xfrm>
              <a:custGeom>
                <a:avLst/>
                <a:gdLst>
                  <a:gd name="connsiteX0" fmla="*/ 0 w 19050"/>
                  <a:gd name="connsiteY0" fmla="*/ 0 h 38100"/>
                  <a:gd name="connsiteX1" fmla="*/ 19050 w 19050"/>
                  <a:gd name="connsiteY1" fmla="*/ 0 h 38100"/>
                  <a:gd name="connsiteX2" fmla="*/ 19050 w 19050"/>
                  <a:gd name="connsiteY2" fmla="*/ 38100 h 38100"/>
                  <a:gd name="connsiteX3" fmla="*/ 0 w 19050"/>
                  <a:gd name="connsiteY3" fmla="*/ 38100 h 38100"/>
                </a:gdLst>
                <a:ahLst/>
                <a:cxnLst>
                  <a:cxn ang="0">
                    <a:pos x="connsiteX0" y="connsiteY0"/>
                  </a:cxn>
                  <a:cxn ang="0">
                    <a:pos x="connsiteX1" y="connsiteY1"/>
                  </a:cxn>
                  <a:cxn ang="0">
                    <a:pos x="connsiteX2" y="connsiteY2"/>
                  </a:cxn>
                  <a:cxn ang="0">
                    <a:pos x="connsiteX3" y="connsiteY3"/>
                  </a:cxn>
                </a:cxnLst>
                <a:rect l="l" t="t" r="r" b="b"/>
                <a:pathLst>
                  <a:path w="19050" h="38100">
                    <a:moveTo>
                      <a:pt x="0" y="0"/>
                    </a:moveTo>
                    <a:lnTo>
                      <a:pt x="19050" y="0"/>
                    </a:lnTo>
                    <a:lnTo>
                      <a:pt x="19050" y="38100"/>
                    </a:lnTo>
                    <a:lnTo>
                      <a:pt x="0" y="38100"/>
                    </a:lnTo>
                    <a:close/>
                  </a:path>
                </a:pathLst>
              </a:custGeom>
              <a:solidFill>
                <a:srgbClr val="201602"/>
              </a:solidFill>
              <a:ln w="9525" cap="flat">
                <a:noFill/>
                <a:prstDash val="solid"/>
                <a:miter/>
              </a:ln>
            </p:spPr>
            <p:txBody>
              <a:bodyPr rtlCol="0" anchor="ctr"/>
              <a:lstStyle/>
              <a:p>
                <a:endParaRPr lang="fr-FR" sz="900"/>
              </a:p>
            </p:txBody>
          </p:sp>
          <p:sp>
            <p:nvSpPr>
              <p:cNvPr id="17" name="Forme libre : forme 16">
                <a:extLst>
                  <a:ext uri="{FF2B5EF4-FFF2-40B4-BE49-F238E27FC236}">
                    <a16:creationId xmlns:a16="http://schemas.microsoft.com/office/drawing/2014/main" id="{76E5DAB0-F4C3-A1B5-770B-0A427BEB2979}"/>
                  </a:ext>
                </a:extLst>
              </p:cNvPr>
              <p:cNvSpPr/>
              <p:nvPr/>
            </p:nvSpPr>
            <p:spPr>
              <a:xfrm>
                <a:off x="9056320" y="7435014"/>
                <a:ext cx="457200" cy="19050"/>
              </a:xfrm>
              <a:custGeom>
                <a:avLst/>
                <a:gdLst>
                  <a:gd name="connsiteX0" fmla="*/ 0 w 457200"/>
                  <a:gd name="connsiteY0" fmla="*/ 0 h 19050"/>
                  <a:gd name="connsiteX1" fmla="*/ 457200 w 457200"/>
                  <a:gd name="connsiteY1" fmla="*/ 0 h 19050"/>
                  <a:gd name="connsiteX2" fmla="*/ 457200 w 457200"/>
                  <a:gd name="connsiteY2" fmla="*/ 19050 h 19050"/>
                  <a:gd name="connsiteX3" fmla="*/ 0 w 45720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457200" h="19050">
                    <a:moveTo>
                      <a:pt x="0" y="0"/>
                    </a:moveTo>
                    <a:lnTo>
                      <a:pt x="457200" y="0"/>
                    </a:lnTo>
                    <a:lnTo>
                      <a:pt x="457200" y="19050"/>
                    </a:lnTo>
                    <a:lnTo>
                      <a:pt x="0" y="19050"/>
                    </a:lnTo>
                    <a:close/>
                  </a:path>
                </a:pathLst>
              </a:custGeom>
              <a:solidFill>
                <a:srgbClr val="201602"/>
              </a:solidFill>
              <a:ln w="9525" cap="flat">
                <a:noFill/>
                <a:prstDash val="solid"/>
                <a:miter/>
              </a:ln>
            </p:spPr>
            <p:txBody>
              <a:bodyPr rtlCol="0" anchor="ctr"/>
              <a:lstStyle/>
              <a:p>
                <a:endParaRPr lang="fr-FR" sz="900"/>
              </a:p>
            </p:txBody>
          </p:sp>
          <p:sp>
            <p:nvSpPr>
              <p:cNvPr id="26" name="Forme libre : forme 25">
                <a:extLst>
                  <a:ext uri="{FF2B5EF4-FFF2-40B4-BE49-F238E27FC236}">
                    <a16:creationId xmlns:a16="http://schemas.microsoft.com/office/drawing/2014/main" id="{2D6DE583-A2BA-077E-BEEE-423A0CFC2DC7}"/>
                  </a:ext>
                </a:extLst>
              </p:cNvPr>
              <p:cNvSpPr/>
              <p:nvPr/>
            </p:nvSpPr>
            <p:spPr>
              <a:xfrm>
                <a:off x="9380170" y="7101639"/>
                <a:ext cx="114300" cy="342900"/>
              </a:xfrm>
              <a:custGeom>
                <a:avLst/>
                <a:gdLst>
                  <a:gd name="connsiteX0" fmla="*/ 114300 w 114300"/>
                  <a:gd name="connsiteY0" fmla="*/ 342900 h 342900"/>
                  <a:gd name="connsiteX1" fmla="*/ 95250 w 114300"/>
                  <a:gd name="connsiteY1" fmla="*/ 342900 h 342900"/>
                  <a:gd name="connsiteX2" fmla="*/ 95250 w 114300"/>
                  <a:gd name="connsiteY2" fmla="*/ 19050 h 342900"/>
                  <a:gd name="connsiteX3" fmla="*/ 19050 w 114300"/>
                  <a:gd name="connsiteY3" fmla="*/ 19050 h 342900"/>
                  <a:gd name="connsiteX4" fmla="*/ 19050 w 114300"/>
                  <a:gd name="connsiteY4" fmla="*/ 142875 h 342900"/>
                  <a:gd name="connsiteX5" fmla="*/ 0 w 114300"/>
                  <a:gd name="connsiteY5" fmla="*/ 142875 h 342900"/>
                  <a:gd name="connsiteX6" fmla="*/ 0 w 114300"/>
                  <a:gd name="connsiteY6" fmla="*/ 9525 h 342900"/>
                  <a:gd name="connsiteX7" fmla="*/ 9525 w 114300"/>
                  <a:gd name="connsiteY7" fmla="*/ 0 h 342900"/>
                  <a:gd name="connsiteX8" fmla="*/ 104775 w 114300"/>
                  <a:gd name="connsiteY8" fmla="*/ 0 h 342900"/>
                  <a:gd name="connsiteX9" fmla="*/ 114300 w 114300"/>
                  <a:gd name="connsiteY9" fmla="*/ 9525 h 342900"/>
                  <a:gd name="connsiteX10" fmla="*/ 114300 w 114300"/>
                  <a:gd name="connsiteY10" fmla="*/ 342900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4300" h="342900">
                    <a:moveTo>
                      <a:pt x="114300" y="342900"/>
                    </a:moveTo>
                    <a:lnTo>
                      <a:pt x="95250" y="342900"/>
                    </a:lnTo>
                    <a:lnTo>
                      <a:pt x="95250" y="19050"/>
                    </a:lnTo>
                    <a:lnTo>
                      <a:pt x="19050" y="19050"/>
                    </a:lnTo>
                    <a:lnTo>
                      <a:pt x="19050" y="142875"/>
                    </a:lnTo>
                    <a:lnTo>
                      <a:pt x="0" y="142875"/>
                    </a:lnTo>
                    <a:lnTo>
                      <a:pt x="0" y="9525"/>
                    </a:lnTo>
                    <a:cubicBezTo>
                      <a:pt x="0" y="4286"/>
                      <a:pt x="4286" y="0"/>
                      <a:pt x="9525" y="0"/>
                    </a:cubicBezTo>
                    <a:lnTo>
                      <a:pt x="104775" y="0"/>
                    </a:lnTo>
                    <a:cubicBezTo>
                      <a:pt x="110014" y="0"/>
                      <a:pt x="114300" y="4286"/>
                      <a:pt x="114300" y="9525"/>
                    </a:cubicBezTo>
                    <a:lnTo>
                      <a:pt x="114300" y="342900"/>
                    </a:lnTo>
                    <a:close/>
                  </a:path>
                </a:pathLst>
              </a:custGeom>
              <a:solidFill>
                <a:srgbClr val="201602"/>
              </a:solidFill>
              <a:ln w="9525" cap="flat">
                <a:noFill/>
                <a:prstDash val="solid"/>
                <a:miter/>
              </a:ln>
            </p:spPr>
            <p:txBody>
              <a:bodyPr rtlCol="0" anchor="ctr"/>
              <a:lstStyle/>
              <a:p>
                <a:endParaRPr lang="fr-FR" sz="900"/>
              </a:p>
            </p:txBody>
          </p:sp>
          <p:sp>
            <p:nvSpPr>
              <p:cNvPr id="32" name="Forme libre : forme 31">
                <a:extLst>
                  <a:ext uri="{FF2B5EF4-FFF2-40B4-BE49-F238E27FC236}">
                    <a16:creationId xmlns:a16="http://schemas.microsoft.com/office/drawing/2014/main" id="{0111EEAC-D31E-ACED-D4AF-D1D51DA54AA4}"/>
                  </a:ext>
                </a:extLst>
              </p:cNvPr>
              <p:cNvSpPr/>
              <p:nvPr/>
            </p:nvSpPr>
            <p:spPr>
              <a:xfrm>
                <a:off x="9075370" y="7149253"/>
                <a:ext cx="209456" cy="304810"/>
              </a:xfrm>
              <a:custGeom>
                <a:avLst/>
                <a:gdLst>
                  <a:gd name="connsiteX0" fmla="*/ 200025 w 209456"/>
                  <a:gd name="connsiteY0" fmla="*/ 304810 h 304810"/>
                  <a:gd name="connsiteX1" fmla="*/ 9525 w 209456"/>
                  <a:gd name="connsiteY1" fmla="*/ 304810 h 304810"/>
                  <a:gd name="connsiteX2" fmla="*/ 0 w 209456"/>
                  <a:gd name="connsiteY2" fmla="*/ 295285 h 304810"/>
                  <a:gd name="connsiteX3" fmla="*/ 0 w 209456"/>
                  <a:gd name="connsiteY3" fmla="*/ 66685 h 304810"/>
                  <a:gd name="connsiteX4" fmla="*/ 6763 w 209456"/>
                  <a:gd name="connsiteY4" fmla="*/ 57541 h 304810"/>
                  <a:gd name="connsiteX5" fmla="*/ 197263 w 209456"/>
                  <a:gd name="connsiteY5" fmla="*/ 391 h 304810"/>
                  <a:gd name="connsiteX6" fmla="*/ 205645 w 209456"/>
                  <a:gd name="connsiteY6" fmla="*/ 1915 h 304810"/>
                  <a:gd name="connsiteX7" fmla="*/ 209455 w 209456"/>
                  <a:gd name="connsiteY7" fmla="*/ 9535 h 304810"/>
                  <a:gd name="connsiteX8" fmla="*/ 209455 w 209456"/>
                  <a:gd name="connsiteY8" fmla="*/ 295285 h 304810"/>
                  <a:gd name="connsiteX9" fmla="*/ 200025 w 209456"/>
                  <a:gd name="connsiteY9" fmla="*/ 304810 h 304810"/>
                  <a:gd name="connsiteX10" fmla="*/ 19050 w 209456"/>
                  <a:gd name="connsiteY10" fmla="*/ 285760 h 304810"/>
                  <a:gd name="connsiteX11" fmla="*/ 190500 w 209456"/>
                  <a:gd name="connsiteY11" fmla="*/ 285760 h 304810"/>
                  <a:gd name="connsiteX12" fmla="*/ 190500 w 209456"/>
                  <a:gd name="connsiteY12" fmla="*/ 22299 h 304810"/>
                  <a:gd name="connsiteX13" fmla="*/ 19050 w 209456"/>
                  <a:gd name="connsiteY13" fmla="*/ 73734 h 304810"/>
                  <a:gd name="connsiteX14" fmla="*/ 19050 w 209456"/>
                  <a:gd name="connsiteY14" fmla="*/ 285760 h 304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9456" h="304810">
                    <a:moveTo>
                      <a:pt x="200025" y="304810"/>
                    </a:moveTo>
                    <a:lnTo>
                      <a:pt x="9525" y="304810"/>
                    </a:lnTo>
                    <a:cubicBezTo>
                      <a:pt x="4286" y="304810"/>
                      <a:pt x="0" y="300524"/>
                      <a:pt x="0" y="295285"/>
                    </a:cubicBezTo>
                    <a:lnTo>
                      <a:pt x="0" y="66685"/>
                    </a:lnTo>
                    <a:cubicBezTo>
                      <a:pt x="0" y="62494"/>
                      <a:pt x="2762" y="58779"/>
                      <a:pt x="6763" y="57541"/>
                    </a:cubicBezTo>
                    <a:lnTo>
                      <a:pt x="197263" y="391"/>
                    </a:lnTo>
                    <a:cubicBezTo>
                      <a:pt x="200120" y="-466"/>
                      <a:pt x="203264" y="105"/>
                      <a:pt x="205645" y="1915"/>
                    </a:cubicBezTo>
                    <a:cubicBezTo>
                      <a:pt x="208026" y="3725"/>
                      <a:pt x="209455" y="6582"/>
                      <a:pt x="209455" y="9535"/>
                    </a:cubicBezTo>
                    <a:lnTo>
                      <a:pt x="209455" y="295285"/>
                    </a:lnTo>
                    <a:cubicBezTo>
                      <a:pt x="209550" y="300524"/>
                      <a:pt x="205264" y="304810"/>
                      <a:pt x="200025" y="304810"/>
                    </a:cubicBezTo>
                    <a:close/>
                    <a:moveTo>
                      <a:pt x="19050" y="285760"/>
                    </a:moveTo>
                    <a:lnTo>
                      <a:pt x="190500" y="285760"/>
                    </a:lnTo>
                    <a:lnTo>
                      <a:pt x="190500" y="22299"/>
                    </a:lnTo>
                    <a:lnTo>
                      <a:pt x="19050" y="73734"/>
                    </a:lnTo>
                    <a:lnTo>
                      <a:pt x="19050" y="285760"/>
                    </a:lnTo>
                    <a:close/>
                  </a:path>
                </a:pathLst>
              </a:custGeom>
              <a:solidFill>
                <a:srgbClr val="201602"/>
              </a:solidFill>
              <a:ln w="9525" cap="flat">
                <a:noFill/>
                <a:prstDash val="solid"/>
                <a:miter/>
              </a:ln>
            </p:spPr>
            <p:txBody>
              <a:bodyPr rtlCol="0" anchor="ctr"/>
              <a:lstStyle/>
              <a:p>
                <a:endParaRPr lang="fr-FR" sz="900" dirty="0"/>
              </a:p>
            </p:txBody>
          </p:sp>
          <p:sp>
            <p:nvSpPr>
              <p:cNvPr id="33" name="Forme libre : forme 32">
                <a:extLst>
                  <a:ext uri="{FF2B5EF4-FFF2-40B4-BE49-F238E27FC236}">
                    <a16:creationId xmlns:a16="http://schemas.microsoft.com/office/drawing/2014/main" id="{02202ED8-A5F5-DC41-C32F-F8AEBFFA2E83}"/>
                  </a:ext>
                </a:extLst>
              </p:cNvPr>
              <p:cNvSpPr/>
              <p:nvPr/>
            </p:nvSpPr>
            <p:spPr>
              <a:xfrm>
                <a:off x="9265870" y="7196814"/>
                <a:ext cx="171450" cy="257249"/>
              </a:xfrm>
              <a:custGeom>
                <a:avLst/>
                <a:gdLst>
                  <a:gd name="connsiteX0" fmla="*/ 161925 w 171450"/>
                  <a:gd name="connsiteY0" fmla="*/ 257250 h 257249"/>
                  <a:gd name="connsiteX1" fmla="*/ 9525 w 171450"/>
                  <a:gd name="connsiteY1" fmla="*/ 257250 h 257249"/>
                  <a:gd name="connsiteX2" fmla="*/ 0 w 171450"/>
                  <a:gd name="connsiteY2" fmla="*/ 247725 h 257249"/>
                  <a:gd name="connsiteX3" fmla="*/ 0 w 171450"/>
                  <a:gd name="connsiteY3" fmla="*/ 9600 h 257249"/>
                  <a:gd name="connsiteX4" fmla="*/ 3905 w 171450"/>
                  <a:gd name="connsiteY4" fmla="*/ 1884 h 257249"/>
                  <a:gd name="connsiteX5" fmla="*/ 12382 w 171450"/>
                  <a:gd name="connsiteY5" fmla="*/ 456 h 257249"/>
                  <a:gd name="connsiteX6" fmla="*/ 164783 w 171450"/>
                  <a:gd name="connsiteY6" fmla="*/ 48081 h 257249"/>
                  <a:gd name="connsiteX7" fmla="*/ 171450 w 171450"/>
                  <a:gd name="connsiteY7" fmla="*/ 57225 h 257249"/>
                  <a:gd name="connsiteX8" fmla="*/ 171450 w 171450"/>
                  <a:gd name="connsiteY8" fmla="*/ 247725 h 257249"/>
                  <a:gd name="connsiteX9" fmla="*/ 161925 w 171450"/>
                  <a:gd name="connsiteY9" fmla="*/ 257250 h 257249"/>
                  <a:gd name="connsiteX10" fmla="*/ 19050 w 171450"/>
                  <a:gd name="connsiteY10" fmla="*/ 238200 h 257249"/>
                  <a:gd name="connsiteX11" fmla="*/ 152400 w 171450"/>
                  <a:gd name="connsiteY11" fmla="*/ 238200 h 257249"/>
                  <a:gd name="connsiteX12" fmla="*/ 152400 w 171450"/>
                  <a:gd name="connsiteY12" fmla="*/ 64273 h 257249"/>
                  <a:gd name="connsiteX13" fmla="*/ 19050 w 171450"/>
                  <a:gd name="connsiteY13" fmla="*/ 22554 h 257249"/>
                  <a:gd name="connsiteX14" fmla="*/ 19050 w 171450"/>
                  <a:gd name="connsiteY14" fmla="*/ 238200 h 257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1450" h="257249">
                    <a:moveTo>
                      <a:pt x="161925" y="257250"/>
                    </a:moveTo>
                    <a:lnTo>
                      <a:pt x="9525" y="257250"/>
                    </a:lnTo>
                    <a:cubicBezTo>
                      <a:pt x="4286" y="257250"/>
                      <a:pt x="0" y="252963"/>
                      <a:pt x="0" y="247725"/>
                    </a:cubicBezTo>
                    <a:lnTo>
                      <a:pt x="0" y="9600"/>
                    </a:lnTo>
                    <a:cubicBezTo>
                      <a:pt x="0" y="6552"/>
                      <a:pt x="1429" y="3694"/>
                      <a:pt x="3905" y="1884"/>
                    </a:cubicBezTo>
                    <a:cubicBezTo>
                      <a:pt x="6382" y="75"/>
                      <a:pt x="9525" y="-497"/>
                      <a:pt x="12382" y="456"/>
                    </a:cubicBezTo>
                    <a:lnTo>
                      <a:pt x="164783" y="48081"/>
                    </a:lnTo>
                    <a:cubicBezTo>
                      <a:pt x="168783" y="49414"/>
                      <a:pt x="171450" y="53034"/>
                      <a:pt x="171450" y="57225"/>
                    </a:cubicBezTo>
                    <a:lnTo>
                      <a:pt x="171450" y="247725"/>
                    </a:lnTo>
                    <a:cubicBezTo>
                      <a:pt x="171450" y="252963"/>
                      <a:pt x="167164" y="257250"/>
                      <a:pt x="161925" y="257250"/>
                    </a:cubicBezTo>
                    <a:close/>
                    <a:moveTo>
                      <a:pt x="19050" y="238200"/>
                    </a:moveTo>
                    <a:lnTo>
                      <a:pt x="152400" y="238200"/>
                    </a:lnTo>
                    <a:lnTo>
                      <a:pt x="152400" y="64273"/>
                    </a:lnTo>
                    <a:lnTo>
                      <a:pt x="19050" y="22554"/>
                    </a:lnTo>
                    <a:lnTo>
                      <a:pt x="19050" y="238200"/>
                    </a:lnTo>
                    <a:close/>
                  </a:path>
                </a:pathLst>
              </a:custGeom>
              <a:solidFill>
                <a:srgbClr val="201602"/>
              </a:solidFill>
              <a:ln w="9525" cap="flat">
                <a:noFill/>
                <a:prstDash val="solid"/>
                <a:miter/>
              </a:ln>
            </p:spPr>
            <p:txBody>
              <a:bodyPr rtlCol="0" anchor="ctr"/>
              <a:lstStyle/>
              <a:p>
                <a:endParaRPr lang="fr-FR" sz="900"/>
              </a:p>
            </p:txBody>
          </p:sp>
          <p:sp>
            <p:nvSpPr>
              <p:cNvPr id="34" name="Forme libre : forme 33">
                <a:extLst>
                  <a:ext uri="{FF2B5EF4-FFF2-40B4-BE49-F238E27FC236}">
                    <a16:creationId xmlns:a16="http://schemas.microsoft.com/office/drawing/2014/main" id="{70EE71A1-D4F4-72C0-DE03-2C8B1BCE7F0B}"/>
                  </a:ext>
                </a:extLst>
              </p:cNvPr>
              <p:cNvSpPr/>
              <p:nvPr/>
            </p:nvSpPr>
            <p:spPr>
              <a:xfrm>
                <a:off x="9122995" y="7244514"/>
                <a:ext cx="114300" cy="19050"/>
              </a:xfrm>
              <a:custGeom>
                <a:avLst/>
                <a:gdLst>
                  <a:gd name="connsiteX0" fmla="*/ 0 w 114300"/>
                  <a:gd name="connsiteY0" fmla="*/ 0 h 19050"/>
                  <a:gd name="connsiteX1" fmla="*/ 114300 w 114300"/>
                  <a:gd name="connsiteY1" fmla="*/ 0 h 19050"/>
                  <a:gd name="connsiteX2" fmla="*/ 114300 w 114300"/>
                  <a:gd name="connsiteY2" fmla="*/ 19050 h 19050"/>
                  <a:gd name="connsiteX3" fmla="*/ 0 w 11430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14300" h="19050">
                    <a:moveTo>
                      <a:pt x="0" y="0"/>
                    </a:moveTo>
                    <a:lnTo>
                      <a:pt x="114300" y="0"/>
                    </a:lnTo>
                    <a:lnTo>
                      <a:pt x="114300" y="19050"/>
                    </a:lnTo>
                    <a:lnTo>
                      <a:pt x="0" y="19050"/>
                    </a:lnTo>
                    <a:close/>
                  </a:path>
                </a:pathLst>
              </a:custGeom>
              <a:solidFill>
                <a:srgbClr val="201602"/>
              </a:solidFill>
              <a:ln w="9525" cap="flat">
                <a:noFill/>
                <a:prstDash val="solid"/>
                <a:miter/>
              </a:ln>
            </p:spPr>
            <p:txBody>
              <a:bodyPr rtlCol="0" anchor="ctr"/>
              <a:lstStyle/>
              <a:p>
                <a:endParaRPr lang="fr-FR" sz="900"/>
              </a:p>
            </p:txBody>
          </p:sp>
          <p:sp>
            <p:nvSpPr>
              <p:cNvPr id="35" name="Forme libre : forme 34">
                <a:extLst>
                  <a:ext uri="{FF2B5EF4-FFF2-40B4-BE49-F238E27FC236}">
                    <a16:creationId xmlns:a16="http://schemas.microsoft.com/office/drawing/2014/main" id="{B7ED88C1-19AD-9282-3FC5-EDB335DF53B1}"/>
                  </a:ext>
                </a:extLst>
              </p:cNvPr>
              <p:cNvSpPr/>
              <p:nvPr/>
            </p:nvSpPr>
            <p:spPr>
              <a:xfrm>
                <a:off x="9122995" y="7292139"/>
                <a:ext cx="114300" cy="19050"/>
              </a:xfrm>
              <a:custGeom>
                <a:avLst/>
                <a:gdLst>
                  <a:gd name="connsiteX0" fmla="*/ 0 w 114300"/>
                  <a:gd name="connsiteY0" fmla="*/ 0 h 19050"/>
                  <a:gd name="connsiteX1" fmla="*/ 114300 w 114300"/>
                  <a:gd name="connsiteY1" fmla="*/ 0 h 19050"/>
                  <a:gd name="connsiteX2" fmla="*/ 114300 w 114300"/>
                  <a:gd name="connsiteY2" fmla="*/ 19050 h 19050"/>
                  <a:gd name="connsiteX3" fmla="*/ 0 w 11430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14300" h="19050">
                    <a:moveTo>
                      <a:pt x="0" y="0"/>
                    </a:moveTo>
                    <a:lnTo>
                      <a:pt x="114300" y="0"/>
                    </a:lnTo>
                    <a:lnTo>
                      <a:pt x="114300" y="19050"/>
                    </a:lnTo>
                    <a:lnTo>
                      <a:pt x="0" y="19050"/>
                    </a:lnTo>
                    <a:close/>
                  </a:path>
                </a:pathLst>
              </a:custGeom>
              <a:solidFill>
                <a:srgbClr val="201602"/>
              </a:solidFill>
              <a:ln w="9525" cap="flat">
                <a:noFill/>
                <a:prstDash val="solid"/>
                <a:miter/>
              </a:ln>
            </p:spPr>
            <p:txBody>
              <a:bodyPr rtlCol="0" anchor="ctr"/>
              <a:lstStyle/>
              <a:p>
                <a:endParaRPr lang="fr-FR" sz="900"/>
              </a:p>
            </p:txBody>
          </p:sp>
          <p:sp>
            <p:nvSpPr>
              <p:cNvPr id="36" name="Forme libre : forme 35">
                <a:extLst>
                  <a:ext uri="{FF2B5EF4-FFF2-40B4-BE49-F238E27FC236}">
                    <a16:creationId xmlns:a16="http://schemas.microsoft.com/office/drawing/2014/main" id="{1FC8C2E4-41CA-9C92-47E6-9C881CE8C755}"/>
                  </a:ext>
                </a:extLst>
              </p:cNvPr>
              <p:cNvSpPr/>
              <p:nvPr/>
            </p:nvSpPr>
            <p:spPr>
              <a:xfrm>
                <a:off x="9122995" y="7339764"/>
                <a:ext cx="114300" cy="19050"/>
              </a:xfrm>
              <a:custGeom>
                <a:avLst/>
                <a:gdLst>
                  <a:gd name="connsiteX0" fmla="*/ 0 w 114300"/>
                  <a:gd name="connsiteY0" fmla="*/ 0 h 19050"/>
                  <a:gd name="connsiteX1" fmla="*/ 114300 w 114300"/>
                  <a:gd name="connsiteY1" fmla="*/ 0 h 19050"/>
                  <a:gd name="connsiteX2" fmla="*/ 114300 w 114300"/>
                  <a:gd name="connsiteY2" fmla="*/ 19050 h 19050"/>
                  <a:gd name="connsiteX3" fmla="*/ 0 w 11430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14300" h="19050">
                    <a:moveTo>
                      <a:pt x="0" y="0"/>
                    </a:moveTo>
                    <a:lnTo>
                      <a:pt x="114300" y="0"/>
                    </a:lnTo>
                    <a:lnTo>
                      <a:pt x="114300" y="19050"/>
                    </a:lnTo>
                    <a:lnTo>
                      <a:pt x="0" y="19050"/>
                    </a:lnTo>
                    <a:close/>
                  </a:path>
                </a:pathLst>
              </a:custGeom>
              <a:solidFill>
                <a:srgbClr val="201602"/>
              </a:solidFill>
              <a:ln w="9525" cap="flat">
                <a:noFill/>
                <a:prstDash val="solid"/>
                <a:miter/>
              </a:ln>
            </p:spPr>
            <p:txBody>
              <a:bodyPr rtlCol="0" anchor="ctr"/>
              <a:lstStyle/>
              <a:p>
                <a:endParaRPr lang="fr-FR" sz="900"/>
              </a:p>
            </p:txBody>
          </p:sp>
        </p:grpSp>
      </p:grpSp>
      <p:sp>
        <p:nvSpPr>
          <p:cNvPr id="44" name="Rectangle 43">
            <a:extLst>
              <a:ext uri="{FF2B5EF4-FFF2-40B4-BE49-F238E27FC236}">
                <a16:creationId xmlns:a16="http://schemas.microsoft.com/office/drawing/2014/main" id="{7C9B3D30-7D42-7F27-E331-2913B6DA137D}"/>
              </a:ext>
            </a:extLst>
          </p:cNvPr>
          <p:cNvSpPr/>
          <p:nvPr/>
        </p:nvSpPr>
        <p:spPr>
          <a:xfrm>
            <a:off x="9348075" y="-2511"/>
            <a:ext cx="105878" cy="6858000"/>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00"/>
          </a:p>
        </p:txBody>
      </p:sp>
      <p:pic>
        <p:nvPicPr>
          <p:cNvPr id="3" name="Graphique 2">
            <a:extLst>
              <a:ext uri="{FF2B5EF4-FFF2-40B4-BE49-F238E27FC236}">
                <a16:creationId xmlns:a16="http://schemas.microsoft.com/office/drawing/2014/main" id="{5DA6FD0C-7C39-1D77-F9E0-C58F34D617BF}"/>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rot="16200000">
            <a:off x="11252913" y="5918020"/>
            <a:ext cx="1392175" cy="487782"/>
          </a:xfrm>
          <a:prstGeom prst="rect">
            <a:avLst/>
          </a:prstGeom>
        </p:spPr>
      </p:pic>
      <p:sp>
        <p:nvSpPr>
          <p:cNvPr id="59" name="ZoneTexte 58">
            <a:extLst>
              <a:ext uri="{FF2B5EF4-FFF2-40B4-BE49-F238E27FC236}">
                <a16:creationId xmlns:a16="http://schemas.microsoft.com/office/drawing/2014/main" id="{66C8EED9-530A-4D01-83F3-3ADF11C3F1CF}"/>
              </a:ext>
            </a:extLst>
          </p:cNvPr>
          <p:cNvSpPr txBox="1"/>
          <p:nvPr/>
        </p:nvSpPr>
        <p:spPr>
          <a:xfrm>
            <a:off x="9572311" y="6470995"/>
            <a:ext cx="1664238" cy="200055"/>
          </a:xfrm>
          <a:prstGeom prst="rect">
            <a:avLst/>
          </a:prstGeom>
          <a:noFill/>
        </p:spPr>
        <p:txBody>
          <a:bodyPr wrap="none" rtlCol="0">
            <a:spAutoFit/>
          </a:bodyPr>
          <a:lstStyle/>
          <a:p>
            <a:r>
              <a:rPr lang="fr-FR" sz="700" i="1" dirty="0" err="1">
                <a:solidFill>
                  <a:schemeClr val="bg1"/>
                </a:solidFill>
                <a:latin typeface="Arial" panose="020B0604020202020204" pitchFamily="34" charset="0"/>
                <a:cs typeface="Arial" panose="020B0604020202020204" pitchFamily="34" charset="0"/>
              </a:rPr>
              <a:t>Souce</a:t>
            </a:r>
            <a:r>
              <a:rPr lang="fr-FR" sz="700" i="1" dirty="0">
                <a:solidFill>
                  <a:schemeClr val="bg1"/>
                </a:solidFill>
                <a:latin typeface="Arial" panose="020B0604020202020204" pitchFamily="34" charset="0"/>
                <a:cs typeface="Arial" panose="020B0604020202020204" pitchFamily="34" charset="0"/>
              </a:rPr>
              <a:t> : Z Architecture - PROMOVAL</a:t>
            </a:r>
          </a:p>
        </p:txBody>
      </p:sp>
      <p:sp>
        <p:nvSpPr>
          <p:cNvPr id="8" name="ZoneTexte 7">
            <a:extLst>
              <a:ext uri="{FF2B5EF4-FFF2-40B4-BE49-F238E27FC236}">
                <a16:creationId xmlns:a16="http://schemas.microsoft.com/office/drawing/2014/main" id="{F8C16AD5-7F91-A221-F9A0-0F6DA475FB34}"/>
              </a:ext>
            </a:extLst>
          </p:cNvPr>
          <p:cNvSpPr txBox="1"/>
          <p:nvPr/>
        </p:nvSpPr>
        <p:spPr>
          <a:xfrm>
            <a:off x="5433701" y="5331257"/>
            <a:ext cx="2081921" cy="677108"/>
          </a:xfrm>
          <a:prstGeom prst="rect">
            <a:avLst/>
          </a:prstGeom>
          <a:noFill/>
        </p:spPr>
        <p:txBody>
          <a:bodyPr wrap="square">
            <a:spAutoFit/>
          </a:bodyPr>
          <a:lstStyle/>
          <a:p>
            <a:r>
              <a:rPr lang="fr-FR" sz="1400" b="1" dirty="0">
                <a:solidFill>
                  <a:srgbClr val="E4002B"/>
                </a:solidFill>
                <a:latin typeface="Arial" panose="020B0604020202020204" pitchFamily="34" charset="0"/>
                <a:cs typeface="Arial" panose="020B0604020202020204" pitchFamily="34" charset="0"/>
              </a:rPr>
              <a:t>180 000 étudiants</a:t>
            </a:r>
          </a:p>
          <a:p>
            <a:r>
              <a:rPr lang="fr-FR" sz="1200" dirty="0">
                <a:latin typeface="Arial" panose="020B0604020202020204" pitchFamily="34" charset="0"/>
                <a:cs typeface="Arial" panose="020B0604020202020204" pitchFamily="34" charset="0"/>
              </a:rPr>
              <a:t>en 2021 dont </a:t>
            </a:r>
            <a:r>
              <a:rPr lang="fr-FR" sz="1200" b="1" dirty="0">
                <a:latin typeface="Arial" panose="020B0604020202020204" pitchFamily="34" charset="0"/>
                <a:cs typeface="Arial" panose="020B0604020202020204" pitchFamily="34" charset="0"/>
              </a:rPr>
              <a:t>12 000 ingénieurs</a:t>
            </a:r>
            <a:endParaRPr lang="fr-FR" sz="1200" dirty="0">
              <a:latin typeface="Arial" panose="020B0604020202020204" pitchFamily="34" charset="0"/>
              <a:cs typeface="Arial" panose="020B0604020202020204" pitchFamily="34" charset="0"/>
            </a:endParaRPr>
          </a:p>
        </p:txBody>
      </p:sp>
      <p:pic>
        <p:nvPicPr>
          <p:cNvPr id="42" name="Graphique 41">
            <a:extLst>
              <a:ext uri="{FF2B5EF4-FFF2-40B4-BE49-F238E27FC236}">
                <a16:creationId xmlns:a16="http://schemas.microsoft.com/office/drawing/2014/main" id="{ED799975-AAA2-A59F-E3F1-A6EE3201D94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433701" y="4876392"/>
            <a:ext cx="607424" cy="399165"/>
          </a:xfrm>
          <a:prstGeom prst="rect">
            <a:avLst/>
          </a:prstGeom>
        </p:spPr>
      </p:pic>
    </p:spTree>
    <p:extLst>
      <p:ext uri="{BB962C8B-B14F-4D97-AF65-F5344CB8AC3E}">
        <p14:creationId xmlns:p14="http://schemas.microsoft.com/office/powerpoint/2010/main" val="113312661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3" name="Image 82">
            <a:extLst>
              <a:ext uri="{FF2B5EF4-FFF2-40B4-BE49-F238E27FC236}">
                <a16:creationId xmlns:a16="http://schemas.microsoft.com/office/drawing/2014/main" id="{1AF55E28-E41C-CBED-245F-0385922BEA89}"/>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8723794" y="0"/>
            <a:ext cx="3467810" cy="6858000"/>
          </a:xfrm>
          <a:prstGeom prst="rect">
            <a:avLst/>
          </a:prstGeom>
        </p:spPr>
      </p:pic>
      <p:pic>
        <p:nvPicPr>
          <p:cNvPr id="74" name="Image 73">
            <a:extLst>
              <a:ext uri="{FF2B5EF4-FFF2-40B4-BE49-F238E27FC236}">
                <a16:creationId xmlns:a16="http://schemas.microsoft.com/office/drawing/2014/main" id="{A81A04E1-CBE3-6417-FB8E-EF7187FFFFE4}"/>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rot="10800000">
            <a:off x="4935858" y="1581670"/>
            <a:ext cx="1025972" cy="5149218"/>
          </a:xfrm>
          <a:prstGeom prst="rect">
            <a:avLst/>
          </a:prstGeom>
        </p:spPr>
      </p:pic>
      <p:sp>
        <p:nvSpPr>
          <p:cNvPr id="21" name="Rectangle 20">
            <a:extLst>
              <a:ext uri="{FF2B5EF4-FFF2-40B4-BE49-F238E27FC236}">
                <a16:creationId xmlns:a16="http://schemas.microsoft.com/office/drawing/2014/main" id="{43AC99FD-C9E0-CDDC-8598-FB27375E3F9C}"/>
              </a:ext>
            </a:extLst>
          </p:cNvPr>
          <p:cNvSpPr/>
          <p:nvPr/>
        </p:nvSpPr>
        <p:spPr>
          <a:xfrm>
            <a:off x="397" y="0"/>
            <a:ext cx="105878" cy="6858000"/>
          </a:xfrm>
          <a:prstGeom prst="rect">
            <a:avLst/>
          </a:prstGeom>
          <a:solidFill>
            <a:srgbClr val="E400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00"/>
          </a:p>
        </p:txBody>
      </p:sp>
      <p:sp>
        <p:nvSpPr>
          <p:cNvPr id="26" name="Rectangle 25">
            <a:extLst>
              <a:ext uri="{FF2B5EF4-FFF2-40B4-BE49-F238E27FC236}">
                <a16:creationId xmlns:a16="http://schemas.microsoft.com/office/drawing/2014/main" id="{F8A663CD-186A-0673-8CAE-A8290936B7B7}"/>
              </a:ext>
            </a:extLst>
          </p:cNvPr>
          <p:cNvSpPr/>
          <p:nvPr/>
        </p:nvSpPr>
        <p:spPr>
          <a:xfrm>
            <a:off x="8714890" y="0"/>
            <a:ext cx="105878" cy="6858000"/>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00"/>
          </a:p>
        </p:txBody>
      </p:sp>
      <p:pic>
        <p:nvPicPr>
          <p:cNvPr id="40" name="Graphique 39">
            <a:extLst>
              <a:ext uri="{FF2B5EF4-FFF2-40B4-BE49-F238E27FC236}">
                <a16:creationId xmlns:a16="http://schemas.microsoft.com/office/drawing/2014/main" id="{E77D510C-62E9-94A2-1391-5B50A3CBDCAB}"/>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rot="16200000">
            <a:off x="11252913" y="5918020"/>
            <a:ext cx="1392175" cy="487782"/>
          </a:xfrm>
          <a:prstGeom prst="rect">
            <a:avLst/>
          </a:prstGeom>
        </p:spPr>
      </p:pic>
      <p:sp>
        <p:nvSpPr>
          <p:cNvPr id="3" name="object 8">
            <a:extLst>
              <a:ext uri="{FF2B5EF4-FFF2-40B4-BE49-F238E27FC236}">
                <a16:creationId xmlns:a16="http://schemas.microsoft.com/office/drawing/2014/main" id="{4557A033-47EE-4377-95B2-69D574D604B9}"/>
              </a:ext>
            </a:extLst>
          </p:cNvPr>
          <p:cNvSpPr txBox="1">
            <a:spLocks/>
          </p:cNvSpPr>
          <p:nvPr/>
        </p:nvSpPr>
        <p:spPr>
          <a:xfrm>
            <a:off x="515074" y="333676"/>
            <a:ext cx="7276856" cy="1019356"/>
          </a:xfrm>
          <a:prstGeom prst="rect">
            <a:avLst/>
          </a:prstGeom>
        </p:spPr>
        <p:txBody>
          <a:bodyPr vert="horz" wrap="square" lIns="0" tIns="3658" rIns="0" bIns="0" rtlCol="0" anchor="ctr">
            <a:spAutoFit/>
          </a:bodyPr>
          <a:lstStyle>
            <a:lvl1pPr algn="l" defTabSz="1828709" rtl="0" eaLnBrk="1" latinLnBrk="0" hangingPunct="1">
              <a:lnSpc>
                <a:spcPct val="90000"/>
              </a:lnSpc>
              <a:spcBef>
                <a:spcPct val="0"/>
              </a:spcBef>
              <a:buNone/>
              <a:defRPr sz="8800" kern="1200">
                <a:solidFill>
                  <a:schemeClr val="tx1"/>
                </a:solidFill>
                <a:latin typeface="+mj-lt"/>
                <a:ea typeface="+mj-ea"/>
                <a:cs typeface="+mj-cs"/>
              </a:defRPr>
            </a:lvl1pPr>
          </a:lstStyle>
          <a:p>
            <a:pPr marL="3851">
              <a:lnSpc>
                <a:spcPct val="100000"/>
              </a:lnSpc>
              <a:spcBef>
                <a:spcPts val="29"/>
              </a:spcBef>
              <a:tabLst>
                <a:tab pos="1528050" algn="l"/>
              </a:tabLst>
            </a:pPr>
            <a:r>
              <a:rPr lang="fr-FR" sz="2200" spc="-2" dirty="0">
                <a:solidFill>
                  <a:srgbClr val="E4002B"/>
                </a:solidFill>
                <a:latin typeface="Arial Black" panose="020B0A04020102020204" pitchFamily="34" charset="0"/>
              </a:rPr>
              <a:t>UNE ÉCONOMIE DE SERVICES QUI S’APPUIE </a:t>
            </a:r>
            <a:br>
              <a:rPr lang="fr-FR" sz="2200" spc="-2" dirty="0">
                <a:solidFill>
                  <a:srgbClr val="E4002B"/>
                </a:solidFill>
                <a:latin typeface="Arial Black" panose="020B0A04020102020204" pitchFamily="34" charset="0"/>
              </a:rPr>
            </a:br>
            <a:r>
              <a:rPr lang="fr-FR" sz="2200" spc="-2" dirty="0">
                <a:latin typeface="Arial Black" panose="020B0A04020102020204" pitchFamily="34" charset="0"/>
              </a:rPr>
              <a:t>      SUR LES FONCTIONS MÉTROPOLITAINES</a:t>
            </a:r>
            <a:br>
              <a:rPr lang="fr-FR" sz="2200" spc="-2" dirty="0">
                <a:latin typeface="Arial Black" panose="020B0A04020102020204" pitchFamily="34" charset="0"/>
              </a:rPr>
            </a:br>
            <a:r>
              <a:rPr lang="fr-FR" sz="2200" spc="-2" dirty="0">
                <a:latin typeface="Arial Black" panose="020B0A04020102020204" pitchFamily="34" charset="0"/>
              </a:rPr>
              <a:t>      ET LE DYNAMISME DE L’INDUSTRIE</a:t>
            </a:r>
          </a:p>
        </p:txBody>
      </p:sp>
      <p:grpSp>
        <p:nvGrpSpPr>
          <p:cNvPr id="53" name="Groupe 52">
            <a:extLst>
              <a:ext uri="{FF2B5EF4-FFF2-40B4-BE49-F238E27FC236}">
                <a16:creationId xmlns:a16="http://schemas.microsoft.com/office/drawing/2014/main" id="{01386939-CCFC-ABE6-5C2B-173EB6129E62}"/>
              </a:ext>
            </a:extLst>
          </p:cNvPr>
          <p:cNvGrpSpPr/>
          <p:nvPr/>
        </p:nvGrpSpPr>
        <p:grpSpPr>
          <a:xfrm>
            <a:off x="5175047" y="1827895"/>
            <a:ext cx="3289854" cy="2006689"/>
            <a:chOff x="9334983" y="3923202"/>
            <a:chExt cx="6579707" cy="4013377"/>
          </a:xfrm>
        </p:grpSpPr>
        <p:sp>
          <p:nvSpPr>
            <p:cNvPr id="34" name="object 13">
              <a:extLst>
                <a:ext uri="{FF2B5EF4-FFF2-40B4-BE49-F238E27FC236}">
                  <a16:creationId xmlns:a16="http://schemas.microsoft.com/office/drawing/2014/main" id="{B92D9B88-D9BE-779F-9EF1-67D12BF25B88}"/>
                </a:ext>
              </a:extLst>
            </p:cNvPr>
            <p:cNvSpPr txBox="1"/>
            <p:nvPr/>
          </p:nvSpPr>
          <p:spPr>
            <a:xfrm>
              <a:off x="9334983" y="4553578"/>
              <a:ext cx="6579707" cy="1249912"/>
            </a:xfrm>
            <a:prstGeom prst="rect">
              <a:avLst/>
            </a:prstGeom>
            <a:noFill/>
            <a:ln>
              <a:noFill/>
            </a:ln>
          </p:spPr>
          <p:txBody>
            <a:bodyPr vert="horz" wrap="square" lIns="90000" tIns="90000" rIns="90000" bIns="90000" rtlCol="0">
              <a:spAutoFit/>
            </a:bodyPr>
            <a:lstStyle/>
            <a:p>
              <a:pPr marL="3851">
                <a:lnSpc>
                  <a:spcPct val="90000"/>
                </a:lnSpc>
              </a:pPr>
              <a:r>
                <a:rPr lang="fr-FR" sz="1600" b="1" spc="6" dirty="0">
                  <a:latin typeface="Arial"/>
                  <a:cs typeface="Arial"/>
                </a:rPr>
                <a:t>UN FORT POTENTIEL </a:t>
              </a:r>
            </a:p>
            <a:p>
              <a:pPr marL="3851">
                <a:lnSpc>
                  <a:spcPct val="90000"/>
                </a:lnSpc>
              </a:pPr>
              <a:r>
                <a:rPr lang="fr-FR" sz="1600" b="1" spc="6" dirty="0">
                  <a:solidFill>
                    <a:srgbClr val="E4002B"/>
                  </a:solidFill>
                  <a:latin typeface="Arial"/>
                  <a:cs typeface="Arial"/>
                </a:rPr>
                <a:t>VERS L’IMPACT</a:t>
              </a:r>
            </a:p>
          </p:txBody>
        </p:sp>
        <p:grpSp>
          <p:nvGrpSpPr>
            <p:cNvPr id="37" name="Groupe 36">
              <a:extLst>
                <a:ext uri="{FF2B5EF4-FFF2-40B4-BE49-F238E27FC236}">
                  <a16:creationId xmlns:a16="http://schemas.microsoft.com/office/drawing/2014/main" id="{6CAAD738-2806-7A8B-A4A0-6CD8688B0E24}"/>
                </a:ext>
              </a:extLst>
            </p:cNvPr>
            <p:cNvGrpSpPr/>
            <p:nvPr/>
          </p:nvGrpSpPr>
          <p:grpSpPr>
            <a:xfrm>
              <a:off x="9590405" y="5939579"/>
              <a:ext cx="6306477" cy="1997000"/>
              <a:chOff x="2182814" y="5273724"/>
              <a:chExt cx="6306477" cy="1997000"/>
            </a:xfrm>
          </p:grpSpPr>
          <p:sp>
            <p:nvSpPr>
              <p:cNvPr id="38" name="ZoneTexte 37">
                <a:extLst>
                  <a:ext uri="{FF2B5EF4-FFF2-40B4-BE49-F238E27FC236}">
                    <a16:creationId xmlns:a16="http://schemas.microsoft.com/office/drawing/2014/main" id="{11FC9404-ED71-AB78-B97B-3D7FCE4165EB}"/>
                  </a:ext>
                </a:extLst>
              </p:cNvPr>
              <p:cNvSpPr txBox="1"/>
              <p:nvPr/>
            </p:nvSpPr>
            <p:spPr>
              <a:xfrm>
                <a:off x="2622184" y="6039619"/>
                <a:ext cx="5867107" cy="1231105"/>
              </a:xfrm>
              <a:prstGeom prst="rect">
                <a:avLst/>
              </a:prstGeom>
              <a:noFill/>
              <a:ln>
                <a:solidFill>
                  <a:schemeClr val="tx1"/>
                </a:solidFill>
              </a:ln>
            </p:spPr>
            <p:txBody>
              <a:bodyPr wrap="square" rtlCol="0">
                <a:spAutoFit/>
              </a:bodyPr>
              <a:lstStyle/>
              <a:p>
                <a:r>
                  <a:rPr lang="fr-FR" sz="1200" b="1" dirty="0">
                    <a:latin typeface="Arial" panose="020B0604020202020204" pitchFamily="34" charset="0"/>
                    <a:cs typeface="Arial" panose="020B0604020202020204" pitchFamily="34" charset="0"/>
                  </a:rPr>
                  <a:t>des emplois dans les fonctions supérieures </a:t>
                </a:r>
                <a:r>
                  <a:rPr lang="fr-FR" sz="1000" dirty="0">
                    <a:latin typeface="Arial" panose="020B0604020202020204" pitchFamily="34" charset="0"/>
                    <a:cs typeface="Arial" panose="020B0604020202020204" pitchFamily="34" charset="0"/>
                  </a:rPr>
                  <a:t>(hautes technologies industrielles, numérique, serviciel)</a:t>
                </a:r>
                <a:endParaRPr lang="fr-FR" sz="1200" dirty="0">
                  <a:latin typeface="Arial" panose="020B0604020202020204" pitchFamily="34" charset="0"/>
                  <a:cs typeface="Arial" panose="020B0604020202020204" pitchFamily="34" charset="0"/>
                </a:endParaRPr>
              </a:p>
            </p:txBody>
          </p:sp>
          <p:sp>
            <p:nvSpPr>
              <p:cNvPr id="41" name="ZoneTexte 40">
                <a:extLst>
                  <a:ext uri="{FF2B5EF4-FFF2-40B4-BE49-F238E27FC236}">
                    <a16:creationId xmlns:a16="http://schemas.microsoft.com/office/drawing/2014/main" id="{273DF8B7-72F2-1EE4-CB0A-FDE6936A8519}"/>
                  </a:ext>
                </a:extLst>
              </p:cNvPr>
              <p:cNvSpPr txBox="1"/>
              <p:nvPr/>
            </p:nvSpPr>
            <p:spPr>
              <a:xfrm>
                <a:off x="2182814" y="5273724"/>
                <a:ext cx="1527414" cy="800220"/>
              </a:xfrm>
              <a:prstGeom prst="rect">
                <a:avLst/>
              </a:prstGeom>
              <a:solidFill>
                <a:srgbClr val="E4002B"/>
              </a:solidFill>
              <a:ln>
                <a:noFill/>
              </a:ln>
            </p:spPr>
            <p:txBody>
              <a:bodyPr wrap="square" rtlCol="0">
                <a:spAutoFit/>
              </a:bodyPr>
              <a:lstStyle/>
              <a:p>
                <a:r>
                  <a:rPr lang="fr-FR" sz="2000" b="1" dirty="0">
                    <a:solidFill>
                      <a:schemeClr val="bg1"/>
                    </a:solidFill>
                    <a:latin typeface="Arial" panose="020B0604020202020204" pitchFamily="34" charset="0"/>
                    <a:cs typeface="Arial" panose="020B0604020202020204" pitchFamily="34" charset="0"/>
                  </a:rPr>
                  <a:t>30 % </a:t>
                </a:r>
              </a:p>
            </p:txBody>
          </p:sp>
        </p:grpSp>
        <p:sp>
          <p:nvSpPr>
            <p:cNvPr id="48" name="Flèche : chevron 19">
              <a:extLst>
                <a:ext uri="{FF2B5EF4-FFF2-40B4-BE49-F238E27FC236}">
                  <a16:creationId xmlns:a16="http://schemas.microsoft.com/office/drawing/2014/main" id="{56512830-DB0B-6BF0-C2E6-D7A805855F12}"/>
                </a:ext>
              </a:extLst>
            </p:cNvPr>
            <p:cNvSpPr/>
            <p:nvPr/>
          </p:nvSpPr>
          <p:spPr>
            <a:xfrm rot="5400000">
              <a:off x="9840185" y="3726749"/>
              <a:ext cx="417254" cy="810160"/>
            </a:xfrm>
            <a:prstGeom prst="chevron">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25718" tIns="12859" rIns="25718" bIns="12859" numCol="1" spcCol="0" rtlCol="0" fromWordArt="0" anchor="ctr" anchorCtr="0" forceAA="0" compatLnSpc="1">
              <a:prstTxWarp prst="textNoShape">
                <a:avLst/>
              </a:prstTxWarp>
              <a:noAutofit/>
            </a:bodyPr>
            <a:lstStyle/>
            <a:p>
              <a:pPr algn="ctr"/>
              <a:endParaRPr lang="fr-FR" sz="675" dirty="0">
                <a:solidFill>
                  <a:schemeClr val="tx1"/>
                </a:solidFill>
                <a:latin typeface="Arial Black" panose="020B0A04020102020204" pitchFamily="34" charset="0"/>
              </a:endParaRPr>
            </a:p>
          </p:txBody>
        </p:sp>
      </p:grpSp>
      <p:grpSp>
        <p:nvGrpSpPr>
          <p:cNvPr id="52" name="Groupe 51">
            <a:extLst>
              <a:ext uri="{FF2B5EF4-FFF2-40B4-BE49-F238E27FC236}">
                <a16:creationId xmlns:a16="http://schemas.microsoft.com/office/drawing/2014/main" id="{5A1D6E93-4F20-6F59-8E2B-CBC3992E0DBA}"/>
              </a:ext>
            </a:extLst>
          </p:cNvPr>
          <p:cNvGrpSpPr/>
          <p:nvPr/>
        </p:nvGrpSpPr>
        <p:grpSpPr>
          <a:xfrm>
            <a:off x="451487" y="1644060"/>
            <a:ext cx="4483083" cy="4880263"/>
            <a:chOff x="902180" y="3288122"/>
            <a:chExt cx="8966166" cy="9079296"/>
          </a:xfrm>
        </p:grpSpPr>
        <p:sp>
          <p:nvSpPr>
            <p:cNvPr id="10" name="object 13">
              <a:extLst>
                <a:ext uri="{FF2B5EF4-FFF2-40B4-BE49-F238E27FC236}">
                  <a16:creationId xmlns:a16="http://schemas.microsoft.com/office/drawing/2014/main" id="{68D087FD-8211-1765-21F4-1931E026072C}"/>
                </a:ext>
              </a:extLst>
            </p:cNvPr>
            <p:cNvSpPr txBox="1"/>
            <p:nvPr/>
          </p:nvSpPr>
          <p:spPr>
            <a:xfrm>
              <a:off x="902180" y="3923202"/>
              <a:ext cx="7945892" cy="1693110"/>
            </a:xfrm>
            <a:prstGeom prst="rect">
              <a:avLst/>
            </a:prstGeom>
            <a:noFill/>
            <a:ln>
              <a:noFill/>
            </a:ln>
          </p:spPr>
          <p:txBody>
            <a:bodyPr vert="horz" wrap="square" lIns="90000" tIns="90000" rIns="90000" bIns="90000" rtlCol="0">
              <a:spAutoFit/>
            </a:bodyPr>
            <a:lstStyle/>
            <a:p>
              <a:pPr marL="3851">
                <a:lnSpc>
                  <a:spcPct val="90000"/>
                </a:lnSpc>
              </a:pPr>
              <a:r>
                <a:rPr lang="fr-FR" sz="1600" b="1" spc="6" dirty="0">
                  <a:latin typeface="Arial"/>
                  <a:cs typeface="Arial"/>
                </a:rPr>
                <a:t>UNE MÉTROPOLE GRANDE ÉCHELLE </a:t>
              </a:r>
              <a:br>
                <a:rPr lang="fr-FR" sz="1600" b="1" spc="6" dirty="0">
                  <a:latin typeface="Arial"/>
                  <a:cs typeface="Arial"/>
                </a:rPr>
              </a:br>
              <a:r>
                <a:rPr lang="fr-FR" sz="1600" b="1" spc="6" dirty="0">
                  <a:solidFill>
                    <a:srgbClr val="E4002B"/>
                  </a:solidFill>
                  <a:latin typeface="Arial"/>
                  <a:cs typeface="Arial"/>
                </a:rPr>
                <a:t>DANS DES SECTEURS TERTIAIRES DIVERSIFIÉS : </a:t>
              </a:r>
            </a:p>
          </p:txBody>
        </p:sp>
        <p:sp>
          <p:nvSpPr>
            <p:cNvPr id="12" name="ZoneTexte 11">
              <a:extLst>
                <a:ext uri="{FF2B5EF4-FFF2-40B4-BE49-F238E27FC236}">
                  <a16:creationId xmlns:a16="http://schemas.microsoft.com/office/drawing/2014/main" id="{E73F18BC-F10D-3490-D953-36A393E1299E}"/>
                </a:ext>
              </a:extLst>
            </p:cNvPr>
            <p:cNvSpPr txBox="1"/>
            <p:nvPr/>
          </p:nvSpPr>
          <p:spPr>
            <a:xfrm>
              <a:off x="2750454" y="5649153"/>
              <a:ext cx="4088298" cy="543962"/>
            </a:xfrm>
            <a:prstGeom prst="rect">
              <a:avLst/>
            </a:prstGeom>
            <a:solidFill>
              <a:schemeClr val="tx1"/>
            </a:solidFill>
            <a:ln>
              <a:noFill/>
            </a:ln>
          </p:spPr>
          <p:txBody>
            <a:bodyPr wrap="none" rtlCol="0">
              <a:spAutoFit/>
            </a:bodyPr>
            <a:lstStyle/>
            <a:p>
              <a:r>
                <a:rPr lang="fr-FR" sz="1300" b="1" dirty="0">
                  <a:solidFill>
                    <a:schemeClr val="bg1"/>
                  </a:solidFill>
                  <a:latin typeface="Arial" panose="020B0604020202020204" pitchFamily="34" charset="0"/>
                  <a:cs typeface="Arial" panose="020B0604020202020204" pitchFamily="34" charset="0"/>
                </a:rPr>
                <a:t>Conception / recherche</a:t>
              </a:r>
            </a:p>
          </p:txBody>
        </p:sp>
        <p:sp>
          <p:nvSpPr>
            <p:cNvPr id="13" name="ZoneTexte 12">
              <a:extLst>
                <a:ext uri="{FF2B5EF4-FFF2-40B4-BE49-F238E27FC236}">
                  <a16:creationId xmlns:a16="http://schemas.microsoft.com/office/drawing/2014/main" id="{701586FE-CD63-A280-448D-B436A155B0C7}"/>
                </a:ext>
              </a:extLst>
            </p:cNvPr>
            <p:cNvSpPr txBox="1"/>
            <p:nvPr/>
          </p:nvSpPr>
          <p:spPr>
            <a:xfrm>
              <a:off x="3136138" y="6284413"/>
              <a:ext cx="4498668" cy="543962"/>
            </a:xfrm>
            <a:prstGeom prst="rect">
              <a:avLst/>
            </a:prstGeom>
            <a:solidFill>
              <a:srgbClr val="E4002B"/>
            </a:solidFill>
            <a:ln>
              <a:noFill/>
            </a:ln>
          </p:spPr>
          <p:txBody>
            <a:bodyPr wrap="none" rtlCol="0">
              <a:spAutoFit/>
            </a:bodyPr>
            <a:lstStyle/>
            <a:p>
              <a:r>
                <a:rPr lang="fr-FR" sz="1300" b="1" dirty="0">
                  <a:solidFill>
                    <a:schemeClr val="bg1"/>
                  </a:solidFill>
                  <a:latin typeface="Arial" panose="020B0604020202020204" pitchFamily="34" charset="0"/>
                  <a:cs typeface="Arial" panose="020B0604020202020204" pitchFamily="34" charset="0"/>
                </a:rPr>
                <a:t>Prestations intellectuelles</a:t>
              </a:r>
            </a:p>
          </p:txBody>
        </p:sp>
        <p:sp>
          <p:nvSpPr>
            <p:cNvPr id="14" name="ZoneTexte 13">
              <a:extLst>
                <a:ext uri="{FF2B5EF4-FFF2-40B4-BE49-F238E27FC236}">
                  <a16:creationId xmlns:a16="http://schemas.microsoft.com/office/drawing/2014/main" id="{757ED09B-18D9-BD55-4991-83C8E2BB3E20}"/>
                </a:ext>
              </a:extLst>
            </p:cNvPr>
            <p:cNvSpPr txBox="1"/>
            <p:nvPr/>
          </p:nvSpPr>
          <p:spPr>
            <a:xfrm>
              <a:off x="1822082" y="6917728"/>
              <a:ext cx="4822476" cy="543962"/>
            </a:xfrm>
            <a:prstGeom prst="rect">
              <a:avLst/>
            </a:prstGeom>
            <a:solidFill>
              <a:schemeClr val="bg1">
                <a:lumMod val="65000"/>
              </a:schemeClr>
            </a:solidFill>
            <a:ln>
              <a:noFill/>
            </a:ln>
          </p:spPr>
          <p:txBody>
            <a:bodyPr wrap="none" rtlCol="0">
              <a:spAutoFit/>
            </a:bodyPr>
            <a:lstStyle/>
            <a:p>
              <a:r>
                <a:rPr lang="fr-FR" sz="1300" b="1" dirty="0">
                  <a:solidFill>
                    <a:schemeClr val="bg1"/>
                  </a:solidFill>
                  <a:latin typeface="Arial" panose="020B0604020202020204" pitchFamily="34" charset="0"/>
                  <a:cs typeface="Arial" panose="020B0604020202020204" pitchFamily="34" charset="0"/>
                </a:rPr>
                <a:t>Commerce inter-entreprises</a:t>
              </a:r>
            </a:p>
          </p:txBody>
        </p:sp>
        <p:sp>
          <p:nvSpPr>
            <p:cNvPr id="15" name="ZoneTexte 14">
              <a:extLst>
                <a:ext uri="{FF2B5EF4-FFF2-40B4-BE49-F238E27FC236}">
                  <a16:creationId xmlns:a16="http://schemas.microsoft.com/office/drawing/2014/main" id="{1B104065-0089-BB63-91EC-F7272BE5BFEC}"/>
                </a:ext>
              </a:extLst>
            </p:cNvPr>
            <p:cNvSpPr txBox="1"/>
            <p:nvPr/>
          </p:nvSpPr>
          <p:spPr>
            <a:xfrm>
              <a:off x="2662406" y="7551044"/>
              <a:ext cx="3161764" cy="543962"/>
            </a:xfrm>
            <a:prstGeom prst="rect">
              <a:avLst/>
            </a:prstGeom>
            <a:solidFill>
              <a:srgbClr val="E4002B"/>
            </a:solidFill>
            <a:ln>
              <a:noFill/>
            </a:ln>
          </p:spPr>
          <p:txBody>
            <a:bodyPr wrap="none" rtlCol="0">
              <a:spAutoFit/>
            </a:bodyPr>
            <a:lstStyle/>
            <a:p>
              <a:r>
                <a:rPr lang="fr-FR" sz="1300" b="1" dirty="0">
                  <a:solidFill>
                    <a:schemeClr val="bg1"/>
                  </a:solidFill>
                  <a:latin typeface="Arial" panose="020B0604020202020204" pitchFamily="34" charset="0"/>
                  <a:cs typeface="Arial" panose="020B0604020202020204" pitchFamily="34" charset="0"/>
                </a:rPr>
                <a:t>Gestion / finance </a:t>
              </a:r>
            </a:p>
          </p:txBody>
        </p:sp>
        <p:sp>
          <p:nvSpPr>
            <p:cNvPr id="16" name="ZoneTexte 15">
              <a:extLst>
                <a:ext uri="{FF2B5EF4-FFF2-40B4-BE49-F238E27FC236}">
                  <a16:creationId xmlns:a16="http://schemas.microsoft.com/office/drawing/2014/main" id="{43552E1E-ADF1-F14F-3042-22B3A4FB842E}"/>
                </a:ext>
              </a:extLst>
            </p:cNvPr>
            <p:cNvSpPr txBox="1"/>
            <p:nvPr/>
          </p:nvSpPr>
          <p:spPr>
            <a:xfrm>
              <a:off x="2112494" y="8190328"/>
              <a:ext cx="4690440" cy="543962"/>
            </a:xfrm>
            <a:prstGeom prst="rect">
              <a:avLst/>
            </a:prstGeom>
            <a:solidFill>
              <a:schemeClr val="tx1">
                <a:lumMod val="50000"/>
                <a:lumOff val="50000"/>
              </a:schemeClr>
            </a:solidFill>
            <a:ln>
              <a:noFill/>
            </a:ln>
          </p:spPr>
          <p:txBody>
            <a:bodyPr wrap="square" rtlCol="0">
              <a:spAutoFit/>
            </a:bodyPr>
            <a:lstStyle/>
            <a:p>
              <a:r>
                <a:rPr lang="fr-FR" sz="1300" b="1" dirty="0">
                  <a:solidFill>
                    <a:schemeClr val="bg1"/>
                  </a:solidFill>
                  <a:latin typeface="Arial" panose="020B0604020202020204" pitchFamily="34" charset="0"/>
                  <a:cs typeface="Arial" panose="020B0604020202020204" pitchFamily="34" charset="0"/>
                </a:rPr>
                <a:t>Culture / loisirs / tourisme  </a:t>
              </a:r>
            </a:p>
          </p:txBody>
        </p:sp>
        <p:sp>
          <p:nvSpPr>
            <p:cNvPr id="18" name="ZoneTexte 17">
              <a:extLst>
                <a:ext uri="{FF2B5EF4-FFF2-40B4-BE49-F238E27FC236}">
                  <a16:creationId xmlns:a16="http://schemas.microsoft.com/office/drawing/2014/main" id="{2C0059F2-5F1D-3C51-3B2D-15F8E8854750}"/>
                </a:ext>
              </a:extLst>
            </p:cNvPr>
            <p:cNvSpPr txBox="1"/>
            <p:nvPr/>
          </p:nvSpPr>
          <p:spPr>
            <a:xfrm>
              <a:off x="5971756" y="7551044"/>
              <a:ext cx="2201256" cy="543962"/>
            </a:xfrm>
            <a:prstGeom prst="rect">
              <a:avLst/>
            </a:prstGeom>
            <a:solidFill>
              <a:schemeClr val="tx1"/>
            </a:solidFill>
            <a:ln>
              <a:noFill/>
            </a:ln>
          </p:spPr>
          <p:txBody>
            <a:bodyPr wrap="square" rtlCol="0">
              <a:spAutoFit/>
            </a:bodyPr>
            <a:lstStyle/>
            <a:p>
              <a:r>
                <a:rPr lang="fr-FR" sz="1300" b="1" dirty="0">
                  <a:solidFill>
                    <a:schemeClr val="bg1"/>
                  </a:solidFill>
                  <a:latin typeface="Arial" panose="020B0604020202020204" pitchFamily="34" charset="0"/>
                  <a:cs typeface="Arial" panose="020B0604020202020204" pitchFamily="34" charset="0"/>
                </a:rPr>
                <a:t>Solidarités</a:t>
              </a:r>
            </a:p>
          </p:txBody>
        </p:sp>
        <p:grpSp>
          <p:nvGrpSpPr>
            <p:cNvPr id="23" name="Groupe 22">
              <a:extLst>
                <a:ext uri="{FF2B5EF4-FFF2-40B4-BE49-F238E27FC236}">
                  <a16:creationId xmlns:a16="http://schemas.microsoft.com/office/drawing/2014/main" id="{F9733F31-96FD-8083-6FEF-191D82025DFF}"/>
                </a:ext>
              </a:extLst>
            </p:cNvPr>
            <p:cNvGrpSpPr/>
            <p:nvPr/>
          </p:nvGrpSpPr>
          <p:grpSpPr>
            <a:xfrm>
              <a:off x="1065213" y="9200864"/>
              <a:ext cx="3817376" cy="3166554"/>
              <a:chOff x="2182814" y="5837832"/>
              <a:chExt cx="3817376" cy="3166554"/>
            </a:xfrm>
          </p:grpSpPr>
          <p:sp>
            <p:nvSpPr>
              <p:cNvPr id="24" name="ZoneTexte 23">
                <a:extLst>
                  <a:ext uri="{FF2B5EF4-FFF2-40B4-BE49-F238E27FC236}">
                    <a16:creationId xmlns:a16="http://schemas.microsoft.com/office/drawing/2014/main" id="{43054C4A-D31B-3E4C-8E5B-FEE2BF099D2F}"/>
                  </a:ext>
                </a:extLst>
              </p:cNvPr>
              <p:cNvSpPr txBox="1"/>
              <p:nvPr/>
            </p:nvSpPr>
            <p:spPr>
              <a:xfrm>
                <a:off x="2622184" y="6603728"/>
                <a:ext cx="3378006" cy="2400658"/>
              </a:xfrm>
              <a:prstGeom prst="rect">
                <a:avLst/>
              </a:prstGeom>
              <a:noFill/>
              <a:ln>
                <a:solidFill>
                  <a:schemeClr val="tx1"/>
                </a:solidFill>
              </a:ln>
            </p:spPr>
            <p:txBody>
              <a:bodyPr wrap="square" rtlCol="0">
                <a:spAutoFit/>
              </a:bodyPr>
              <a:lstStyle/>
              <a:p>
                <a:r>
                  <a:rPr lang="fr-FR" sz="1200" b="1" dirty="0">
                    <a:latin typeface="Arial" panose="020B0604020202020204" pitchFamily="34" charset="0"/>
                    <a:cs typeface="Arial" panose="020B0604020202020204" pitchFamily="34" charset="0"/>
                  </a:rPr>
                  <a:t>des emplois </a:t>
                </a:r>
              </a:p>
              <a:p>
                <a:r>
                  <a:rPr lang="fr-FR" sz="1200" b="1" dirty="0">
                    <a:latin typeface="Arial" panose="020B0604020202020204" pitchFamily="34" charset="0"/>
                    <a:cs typeface="Arial" panose="020B0604020202020204" pitchFamily="34" charset="0"/>
                  </a:rPr>
                  <a:t>et des établissements </a:t>
                </a:r>
              </a:p>
              <a:p>
                <a:r>
                  <a:rPr lang="fr-FR" sz="1200" dirty="0">
                    <a:latin typeface="Arial" panose="020B0604020202020204" pitchFamily="34" charset="0"/>
                    <a:cs typeface="Arial" panose="020B0604020202020204" pitchFamily="34" charset="0"/>
                  </a:rPr>
                  <a:t>dans les secteurs </a:t>
                </a:r>
              </a:p>
              <a:p>
                <a:r>
                  <a:rPr lang="fr-FR" sz="1200" dirty="0">
                    <a:latin typeface="Arial" panose="020B0604020202020204" pitchFamily="34" charset="0"/>
                    <a:cs typeface="Arial" panose="020B0604020202020204" pitchFamily="34" charset="0"/>
                  </a:rPr>
                  <a:t>des services privés</a:t>
                </a:r>
                <a:br>
                  <a:rPr lang="fr-FR" sz="1200" dirty="0">
                    <a:latin typeface="Arial" panose="020B0604020202020204" pitchFamily="34" charset="0"/>
                    <a:cs typeface="Arial" panose="020B0604020202020204" pitchFamily="34" charset="0"/>
                  </a:rPr>
                </a:br>
                <a:r>
                  <a:rPr lang="fr-FR" sz="1200" dirty="0">
                    <a:latin typeface="Arial" panose="020B0604020202020204" pitchFamily="34" charset="0"/>
                    <a:cs typeface="Arial" panose="020B0604020202020204" pitchFamily="34" charset="0"/>
                  </a:rPr>
                  <a:t>et particuliers </a:t>
                </a:r>
              </a:p>
            </p:txBody>
          </p:sp>
          <p:sp>
            <p:nvSpPr>
              <p:cNvPr id="25" name="ZoneTexte 24">
                <a:extLst>
                  <a:ext uri="{FF2B5EF4-FFF2-40B4-BE49-F238E27FC236}">
                    <a16:creationId xmlns:a16="http://schemas.microsoft.com/office/drawing/2014/main" id="{777F02FD-C8A1-8F88-4A53-5AE47E628226}"/>
                  </a:ext>
                </a:extLst>
              </p:cNvPr>
              <p:cNvSpPr txBox="1"/>
              <p:nvPr/>
            </p:nvSpPr>
            <p:spPr>
              <a:xfrm>
                <a:off x="2182814" y="5837832"/>
                <a:ext cx="1527414" cy="800220"/>
              </a:xfrm>
              <a:prstGeom prst="rect">
                <a:avLst/>
              </a:prstGeom>
              <a:solidFill>
                <a:srgbClr val="E4002B"/>
              </a:solidFill>
              <a:ln>
                <a:noFill/>
              </a:ln>
            </p:spPr>
            <p:txBody>
              <a:bodyPr wrap="square" rtlCol="0">
                <a:spAutoFit/>
              </a:bodyPr>
              <a:lstStyle/>
              <a:p>
                <a:r>
                  <a:rPr lang="fr-FR" sz="2000" b="1" dirty="0">
                    <a:solidFill>
                      <a:schemeClr val="bg1"/>
                    </a:solidFill>
                    <a:latin typeface="Arial" panose="020B0604020202020204" pitchFamily="34" charset="0"/>
                    <a:cs typeface="Arial" panose="020B0604020202020204" pitchFamily="34" charset="0"/>
                  </a:rPr>
                  <a:t>60 % </a:t>
                </a:r>
              </a:p>
            </p:txBody>
          </p:sp>
        </p:grpSp>
        <p:grpSp>
          <p:nvGrpSpPr>
            <p:cNvPr id="31" name="Groupe 30">
              <a:extLst>
                <a:ext uri="{FF2B5EF4-FFF2-40B4-BE49-F238E27FC236}">
                  <a16:creationId xmlns:a16="http://schemas.microsoft.com/office/drawing/2014/main" id="{3D7F6C48-C323-369A-E7DF-8F9864A74D27}"/>
                </a:ext>
              </a:extLst>
            </p:cNvPr>
            <p:cNvGrpSpPr/>
            <p:nvPr/>
          </p:nvGrpSpPr>
          <p:grpSpPr>
            <a:xfrm>
              <a:off x="5341376" y="9200864"/>
              <a:ext cx="4526970" cy="1687534"/>
              <a:chOff x="3664614" y="3309011"/>
              <a:chExt cx="4526970" cy="1687534"/>
            </a:xfrm>
          </p:grpSpPr>
          <p:sp>
            <p:nvSpPr>
              <p:cNvPr id="32" name="ZoneTexte 31">
                <a:extLst>
                  <a:ext uri="{FF2B5EF4-FFF2-40B4-BE49-F238E27FC236}">
                    <a16:creationId xmlns:a16="http://schemas.microsoft.com/office/drawing/2014/main" id="{ECC65FA3-EADB-3A70-B01C-42303E3B4B69}"/>
                  </a:ext>
                </a:extLst>
              </p:cNvPr>
              <p:cNvSpPr txBox="1"/>
              <p:nvPr/>
            </p:nvSpPr>
            <p:spPr>
              <a:xfrm>
                <a:off x="4103984" y="4073215"/>
                <a:ext cx="4087600" cy="923330"/>
              </a:xfrm>
              <a:prstGeom prst="rect">
                <a:avLst/>
              </a:prstGeom>
              <a:noFill/>
              <a:ln>
                <a:solidFill>
                  <a:schemeClr val="tx1"/>
                </a:solidFill>
              </a:ln>
            </p:spPr>
            <p:txBody>
              <a:bodyPr wrap="square" rtlCol="0">
                <a:spAutoFit/>
              </a:bodyPr>
              <a:lstStyle/>
              <a:p>
                <a:r>
                  <a:rPr lang="fr-FR" sz="1200" b="1" dirty="0">
                    <a:latin typeface="Arial" panose="020B0604020202020204" pitchFamily="34" charset="0"/>
                    <a:cs typeface="Arial" panose="020B0604020202020204" pitchFamily="34" charset="0"/>
                  </a:rPr>
                  <a:t>de croissance </a:t>
                </a:r>
              </a:p>
              <a:p>
                <a:r>
                  <a:rPr lang="fr-FR" sz="1200" dirty="0">
                    <a:latin typeface="Arial" panose="020B0604020202020204" pitchFamily="34" charset="0"/>
                    <a:cs typeface="Arial" panose="020B0604020202020204" pitchFamily="34" charset="0"/>
                  </a:rPr>
                  <a:t>dans les services privés </a:t>
                </a:r>
              </a:p>
            </p:txBody>
          </p:sp>
          <p:sp>
            <p:nvSpPr>
              <p:cNvPr id="33" name="ZoneTexte 32">
                <a:extLst>
                  <a:ext uri="{FF2B5EF4-FFF2-40B4-BE49-F238E27FC236}">
                    <a16:creationId xmlns:a16="http://schemas.microsoft.com/office/drawing/2014/main" id="{64F7CEAF-FAD0-20AC-762D-72FF614DABA1}"/>
                  </a:ext>
                </a:extLst>
              </p:cNvPr>
              <p:cNvSpPr txBox="1"/>
              <p:nvPr/>
            </p:nvSpPr>
            <p:spPr>
              <a:xfrm>
                <a:off x="3664614" y="3309011"/>
                <a:ext cx="2051946" cy="800220"/>
              </a:xfrm>
              <a:prstGeom prst="rect">
                <a:avLst/>
              </a:prstGeom>
              <a:solidFill>
                <a:schemeClr val="tx1"/>
              </a:solidFill>
              <a:ln>
                <a:noFill/>
              </a:ln>
            </p:spPr>
            <p:txBody>
              <a:bodyPr wrap="square" rtlCol="0">
                <a:spAutoFit/>
              </a:bodyPr>
              <a:lstStyle/>
              <a:p>
                <a:r>
                  <a:rPr lang="fr-FR" sz="2000" b="1" dirty="0">
                    <a:solidFill>
                      <a:schemeClr val="bg1"/>
                    </a:solidFill>
                    <a:latin typeface="Arial" panose="020B0604020202020204" pitchFamily="34" charset="0"/>
                    <a:cs typeface="Arial" panose="020B0604020202020204" pitchFamily="34" charset="0"/>
                  </a:rPr>
                  <a:t>+4,5 % </a:t>
                </a:r>
              </a:p>
            </p:txBody>
          </p:sp>
        </p:grpSp>
        <p:sp>
          <p:nvSpPr>
            <p:cNvPr id="51" name="Flèche : chevron 19">
              <a:extLst>
                <a:ext uri="{FF2B5EF4-FFF2-40B4-BE49-F238E27FC236}">
                  <a16:creationId xmlns:a16="http://schemas.microsoft.com/office/drawing/2014/main" id="{48F6402D-FE7F-84C9-ECA2-4D735C5246A7}"/>
                </a:ext>
              </a:extLst>
            </p:cNvPr>
            <p:cNvSpPr/>
            <p:nvPr/>
          </p:nvSpPr>
          <p:spPr>
            <a:xfrm rot="5400000">
              <a:off x="1295955" y="3091669"/>
              <a:ext cx="417254" cy="810160"/>
            </a:xfrm>
            <a:prstGeom prst="chevron">
              <a:avLst/>
            </a:prstGeom>
            <a:solidFill>
              <a:srgbClr val="E4002B"/>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25718" tIns="12859" rIns="25718" bIns="12859" numCol="1" spcCol="0" rtlCol="0" fromWordArt="0" anchor="ctr" anchorCtr="0" forceAA="0" compatLnSpc="1">
              <a:prstTxWarp prst="textNoShape">
                <a:avLst/>
              </a:prstTxWarp>
              <a:noAutofit/>
            </a:bodyPr>
            <a:lstStyle/>
            <a:p>
              <a:pPr algn="ctr"/>
              <a:endParaRPr lang="fr-FR" sz="675" dirty="0">
                <a:solidFill>
                  <a:schemeClr val="tx1"/>
                </a:solidFill>
                <a:latin typeface="Arial Black" panose="020B0A04020102020204" pitchFamily="34" charset="0"/>
              </a:endParaRPr>
            </a:p>
          </p:txBody>
        </p:sp>
      </p:grpSp>
      <p:grpSp>
        <p:nvGrpSpPr>
          <p:cNvPr id="49" name="Graphique 59">
            <a:extLst>
              <a:ext uri="{FF2B5EF4-FFF2-40B4-BE49-F238E27FC236}">
                <a16:creationId xmlns:a16="http://schemas.microsoft.com/office/drawing/2014/main" id="{F8F0E3CC-ECD1-45E2-855D-036D3B7ACE79}"/>
              </a:ext>
            </a:extLst>
          </p:cNvPr>
          <p:cNvGrpSpPr/>
          <p:nvPr/>
        </p:nvGrpSpPr>
        <p:grpSpPr>
          <a:xfrm>
            <a:off x="5341915" y="4068085"/>
            <a:ext cx="785173" cy="787023"/>
            <a:chOff x="11653044" y="6315075"/>
            <a:chExt cx="1080351" cy="1082897"/>
          </a:xfrm>
          <a:solidFill>
            <a:schemeClr val="tx1"/>
          </a:solidFill>
        </p:grpSpPr>
        <p:sp>
          <p:nvSpPr>
            <p:cNvPr id="54" name="Forme libre : forme 53">
              <a:extLst>
                <a:ext uri="{FF2B5EF4-FFF2-40B4-BE49-F238E27FC236}">
                  <a16:creationId xmlns:a16="http://schemas.microsoft.com/office/drawing/2014/main" id="{8F137CCB-8700-4E43-8D03-C5AA6C2A3991}"/>
                </a:ext>
              </a:extLst>
            </p:cNvPr>
            <p:cNvSpPr/>
            <p:nvPr/>
          </p:nvSpPr>
          <p:spPr>
            <a:xfrm>
              <a:off x="11653044" y="6884384"/>
              <a:ext cx="1080351" cy="513588"/>
            </a:xfrm>
            <a:custGeom>
              <a:avLst/>
              <a:gdLst>
                <a:gd name="connsiteX0" fmla="*/ 1076420 w 1080351"/>
                <a:gd name="connsiteY0" fmla="*/ 145066 h 513588"/>
                <a:gd name="connsiteX1" fmla="*/ 1060037 w 1080351"/>
                <a:gd name="connsiteY1" fmla="*/ 136684 h 513588"/>
                <a:gd name="connsiteX2" fmla="*/ 923830 w 1080351"/>
                <a:gd name="connsiteY2" fmla="*/ 76676 h 513588"/>
                <a:gd name="connsiteX3" fmla="*/ 895255 w 1080351"/>
                <a:gd name="connsiteY3" fmla="*/ 55912 h 513588"/>
                <a:gd name="connsiteX4" fmla="*/ 733711 w 1080351"/>
                <a:gd name="connsiteY4" fmla="*/ 0 h 513588"/>
                <a:gd name="connsiteX5" fmla="*/ 658940 w 1080351"/>
                <a:gd name="connsiteY5" fmla="*/ 857 h 513588"/>
                <a:gd name="connsiteX6" fmla="*/ 506254 w 1080351"/>
                <a:gd name="connsiteY6" fmla="*/ 857 h 513588"/>
                <a:gd name="connsiteX7" fmla="*/ 445580 w 1080351"/>
                <a:gd name="connsiteY7" fmla="*/ 61532 h 513588"/>
                <a:gd name="connsiteX8" fmla="*/ 506254 w 1080351"/>
                <a:gd name="connsiteY8" fmla="*/ 122206 h 513588"/>
                <a:gd name="connsiteX9" fmla="*/ 647890 w 1080351"/>
                <a:gd name="connsiteY9" fmla="*/ 122206 h 513588"/>
                <a:gd name="connsiteX10" fmla="*/ 680466 w 1080351"/>
                <a:gd name="connsiteY10" fmla="*/ 161925 h 513588"/>
                <a:gd name="connsiteX11" fmla="*/ 661321 w 1080351"/>
                <a:gd name="connsiteY11" fmla="*/ 196120 h 513588"/>
                <a:gd name="connsiteX12" fmla="*/ 608648 w 1080351"/>
                <a:gd name="connsiteY12" fmla="*/ 210122 h 513588"/>
                <a:gd name="connsiteX13" fmla="*/ 554736 w 1080351"/>
                <a:gd name="connsiteY13" fmla="*/ 224409 h 513588"/>
                <a:gd name="connsiteX14" fmla="*/ 550926 w 1080351"/>
                <a:gd name="connsiteY14" fmla="*/ 225362 h 513588"/>
                <a:gd name="connsiteX15" fmla="*/ 410147 w 1080351"/>
                <a:gd name="connsiteY15" fmla="*/ 262223 h 513588"/>
                <a:gd name="connsiteX16" fmla="*/ 398621 w 1080351"/>
                <a:gd name="connsiteY16" fmla="*/ 261747 h 513588"/>
                <a:gd name="connsiteX17" fmla="*/ 176498 w 1080351"/>
                <a:gd name="connsiteY17" fmla="*/ 117920 h 513588"/>
                <a:gd name="connsiteX18" fmla="*/ 136017 w 1080351"/>
                <a:gd name="connsiteY18" fmla="*/ 88582 h 513588"/>
                <a:gd name="connsiteX19" fmla="*/ 133636 w 1080351"/>
                <a:gd name="connsiteY19" fmla="*/ 87059 h 513588"/>
                <a:gd name="connsiteX20" fmla="*/ 127254 w 1080351"/>
                <a:gd name="connsiteY20" fmla="*/ 83534 h 513588"/>
                <a:gd name="connsiteX21" fmla="*/ 114300 w 1080351"/>
                <a:gd name="connsiteY21" fmla="*/ 78200 h 513588"/>
                <a:gd name="connsiteX22" fmla="*/ 103632 w 1080351"/>
                <a:gd name="connsiteY22" fmla="*/ 75819 h 513588"/>
                <a:gd name="connsiteX23" fmla="*/ 77057 w 1080351"/>
                <a:gd name="connsiteY23" fmla="*/ 76200 h 513588"/>
                <a:gd name="connsiteX24" fmla="*/ 0 w 1080351"/>
                <a:gd name="connsiteY24" fmla="*/ 161163 h 513588"/>
                <a:gd name="connsiteX25" fmla="*/ 24955 w 1080351"/>
                <a:gd name="connsiteY25" fmla="*/ 220980 h 513588"/>
                <a:gd name="connsiteX26" fmla="*/ 26003 w 1080351"/>
                <a:gd name="connsiteY26" fmla="*/ 222123 h 513588"/>
                <a:gd name="connsiteX27" fmla="*/ 45244 w 1080351"/>
                <a:gd name="connsiteY27" fmla="*/ 236315 h 513588"/>
                <a:gd name="connsiteX28" fmla="*/ 413766 w 1080351"/>
                <a:gd name="connsiteY28" fmla="*/ 503491 h 513588"/>
                <a:gd name="connsiteX29" fmla="*/ 419386 w 1080351"/>
                <a:gd name="connsiteY29" fmla="*/ 506349 h 513588"/>
                <a:gd name="connsiteX30" fmla="*/ 422434 w 1080351"/>
                <a:gd name="connsiteY30" fmla="*/ 507587 h 513588"/>
                <a:gd name="connsiteX31" fmla="*/ 423386 w 1080351"/>
                <a:gd name="connsiteY31" fmla="*/ 507968 h 513588"/>
                <a:gd name="connsiteX32" fmla="*/ 455295 w 1080351"/>
                <a:gd name="connsiteY32" fmla="*/ 513588 h 513588"/>
                <a:gd name="connsiteX33" fmla="*/ 474345 w 1080351"/>
                <a:gd name="connsiteY33" fmla="*/ 511683 h 513588"/>
                <a:gd name="connsiteX34" fmla="*/ 475583 w 1080351"/>
                <a:gd name="connsiteY34" fmla="*/ 511397 h 513588"/>
                <a:gd name="connsiteX35" fmla="*/ 477203 w 1080351"/>
                <a:gd name="connsiteY35" fmla="*/ 511016 h 513588"/>
                <a:gd name="connsiteX36" fmla="*/ 960977 w 1080351"/>
                <a:gd name="connsiteY36" fmla="*/ 388906 h 513588"/>
                <a:gd name="connsiteX37" fmla="*/ 963263 w 1080351"/>
                <a:gd name="connsiteY37" fmla="*/ 388144 h 513588"/>
                <a:gd name="connsiteX38" fmla="*/ 970502 w 1080351"/>
                <a:gd name="connsiteY38" fmla="*/ 385477 h 513588"/>
                <a:gd name="connsiteX39" fmla="*/ 1059752 w 1080351"/>
                <a:gd name="connsiteY39" fmla="*/ 370141 h 513588"/>
                <a:gd name="connsiteX40" fmla="*/ 1080040 w 1080351"/>
                <a:gd name="connsiteY40" fmla="*/ 349853 h 513588"/>
                <a:gd name="connsiteX41" fmla="*/ 1080040 w 1080351"/>
                <a:gd name="connsiteY41" fmla="*/ 336328 h 513588"/>
                <a:gd name="connsiteX42" fmla="*/ 1080326 w 1080351"/>
                <a:gd name="connsiteY42" fmla="*/ 332518 h 513588"/>
                <a:gd name="connsiteX43" fmla="*/ 1080040 w 1080351"/>
                <a:gd name="connsiteY43" fmla="*/ 160496 h 513588"/>
                <a:gd name="connsiteX44" fmla="*/ 1076420 w 1080351"/>
                <a:gd name="connsiteY44" fmla="*/ 145066 h 513588"/>
                <a:gd name="connsiteX45" fmla="*/ 1039654 w 1080351"/>
                <a:gd name="connsiteY45" fmla="*/ 330708 h 513588"/>
                <a:gd name="connsiteX46" fmla="*/ 959644 w 1080351"/>
                <a:gd name="connsiteY46" fmla="*/ 346329 h 513588"/>
                <a:gd name="connsiteX47" fmla="*/ 957167 w 1080351"/>
                <a:gd name="connsiteY47" fmla="*/ 347091 h 513588"/>
                <a:gd name="connsiteX48" fmla="*/ 950214 w 1080351"/>
                <a:gd name="connsiteY48" fmla="*/ 349663 h 513588"/>
                <a:gd name="connsiteX49" fmla="*/ 467106 w 1080351"/>
                <a:gd name="connsiteY49" fmla="*/ 471583 h 513588"/>
                <a:gd name="connsiteX50" fmla="*/ 465963 w 1080351"/>
                <a:gd name="connsiteY50" fmla="*/ 471868 h 513588"/>
                <a:gd name="connsiteX51" fmla="*/ 436912 w 1080351"/>
                <a:gd name="connsiteY51" fmla="*/ 469583 h 513588"/>
                <a:gd name="connsiteX52" fmla="*/ 67818 w 1080351"/>
                <a:gd name="connsiteY52" fmla="*/ 202597 h 513588"/>
                <a:gd name="connsiteX53" fmla="*/ 65151 w 1080351"/>
                <a:gd name="connsiteY53" fmla="*/ 200978 h 513588"/>
                <a:gd name="connsiteX54" fmla="*/ 54388 w 1080351"/>
                <a:gd name="connsiteY54" fmla="*/ 193167 h 513588"/>
                <a:gd name="connsiteX55" fmla="*/ 53816 w 1080351"/>
                <a:gd name="connsiteY55" fmla="*/ 192691 h 513588"/>
                <a:gd name="connsiteX56" fmla="*/ 40481 w 1080351"/>
                <a:gd name="connsiteY56" fmla="*/ 161163 h 513588"/>
                <a:gd name="connsiteX57" fmla="*/ 81629 w 1080351"/>
                <a:gd name="connsiteY57" fmla="*/ 116681 h 513588"/>
                <a:gd name="connsiteX58" fmla="*/ 84011 w 1080351"/>
                <a:gd name="connsiteY58" fmla="*/ 116300 h 513588"/>
                <a:gd name="connsiteX59" fmla="*/ 97346 w 1080351"/>
                <a:gd name="connsiteY59" fmla="*/ 116014 h 513588"/>
                <a:gd name="connsiteX60" fmla="*/ 102584 w 1080351"/>
                <a:gd name="connsiteY60" fmla="*/ 117157 h 513588"/>
                <a:gd name="connsiteX61" fmla="*/ 109061 w 1080351"/>
                <a:gd name="connsiteY61" fmla="*/ 119824 h 513588"/>
                <a:gd name="connsiteX62" fmla="*/ 112871 w 1080351"/>
                <a:gd name="connsiteY62" fmla="*/ 122015 h 513588"/>
                <a:gd name="connsiteX63" fmla="*/ 113728 w 1080351"/>
                <a:gd name="connsiteY63" fmla="*/ 122587 h 513588"/>
                <a:gd name="connsiteX64" fmla="*/ 153257 w 1080351"/>
                <a:gd name="connsiteY64" fmla="*/ 151162 h 513588"/>
                <a:gd name="connsiteX65" fmla="*/ 154115 w 1080351"/>
                <a:gd name="connsiteY65" fmla="*/ 151733 h 513588"/>
                <a:gd name="connsiteX66" fmla="*/ 380048 w 1080351"/>
                <a:gd name="connsiteY66" fmla="*/ 298228 h 513588"/>
                <a:gd name="connsiteX67" fmla="*/ 386144 w 1080351"/>
                <a:gd name="connsiteY67" fmla="*/ 300895 h 513588"/>
                <a:gd name="connsiteX68" fmla="*/ 414242 w 1080351"/>
                <a:gd name="connsiteY68" fmla="*/ 302990 h 513588"/>
                <a:gd name="connsiteX69" fmla="*/ 417767 w 1080351"/>
                <a:gd name="connsiteY69" fmla="*/ 302514 h 513588"/>
                <a:gd name="connsiteX70" fmla="*/ 561308 w 1080351"/>
                <a:gd name="connsiteY70" fmla="*/ 264985 h 513588"/>
                <a:gd name="connsiteX71" fmla="*/ 565595 w 1080351"/>
                <a:gd name="connsiteY71" fmla="*/ 263843 h 513588"/>
                <a:gd name="connsiteX72" fmla="*/ 618744 w 1080351"/>
                <a:gd name="connsiteY72" fmla="*/ 249745 h 513588"/>
                <a:gd name="connsiteX73" fmla="*/ 674561 w 1080351"/>
                <a:gd name="connsiteY73" fmla="*/ 234887 h 513588"/>
                <a:gd name="connsiteX74" fmla="*/ 679133 w 1080351"/>
                <a:gd name="connsiteY74" fmla="*/ 233077 h 513588"/>
                <a:gd name="connsiteX75" fmla="*/ 721138 w 1080351"/>
                <a:gd name="connsiteY75" fmla="*/ 162306 h 513588"/>
                <a:gd name="connsiteX76" fmla="*/ 653129 w 1080351"/>
                <a:gd name="connsiteY76" fmla="*/ 82296 h 513588"/>
                <a:gd name="connsiteX77" fmla="*/ 649891 w 1080351"/>
                <a:gd name="connsiteY77" fmla="*/ 82010 h 513588"/>
                <a:gd name="connsiteX78" fmla="*/ 506254 w 1080351"/>
                <a:gd name="connsiteY78" fmla="*/ 82010 h 513588"/>
                <a:gd name="connsiteX79" fmla="*/ 486061 w 1080351"/>
                <a:gd name="connsiteY79" fmla="*/ 61817 h 513588"/>
                <a:gd name="connsiteX80" fmla="*/ 506254 w 1080351"/>
                <a:gd name="connsiteY80" fmla="*/ 41624 h 513588"/>
                <a:gd name="connsiteX81" fmla="*/ 659606 w 1080351"/>
                <a:gd name="connsiteY81" fmla="*/ 41624 h 513588"/>
                <a:gd name="connsiteX82" fmla="*/ 733806 w 1080351"/>
                <a:gd name="connsiteY82" fmla="*/ 40767 h 513588"/>
                <a:gd name="connsiteX83" fmla="*/ 872109 w 1080351"/>
                <a:gd name="connsiteY83" fmla="*/ 89345 h 513588"/>
                <a:gd name="connsiteX84" fmla="*/ 899732 w 1080351"/>
                <a:gd name="connsiteY84" fmla="*/ 109442 h 513588"/>
                <a:gd name="connsiteX85" fmla="*/ 1039559 w 1080351"/>
                <a:gd name="connsiteY85" fmla="*/ 176308 h 513588"/>
                <a:gd name="connsiteX86" fmla="*/ 1039559 w 1080351"/>
                <a:gd name="connsiteY86" fmla="*/ 309848 h 513588"/>
                <a:gd name="connsiteX87" fmla="*/ 1039844 w 1080351"/>
                <a:gd name="connsiteY87" fmla="*/ 329660 h 513588"/>
                <a:gd name="connsiteX88" fmla="*/ 1039654 w 1080351"/>
                <a:gd name="connsiteY88" fmla="*/ 330708 h 513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80351" h="513588">
                  <a:moveTo>
                    <a:pt x="1076420" y="145066"/>
                  </a:moveTo>
                  <a:cubicBezTo>
                    <a:pt x="1072610" y="139827"/>
                    <a:pt x="1066514" y="136684"/>
                    <a:pt x="1060037" y="136684"/>
                  </a:cubicBezTo>
                  <a:cubicBezTo>
                    <a:pt x="1004602" y="136684"/>
                    <a:pt x="967169" y="108871"/>
                    <a:pt x="923830" y="76676"/>
                  </a:cubicBezTo>
                  <a:cubicBezTo>
                    <a:pt x="914495" y="69723"/>
                    <a:pt x="904970" y="62674"/>
                    <a:pt x="895255" y="55912"/>
                  </a:cubicBezTo>
                  <a:cubicBezTo>
                    <a:pt x="855631" y="28289"/>
                    <a:pt x="805434" y="0"/>
                    <a:pt x="733711" y="0"/>
                  </a:cubicBezTo>
                  <a:cubicBezTo>
                    <a:pt x="703421" y="0"/>
                    <a:pt x="678752" y="286"/>
                    <a:pt x="658940" y="857"/>
                  </a:cubicBezTo>
                  <a:lnTo>
                    <a:pt x="506254" y="857"/>
                  </a:lnTo>
                  <a:cubicBezTo>
                    <a:pt x="472821" y="857"/>
                    <a:pt x="445580" y="28099"/>
                    <a:pt x="445580" y="61532"/>
                  </a:cubicBezTo>
                  <a:cubicBezTo>
                    <a:pt x="445580" y="94964"/>
                    <a:pt x="472821" y="122206"/>
                    <a:pt x="506254" y="122206"/>
                  </a:cubicBezTo>
                  <a:lnTo>
                    <a:pt x="647890" y="122206"/>
                  </a:lnTo>
                  <a:cubicBezTo>
                    <a:pt x="666845" y="126016"/>
                    <a:pt x="680466" y="142494"/>
                    <a:pt x="680466" y="161925"/>
                  </a:cubicBezTo>
                  <a:cubicBezTo>
                    <a:pt x="680466" y="175832"/>
                    <a:pt x="673132" y="188690"/>
                    <a:pt x="661321" y="196120"/>
                  </a:cubicBezTo>
                  <a:cubicBezTo>
                    <a:pt x="653606" y="198215"/>
                    <a:pt x="633794" y="203454"/>
                    <a:pt x="608648" y="210122"/>
                  </a:cubicBezTo>
                  <a:cubicBezTo>
                    <a:pt x="590645" y="214503"/>
                    <a:pt x="572262" y="219361"/>
                    <a:pt x="554736" y="224409"/>
                  </a:cubicBezTo>
                  <a:lnTo>
                    <a:pt x="550926" y="225362"/>
                  </a:lnTo>
                  <a:cubicBezTo>
                    <a:pt x="452723" y="251365"/>
                    <a:pt x="419767" y="259842"/>
                    <a:pt x="410147" y="262223"/>
                  </a:cubicBezTo>
                  <a:cubicBezTo>
                    <a:pt x="405670" y="262414"/>
                    <a:pt x="401860" y="262223"/>
                    <a:pt x="398621" y="261747"/>
                  </a:cubicBezTo>
                  <a:lnTo>
                    <a:pt x="176498" y="117920"/>
                  </a:lnTo>
                  <a:lnTo>
                    <a:pt x="136017" y="88582"/>
                  </a:lnTo>
                  <a:cubicBezTo>
                    <a:pt x="135255" y="88011"/>
                    <a:pt x="134493" y="87535"/>
                    <a:pt x="133636" y="87059"/>
                  </a:cubicBezTo>
                  <a:cubicBezTo>
                    <a:pt x="131636" y="85820"/>
                    <a:pt x="129445" y="84582"/>
                    <a:pt x="127254" y="83534"/>
                  </a:cubicBezTo>
                  <a:cubicBezTo>
                    <a:pt x="122873" y="81343"/>
                    <a:pt x="118777" y="79629"/>
                    <a:pt x="114300" y="78200"/>
                  </a:cubicBezTo>
                  <a:cubicBezTo>
                    <a:pt x="111157" y="77248"/>
                    <a:pt x="107633" y="76486"/>
                    <a:pt x="103632" y="75819"/>
                  </a:cubicBezTo>
                  <a:cubicBezTo>
                    <a:pt x="93631" y="74295"/>
                    <a:pt x="85439" y="74581"/>
                    <a:pt x="77057" y="76200"/>
                  </a:cubicBezTo>
                  <a:cubicBezTo>
                    <a:pt x="33052" y="80772"/>
                    <a:pt x="0" y="116967"/>
                    <a:pt x="0" y="161163"/>
                  </a:cubicBezTo>
                  <a:cubicBezTo>
                    <a:pt x="0" y="183642"/>
                    <a:pt x="8858" y="204883"/>
                    <a:pt x="24955" y="220980"/>
                  </a:cubicBezTo>
                  <a:cubicBezTo>
                    <a:pt x="25337" y="221361"/>
                    <a:pt x="25622" y="221742"/>
                    <a:pt x="26003" y="222123"/>
                  </a:cubicBezTo>
                  <a:cubicBezTo>
                    <a:pt x="31909" y="227838"/>
                    <a:pt x="38386" y="232601"/>
                    <a:pt x="45244" y="236315"/>
                  </a:cubicBezTo>
                  <a:lnTo>
                    <a:pt x="413766" y="503491"/>
                  </a:lnTo>
                  <a:cubicBezTo>
                    <a:pt x="415481" y="504730"/>
                    <a:pt x="417386" y="505682"/>
                    <a:pt x="419386" y="506349"/>
                  </a:cubicBezTo>
                  <a:lnTo>
                    <a:pt x="422434" y="507587"/>
                  </a:lnTo>
                  <a:cubicBezTo>
                    <a:pt x="422815" y="507683"/>
                    <a:pt x="423100" y="507873"/>
                    <a:pt x="423386" y="507968"/>
                  </a:cubicBezTo>
                  <a:cubicBezTo>
                    <a:pt x="434435" y="511778"/>
                    <a:pt x="444913" y="513588"/>
                    <a:pt x="455295" y="513588"/>
                  </a:cubicBezTo>
                  <a:cubicBezTo>
                    <a:pt x="461582" y="513588"/>
                    <a:pt x="467963" y="512921"/>
                    <a:pt x="474345" y="511683"/>
                  </a:cubicBezTo>
                  <a:cubicBezTo>
                    <a:pt x="474821" y="511588"/>
                    <a:pt x="475202" y="511493"/>
                    <a:pt x="475583" y="511397"/>
                  </a:cubicBezTo>
                  <a:lnTo>
                    <a:pt x="477203" y="511016"/>
                  </a:lnTo>
                  <a:cubicBezTo>
                    <a:pt x="710756" y="451580"/>
                    <a:pt x="878015" y="409385"/>
                    <a:pt x="960977" y="388906"/>
                  </a:cubicBezTo>
                  <a:cubicBezTo>
                    <a:pt x="961739" y="388715"/>
                    <a:pt x="962501" y="388430"/>
                    <a:pt x="963263" y="388144"/>
                  </a:cubicBezTo>
                  <a:lnTo>
                    <a:pt x="970502" y="385477"/>
                  </a:lnTo>
                  <a:cubicBezTo>
                    <a:pt x="1010793" y="375380"/>
                    <a:pt x="1041559" y="370141"/>
                    <a:pt x="1059752" y="370141"/>
                  </a:cubicBezTo>
                  <a:cubicBezTo>
                    <a:pt x="1070896" y="370141"/>
                    <a:pt x="1080040" y="361093"/>
                    <a:pt x="1080040" y="349853"/>
                  </a:cubicBezTo>
                  <a:lnTo>
                    <a:pt x="1080040" y="336328"/>
                  </a:lnTo>
                  <a:cubicBezTo>
                    <a:pt x="1080230" y="335089"/>
                    <a:pt x="1080326" y="333851"/>
                    <a:pt x="1080326" y="332518"/>
                  </a:cubicBezTo>
                  <a:lnTo>
                    <a:pt x="1080040" y="160496"/>
                  </a:lnTo>
                  <a:cubicBezTo>
                    <a:pt x="1080992" y="155162"/>
                    <a:pt x="1079754" y="149543"/>
                    <a:pt x="1076420" y="145066"/>
                  </a:cubicBezTo>
                  <a:close/>
                  <a:moveTo>
                    <a:pt x="1039654" y="330708"/>
                  </a:moveTo>
                  <a:cubicBezTo>
                    <a:pt x="1019080" y="332899"/>
                    <a:pt x="992219" y="338137"/>
                    <a:pt x="959644" y="346329"/>
                  </a:cubicBezTo>
                  <a:cubicBezTo>
                    <a:pt x="958977" y="346520"/>
                    <a:pt x="957929" y="346805"/>
                    <a:pt x="957167" y="347091"/>
                  </a:cubicBezTo>
                  <a:lnTo>
                    <a:pt x="950214" y="349663"/>
                  </a:lnTo>
                  <a:cubicBezTo>
                    <a:pt x="866775" y="370237"/>
                    <a:pt x="699897" y="412337"/>
                    <a:pt x="467106" y="471583"/>
                  </a:cubicBezTo>
                  <a:lnTo>
                    <a:pt x="465963" y="471868"/>
                  </a:lnTo>
                  <a:cubicBezTo>
                    <a:pt x="456248" y="473678"/>
                    <a:pt x="447485" y="473107"/>
                    <a:pt x="436912" y="469583"/>
                  </a:cubicBezTo>
                  <a:lnTo>
                    <a:pt x="67818" y="202597"/>
                  </a:lnTo>
                  <a:cubicBezTo>
                    <a:pt x="66961" y="202025"/>
                    <a:pt x="66104" y="201454"/>
                    <a:pt x="65151" y="200978"/>
                  </a:cubicBezTo>
                  <a:cubicBezTo>
                    <a:pt x="61436" y="199072"/>
                    <a:pt x="57722" y="196405"/>
                    <a:pt x="54388" y="193167"/>
                  </a:cubicBezTo>
                  <a:cubicBezTo>
                    <a:pt x="54293" y="193072"/>
                    <a:pt x="54102" y="192881"/>
                    <a:pt x="53816" y="192691"/>
                  </a:cubicBezTo>
                  <a:cubicBezTo>
                    <a:pt x="45244" y="184214"/>
                    <a:pt x="40481" y="172974"/>
                    <a:pt x="40481" y="161163"/>
                  </a:cubicBezTo>
                  <a:cubicBezTo>
                    <a:pt x="40481" y="137827"/>
                    <a:pt x="58198" y="118682"/>
                    <a:pt x="81629" y="116681"/>
                  </a:cubicBezTo>
                  <a:cubicBezTo>
                    <a:pt x="82391" y="116586"/>
                    <a:pt x="83249" y="116491"/>
                    <a:pt x="84011" y="116300"/>
                  </a:cubicBezTo>
                  <a:cubicBezTo>
                    <a:pt x="88106" y="115443"/>
                    <a:pt x="92012" y="115253"/>
                    <a:pt x="97346" y="116014"/>
                  </a:cubicBezTo>
                  <a:cubicBezTo>
                    <a:pt x="99251" y="116300"/>
                    <a:pt x="101060" y="116681"/>
                    <a:pt x="102584" y="117157"/>
                  </a:cubicBezTo>
                  <a:cubicBezTo>
                    <a:pt x="104489" y="117729"/>
                    <a:pt x="106585" y="118586"/>
                    <a:pt x="109061" y="119824"/>
                  </a:cubicBezTo>
                  <a:cubicBezTo>
                    <a:pt x="110395" y="120491"/>
                    <a:pt x="111633" y="121158"/>
                    <a:pt x="112871" y="122015"/>
                  </a:cubicBezTo>
                  <a:cubicBezTo>
                    <a:pt x="113157" y="122206"/>
                    <a:pt x="113443" y="122396"/>
                    <a:pt x="113728" y="122587"/>
                  </a:cubicBezTo>
                  <a:lnTo>
                    <a:pt x="153257" y="151162"/>
                  </a:lnTo>
                  <a:cubicBezTo>
                    <a:pt x="153543" y="151352"/>
                    <a:pt x="153829" y="151543"/>
                    <a:pt x="154115" y="151733"/>
                  </a:cubicBezTo>
                  <a:lnTo>
                    <a:pt x="380048" y="298228"/>
                  </a:lnTo>
                  <a:cubicBezTo>
                    <a:pt x="381953" y="299466"/>
                    <a:pt x="384048" y="300323"/>
                    <a:pt x="386144" y="300895"/>
                  </a:cubicBezTo>
                  <a:cubicBezTo>
                    <a:pt x="394240" y="302895"/>
                    <a:pt x="403384" y="303562"/>
                    <a:pt x="414242" y="302990"/>
                  </a:cubicBezTo>
                  <a:cubicBezTo>
                    <a:pt x="415481" y="302895"/>
                    <a:pt x="416624" y="302800"/>
                    <a:pt x="417767" y="302514"/>
                  </a:cubicBezTo>
                  <a:cubicBezTo>
                    <a:pt x="428054" y="300133"/>
                    <a:pt x="476345" y="287464"/>
                    <a:pt x="561308" y="264985"/>
                  </a:cubicBezTo>
                  <a:lnTo>
                    <a:pt x="565595" y="263843"/>
                  </a:lnTo>
                  <a:cubicBezTo>
                    <a:pt x="583121" y="258794"/>
                    <a:pt x="600837" y="254032"/>
                    <a:pt x="618744" y="249745"/>
                  </a:cubicBezTo>
                  <a:cubicBezTo>
                    <a:pt x="648081" y="242030"/>
                    <a:pt x="669988" y="236125"/>
                    <a:pt x="674561" y="234887"/>
                  </a:cubicBezTo>
                  <a:cubicBezTo>
                    <a:pt x="676180" y="234410"/>
                    <a:pt x="677704" y="233839"/>
                    <a:pt x="679133" y="233077"/>
                  </a:cubicBezTo>
                  <a:cubicBezTo>
                    <a:pt x="705040" y="218789"/>
                    <a:pt x="721138" y="191643"/>
                    <a:pt x="721138" y="162306"/>
                  </a:cubicBezTo>
                  <a:cubicBezTo>
                    <a:pt x="721138" y="122396"/>
                    <a:pt x="692563" y="88773"/>
                    <a:pt x="653129" y="82296"/>
                  </a:cubicBezTo>
                  <a:cubicBezTo>
                    <a:pt x="652082" y="82105"/>
                    <a:pt x="650938" y="82010"/>
                    <a:pt x="649891" y="82010"/>
                  </a:cubicBezTo>
                  <a:lnTo>
                    <a:pt x="506254" y="82010"/>
                  </a:lnTo>
                  <a:cubicBezTo>
                    <a:pt x="495110" y="82010"/>
                    <a:pt x="486061" y="72962"/>
                    <a:pt x="486061" y="61817"/>
                  </a:cubicBezTo>
                  <a:cubicBezTo>
                    <a:pt x="486061" y="50673"/>
                    <a:pt x="495110" y="41624"/>
                    <a:pt x="506254" y="41624"/>
                  </a:cubicBezTo>
                  <a:lnTo>
                    <a:pt x="659606" y="41624"/>
                  </a:lnTo>
                  <a:cubicBezTo>
                    <a:pt x="679609" y="41053"/>
                    <a:pt x="703898" y="40767"/>
                    <a:pt x="733806" y="40767"/>
                  </a:cubicBezTo>
                  <a:cubicBezTo>
                    <a:pt x="794195" y="40767"/>
                    <a:pt x="835914" y="64103"/>
                    <a:pt x="872109" y="89345"/>
                  </a:cubicBezTo>
                  <a:cubicBezTo>
                    <a:pt x="881539" y="95917"/>
                    <a:pt x="890683" y="102680"/>
                    <a:pt x="899732" y="109442"/>
                  </a:cubicBezTo>
                  <a:cubicBezTo>
                    <a:pt x="940118" y="139446"/>
                    <a:pt x="981742" y="170307"/>
                    <a:pt x="1039559" y="176308"/>
                  </a:cubicBezTo>
                  <a:lnTo>
                    <a:pt x="1039559" y="309848"/>
                  </a:lnTo>
                  <a:lnTo>
                    <a:pt x="1039844" y="329660"/>
                  </a:lnTo>
                  <a:cubicBezTo>
                    <a:pt x="1039749" y="329946"/>
                    <a:pt x="1039654" y="330327"/>
                    <a:pt x="1039654" y="330708"/>
                  </a:cubicBezTo>
                  <a:close/>
                </a:path>
              </a:pathLst>
            </a:custGeom>
            <a:grpFill/>
            <a:ln w="9525" cap="flat">
              <a:noFill/>
              <a:prstDash val="solid"/>
              <a:miter/>
            </a:ln>
          </p:spPr>
          <p:txBody>
            <a:bodyPr rtlCol="0" anchor="ctr"/>
            <a:lstStyle/>
            <a:p>
              <a:endParaRPr lang="fr-FR" sz="900"/>
            </a:p>
          </p:txBody>
        </p:sp>
        <p:sp>
          <p:nvSpPr>
            <p:cNvPr id="55" name="Forme libre : forme 54">
              <a:extLst>
                <a:ext uri="{FF2B5EF4-FFF2-40B4-BE49-F238E27FC236}">
                  <a16:creationId xmlns:a16="http://schemas.microsoft.com/office/drawing/2014/main" id="{8E557F19-C4C4-45FF-B1F6-6D2C79944176}"/>
                </a:ext>
              </a:extLst>
            </p:cNvPr>
            <p:cNvSpPr/>
            <p:nvPr/>
          </p:nvSpPr>
          <p:spPr>
            <a:xfrm>
              <a:off x="11764867" y="6315075"/>
              <a:ext cx="584453" cy="584549"/>
            </a:xfrm>
            <a:custGeom>
              <a:avLst/>
              <a:gdLst>
                <a:gd name="connsiteX0" fmla="*/ 584454 w 584453"/>
                <a:gd name="connsiteY0" fmla="*/ 20860 h 584549"/>
                <a:gd name="connsiteX1" fmla="*/ 584454 w 584453"/>
                <a:gd name="connsiteY1" fmla="*/ 19812 h 584549"/>
                <a:gd name="connsiteX2" fmla="*/ 565309 w 584453"/>
                <a:gd name="connsiteY2" fmla="*/ 95 h 584549"/>
                <a:gd name="connsiteX3" fmla="*/ 564166 w 584453"/>
                <a:gd name="connsiteY3" fmla="*/ 0 h 584549"/>
                <a:gd name="connsiteX4" fmla="*/ 563118 w 584453"/>
                <a:gd name="connsiteY4" fmla="*/ 0 h 584549"/>
                <a:gd name="connsiteX5" fmla="*/ 245745 w 584453"/>
                <a:gd name="connsiteY5" fmla="*/ 213169 h 584549"/>
                <a:gd name="connsiteX6" fmla="*/ 168116 w 584453"/>
                <a:gd name="connsiteY6" fmla="*/ 61913 h 584549"/>
                <a:gd name="connsiteX7" fmla="*/ 163640 w 584453"/>
                <a:gd name="connsiteY7" fmla="*/ 57817 h 584549"/>
                <a:gd name="connsiteX8" fmla="*/ 161735 w 584453"/>
                <a:gd name="connsiteY8" fmla="*/ 56102 h 584549"/>
                <a:gd name="connsiteX9" fmla="*/ 134398 w 584453"/>
                <a:gd name="connsiteY9" fmla="*/ 55721 h 584549"/>
                <a:gd name="connsiteX10" fmla="*/ 133160 w 584453"/>
                <a:gd name="connsiteY10" fmla="*/ 56864 h 584549"/>
                <a:gd name="connsiteX11" fmla="*/ 122396 w 584453"/>
                <a:gd name="connsiteY11" fmla="*/ 439388 h 584549"/>
                <a:gd name="connsiteX12" fmla="*/ 123158 w 584453"/>
                <a:gd name="connsiteY12" fmla="*/ 440246 h 584549"/>
                <a:gd name="connsiteX13" fmla="*/ 0 w 584453"/>
                <a:gd name="connsiteY13" fmla="*/ 563404 h 584549"/>
                <a:gd name="connsiteX14" fmla="*/ 21050 w 584453"/>
                <a:gd name="connsiteY14" fmla="*/ 584549 h 584549"/>
                <a:gd name="connsiteX15" fmla="*/ 144304 w 584453"/>
                <a:gd name="connsiteY15" fmla="*/ 461296 h 584549"/>
                <a:gd name="connsiteX16" fmla="*/ 145161 w 584453"/>
                <a:gd name="connsiteY16" fmla="*/ 462058 h 584549"/>
                <a:gd name="connsiteX17" fmla="*/ 330708 w 584453"/>
                <a:gd name="connsiteY17" fmla="*/ 532733 h 584549"/>
                <a:gd name="connsiteX18" fmla="*/ 527495 w 584453"/>
                <a:gd name="connsiteY18" fmla="*/ 451390 h 584549"/>
                <a:gd name="connsiteX19" fmla="*/ 528447 w 584453"/>
                <a:gd name="connsiteY19" fmla="*/ 450342 h 584549"/>
                <a:gd name="connsiteX20" fmla="*/ 528447 w 584453"/>
                <a:gd name="connsiteY20" fmla="*/ 422434 h 584549"/>
                <a:gd name="connsiteX21" fmla="*/ 527495 w 584453"/>
                <a:gd name="connsiteY21" fmla="*/ 421386 h 584549"/>
                <a:gd name="connsiteX22" fmla="*/ 363665 w 584453"/>
                <a:gd name="connsiteY22" fmla="*/ 341852 h 584549"/>
                <a:gd name="connsiteX23" fmla="*/ 584454 w 584453"/>
                <a:gd name="connsiteY23" fmla="*/ 20860 h 584549"/>
                <a:gd name="connsiteX24" fmla="*/ 484061 w 584453"/>
                <a:gd name="connsiteY24" fmla="*/ 436340 h 584549"/>
                <a:gd name="connsiteX25" fmla="*/ 172117 w 584453"/>
                <a:gd name="connsiteY25" fmla="*/ 431768 h 584549"/>
                <a:gd name="connsiteX26" fmla="*/ 169164 w 584453"/>
                <a:gd name="connsiteY26" fmla="*/ 429292 h 584549"/>
                <a:gd name="connsiteX27" fmla="*/ 167354 w 584453"/>
                <a:gd name="connsiteY27" fmla="*/ 427768 h 584549"/>
                <a:gd name="connsiteX28" fmla="*/ 164211 w 584453"/>
                <a:gd name="connsiteY28" fmla="*/ 424910 h 584549"/>
                <a:gd name="connsiteX29" fmla="*/ 161258 w 584453"/>
                <a:gd name="connsiteY29" fmla="*/ 422148 h 584549"/>
                <a:gd name="connsiteX30" fmla="*/ 155734 w 584453"/>
                <a:gd name="connsiteY30" fmla="*/ 416052 h 584549"/>
                <a:gd name="connsiteX31" fmla="*/ 152591 w 584453"/>
                <a:gd name="connsiteY31" fmla="*/ 412433 h 584549"/>
                <a:gd name="connsiteX32" fmla="*/ 148400 w 584453"/>
                <a:gd name="connsiteY32" fmla="*/ 100013 h 584549"/>
                <a:gd name="connsiteX33" fmla="*/ 167069 w 584453"/>
                <a:gd name="connsiteY33" fmla="*/ 394145 h 584549"/>
                <a:gd name="connsiteX34" fmla="*/ 169450 w 584453"/>
                <a:gd name="connsiteY34" fmla="*/ 419957 h 584549"/>
                <a:gd name="connsiteX35" fmla="*/ 195263 w 584453"/>
                <a:gd name="connsiteY35" fmla="*/ 422339 h 584549"/>
                <a:gd name="connsiteX36" fmla="*/ 484061 w 584453"/>
                <a:gd name="connsiteY36" fmla="*/ 436340 h 584549"/>
                <a:gd name="connsiteX37" fmla="*/ 261271 w 584453"/>
                <a:gd name="connsiteY37" fmla="*/ 322993 h 584549"/>
                <a:gd name="connsiteX38" fmla="*/ 265748 w 584453"/>
                <a:gd name="connsiteY38" fmla="*/ 288227 h 584549"/>
                <a:gd name="connsiteX39" fmla="*/ 265748 w 584453"/>
                <a:gd name="connsiteY39" fmla="*/ 288227 h 584549"/>
                <a:gd name="connsiteX40" fmla="*/ 543306 w 584453"/>
                <a:gd name="connsiteY40" fmla="*/ 41148 h 584549"/>
                <a:gd name="connsiteX41" fmla="*/ 261271 w 584453"/>
                <a:gd name="connsiteY41" fmla="*/ 322993 h 58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584453" h="584549">
                  <a:moveTo>
                    <a:pt x="584454" y="20860"/>
                  </a:moveTo>
                  <a:lnTo>
                    <a:pt x="584454" y="19812"/>
                  </a:lnTo>
                  <a:cubicBezTo>
                    <a:pt x="584168" y="9239"/>
                    <a:pt x="575786" y="667"/>
                    <a:pt x="565309" y="95"/>
                  </a:cubicBezTo>
                  <a:lnTo>
                    <a:pt x="564166" y="0"/>
                  </a:lnTo>
                  <a:cubicBezTo>
                    <a:pt x="563785" y="0"/>
                    <a:pt x="563499" y="0"/>
                    <a:pt x="563118" y="0"/>
                  </a:cubicBezTo>
                  <a:cubicBezTo>
                    <a:pt x="421577" y="0"/>
                    <a:pt x="297466" y="86392"/>
                    <a:pt x="245745" y="213169"/>
                  </a:cubicBezTo>
                  <a:cubicBezTo>
                    <a:pt x="236506" y="157448"/>
                    <a:pt x="210407" y="104299"/>
                    <a:pt x="168116" y="61913"/>
                  </a:cubicBezTo>
                  <a:cubicBezTo>
                    <a:pt x="166688" y="60484"/>
                    <a:pt x="165164" y="59150"/>
                    <a:pt x="163640" y="57817"/>
                  </a:cubicBezTo>
                  <a:cubicBezTo>
                    <a:pt x="162973" y="57245"/>
                    <a:pt x="162306" y="56674"/>
                    <a:pt x="161735" y="56102"/>
                  </a:cubicBezTo>
                  <a:cubicBezTo>
                    <a:pt x="154210" y="49054"/>
                    <a:pt x="142304" y="49054"/>
                    <a:pt x="134398" y="55721"/>
                  </a:cubicBezTo>
                  <a:cubicBezTo>
                    <a:pt x="133922" y="56102"/>
                    <a:pt x="133541" y="56483"/>
                    <a:pt x="133160" y="56864"/>
                  </a:cubicBezTo>
                  <a:cubicBezTo>
                    <a:pt x="28861" y="161163"/>
                    <a:pt x="24194" y="329184"/>
                    <a:pt x="122396" y="439388"/>
                  </a:cubicBezTo>
                  <a:lnTo>
                    <a:pt x="123158" y="440246"/>
                  </a:lnTo>
                  <a:lnTo>
                    <a:pt x="0" y="563404"/>
                  </a:lnTo>
                  <a:lnTo>
                    <a:pt x="21050" y="584549"/>
                  </a:lnTo>
                  <a:lnTo>
                    <a:pt x="144304" y="461296"/>
                  </a:lnTo>
                  <a:lnTo>
                    <a:pt x="145161" y="462058"/>
                  </a:lnTo>
                  <a:cubicBezTo>
                    <a:pt x="198215" y="509302"/>
                    <a:pt x="264509" y="532733"/>
                    <a:pt x="330708" y="532733"/>
                  </a:cubicBezTo>
                  <a:cubicBezTo>
                    <a:pt x="402146" y="532733"/>
                    <a:pt x="473393" y="505397"/>
                    <a:pt x="527495" y="451390"/>
                  </a:cubicBezTo>
                  <a:cubicBezTo>
                    <a:pt x="527590" y="451295"/>
                    <a:pt x="528352" y="450533"/>
                    <a:pt x="528447" y="450342"/>
                  </a:cubicBezTo>
                  <a:cubicBezTo>
                    <a:pt x="535591" y="442817"/>
                    <a:pt x="535305" y="430340"/>
                    <a:pt x="528447" y="422434"/>
                  </a:cubicBezTo>
                  <a:cubicBezTo>
                    <a:pt x="528161" y="422053"/>
                    <a:pt x="527780" y="421767"/>
                    <a:pt x="527495" y="421386"/>
                  </a:cubicBezTo>
                  <a:cubicBezTo>
                    <a:pt x="481965" y="375857"/>
                    <a:pt x="423958" y="349091"/>
                    <a:pt x="363665" y="341852"/>
                  </a:cubicBezTo>
                  <a:cubicBezTo>
                    <a:pt x="493586" y="292894"/>
                    <a:pt x="584454" y="168212"/>
                    <a:pt x="584454" y="20860"/>
                  </a:cubicBezTo>
                  <a:close/>
                  <a:moveTo>
                    <a:pt x="484061" y="436340"/>
                  </a:moveTo>
                  <a:cubicBezTo>
                    <a:pt x="394526" y="511874"/>
                    <a:pt x="261271" y="511207"/>
                    <a:pt x="172117" y="431768"/>
                  </a:cubicBezTo>
                  <a:cubicBezTo>
                    <a:pt x="171164" y="430911"/>
                    <a:pt x="170117" y="430054"/>
                    <a:pt x="169164" y="429292"/>
                  </a:cubicBezTo>
                  <a:cubicBezTo>
                    <a:pt x="168497" y="428816"/>
                    <a:pt x="167926" y="428244"/>
                    <a:pt x="167354" y="427768"/>
                  </a:cubicBezTo>
                  <a:cubicBezTo>
                    <a:pt x="166307" y="426815"/>
                    <a:pt x="165259" y="425863"/>
                    <a:pt x="164211" y="424910"/>
                  </a:cubicBezTo>
                  <a:cubicBezTo>
                    <a:pt x="163449" y="424244"/>
                    <a:pt x="162592" y="423482"/>
                    <a:pt x="161258" y="422148"/>
                  </a:cubicBezTo>
                  <a:cubicBezTo>
                    <a:pt x="159353" y="420148"/>
                    <a:pt x="157544" y="418052"/>
                    <a:pt x="155734" y="416052"/>
                  </a:cubicBezTo>
                  <a:lnTo>
                    <a:pt x="152591" y="412433"/>
                  </a:lnTo>
                  <a:cubicBezTo>
                    <a:pt x="73057" y="323183"/>
                    <a:pt x="72485" y="189643"/>
                    <a:pt x="148400" y="100013"/>
                  </a:cubicBezTo>
                  <a:cubicBezTo>
                    <a:pt x="221552" y="181547"/>
                    <a:pt x="229934" y="303181"/>
                    <a:pt x="167069" y="394145"/>
                  </a:cubicBezTo>
                  <a:cubicBezTo>
                    <a:pt x="161544" y="402146"/>
                    <a:pt x="162497" y="413004"/>
                    <a:pt x="169450" y="419957"/>
                  </a:cubicBezTo>
                  <a:cubicBezTo>
                    <a:pt x="176403" y="426911"/>
                    <a:pt x="187262" y="427863"/>
                    <a:pt x="195263" y="422339"/>
                  </a:cubicBezTo>
                  <a:cubicBezTo>
                    <a:pt x="284512" y="360902"/>
                    <a:pt x="403003" y="367665"/>
                    <a:pt x="484061" y="436340"/>
                  </a:cubicBezTo>
                  <a:close/>
                  <a:moveTo>
                    <a:pt x="261271" y="322993"/>
                  </a:moveTo>
                  <a:cubicBezTo>
                    <a:pt x="262128" y="311753"/>
                    <a:pt x="263557" y="300228"/>
                    <a:pt x="265748" y="288227"/>
                  </a:cubicBezTo>
                  <a:lnTo>
                    <a:pt x="265748" y="288227"/>
                  </a:lnTo>
                  <a:cubicBezTo>
                    <a:pt x="290894" y="151257"/>
                    <a:pt x="405956" y="50102"/>
                    <a:pt x="543306" y="41148"/>
                  </a:cubicBezTo>
                  <a:cubicBezTo>
                    <a:pt x="533686" y="192786"/>
                    <a:pt x="414052" y="313182"/>
                    <a:pt x="261271" y="322993"/>
                  </a:cubicBezTo>
                  <a:close/>
                </a:path>
              </a:pathLst>
            </a:custGeom>
            <a:grpFill/>
            <a:ln w="9525" cap="flat">
              <a:noFill/>
              <a:prstDash val="solid"/>
              <a:miter/>
            </a:ln>
          </p:spPr>
          <p:txBody>
            <a:bodyPr rtlCol="0" anchor="ctr"/>
            <a:lstStyle/>
            <a:p>
              <a:endParaRPr lang="fr-FR" sz="900"/>
            </a:p>
          </p:txBody>
        </p:sp>
      </p:grpSp>
      <p:sp>
        <p:nvSpPr>
          <p:cNvPr id="50" name="ZoneTexte 49">
            <a:extLst>
              <a:ext uri="{FF2B5EF4-FFF2-40B4-BE49-F238E27FC236}">
                <a16:creationId xmlns:a16="http://schemas.microsoft.com/office/drawing/2014/main" id="{159C02EC-6584-42C7-8976-41515601707D}"/>
              </a:ext>
            </a:extLst>
          </p:cNvPr>
          <p:cNvSpPr txBox="1"/>
          <p:nvPr/>
        </p:nvSpPr>
        <p:spPr>
          <a:xfrm>
            <a:off x="5270551" y="4912723"/>
            <a:ext cx="2469303" cy="830997"/>
          </a:xfrm>
          <a:prstGeom prst="rect">
            <a:avLst/>
          </a:prstGeom>
          <a:noFill/>
        </p:spPr>
        <p:txBody>
          <a:bodyPr wrap="square">
            <a:spAutoFit/>
          </a:bodyPr>
          <a:lstStyle/>
          <a:p>
            <a:r>
              <a:rPr lang="fr-FR" sz="1600" b="1" dirty="0">
                <a:solidFill>
                  <a:srgbClr val="E4002B"/>
                </a:solidFill>
                <a:latin typeface="Arial" panose="020B0604020202020204" pitchFamily="34" charset="0"/>
                <a:cs typeface="Arial" panose="020B0604020202020204" pitchFamily="34" charset="0"/>
              </a:rPr>
              <a:t>10 % d’établissements</a:t>
            </a:r>
            <a:br>
              <a:rPr lang="fr-FR" sz="1600" b="1" dirty="0">
                <a:solidFill>
                  <a:srgbClr val="E4002B"/>
                </a:solidFill>
                <a:latin typeface="Arial" panose="020B0604020202020204" pitchFamily="34" charset="0"/>
                <a:cs typeface="Arial" panose="020B0604020202020204" pitchFamily="34" charset="0"/>
              </a:rPr>
            </a:br>
            <a:r>
              <a:rPr lang="fr-FR" sz="1600" b="1" dirty="0">
                <a:solidFill>
                  <a:srgbClr val="E4002B"/>
                </a:solidFill>
                <a:latin typeface="Arial" panose="020B0604020202020204" pitchFamily="34" charset="0"/>
                <a:cs typeface="Arial" panose="020B0604020202020204" pitchFamily="34" charset="0"/>
              </a:rPr>
              <a:t>et d’emplois </a:t>
            </a:r>
            <a:r>
              <a:rPr lang="fr-FR" sz="1600" b="1" dirty="0">
                <a:latin typeface="Arial" panose="020B0604020202020204" pitchFamily="34" charset="0"/>
                <a:cs typeface="Arial" panose="020B0604020202020204" pitchFamily="34" charset="0"/>
              </a:rPr>
              <a:t>dans l’ESS </a:t>
            </a:r>
          </a:p>
        </p:txBody>
      </p:sp>
      <p:sp>
        <p:nvSpPr>
          <p:cNvPr id="57" name="ZoneTexte 56">
            <a:extLst>
              <a:ext uri="{FF2B5EF4-FFF2-40B4-BE49-F238E27FC236}">
                <a16:creationId xmlns:a16="http://schemas.microsoft.com/office/drawing/2014/main" id="{291520DA-C6CB-47D1-B7BB-7441E6D34AD4}"/>
              </a:ext>
            </a:extLst>
          </p:cNvPr>
          <p:cNvSpPr txBox="1"/>
          <p:nvPr/>
        </p:nvSpPr>
        <p:spPr>
          <a:xfrm>
            <a:off x="5270551" y="5729327"/>
            <a:ext cx="3055875" cy="646331"/>
          </a:xfrm>
          <a:prstGeom prst="rect">
            <a:avLst/>
          </a:prstGeom>
          <a:noFill/>
          <a:ln>
            <a:noFill/>
          </a:ln>
        </p:spPr>
        <p:txBody>
          <a:bodyPr wrap="square" rtlCol="0">
            <a:spAutoFit/>
          </a:bodyPr>
          <a:lstStyle/>
          <a:p>
            <a:r>
              <a:rPr lang="fr-FR" sz="1200" b="1" dirty="0">
                <a:latin typeface="Arial" panose="020B0604020202020204" pitchFamily="34" charset="0"/>
                <a:cs typeface="Arial" panose="020B0604020202020204" pitchFamily="34" charset="0"/>
              </a:rPr>
              <a:t>70 000 emplois dans les services (enseignement, action sociale, finance, immobilier…)</a:t>
            </a:r>
            <a:endParaRPr lang="fr-FR" sz="12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05585925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 5">
            <a:extLst>
              <a:ext uri="{FF2B5EF4-FFF2-40B4-BE49-F238E27FC236}">
                <a16:creationId xmlns:a16="http://schemas.microsoft.com/office/drawing/2014/main" id="{E4416ECE-0A0E-0C5D-5241-0338AC7C1085}"/>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716631" y="0"/>
            <a:ext cx="5475767" cy="6858000"/>
          </a:xfrm>
          <a:prstGeom prst="rect">
            <a:avLst/>
          </a:prstGeom>
        </p:spPr>
      </p:pic>
      <p:sp>
        <p:nvSpPr>
          <p:cNvPr id="3" name="Rectangle 2">
            <a:extLst>
              <a:ext uri="{FF2B5EF4-FFF2-40B4-BE49-F238E27FC236}">
                <a16:creationId xmlns:a16="http://schemas.microsoft.com/office/drawing/2014/main" id="{4FEFE183-EC15-21C1-C291-6D8DAA8CB9B7}"/>
              </a:ext>
            </a:extLst>
          </p:cNvPr>
          <p:cNvSpPr/>
          <p:nvPr/>
        </p:nvSpPr>
        <p:spPr>
          <a:xfrm>
            <a:off x="397" y="0"/>
            <a:ext cx="105878" cy="6858000"/>
          </a:xfrm>
          <a:prstGeom prst="rect">
            <a:avLst/>
          </a:prstGeom>
          <a:solidFill>
            <a:srgbClr val="E400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00"/>
          </a:p>
        </p:txBody>
      </p:sp>
      <p:sp>
        <p:nvSpPr>
          <p:cNvPr id="16" name="object 8">
            <a:extLst>
              <a:ext uri="{FF2B5EF4-FFF2-40B4-BE49-F238E27FC236}">
                <a16:creationId xmlns:a16="http://schemas.microsoft.com/office/drawing/2014/main" id="{B9C66E0B-5C7F-4362-1012-E12FA228677B}"/>
              </a:ext>
            </a:extLst>
          </p:cNvPr>
          <p:cNvSpPr txBox="1">
            <a:spLocks/>
          </p:cNvSpPr>
          <p:nvPr/>
        </p:nvSpPr>
        <p:spPr>
          <a:xfrm>
            <a:off x="515074" y="333676"/>
            <a:ext cx="7276856" cy="1019356"/>
          </a:xfrm>
          <a:prstGeom prst="rect">
            <a:avLst/>
          </a:prstGeom>
        </p:spPr>
        <p:txBody>
          <a:bodyPr vert="horz" wrap="square" lIns="0" tIns="3658" rIns="0" bIns="0" rtlCol="0" anchor="ctr">
            <a:spAutoFit/>
          </a:bodyPr>
          <a:lstStyle>
            <a:lvl1pPr algn="l" defTabSz="1828709" rtl="0" eaLnBrk="1" latinLnBrk="0" hangingPunct="1">
              <a:lnSpc>
                <a:spcPct val="90000"/>
              </a:lnSpc>
              <a:spcBef>
                <a:spcPct val="0"/>
              </a:spcBef>
              <a:buNone/>
              <a:defRPr sz="8800" kern="1200">
                <a:solidFill>
                  <a:schemeClr val="tx1"/>
                </a:solidFill>
                <a:latin typeface="+mj-lt"/>
                <a:ea typeface="+mj-ea"/>
                <a:cs typeface="+mj-cs"/>
              </a:defRPr>
            </a:lvl1pPr>
          </a:lstStyle>
          <a:p>
            <a:pPr marL="3851">
              <a:lnSpc>
                <a:spcPct val="100000"/>
              </a:lnSpc>
              <a:spcBef>
                <a:spcPts val="29"/>
              </a:spcBef>
              <a:tabLst>
                <a:tab pos="1528050" algn="l"/>
              </a:tabLst>
            </a:pPr>
            <a:r>
              <a:rPr lang="fr-FR" sz="2200" spc="-2" dirty="0">
                <a:solidFill>
                  <a:srgbClr val="E4002B"/>
                </a:solidFill>
                <a:latin typeface="Arial Black" panose="020B0A04020102020204" pitchFamily="34" charset="0"/>
              </a:rPr>
              <a:t>UN PARC IMMOBILIER TERTIAIRE</a:t>
            </a:r>
            <a:br>
              <a:rPr lang="fr-FR" sz="2200" spc="-2" dirty="0">
                <a:solidFill>
                  <a:srgbClr val="E4002B"/>
                </a:solidFill>
                <a:latin typeface="Arial Black" panose="020B0A04020102020204" pitchFamily="34" charset="0"/>
              </a:rPr>
            </a:br>
            <a:r>
              <a:rPr lang="fr-FR" sz="2200" spc="-2" dirty="0">
                <a:latin typeface="Arial Black" panose="020B0A04020102020204" pitchFamily="34" charset="0"/>
              </a:rPr>
              <a:t>      DE DIMENSION MÉTROPOLITAINE</a:t>
            </a:r>
          </a:p>
          <a:p>
            <a:pPr marL="3851">
              <a:lnSpc>
                <a:spcPct val="100000"/>
              </a:lnSpc>
              <a:spcBef>
                <a:spcPts val="29"/>
              </a:spcBef>
              <a:tabLst>
                <a:tab pos="1528050" algn="l"/>
              </a:tabLst>
            </a:pPr>
            <a:endParaRPr lang="fr-FR" sz="2200" spc="-2" dirty="0">
              <a:latin typeface="Arial Black" panose="020B0A04020102020204" pitchFamily="34" charset="0"/>
            </a:endParaRPr>
          </a:p>
        </p:txBody>
      </p:sp>
      <p:grpSp>
        <p:nvGrpSpPr>
          <p:cNvPr id="28" name="Groupe 27">
            <a:extLst>
              <a:ext uri="{FF2B5EF4-FFF2-40B4-BE49-F238E27FC236}">
                <a16:creationId xmlns:a16="http://schemas.microsoft.com/office/drawing/2014/main" id="{748F52A7-E5DB-E6BD-C487-8B06CD4047F1}"/>
              </a:ext>
            </a:extLst>
          </p:cNvPr>
          <p:cNvGrpSpPr/>
          <p:nvPr/>
        </p:nvGrpSpPr>
        <p:grpSpPr>
          <a:xfrm rot="16200000">
            <a:off x="11251627" y="5924834"/>
            <a:ext cx="1392174" cy="487782"/>
            <a:chOff x="6189044" y="11173899"/>
            <a:chExt cx="5165853" cy="1809980"/>
          </a:xfrm>
        </p:grpSpPr>
        <p:sp>
          <p:nvSpPr>
            <p:cNvPr id="29" name="Rectangle 28">
              <a:extLst>
                <a:ext uri="{FF2B5EF4-FFF2-40B4-BE49-F238E27FC236}">
                  <a16:creationId xmlns:a16="http://schemas.microsoft.com/office/drawing/2014/main" id="{B65AC2A3-C6AB-0070-95BE-37C71F78A7AE}"/>
                </a:ext>
              </a:extLst>
            </p:cNvPr>
            <p:cNvSpPr/>
            <p:nvPr/>
          </p:nvSpPr>
          <p:spPr>
            <a:xfrm>
              <a:off x="6275672" y="11251933"/>
              <a:ext cx="3291840" cy="66955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00"/>
            </a:p>
          </p:txBody>
        </p:sp>
        <p:sp>
          <p:nvSpPr>
            <p:cNvPr id="30" name="Rectangle 29">
              <a:extLst>
                <a:ext uri="{FF2B5EF4-FFF2-40B4-BE49-F238E27FC236}">
                  <a16:creationId xmlns:a16="http://schemas.microsoft.com/office/drawing/2014/main" id="{F9DC8771-4D80-B7D7-3BD5-33FCADA0625E}"/>
                </a:ext>
              </a:extLst>
            </p:cNvPr>
            <p:cNvSpPr/>
            <p:nvPr/>
          </p:nvSpPr>
          <p:spPr>
            <a:xfrm>
              <a:off x="9805156" y="12159152"/>
              <a:ext cx="1389025" cy="66955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00"/>
            </a:p>
          </p:txBody>
        </p:sp>
        <p:pic>
          <p:nvPicPr>
            <p:cNvPr id="31" name="Graphique 30">
              <a:extLst>
                <a:ext uri="{FF2B5EF4-FFF2-40B4-BE49-F238E27FC236}">
                  <a16:creationId xmlns:a16="http://schemas.microsoft.com/office/drawing/2014/main" id="{5AC676DA-9DFC-951A-C862-45BF0EDFA671}"/>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6189044" y="11173899"/>
              <a:ext cx="5165853" cy="1809980"/>
            </a:xfrm>
            <a:prstGeom prst="rect">
              <a:avLst/>
            </a:prstGeom>
          </p:spPr>
        </p:pic>
      </p:grpSp>
      <p:sp>
        <p:nvSpPr>
          <p:cNvPr id="32" name="ZoneTexte 31">
            <a:extLst>
              <a:ext uri="{FF2B5EF4-FFF2-40B4-BE49-F238E27FC236}">
                <a16:creationId xmlns:a16="http://schemas.microsoft.com/office/drawing/2014/main" id="{B4C14462-4943-3A76-6DD3-1C1BCC7CF345}"/>
              </a:ext>
            </a:extLst>
          </p:cNvPr>
          <p:cNvSpPr txBox="1"/>
          <p:nvPr/>
        </p:nvSpPr>
        <p:spPr>
          <a:xfrm>
            <a:off x="7251260" y="1858143"/>
            <a:ext cx="540669" cy="253916"/>
          </a:xfrm>
          <a:prstGeom prst="rect">
            <a:avLst/>
          </a:prstGeom>
          <a:solidFill>
            <a:schemeClr val="tx1"/>
          </a:solidFill>
          <a:ln>
            <a:noFill/>
          </a:ln>
        </p:spPr>
        <p:txBody>
          <a:bodyPr wrap="square" rtlCol="0">
            <a:spAutoFit/>
          </a:bodyPr>
          <a:lstStyle/>
          <a:p>
            <a:r>
              <a:rPr lang="fr-FR" sz="1050" b="1" dirty="0">
                <a:solidFill>
                  <a:schemeClr val="bg1"/>
                </a:solidFill>
                <a:latin typeface="Arial" panose="020B0604020202020204" pitchFamily="34" charset="0"/>
                <a:cs typeface="Arial" panose="020B0604020202020204" pitchFamily="34" charset="0"/>
              </a:rPr>
              <a:t>Vaise</a:t>
            </a:r>
          </a:p>
        </p:txBody>
      </p:sp>
      <p:sp>
        <p:nvSpPr>
          <p:cNvPr id="33" name="ZoneTexte 32">
            <a:extLst>
              <a:ext uri="{FF2B5EF4-FFF2-40B4-BE49-F238E27FC236}">
                <a16:creationId xmlns:a16="http://schemas.microsoft.com/office/drawing/2014/main" id="{B2992133-0958-9CA9-B04F-0E8A6D220FCA}"/>
              </a:ext>
            </a:extLst>
          </p:cNvPr>
          <p:cNvSpPr txBox="1"/>
          <p:nvPr/>
        </p:nvSpPr>
        <p:spPr>
          <a:xfrm>
            <a:off x="7361648" y="2137810"/>
            <a:ext cx="882163" cy="253916"/>
          </a:xfrm>
          <a:prstGeom prst="rect">
            <a:avLst/>
          </a:prstGeom>
          <a:solidFill>
            <a:srgbClr val="E4002B"/>
          </a:solidFill>
          <a:ln>
            <a:noFill/>
          </a:ln>
        </p:spPr>
        <p:txBody>
          <a:bodyPr wrap="square" rtlCol="0">
            <a:spAutoFit/>
          </a:bodyPr>
          <a:lstStyle/>
          <a:p>
            <a:r>
              <a:rPr lang="fr-FR" sz="1050" b="1" dirty="0">
                <a:solidFill>
                  <a:schemeClr val="bg1"/>
                </a:solidFill>
                <a:latin typeface="Arial" panose="020B0604020202020204" pitchFamily="34" charset="0"/>
                <a:cs typeface="Arial" panose="020B0604020202020204" pitchFamily="34" charset="0"/>
              </a:rPr>
              <a:t>600 000 m² </a:t>
            </a:r>
          </a:p>
        </p:txBody>
      </p:sp>
      <p:sp>
        <p:nvSpPr>
          <p:cNvPr id="34" name="ZoneTexte 33">
            <a:extLst>
              <a:ext uri="{FF2B5EF4-FFF2-40B4-BE49-F238E27FC236}">
                <a16:creationId xmlns:a16="http://schemas.microsoft.com/office/drawing/2014/main" id="{20066505-D3EF-8AD7-7B8A-3B90EFF07EC2}"/>
              </a:ext>
            </a:extLst>
          </p:cNvPr>
          <p:cNvSpPr txBox="1"/>
          <p:nvPr/>
        </p:nvSpPr>
        <p:spPr>
          <a:xfrm>
            <a:off x="6866933" y="3206736"/>
            <a:ext cx="882163" cy="246221"/>
          </a:xfrm>
          <a:prstGeom prst="rect">
            <a:avLst/>
          </a:prstGeom>
          <a:solidFill>
            <a:schemeClr val="tx1"/>
          </a:solidFill>
          <a:ln>
            <a:noFill/>
          </a:ln>
        </p:spPr>
        <p:txBody>
          <a:bodyPr wrap="square" rtlCol="0">
            <a:spAutoFit/>
          </a:bodyPr>
          <a:lstStyle/>
          <a:p>
            <a:r>
              <a:rPr lang="fr-FR" sz="1000" b="1" dirty="0">
                <a:solidFill>
                  <a:schemeClr val="bg1"/>
                </a:solidFill>
                <a:latin typeface="Arial" panose="020B0604020202020204" pitchFamily="34" charset="0"/>
                <a:cs typeface="Arial" panose="020B0604020202020204" pitchFamily="34" charset="0"/>
              </a:rPr>
              <a:t>Arc Ouest</a:t>
            </a:r>
          </a:p>
        </p:txBody>
      </p:sp>
      <p:sp>
        <p:nvSpPr>
          <p:cNvPr id="35" name="ZoneTexte 34">
            <a:extLst>
              <a:ext uri="{FF2B5EF4-FFF2-40B4-BE49-F238E27FC236}">
                <a16:creationId xmlns:a16="http://schemas.microsoft.com/office/drawing/2014/main" id="{56CDA7B8-7FD0-012E-6FE8-84BC048E1E4A}"/>
              </a:ext>
            </a:extLst>
          </p:cNvPr>
          <p:cNvSpPr txBox="1"/>
          <p:nvPr/>
        </p:nvSpPr>
        <p:spPr>
          <a:xfrm>
            <a:off x="6977321" y="3420413"/>
            <a:ext cx="1006147" cy="253916"/>
          </a:xfrm>
          <a:prstGeom prst="rect">
            <a:avLst/>
          </a:prstGeom>
          <a:solidFill>
            <a:srgbClr val="E4002B"/>
          </a:solidFill>
          <a:ln>
            <a:noFill/>
          </a:ln>
        </p:spPr>
        <p:txBody>
          <a:bodyPr wrap="square" rtlCol="0">
            <a:spAutoFit/>
          </a:bodyPr>
          <a:lstStyle/>
          <a:p>
            <a:r>
              <a:rPr lang="fr-FR" sz="1050" b="1" dirty="0">
                <a:solidFill>
                  <a:schemeClr val="bg1"/>
                </a:solidFill>
                <a:latin typeface="Arial" panose="020B0604020202020204" pitchFamily="34" charset="0"/>
                <a:cs typeface="Arial" panose="020B0604020202020204" pitchFamily="34" charset="0"/>
              </a:rPr>
              <a:t>1 100 000 m²</a:t>
            </a:r>
          </a:p>
        </p:txBody>
      </p:sp>
      <p:sp>
        <p:nvSpPr>
          <p:cNvPr id="36" name="ZoneTexte 35">
            <a:extLst>
              <a:ext uri="{FF2B5EF4-FFF2-40B4-BE49-F238E27FC236}">
                <a16:creationId xmlns:a16="http://schemas.microsoft.com/office/drawing/2014/main" id="{642C7AED-C571-0170-93A7-B7DAE3CC1163}"/>
              </a:ext>
            </a:extLst>
          </p:cNvPr>
          <p:cNvSpPr txBox="1"/>
          <p:nvPr/>
        </p:nvSpPr>
        <p:spPr>
          <a:xfrm>
            <a:off x="8225885" y="3206736"/>
            <a:ext cx="1031239" cy="400110"/>
          </a:xfrm>
          <a:prstGeom prst="rect">
            <a:avLst/>
          </a:prstGeom>
          <a:solidFill>
            <a:schemeClr val="tx1"/>
          </a:solidFill>
          <a:ln>
            <a:noFill/>
          </a:ln>
        </p:spPr>
        <p:txBody>
          <a:bodyPr wrap="square" rtlCol="0">
            <a:spAutoFit/>
          </a:bodyPr>
          <a:lstStyle/>
          <a:p>
            <a:r>
              <a:rPr lang="fr-FR" sz="1000" b="1" dirty="0">
                <a:solidFill>
                  <a:schemeClr val="bg1"/>
                </a:solidFill>
                <a:latin typeface="Arial" panose="020B0604020202020204" pitchFamily="34" charset="0"/>
                <a:cs typeface="Arial" panose="020B0604020202020204" pitchFamily="34" charset="0"/>
              </a:rPr>
              <a:t>Presqu’Île /</a:t>
            </a:r>
          </a:p>
          <a:p>
            <a:r>
              <a:rPr lang="fr-FR" sz="1000" b="1" dirty="0">
                <a:solidFill>
                  <a:schemeClr val="bg1"/>
                </a:solidFill>
                <a:latin typeface="Arial" panose="020B0604020202020204" pitchFamily="34" charset="0"/>
                <a:cs typeface="Arial" panose="020B0604020202020204" pitchFamily="34" charset="0"/>
              </a:rPr>
              <a:t> Confluence</a:t>
            </a:r>
          </a:p>
        </p:txBody>
      </p:sp>
      <p:sp>
        <p:nvSpPr>
          <p:cNvPr id="37" name="ZoneTexte 36">
            <a:extLst>
              <a:ext uri="{FF2B5EF4-FFF2-40B4-BE49-F238E27FC236}">
                <a16:creationId xmlns:a16="http://schemas.microsoft.com/office/drawing/2014/main" id="{8E86AA88-3A6B-4ABF-E8FA-4EABB96EAF3F}"/>
              </a:ext>
            </a:extLst>
          </p:cNvPr>
          <p:cNvSpPr txBox="1"/>
          <p:nvPr/>
        </p:nvSpPr>
        <p:spPr>
          <a:xfrm>
            <a:off x="8225885" y="3574150"/>
            <a:ext cx="882163" cy="253916"/>
          </a:xfrm>
          <a:prstGeom prst="rect">
            <a:avLst/>
          </a:prstGeom>
          <a:solidFill>
            <a:srgbClr val="E4002B"/>
          </a:solidFill>
          <a:ln>
            <a:noFill/>
          </a:ln>
        </p:spPr>
        <p:txBody>
          <a:bodyPr wrap="square" rtlCol="0">
            <a:spAutoFit/>
          </a:bodyPr>
          <a:lstStyle/>
          <a:p>
            <a:r>
              <a:rPr lang="fr-FR" sz="1050" b="1" dirty="0">
                <a:solidFill>
                  <a:schemeClr val="bg1"/>
                </a:solidFill>
                <a:latin typeface="Arial" panose="020B0604020202020204" pitchFamily="34" charset="0"/>
                <a:cs typeface="Arial" panose="020B0604020202020204" pitchFamily="34" charset="0"/>
              </a:rPr>
              <a:t>650 000 m²</a:t>
            </a:r>
          </a:p>
        </p:txBody>
      </p:sp>
      <p:sp>
        <p:nvSpPr>
          <p:cNvPr id="38" name="ZoneTexte 37">
            <a:extLst>
              <a:ext uri="{FF2B5EF4-FFF2-40B4-BE49-F238E27FC236}">
                <a16:creationId xmlns:a16="http://schemas.microsoft.com/office/drawing/2014/main" id="{9A6116E3-C2C0-E925-5E42-72C89117FC19}"/>
              </a:ext>
            </a:extLst>
          </p:cNvPr>
          <p:cNvSpPr txBox="1"/>
          <p:nvPr/>
        </p:nvSpPr>
        <p:spPr>
          <a:xfrm>
            <a:off x="8510083" y="4028871"/>
            <a:ext cx="747041" cy="246221"/>
          </a:xfrm>
          <a:prstGeom prst="rect">
            <a:avLst/>
          </a:prstGeom>
          <a:solidFill>
            <a:schemeClr val="tx1"/>
          </a:solidFill>
          <a:ln>
            <a:noFill/>
          </a:ln>
        </p:spPr>
        <p:txBody>
          <a:bodyPr wrap="square" rtlCol="0">
            <a:spAutoFit/>
          </a:bodyPr>
          <a:lstStyle/>
          <a:p>
            <a:r>
              <a:rPr lang="fr-FR" sz="1000" b="1" dirty="0">
                <a:solidFill>
                  <a:schemeClr val="bg1"/>
                </a:solidFill>
                <a:latin typeface="Arial" panose="020B0604020202020204" pitchFamily="34" charset="0"/>
                <a:cs typeface="Arial" panose="020B0604020202020204" pitchFamily="34" charset="0"/>
              </a:rPr>
              <a:t>Gerland</a:t>
            </a:r>
          </a:p>
        </p:txBody>
      </p:sp>
      <p:sp>
        <p:nvSpPr>
          <p:cNvPr id="39" name="ZoneTexte 38">
            <a:extLst>
              <a:ext uri="{FF2B5EF4-FFF2-40B4-BE49-F238E27FC236}">
                <a16:creationId xmlns:a16="http://schemas.microsoft.com/office/drawing/2014/main" id="{ABCF20F3-F615-FAC4-8A77-1E903ED979C6}"/>
              </a:ext>
            </a:extLst>
          </p:cNvPr>
          <p:cNvSpPr txBox="1"/>
          <p:nvPr/>
        </p:nvSpPr>
        <p:spPr>
          <a:xfrm>
            <a:off x="8584185" y="4242373"/>
            <a:ext cx="885444" cy="253916"/>
          </a:xfrm>
          <a:prstGeom prst="rect">
            <a:avLst/>
          </a:prstGeom>
          <a:solidFill>
            <a:srgbClr val="E4002B"/>
          </a:solidFill>
          <a:ln>
            <a:noFill/>
          </a:ln>
        </p:spPr>
        <p:txBody>
          <a:bodyPr wrap="square" rtlCol="0">
            <a:spAutoFit/>
          </a:bodyPr>
          <a:lstStyle/>
          <a:p>
            <a:r>
              <a:rPr lang="fr-FR" sz="1050" b="1" dirty="0">
                <a:solidFill>
                  <a:schemeClr val="bg1"/>
                </a:solidFill>
                <a:latin typeface="Arial" panose="020B0604020202020204" pitchFamily="34" charset="0"/>
                <a:cs typeface="Arial" panose="020B0604020202020204" pitchFamily="34" charset="0"/>
              </a:rPr>
              <a:t>845 000 m²</a:t>
            </a:r>
          </a:p>
        </p:txBody>
      </p:sp>
      <p:sp>
        <p:nvSpPr>
          <p:cNvPr id="42" name="ZoneTexte 41">
            <a:extLst>
              <a:ext uri="{FF2B5EF4-FFF2-40B4-BE49-F238E27FC236}">
                <a16:creationId xmlns:a16="http://schemas.microsoft.com/office/drawing/2014/main" id="{0DCCF7CE-1840-E300-FB20-F6C6BAC2B75A}"/>
              </a:ext>
            </a:extLst>
          </p:cNvPr>
          <p:cNvSpPr txBox="1"/>
          <p:nvPr/>
        </p:nvSpPr>
        <p:spPr>
          <a:xfrm>
            <a:off x="10520822" y="4015248"/>
            <a:ext cx="794925" cy="246221"/>
          </a:xfrm>
          <a:prstGeom prst="rect">
            <a:avLst/>
          </a:prstGeom>
          <a:solidFill>
            <a:schemeClr val="tx1"/>
          </a:solidFill>
          <a:ln>
            <a:noFill/>
          </a:ln>
        </p:spPr>
        <p:txBody>
          <a:bodyPr wrap="square" rtlCol="0">
            <a:spAutoFit/>
          </a:bodyPr>
          <a:lstStyle/>
          <a:p>
            <a:r>
              <a:rPr lang="fr-FR" sz="1000" b="1" dirty="0">
                <a:solidFill>
                  <a:schemeClr val="bg1"/>
                </a:solidFill>
                <a:latin typeface="Arial" panose="020B0604020202020204" pitchFamily="34" charset="0"/>
                <a:cs typeface="Arial" panose="020B0604020202020204" pitchFamily="34" charset="0"/>
              </a:rPr>
              <a:t>Arc Est</a:t>
            </a:r>
          </a:p>
        </p:txBody>
      </p:sp>
      <p:sp>
        <p:nvSpPr>
          <p:cNvPr id="43" name="ZoneTexte 42">
            <a:extLst>
              <a:ext uri="{FF2B5EF4-FFF2-40B4-BE49-F238E27FC236}">
                <a16:creationId xmlns:a16="http://schemas.microsoft.com/office/drawing/2014/main" id="{1862D22F-9BF7-5E1D-F7E3-137B25E95764}"/>
              </a:ext>
            </a:extLst>
          </p:cNvPr>
          <p:cNvSpPr txBox="1"/>
          <p:nvPr/>
        </p:nvSpPr>
        <p:spPr>
          <a:xfrm>
            <a:off x="10631210" y="4228926"/>
            <a:ext cx="885444" cy="253916"/>
          </a:xfrm>
          <a:prstGeom prst="rect">
            <a:avLst/>
          </a:prstGeom>
          <a:solidFill>
            <a:srgbClr val="E4002B"/>
          </a:solidFill>
          <a:ln>
            <a:noFill/>
          </a:ln>
        </p:spPr>
        <p:txBody>
          <a:bodyPr wrap="square" rtlCol="0">
            <a:spAutoFit/>
          </a:bodyPr>
          <a:lstStyle/>
          <a:p>
            <a:r>
              <a:rPr lang="fr-FR" sz="1050" b="1" dirty="0">
                <a:solidFill>
                  <a:schemeClr val="bg1"/>
                </a:solidFill>
                <a:latin typeface="Arial" panose="020B0604020202020204" pitchFamily="34" charset="0"/>
                <a:cs typeface="Arial" panose="020B0604020202020204" pitchFamily="34" charset="0"/>
              </a:rPr>
              <a:t>965 000 m² </a:t>
            </a:r>
          </a:p>
        </p:txBody>
      </p:sp>
      <p:sp>
        <p:nvSpPr>
          <p:cNvPr id="44" name="ZoneTexte 43">
            <a:extLst>
              <a:ext uri="{FF2B5EF4-FFF2-40B4-BE49-F238E27FC236}">
                <a16:creationId xmlns:a16="http://schemas.microsoft.com/office/drawing/2014/main" id="{0C1BDE50-91A7-A902-6D49-E550F588C331}"/>
              </a:ext>
            </a:extLst>
          </p:cNvPr>
          <p:cNvSpPr txBox="1"/>
          <p:nvPr/>
        </p:nvSpPr>
        <p:spPr>
          <a:xfrm>
            <a:off x="9097988" y="2960004"/>
            <a:ext cx="882163" cy="246221"/>
          </a:xfrm>
          <a:prstGeom prst="rect">
            <a:avLst/>
          </a:prstGeom>
          <a:solidFill>
            <a:schemeClr val="tx1"/>
          </a:solidFill>
          <a:ln>
            <a:noFill/>
          </a:ln>
        </p:spPr>
        <p:txBody>
          <a:bodyPr wrap="square" rtlCol="0">
            <a:spAutoFit/>
          </a:bodyPr>
          <a:lstStyle/>
          <a:p>
            <a:r>
              <a:rPr lang="fr-FR" sz="1000" b="1" dirty="0">
                <a:solidFill>
                  <a:schemeClr val="bg1"/>
                </a:solidFill>
                <a:latin typeface="Arial" panose="020B0604020202020204" pitchFamily="34" charset="0"/>
                <a:cs typeface="Arial" panose="020B0604020202020204" pitchFamily="34" charset="0"/>
              </a:rPr>
              <a:t>Part-Dieu</a:t>
            </a:r>
          </a:p>
        </p:txBody>
      </p:sp>
      <p:sp>
        <p:nvSpPr>
          <p:cNvPr id="45" name="ZoneTexte 44">
            <a:extLst>
              <a:ext uri="{FF2B5EF4-FFF2-40B4-BE49-F238E27FC236}">
                <a16:creationId xmlns:a16="http://schemas.microsoft.com/office/drawing/2014/main" id="{A0D00E8B-A006-1409-0B6B-BE75EB1C9B61}"/>
              </a:ext>
            </a:extLst>
          </p:cNvPr>
          <p:cNvSpPr txBox="1"/>
          <p:nvPr/>
        </p:nvSpPr>
        <p:spPr>
          <a:xfrm>
            <a:off x="9158179" y="3173037"/>
            <a:ext cx="1031239" cy="261610"/>
          </a:xfrm>
          <a:prstGeom prst="rect">
            <a:avLst/>
          </a:prstGeom>
          <a:solidFill>
            <a:srgbClr val="E4002B"/>
          </a:solidFill>
          <a:ln>
            <a:noFill/>
          </a:ln>
        </p:spPr>
        <p:txBody>
          <a:bodyPr wrap="square" rtlCol="0">
            <a:spAutoFit/>
          </a:bodyPr>
          <a:lstStyle/>
          <a:p>
            <a:r>
              <a:rPr lang="fr-FR" sz="1050" b="1" dirty="0">
                <a:solidFill>
                  <a:schemeClr val="bg1"/>
                </a:solidFill>
                <a:latin typeface="Arial" panose="020B0604020202020204" pitchFamily="34" charset="0"/>
                <a:cs typeface="Arial" panose="020B0604020202020204" pitchFamily="34" charset="0"/>
              </a:rPr>
              <a:t>1 300 000 m² </a:t>
            </a:r>
          </a:p>
        </p:txBody>
      </p:sp>
      <p:sp>
        <p:nvSpPr>
          <p:cNvPr id="46" name="ZoneTexte 45">
            <a:extLst>
              <a:ext uri="{FF2B5EF4-FFF2-40B4-BE49-F238E27FC236}">
                <a16:creationId xmlns:a16="http://schemas.microsoft.com/office/drawing/2014/main" id="{6A6115C6-2E3C-AD96-5A9B-2C8509258554}"/>
              </a:ext>
            </a:extLst>
          </p:cNvPr>
          <p:cNvSpPr txBox="1"/>
          <p:nvPr/>
        </p:nvSpPr>
        <p:spPr>
          <a:xfrm>
            <a:off x="10170160" y="2816477"/>
            <a:ext cx="1979626" cy="246221"/>
          </a:xfrm>
          <a:prstGeom prst="rect">
            <a:avLst/>
          </a:prstGeom>
          <a:solidFill>
            <a:schemeClr val="tx1"/>
          </a:solidFill>
          <a:ln>
            <a:noFill/>
          </a:ln>
        </p:spPr>
        <p:txBody>
          <a:bodyPr wrap="square" rtlCol="0">
            <a:spAutoFit/>
          </a:bodyPr>
          <a:lstStyle/>
          <a:p>
            <a:r>
              <a:rPr lang="fr-FR" sz="1000" b="1" dirty="0">
                <a:solidFill>
                  <a:schemeClr val="bg1"/>
                </a:solidFill>
                <a:latin typeface="Arial" panose="020B0604020202020204" pitchFamily="34" charset="0"/>
                <a:cs typeface="Arial" panose="020B0604020202020204" pitchFamily="34" charset="0"/>
              </a:rPr>
              <a:t>Carré de Soie / </a:t>
            </a:r>
            <a:r>
              <a:rPr lang="fr-FR" sz="1000" b="1" dirty="0" err="1">
                <a:solidFill>
                  <a:schemeClr val="bg1"/>
                </a:solidFill>
                <a:latin typeface="Arial" panose="020B0604020202020204" pitchFamily="34" charset="0"/>
                <a:cs typeface="Arial" panose="020B0604020202020204" pitchFamily="34" charset="0"/>
              </a:rPr>
              <a:t>Grandclément</a:t>
            </a:r>
            <a:endParaRPr lang="fr-FR" sz="1000" b="1" dirty="0">
              <a:solidFill>
                <a:schemeClr val="bg1"/>
              </a:solidFill>
              <a:latin typeface="Arial" panose="020B0604020202020204" pitchFamily="34" charset="0"/>
              <a:cs typeface="Arial" panose="020B0604020202020204" pitchFamily="34" charset="0"/>
            </a:endParaRPr>
          </a:p>
        </p:txBody>
      </p:sp>
      <p:sp>
        <p:nvSpPr>
          <p:cNvPr id="47" name="ZoneTexte 46">
            <a:extLst>
              <a:ext uri="{FF2B5EF4-FFF2-40B4-BE49-F238E27FC236}">
                <a16:creationId xmlns:a16="http://schemas.microsoft.com/office/drawing/2014/main" id="{EA977B92-1156-D41E-B4A0-087F237E2C7A}"/>
              </a:ext>
            </a:extLst>
          </p:cNvPr>
          <p:cNvSpPr txBox="1"/>
          <p:nvPr/>
        </p:nvSpPr>
        <p:spPr>
          <a:xfrm>
            <a:off x="10239548" y="3030379"/>
            <a:ext cx="882163" cy="253916"/>
          </a:xfrm>
          <a:prstGeom prst="rect">
            <a:avLst/>
          </a:prstGeom>
          <a:solidFill>
            <a:srgbClr val="E4002B"/>
          </a:solidFill>
          <a:ln>
            <a:noFill/>
          </a:ln>
        </p:spPr>
        <p:txBody>
          <a:bodyPr wrap="square" rtlCol="0">
            <a:spAutoFit/>
          </a:bodyPr>
          <a:lstStyle/>
          <a:p>
            <a:r>
              <a:rPr lang="fr-FR" sz="1050" b="1" dirty="0">
                <a:solidFill>
                  <a:schemeClr val="bg1"/>
                </a:solidFill>
                <a:latin typeface="Arial" panose="020B0604020202020204" pitchFamily="34" charset="0"/>
                <a:cs typeface="Arial" panose="020B0604020202020204" pitchFamily="34" charset="0"/>
              </a:rPr>
              <a:t>261 000 m² </a:t>
            </a:r>
          </a:p>
        </p:txBody>
      </p:sp>
      <p:sp>
        <p:nvSpPr>
          <p:cNvPr id="48" name="ZoneTexte 47">
            <a:extLst>
              <a:ext uri="{FF2B5EF4-FFF2-40B4-BE49-F238E27FC236}">
                <a16:creationId xmlns:a16="http://schemas.microsoft.com/office/drawing/2014/main" id="{8CE130DB-7729-F780-4722-634B2C30B4B5}"/>
              </a:ext>
            </a:extLst>
          </p:cNvPr>
          <p:cNvSpPr txBox="1"/>
          <p:nvPr/>
        </p:nvSpPr>
        <p:spPr>
          <a:xfrm>
            <a:off x="9307254" y="2296739"/>
            <a:ext cx="1420449" cy="246221"/>
          </a:xfrm>
          <a:prstGeom prst="rect">
            <a:avLst/>
          </a:prstGeom>
          <a:solidFill>
            <a:schemeClr val="tx1"/>
          </a:solidFill>
          <a:ln>
            <a:noFill/>
          </a:ln>
        </p:spPr>
        <p:txBody>
          <a:bodyPr wrap="square" rtlCol="0">
            <a:spAutoFit/>
          </a:bodyPr>
          <a:lstStyle/>
          <a:p>
            <a:r>
              <a:rPr lang="fr-FR" sz="1000" b="1" dirty="0">
                <a:solidFill>
                  <a:schemeClr val="bg1"/>
                </a:solidFill>
                <a:latin typeface="Arial" panose="020B0604020202020204" pitchFamily="34" charset="0"/>
                <a:cs typeface="Arial" panose="020B0604020202020204" pitchFamily="34" charset="0"/>
              </a:rPr>
              <a:t>Villeurbanne Tonkin</a:t>
            </a:r>
          </a:p>
        </p:txBody>
      </p:sp>
      <p:sp>
        <p:nvSpPr>
          <p:cNvPr id="49" name="ZoneTexte 48">
            <a:extLst>
              <a:ext uri="{FF2B5EF4-FFF2-40B4-BE49-F238E27FC236}">
                <a16:creationId xmlns:a16="http://schemas.microsoft.com/office/drawing/2014/main" id="{652A9841-25C1-628A-DE5B-FAA0B2E0F843}"/>
              </a:ext>
            </a:extLst>
          </p:cNvPr>
          <p:cNvSpPr txBox="1"/>
          <p:nvPr/>
        </p:nvSpPr>
        <p:spPr>
          <a:xfrm>
            <a:off x="9417641" y="2510417"/>
            <a:ext cx="873933" cy="253916"/>
          </a:xfrm>
          <a:prstGeom prst="rect">
            <a:avLst/>
          </a:prstGeom>
          <a:solidFill>
            <a:srgbClr val="E4002B"/>
          </a:solidFill>
          <a:ln>
            <a:noFill/>
          </a:ln>
        </p:spPr>
        <p:txBody>
          <a:bodyPr wrap="square" rtlCol="0">
            <a:spAutoFit/>
          </a:bodyPr>
          <a:lstStyle/>
          <a:p>
            <a:r>
              <a:rPr lang="fr-FR" sz="1050" b="1" dirty="0">
                <a:solidFill>
                  <a:schemeClr val="bg1"/>
                </a:solidFill>
                <a:latin typeface="Arial" panose="020B0604020202020204" pitchFamily="34" charset="0"/>
                <a:cs typeface="Arial" panose="020B0604020202020204" pitchFamily="34" charset="0"/>
              </a:rPr>
              <a:t>470 000 m²</a:t>
            </a:r>
          </a:p>
        </p:txBody>
      </p:sp>
      <p:sp>
        <p:nvSpPr>
          <p:cNvPr id="53" name="Flèche : chevron 19">
            <a:extLst>
              <a:ext uri="{FF2B5EF4-FFF2-40B4-BE49-F238E27FC236}">
                <a16:creationId xmlns:a16="http://schemas.microsoft.com/office/drawing/2014/main" id="{E387F542-E9FA-2770-F9A6-72585391D857}"/>
              </a:ext>
            </a:extLst>
          </p:cNvPr>
          <p:cNvSpPr/>
          <p:nvPr/>
        </p:nvSpPr>
        <p:spPr>
          <a:xfrm>
            <a:off x="6187818" y="3523868"/>
            <a:ext cx="287797" cy="558800"/>
          </a:xfrm>
          <a:prstGeom prst="chevron">
            <a:avLst/>
          </a:prstGeom>
          <a:solidFill>
            <a:schemeClr val="bg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25718" tIns="12859" rIns="25718" bIns="12859" numCol="1" spcCol="0" rtlCol="0" fromWordArt="0" anchor="ctr" anchorCtr="0" forceAA="0" compatLnSpc="1">
            <a:prstTxWarp prst="textNoShape">
              <a:avLst/>
            </a:prstTxWarp>
            <a:noAutofit/>
          </a:bodyPr>
          <a:lstStyle/>
          <a:p>
            <a:pPr algn="ctr"/>
            <a:endParaRPr lang="fr-FR" sz="675" dirty="0">
              <a:solidFill>
                <a:schemeClr val="tx1"/>
              </a:solidFill>
              <a:latin typeface="Arial Black" panose="020B0A04020102020204" pitchFamily="34" charset="0"/>
            </a:endParaRPr>
          </a:p>
        </p:txBody>
      </p:sp>
      <p:sp>
        <p:nvSpPr>
          <p:cNvPr id="5" name="object 13">
            <a:extLst>
              <a:ext uri="{FF2B5EF4-FFF2-40B4-BE49-F238E27FC236}">
                <a16:creationId xmlns:a16="http://schemas.microsoft.com/office/drawing/2014/main" id="{A12182FE-B6F3-0597-BD6F-6A561817AE99}"/>
              </a:ext>
            </a:extLst>
          </p:cNvPr>
          <p:cNvSpPr txBox="1"/>
          <p:nvPr/>
        </p:nvSpPr>
        <p:spPr>
          <a:xfrm>
            <a:off x="1073697" y="2118640"/>
            <a:ext cx="5475767" cy="553998"/>
          </a:xfrm>
          <a:prstGeom prst="rect">
            <a:avLst/>
          </a:prstGeom>
        </p:spPr>
        <p:txBody>
          <a:bodyPr vert="horz" wrap="square" lIns="0" tIns="0" rIns="0" bIns="0" rtlCol="0">
            <a:spAutoFit/>
          </a:bodyPr>
          <a:lstStyle/>
          <a:p>
            <a:pPr marL="7701">
              <a:lnSpc>
                <a:spcPct val="90000"/>
              </a:lnSpc>
            </a:pPr>
            <a:r>
              <a:rPr lang="fr-FR" sz="2000" b="1" spc="12" dirty="0">
                <a:latin typeface="Arial" panose="020B0604020202020204" pitchFamily="34" charset="0"/>
                <a:cs typeface="Arial" panose="020B0604020202020204" pitchFamily="34" charset="0"/>
              </a:rPr>
              <a:t>UN PARC EXISTANT DE</a:t>
            </a:r>
            <a:br>
              <a:rPr lang="fr-FR" sz="2000" b="1" spc="12" dirty="0">
                <a:latin typeface="Arial" panose="020B0604020202020204" pitchFamily="34" charset="0"/>
                <a:cs typeface="Arial" panose="020B0604020202020204" pitchFamily="34" charset="0"/>
              </a:rPr>
            </a:br>
            <a:r>
              <a:rPr lang="fr-FR" sz="2000" b="1" spc="12" dirty="0">
                <a:solidFill>
                  <a:srgbClr val="E4002B"/>
                </a:solidFill>
                <a:latin typeface="Arial" panose="020B0604020202020204" pitchFamily="34" charset="0"/>
                <a:cs typeface="Arial" panose="020B0604020202020204" pitchFamily="34" charset="0"/>
              </a:rPr>
              <a:t>7,3 MILLIONS DE M² DE BUREAUX </a:t>
            </a:r>
          </a:p>
        </p:txBody>
      </p:sp>
      <p:sp>
        <p:nvSpPr>
          <p:cNvPr id="8" name="Flèche : chevron 19">
            <a:extLst>
              <a:ext uri="{FF2B5EF4-FFF2-40B4-BE49-F238E27FC236}">
                <a16:creationId xmlns:a16="http://schemas.microsoft.com/office/drawing/2014/main" id="{FF6437CB-F05E-A20A-C92A-8F601746447A}"/>
              </a:ext>
            </a:extLst>
          </p:cNvPr>
          <p:cNvSpPr/>
          <p:nvPr/>
        </p:nvSpPr>
        <p:spPr>
          <a:xfrm rot="5400000">
            <a:off x="1190030" y="1700039"/>
            <a:ext cx="208627" cy="405080"/>
          </a:xfrm>
          <a:prstGeom prst="chevron">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25718" tIns="12859" rIns="25718" bIns="12859" numCol="1" spcCol="0" rtlCol="0" fromWordArt="0" anchor="ctr" anchorCtr="0" forceAA="0" compatLnSpc="1">
            <a:prstTxWarp prst="textNoShape">
              <a:avLst/>
            </a:prstTxWarp>
            <a:noAutofit/>
          </a:bodyPr>
          <a:lstStyle/>
          <a:p>
            <a:pPr algn="ctr"/>
            <a:endParaRPr lang="fr-FR" sz="675" dirty="0">
              <a:solidFill>
                <a:schemeClr val="tx1"/>
              </a:solidFill>
              <a:latin typeface="Arial Black" panose="020B0A04020102020204" pitchFamily="34" charset="0"/>
            </a:endParaRPr>
          </a:p>
        </p:txBody>
      </p:sp>
      <p:sp>
        <p:nvSpPr>
          <p:cNvPr id="4" name="ZoneTexte 3">
            <a:extLst>
              <a:ext uri="{FF2B5EF4-FFF2-40B4-BE49-F238E27FC236}">
                <a16:creationId xmlns:a16="http://schemas.microsoft.com/office/drawing/2014/main" id="{44AA682F-A84C-ECF0-016D-285D4AEC7EBF}"/>
              </a:ext>
            </a:extLst>
          </p:cNvPr>
          <p:cNvSpPr txBox="1"/>
          <p:nvPr/>
        </p:nvSpPr>
        <p:spPr>
          <a:xfrm>
            <a:off x="1401361" y="3685005"/>
            <a:ext cx="4694640" cy="735756"/>
          </a:xfrm>
          <a:prstGeom prst="rect">
            <a:avLst/>
          </a:prstGeom>
          <a:noFill/>
          <a:ln>
            <a:solidFill>
              <a:schemeClr val="tx1"/>
            </a:solidFill>
          </a:ln>
        </p:spPr>
        <p:txBody>
          <a:bodyPr wrap="square" lIns="90000" tIns="90000" rIns="90000" bIns="90000" rtlCol="0">
            <a:spAutoFit/>
          </a:bodyPr>
          <a:lstStyle/>
          <a:p>
            <a:pPr marL="7701"/>
            <a:r>
              <a:rPr lang="fr-FR" spc="12" dirty="0">
                <a:latin typeface="Arial" panose="020B0604020202020204" pitchFamily="34" charset="0"/>
                <a:cs typeface="Arial" panose="020B0604020202020204" pitchFamily="34" charset="0"/>
              </a:rPr>
              <a:t>dont seulement </a:t>
            </a:r>
            <a:r>
              <a:rPr lang="fr-FR" b="1" spc="12" dirty="0">
                <a:latin typeface="Arial" panose="020B0604020202020204" pitchFamily="34" charset="0"/>
                <a:cs typeface="Arial" panose="020B0604020202020204" pitchFamily="34" charset="0"/>
              </a:rPr>
              <a:t>12 %</a:t>
            </a:r>
            <a:r>
              <a:rPr lang="fr-FR" spc="12" dirty="0">
                <a:latin typeface="Arial" panose="020B0604020202020204" pitchFamily="34" charset="0"/>
                <a:cs typeface="Arial" panose="020B0604020202020204" pitchFamily="34" charset="0"/>
              </a:rPr>
              <a:t> de neuf et restructuré (- 5 ans)</a:t>
            </a:r>
          </a:p>
        </p:txBody>
      </p:sp>
      <p:sp>
        <p:nvSpPr>
          <p:cNvPr id="9" name="ZoneTexte 8">
            <a:extLst>
              <a:ext uri="{FF2B5EF4-FFF2-40B4-BE49-F238E27FC236}">
                <a16:creationId xmlns:a16="http://schemas.microsoft.com/office/drawing/2014/main" id="{144F3441-D134-172A-40A0-6266FB9BDF5B}"/>
              </a:ext>
            </a:extLst>
          </p:cNvPr>
          <p:cNvSpPr txBox="1"/>
          <p:nvPr/>
        </p:nvSpPr>
        <p:spPr>
          <a:xfrm>
            <a:off x="1091804" y="2969099"/>
            <a:ext cx="4462682" cy="769441"/>
          </a:xfrm>
          <a:prstGeom prst="rect">
            <a:avLst/>
          </a:prstGeom>
          <a:solidFill>
            <a:srgbClr val="E61038"/>
          </a:solidFill>
          <a:ln>
            <a:noFill/>
          </a:ln>
        </p:spPr>
        <p:txBody>
          <a:bodyPr wrap="square" rtlCol="0">
            <a:spAutoFit/>
          </a:bodyPr>
          <a:lstStyle/>
          <a:p>
            <a:r>
              <a:rPr lang="fr-FR" sz="2200" b="1" dirty="0">
                <a:solidFill>
                  <a:schemeClr val="bg1"/>
                </a:solidFill>
                <a:latin typeface="Arial" panose="020B0604020202020204" pitchFamily="34" charset="0"/>
                <a:cs typeface="Arial" panose="020B0604020202020204" pitchFamily="34" charset="0"/>
              </a:rPr>
              <a:t>Un taux de vacance contenu</a:t>
            </a:r>
            <a:br>
              <a:rPr lang="fr-FR" sz="2200" b="1" dirty="0">
                <a:solidFill>
                  <a:schemeClr val="bg1"/>
                </a:solidFill>
                <a:latin typeface="Arial" panose="020B0604020202020204" pitchFamily="34" charset="0"/>
                <a:cs typeface="Arial" panose="020B0604020202020204" pitchFamily="34" charset="0"/>
              </a:rPr>
            </a:br>
            <a:r>
              <a:rPr lang="fr-FR" sz="2200" b="1" dirty="0">
                <a:solidFill>
                  <a:schemeClr val="bg1"/>
                </a:solidFill>
                <a:latin typeface="Arial" panose="020B0604020202020204" pitchFamily="34" charset="0"/>
                <a:cs typeface="Arial" panose="020B0604020202020204" pitchFamily="34" charset="0"/>
              </a:rPr>
              <a:t>à 5,5 % &gt; un marché sain</a:t>
            </a:r>
          </a:p>
        </p:txBody>
      </p:sp>
    </p:spTree>
    <p:extLst>
      <p:ext uri="{BB962C8B-B14F-4D97-AF65-F5344CB8AC3E}">
        <p14:creationId xmlns:p14="http://schemas.microsoft.com/office/powerpoint/2010/main" val="26868555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L5gH9kVU0kuHdBfCqVWhd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H.1sGai3UOC4ptG_lG1k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bVU06VUIUG4L.fXgLuQq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R_TX2I5lFUWQp1j6hEGJwQ"/>
</p:tagLst>
</file>

<file path=ppt/theme/theme1.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Conception personnalisée">
  <a:themeElements>
    <a:clrScheme name="Grand Lyon">
      <a:dk1>
        <a:sysClr val="windowText" lastClr="000000"/>
      </a:dk1>
      <a:lt1>
        <a:sysClr val="window" lastClr="FFFFFF"/>
      </a:lt1>
      <a:dk2>
        <a:srgbClr val="CC0000"/>
      </a:dk2>
      <a:lt2>
        <a:srgbClr val="E6E6E6"/>
      </a:lt2>
      <a:accent1>
        <a:srgbClr val="CC0000"/>
      </a:accent1>
      <a:accent2>
        <a:srgbClr val="3F3F3F"/>
      </a:accent2>
      <a:accent3>
        <a:srgbClr val="E6E6E6"/>
      </a:accent3>
      <a:accent4>
        <a:srgbClr val="740D18"/>
      </a:accent4>
      <a:accent5>
        <a:srgbClr val="B95744"/>
      </a:accent5>
      <a:accent6>
        <a:srgbClr val="777877"/>
      </a:accent6>
      <a:hlink>
        <a:srgbClr val="0000FF"/>
      </a:hlink>
      <a:folHlink>
        <a:srgbClr val="80008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4_Conception personnalisée">
  <a:themeElements>
    <a:clrScheme name="Grand Lyon">
      <a:dk1>
        <a:sysClr val="windowText" lastClr="000000"/>
      </a:dk1>
      <a:lt1>
        <a:sysClr val="window" lastClr="FFFFFF"/>
      </a:lt1>
      <a:dk2>
        <a:srgbClr val="CC0000"/>
      </a:dk2>
      <a:lt2>
        <a:srgbClr val="E6E6E6"/>
      </a:lt2>
      <a:accent1>
        <a:srgbClr val="CC0000"/>
      </a:accent1>
      <a:accent2>
        <a:srgbClr val="3F3F3F"/>
      </a:accent2>
      <a:accent3>
        <a:srgbClr val="E6E6E6"/>
      </a:accent3>
      <a:accent4>
        <a:srgbClr val="740D18"/>
      </a:accent4>
      <a:accent5>
        <a:srgbClr val="B95744"/>
      </a:accent5>
      <a:accent6>
        <a:srgbClr val="777877"/>
      </a:accent6>
      <a:hlink>
        <a:srgbClr val="0000FF"/>
      </a:hlink>
      <a:folHlink>
        <a:srgbClr val="80008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5_Conception personnalisée">
  <a:themeElements>
    <a:clrScheme name="Grand Lyon">
      <a:dk1>
        <a:sysClr val="windowText" lastClr="000000"/>
      </a:dk1>
      <a:lt1>
        <a:sysClr val="window" lastClr="FFFFFF"/>
      </a:lt1>
      <a:dk2>
        <a:srgbClr val="CC0000"/>
      </a:dk2>
      <a:lt2>
        <a:srgbClr val="E6E6E6"/>
      </a:lt2>
      <a:accent1>
        <a:srgbClr val="CC0000"/>
      </a:accent1>
      <a:accent2>
        <a:srgbClr val="3F3F3F"/>
      </a:accent2>
      <a:accent3>
        <a:srgbClr val="E6E6E6"/>
      </a:accent3>
      <a:accent4>
        <a:srgbClr val="740D18"/>
      </a:accent4>
      <a:accent5>
        <a:srgbClr val="B95744"/>
      </a:accent5>
      <a:accent6>
        <a:srgbClr val="777877"/>
      </a:accent6>
      <a:hlink>
        <a:srgbClr val="0000FF"/>
      </a:hlink>
      <a:folHlink>
        <a:srgbClr val="80008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6_Conception personnalisée">
  <a:themeElements>
    <a:clrScheme name="Grand Lyon">
      <a:dk1>
        <a:sysClr val="windowText" lastClr="000000"/>
      </a:dk1>
      <a:lt1>
        <a:sysClr val="window" lastClr="FFFFFF"/>
      </a:lt1>
      <a:dk2>
        <a:srgbClr val="CC0000"/>
      </a:dk2>
      <a:lt2>
        <a:srgbClr val="E6E6E6"/>
      </a:lt2>
      <a:accent1>
        <a:srgbClr val="CC0000"/>
      </a:accent1>
      <a:accent2>
        <a:srgbClr val="3F3F3F"/>
      </a:accent2>
      <a:accent3>
        <a:srgbClr val="E6E6E6"/>
      </a:accent3>
      <a:accent4>
        <a:srgbClr val="740D18"/>
      </a:accent4>
      <a:accent5>
        <a:srgbClr val="B95744"/>
      </a:accent5>
      <a:accent6>
        <a:srgbClr val="777877"/>
      </a:accent6>
      <a:hlink>
        <a:srgbClr val="0000FF"/>
      </a:hlink>
      <a:folHlink>
        <a:srgbClr val="80008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2_Thème Office">
  <a:themeElements>
    <a:clrScheme name="Thème 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Thème 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8614</TotalTime>
  <Words>5703</Words>
  <Application>Microsoft Office PowerPoint</Application>
  <PresentationFormat>Grand écran</PresentationFormat>
  <Paragraphs>551</Paragraphs>
  <Slides>26</Slides>
  <Notes>25</Notes>
  <HiddenSlides>0</HiddenSlides>
  <MMClips>0</MMClips>
  <ScaleCrop>false</ScaleCrop>
  <HeadingPairs>
    <vt:vector size="6" baseType="variant">
      <vt:variant>
        <vt:lpstr>Polices utilisées</vt:lpstr>
      </vt:variant>
      <vt:variant>
        <vt:i4>9</vt:i4>
      </vt:variant>
      <vt:variant>
        <vt:lpstr>Thème</vt:lpstr>
      </vt:variant>
      <vt:variant>
        <vt:i4>6</vt:i4>
      </vt:variant>
      <vt:variant>
        <vt:lpstr>Titres des diapositives</vt:lpstr>
      </vt:variant>
      <vt:variant>
        <vt:i4>26</vt:i4>
      </vt:variant>
    </vt:vector>
  </HeadingPairs>
  <TitlesOfParts>
    <vt:vector size="41" baseType="lpstr">
      <vt:lpstr>ＭＳ Ｐゴシック</vt:lpstr>
      <vt:lpstr>Arial</vt:lpstr>
      <vt:lpstr>Arial Black</vt:lpstr>
      <vt:lpstr>Arial Narrow</vt:lpstr>
      <vt:lpstr>Calibri</vt:lpstr>
      <vt:lpstr>Calibri Light</vt:lpstr>
      <vt:lpstr>Courier New</vt:lpstr>
      <vt:lpstr>Roboto-Bold</vt:lpstr>
      <vt:lpstr>Wingdings</vt:lpstr>
      <vt:lpstr>Thème Office</vt:lpstr>
      <vt:lpstr>3_Conception personnalisée</vt:lpstr>
      <vt:lpstr>4_Conception personnalisée</vt:lpstr>
      <vt:lpstr>5_Conception personnalisée</vt:lpstr>
      <vt:lpstr>6_Conception personnalisée</vt:lpstr>
      <vt:lpstr>2_Thème Office</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vector>
  </TitlesOfParts>
  <Company>Le Grand Ly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Axel RIEHL</dc:creator>
  <cp:lastModifiedBy>Yvette RICHAUD</cp:lastModifiedBy>
  <cp:revision>190</cp:revision>
  <cp:lastPrinted>2023-09-07T13:31:17Z</cp:lastPrinted>
  <dcterms:created xsi:type="dcterms:W3CDTF">2021-11-19T10:31:05Z</dcterms:created>
  <dcterms:modified xsi:type="dcterms:W3CDTF">2024-05-15T15:39:30Z</dcterms:modified>
</cp:coreProperties>
</file>